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8.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4.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5.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 id="2147483864" r:id="rId2"/>
    <p:sldMasterId id="2147483868" r:id="rId3"/>
    <p:sldMasterId id="2147483875" r:id="rId4"/>
    <p:sldMasterId id="2147483881" r:id="rId5"/>
    <p:sldMasterId id="2147483886" r:id="rId6"/>
    <p:sldMasterId id="2147483913" r:id="rId7"/>
    <p:sldMasterId id="2147483955" r:id="rId8"/>
  </p:sldMasterIdLst>
  <p:notesMasterIdLst>
    <p:notesMasterId r:id="rId25"/>
  </p:notesMasterIdLst>
  <p:handoutMasterIdLst>
    <p:handoutMasterId r:id="rId26"/>
  </p:handoutMasterIdLst>
  <p:sldIdLst>
    <p:sldId id="1008" r:id="rId9"/>
    <p:sldId id="1333" r:id="rId10"/>
    <p:sldId id="1336" r:id="rId11"/>
    <p:sldId id="1300" r:id="rId12"/>
    <p:sldId id="1200" r:id="rId13"/>
    <p:sldId id="1199" r:id="rId14"/>
    <p:sldId id="1275" r:id="rId15"/>
    <p:sldId id="1274" r:id="rId16"/>
    <p:sldId id="1334" r:id="rId17"/>
    <p:sldId id="1332" r:id="rId18"/>
    <p:sldId id="1312" r:id="rId19"/>
    <p:sldId id="1313" r:id="rId20"/>
    <p:sldId id="1322" r:id="rId21"/>
    <p:sldId id="1323" r:id="rId22"/>
    <p:sldId id="1324" r:id="rId23"/>
    <p:sldId id="1325" r:id="rId24"/>
  </p:sldIdLst>
  <p:sldSz cx="12192000" cy="6858000"/>
  <p:notesSz cx="6881813"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6" userDrawn="1">
          <p15:clr>
            <a:srgbClr val="A4A3A4"/>
          </p15:clr>
        </p15:guide>
        <p15:guide id="2" pos="984" userDrawn="1">
          <p15:clr>
            <a:srgbClr val="A4A3A4"/>
          </p15:clr>
        </p15:guide>
        <p15:guide id="5" orient="horz" pos="480" userDrawn="1">
          <p15:clr>
            <a:srgbClr val="A4A3A4"/>
          </p15:clr>
        </p15:guide>
        <p15:guide id="6" pos="2880" userDrawn="1">
          <p15:clr>
            <a:srgbClr val="A4A3A4"/>
          </p15:clr>
        </p15:guide>
        <p15:guide id="7" orient="horz" pos="254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Wemegah, Raymond" initials="WR" lastIdx="8" clrIdx="6">
    <p:extLst>
      <p:ext uri="{19B8F6BF-5375-455C-9EA6-DF929625EA0E}">
        <p15:presenceInfo xmlns:p15="http://schemas.microsoft.com/office/powerpoint/2012/main" userId="S-1-5-21-1431130218-1427134214-1537874043-36686" providerId="AD"/>
      </p:ext>
    </p:extLst>
  </p:cmAuthor>
  <p:cmAuthor id="1" name="Ademiju, Adekemi" initials="AA" lastIdx="8" clrIdx="0">
    <p:extLst>
      <p:ext uri="{19B8F6BF-5375-455C-9EA6-DF929625EA0E}">
        <p15:presenceInfo xmlns:p15="http://schemas.microsoft.com/office/powerpoint/2012/main" userId="Ademiju, Adekemi" providerId="None"/>
      </p:ext>
    </p:extLst>
  </p:cmAuthor>
  <p:cmAuthor id="8" name="Okoroafor, Ekenenna" initials="OE" lastIdx="3" clrIdx="7">
    <p:extLst>
      <p:ext uri="{19B8F6BF-5375-455C-9EA6-DF929625EA0E}">
        <p15:presenceInfo xmlns:p15="http://schemas.microsoft.com/office/powerpoint/2012/main" userId="S-1-5-21-1431130218-1427134214-1537874043-19198" providerId="AD"/>
      </p:ext>
    </p:extLst>
  </p:cmAuthor>
  <p:cmAuthor id="2" name="Olayinka, Omolara" initials="OO" lastIdx="1" clrIdx="1">
    <p:extLst>
      <p:ext uri="{19B8F6BF-5375-455C-9EA6-DF929625EA0E}">
        <p15:presenceInfo xmlns:p15="http://schemas.microsoft.com/office/powerpoint/2012/main" userId="Olayinka, Omolara" providerId="None"/>
      </p:ext>
    </p:extLst>
  </p:cmAuthor>
  <p:cmAuthor id="9" name="Abioye, Wale" initials="AW" lastIdx="1" clrIdx="8">
    <p:extLst>
      <p:ext uri="{19B8F6BF-5375-455C-9EA6-DF929625EA0E}">
        <p15:presenceInfo xmlns:p15="http://schemas.microsoft.com/office/powerpoint/2012/main" userId="S-1-5-21-1431130218-1427134214-1537874043-10497" providerId="AD"/>
      </p:ext>
    </p:extLst>
  </p:cmAuthor>
  <p:cmAuthor id="3" name="Wale Abioye" initials="WA" lastIdx="1" clrIdx="2">
    <p:extLst>
      <p:ext uri="{19B8F6BF-5375-455C-9EA6-DF929625EA0E}">
        <p15:presenceInfo xmlns:p15="http://schemas.microsoft.com/office/powerpoint/2012/main" userId="Wale Abioye" providerId="None"/>
      </p:ext>
    </p:extLst>
  </p:cmAuthor>
  <p:cmAuthor id="10" name="Dosumu, Muyideen" initials="DM" lastIdx="36" clrIdx="9">
    <p:extLst>
      <p:ext uri="{19B8F6BF-5375-455C-9EA6-DF929625EA0E}">
        <p15:presenceInfo xmlns:p15="http://schemas.microsoft.com/office/powerpoint/2012/main" userId="S-1-5-21-1431130218-1427134214-1537874043-19221" providerId="AD"/>
      </p:ext>
    </p:extLst>
  </p:cmAuthor>
  <p:cmAuthor id="4" name="Asuni, Ladi" initials="AL" lastIdx="27" clrIdx="3">
    <p:extLst>
      <p:ext uri="{19B8F6BF-5375-455C-9EA6-DF929625EA0E}">
        <p15:presenceInfo xmlns:p15="http://schemas.microsoft.com/office/powerpoint/2012/main" userId="Asuni, Ladi" providerId="None"/>
      </p:ext>
    </p:extLst>
  </p:cmAuthor>
  <p:cmAuthor id="5" name="Sheriff, Yusuf" initials="SY" lastIdx="3" clrIdx="4">
    <p:extLst>
      <p:ext uri="{19B8F6BF-5375-455C-9EA6-DF929625EA0E}">
        <p15:presenceInfo xmlns:p15="http://schemas.microsoft.com/office/powerpoint/2012/main" userId="S-1-5-21-1431130218-1427134214-1537874043-19200" providerId="AD"/>
      </p:ext>
    </p:extLst>
  </p:cmAuthor>
  <p:cmAuthor id="6" name="Odumuboni, Olatunji" initials="OO" lastIdx="22" clrIdx="5">
    <p:extLst>
      <p:ext uri="{19B8F6BF-5375-455C-9EA6-DF929625EA0E}">
        <p15:presenceInfo xmlns:p15="http://schemas.microsoft.com/office/powerpoint/2012/main" userId="S-1-5-21-1431130218-1427134214-1537874043-1157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5F5F5"/>
    <a:srgbClr val="2D5491"/>
    <a:srgbClr val="D9E3F3"/>
    <a:srgbClr val="470A68"/>
    <a:srgbClr val="F3E4FC"/>
    <a:srgbClr val="EACEFA"/>
    <a:srgbClr val="00338D"/>
    <a:srgbClr val="0070C0"/>
    <a:srgbClr val="1C5A9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240" autoAdjust="0"/>
    <p:restoredTop sz="81358" autoAdjust="0"/>
  </p:normalViewPr>
  <p:slideViewPr>
    <p:cSldViewPr snapToGrid="0">
      <p:cViewPr varScale="1">
        <p:scale>
          <a:sx n="67" d="100"/>
          <a:sy n="67" d="100"/>
        </p:scale>
        <p:origin x="756" y="48"/>
      </p:cViewPr>
      <p:guideLst>
        <p:guide orient="horz" pos="2136"/>
        <p:guide pos="984"/>
        <p:guide orient="horz" pos="480"/>
        <p:guide pos="2880"/>
        <p:guide orient="horz" pos="2544"/>
      </p:guideLst>
    </p:cSldViewPr>
  </p:slideViewPr>
  <p:notesTextViewPr>
    <p:cViewPr>
      <p:scale>
        <a:sx n="150" d="100"/>
        <a:sy n="150" d="100"/>
      </p:scale>
      <p:origin x="0" y="0"/>
    </p:cViewPr>
  </p:notesTextViewPr>
  <p:sorterViewPr>
    <p:cViewPr>
      <p:scale>
        <a:sx n="100" d="100"/>
        <a:sy n="100" d="100"/>
      </p:scale>
      <p:origin x="0" y="-1356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3.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6434"/>
          </a:xfrm>
          <a:prstGeom prst="rect">
            <a:avLst/>
          </a:prstGeom>
        </p:spPr>
        <p:txBody>
          <a:bodyPr vert="horz" lIns="92446" tIns="46223" rIns="92446" bIns="46223" rtlCol="0"/>
          <a:lstStyle>
            <a:lvl1pPr algn="l">
              <a:defRPr sz="1200"/>
            </a:lvl1pPr>
          </a:lstStyle>
          <a:p>
            <a:endParaRPr lang="en-US"/>
          </a:p>
        </p:txBody>
      </p:sp>
      <p:sp>
        <p:nvSpPr>
          <p:cNvPr id="3" name="Date Placeholder 2"/>
          <p:cNvSpPr>
            <a:spLocks noGrp="1"/>
          </p:cNvSpPr>
          <p:nvPr>
            <p:ph type="dt" sz="quarter" idx="1"/>
          </p:nvPr>
        </p:nvSpPr>
        <p:spPr>
          <a:xfrm>
            <a:off x="3898102" y="0"/>
            <a:ext cx="2982119" cy="466434"/>
          </a:xfrm>
          <a:prstGeom prst="rect">
            <a:avLst/>
          </a:prstGeom>
        </p:spPr>
        <p:txBody>
          <a:bodyPr vert="horz" lIns="92446" tIns="46223" rIns="92446" bIns="46223" rtlCol="0"/>
          <a:lstStyle>
            <a:lvl1pPr algn="r">
              <a:defRPr sz="1200"/>
            </a:lvl1pPr>
          </a:lstStyle>
          <a:p>
            <a:fld id="{E7AF0ACC-B50B-4D42-AD29-3236D950835A}" type="datetimeFigureOut">
              <a:rPr lang="en-US" smtClean="0"/>
              <a:t>10/23/2018</a:t>
            </a:fld>
            <a:endParaRPr lang="en-US"/>
          </a:p>
        </p:txBody>
      </p:sp>
      <p:sp>
        <p:nvSpPr>
          <p:cNvPr id="4" name="Footer Placeholder 3"/>
          <p:cNvSpPr>
            <a:spLocks noGrp="1"/>
          </p:cNvSpPr>
          <p:nvPr>
            <p:ph type="ftr" sz="quarter" idx="2"/>
          </p:nvPr>
        </p:nvSpPr>
        <p:spPr>
          <a:xfrm>
            <a:off x="0" y="8829967"/>
            <a:ext cx="2982119" cy="466433"/>
          </a:xfrm>
          <a:prstGeom prst="rect">
            <a:avLst/>
          </a:prstGeom>
        </p:spPr>
        <p:txBody>
          <a:bodyPr vert="horz" lIns="92446" tIns="46223" rIns="92446" bIns="46223" rtlCol="0" anchor="b"/>
          <a:lstStyle>
            <a:lvl1pPr algn="l">
              <a:defRPr sz="1200"/>
            </a:lvl1pPr>
          </a:lstStyle>
          <a:p>
            <a:endParaRPr lang="en-US"/>
          </a:p>
        </p:txBody>
      </p:sp>
      <p:sp>
        <p:nvSpPr>
          <p:cNvPr id="5" name="Slide Number Placeholder 4"/>
          <p:cNvSpPr>
            <a:spLocks noGrp="1"/>
          </p:cNvSpPr>
          <p:nvPr>
            <p:ph type="sldNum" sz="quarter" idx="3"/>
          </p:nvPr>
        </p:nvSpPr>
        <p:spPr>
          <a:xfrm>
            <a:off x="3898102" y="8829967"/>
            <a:ext cx="2982119" cy="466433"/>
          </a:xfrm>
          <a:prstGeom prst="rect">
            <a:avLst/>
          </a:prstGeom>
        </p:spPr>
        <p:txBody>
          <a:bodyPr vert="horz" lIns="92446" tIns="46223" rIns="92446" bIns="46223" rtlCol="0" anchor="b"/>
          <a:lstStyle>
            <a:lvl1pPr algn="r">
              <a:defRPr sz="1200"/>
            </a:lvl1pPr>
          </a:lstStyle>
          <a:p>
            <a:fld id="{0607B9C4-92FE-41F6-BD0F-E9DF24F858D6}" type="slidenum">
              <a:rPr lang="en-US" smtClean="0"/>
              <a:t>‹#›</a:t>
            </a:fld>
            <a:endParaRPr lang="en-US"/>
          </a:p>
        </p:txBody>
      </p:sp>
    </p:spTree>
    <p:extLst>
      <p:ext uri="{BB962C8B-B14F-4D97-AF65-F5344CB8AC3E}">
        <p14:creationId xmlns:p14="http://schemas.microsoft.com/office/powerpoint/2010/main" val="32558849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6434"/>
          </a:xfrm>
          <a:prstGeom prst="rect">
            <a:avLst/>
          </a:prstGeom>
        </p:spPr>
        <p:txBody>
          <a:bodyPr vert="horz" lIns="92446" tIns="46223" rIns="92446" bIns="46223" rtlCol="0"/>
          <a:lstStyle>
            <a:lvl1pPr algn="l">
              <a:defRPr sz="1200"/>
            </a:lvl1pPr>
          </a:lstStyle>
          <a:p>
            <a:endParaRPr lang="en-US"/>
          </a:p>
        </p:txBody>
      </p:sp>
      <p:sp>
        <p:nvSpPr>
          <p:cNvPr id="3" name="Date Placeholder 2"/>
          <p:cNvSpPr>
            <a:spLocks noGrp="1"/>
          </p:cNvSpPr>
          <p:nvPr>
            <p:ph type="dt" idx="1"/>
          </p:nvPr>
        </p:nvSpPr>
        <p:spPr>
          <a:xfrm>
            <a:off x="3898102" y="0"/>
            <a:ext cx="2982119" cy="466434"/>
          </a:xfrm>
          <a:prstGeom prst="rect">
            <a:avLst/>
          </a:prstGeom>
        </p:spPr>
        <p:txBody>
          <a:bodyPr vert="horz" lIns="92446" tIns="46223" rIns="92446" bIns="46223" rtlCol="0"/>
          <a:lstStyle>
            <a:lvl1pPr algn="r">
              <a:defRPr sz="1200"/>
            </a:lvl1pPr>
          </a:lstStyle>
          <a:p>
            <a:fld id="{B6010927-47BA-4D28-9C54-FD4B854E0539}" type="datetimeFigureOut">
              <a:rPr lang="en-US" smtClean="0"/>
              <a:t>10/23/2018</a:t>
            </a:fld>
            <a:endParaRPr lang="en-US"/>
          </a:p>
        </p:txBody>
      </p:sp>
      <p:sp>
        <p:nvSpPr>
          <p:cNvPr id="4" name="Slide Image Placeholder 3"/>
          <p:cNvSpPr>
            <a:spLocks noGrp="1" noRot="1" noChangeAspect="1"/>
          </p:cNvSpPr>
          <p:nvPr>
            <p:ph type="sldImg" idx="2"/>
          </p:nvPr>
        </p:nvSpPr>
        <p:spPr>
          <a:xfrm>
            <a:off x="654050" y="1162050"/>
            <a:ext cx="5575300" cy="3136900"/>
          </a:xfrm>
          <a:prstGeom prst="rect">
            <a:avLst/>
          </a:prstGeom>
          <a:noFill/>
          <a:ln w="12700">
            <a:solidFill>
              <a:prstClr val="black"/>
            </a:solidFill>
          </a:ln>
        </p:spPr>
        <p:txBody>
          <a:bodyPr vert="horz" lIns="92446" tIns="46223" rIns="92446" bIns="46223" rtlCol="0" anchor="ctr"/>
          <a:lstStyle/>
          <a:p>
            <a:endParaRPr lang="en-US"/>
          </a:p>
        </p:txBody>
      </p:sp>
      <p:sp>
        <p:nvSpPr>
          <p:cNvPr id="5" name="Notes Placeholder 4"/>
          <p:cNvSpPr>
            <a:spLocks noGrp="1"/>
          </p:cNvSpPr>
          <p:nvPr>
            <p:ph type="body" sz="quarter" idx="3"/>
          </p:nvPr>
        </p:nvSpPr>
        <p:spPr>
          <a:xfrm>
            <a:off x="688182" y="4473892"/>
            <a:ext cx="5505450" cy="3660458"/>
          </a:xfrm>
          <a:prstGeom prst="rect">
            <a:avLst/>
          </a:prstGeom>
        </p:spPr>
        <p:txBody>
          <a:bodyPr vert="horz" lIns="92446" tIns="46223" rIns="92446" bIns="4622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2982119" cy="466433"/>
          </a:xfrm>
          <a:prstGeom prst="rect">
            <a:avLst/>
          </a:prstGeom>
        </p:spPr>
        <p:txBody>
          <a:bodyPr vert="horz" lIns="92446" tIns="46223" rIns="92446" bIns="46223" rtlCol="0" anchor="b"/>
          <a:lstStyle>
            <a:lvl1pPr algn="l">
              <a:defRPr sz="1200"/>
            </a:lvl1pPr>
          </a:lstStyle>
          <a:p>
            <a:endParaRPr lang="en-US"/>
          </a:p>
        </p:txBody>
      </p:sp>
      <p:sp>
        <p:nvSpPr>
          <p:cNvPr id="7" name="Slide Number Placeholder 6"/>
          <p:cNvSpPr>
            <a:spLocks noGrp="1"/>
          </p:cNvSpPr>
          <p:nvPr>
            <p:ph type="sldNum" sz="quarter" idx="5"/>
          </p:nvPr>
        </p:nvSpPr>
        <p:spPr>
          <a:xfrm>
            <a:off x="3898102" y="8829967"/>
            <a:ext cx="2982119" cy="466433"/>
          </a:xfrm>
          <a:prstGeom prst="rect">
            <a:avLst/>
          </a:prstGeom>
        </p:spPr>
        <p:txBody>
          <a:bodyPr vert="horz" lIns="92446" tIns="46223" rIns="92446" bIns="46223" rtlCol="0" anchor="b"/>
          <a:lstStyle>
            <a:lvl1pPr algn="r">
              <a:defRPr sz="1200"/>
            </a:lvl1pPr>
          </a:lstStyle>
          <a:p>
            <a:fld id="{F34B114E-27F4-435E-A829-B5251F496C7F}" type="slidenum">
              <a:rPr lang="en-US" smtClean="0"/>
              <a:t>‹#›</a:t>
            </a:fld>
            <a:endParaRPr lang="en-US"/>
          </a:p>
        </p:txBody>
      </p:sp>
    </p:spTree>
    <p:extLst>
      <p:ext uri="{BB962C8B-B14F-4D97-AF65-F5344CB8AC3E}">
        <p14:creationId xmlns:p14="http://schemas.microsoft.com/office/powerpoint/2010/main" val="23845217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1</a:t>
            </a:fld>
            <a:endParaRPr lang="en-US"/>
          </a:p>
        </p:txBody>
      </p:sp>
    </p:spTree>
    <p:extLst>
      <p:ext uri="{BB962C8B-B14F-4D97-AF65-F5344CB8AC3E}">
        <p14:creationId xmlns:p14="http://schemas.microsoft.com/office/powerpoint/2010/main" val="19670467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10</a:t>
            </a:fld>
            <a:endParaRPr lang="en-US"/>
          </a:p>
        </p:txBody>
      </p:sp>
    </p:spTree>
    <p:extLst>
      <p:ext uri="{BB962C8B-B14F-4D97-AF65-F5344CB8AC3E}">
        <p14:creationId xmlns:p14="http://schemas.microsoft.com/office/powerpoint/2010/main" val="5590502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argely within sales team</a:t>
            </a:r>
          </a:p>
          <a:p>
            <a:r>
              <a:rPr lang="en-US" dirty="0" smtClean="0"/>
              <a:t>Engage with </a:t>
            </a:r>
            <a:r>
              <a:rPr lang="en-US" dirty="0" err="1" smtClean="0"/>
              <a:t>fintechs</a:t>
            </a:r>
            <a:r>
              <a:rPr lang="en-US" dirty="0" smtClean="0"/>
              <a:t> on some collaboration </a:t>
            </a:r>
            <a:r>
              <a:rPr lang="en-US" baseline="0" dirty="0" smtClean="0"/>
              <a:t>largely on an </a:t>
            </a:r>
            <a:r>
              <a:rPr lang="en-US" baseline="0" dirty="0" err="1" smtClean="0"/>
              <a:t>adhoc</a:t>
            </a:r>
            <a:r>
              <a:rPr lang="en-US" baseline="0" dirty="0" smtClean="0"/>
              <a:t> basis</a:t>
            </a:r>
            <a:endParaRPr lang="en-US" dirty="0" smtClean="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11</a:t>
            </a:fld>
            <a:endParaRPr lang="en-AU" dirty="0">
              <a:solidFill>
                <a:prstClr val="black"/>
              </a:solidFill>
            </a:endParaRPr>
          </a:p>
        </p:txBody>
      </p:sp>
    </p:spTree>
    <p:extLst>
      <p:ext uri="{BB962C8B-B14F-4D97-AF65-F5344CB8AC3E}">
        <p14:creationId xmlns:p14="http://schemas.microsoft.com/office/powerpoint/2010/main" val="16418766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argely within sales team</a:t>
            </a:r>
          </a:p>
          <a:p>
            <a:r>
              <a:rPr lang="en-US" dirty="0" smtClean="0"/>
              <a:t>Engage with </a:t>
            </a:r>
            <a:r>
              <a:rPr lang="en-US" dirty="0" err="1" smtClean="0"/>
              <a:t>fintechs</a:t>
            </a:r>
            <a:r>
              <a:rPr lang="en-US" dirty="0" smtClean="0"/>
              <a:t> on some collaboration </a:t>
            </a:r>
            <a:r>
              <a:rPr lang="en-US" baseline="0" dirty="0" smtClean="0"/>
              <a:t>largely on an </a:t>
            </a:r>
            <a:r>
              <a:rPr lang="en-US" baseline="0" dirty="0" err="1" smtClean="0"/>
              <a:t>adhoc</a:t>
            </a:r>
            <a:r>
              <a:rPr lang="en-US" baseline="0" dirty="0" smtClean="0"/>
              <a:t> basis</a:t>
            </a:r>
            <a:endParaRPr lang="en-US" dirty="0" smtClean="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12</a:t>
            </a:fld>
            <a:endParaRPr lang="en-AU" dirty="0">
              <a:solidFill>
                <a:prstClr val="black"/>
              </a:solidFill>
            </a:endParaRPr>
          </a:p>
        </p:txBody>
      </p:sp>
    </p:spTree>
    <p:extLst>
      <p:ext uri="{BB962C8B-B14F-4D97-AF65-F5344CB8AC3E}">
        <p14:creationId xmlns:p14="http://schemas.microsoft.com/office/powerpoint/2010/main" val="4906894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argely within sales team</a:t>
            </a:r>
          </a:p>
          <a:p>
            <a:r>
              <a:rPr lang="en-US" dirty="0" smtClean="0"/>
              <a:t>Engage with </a:t>
            </a:r>
            <a:r>
              <a:rPr lang="en-US" dirty="0" err="1" smtClean="0"/>
              <a:t>fintechs</a:t>
            </a:r>
            <a:r>
              <a:rPr lang="en-US" dirty="0" smtClean="0"/>
              <a:t> on some collaboration </a:t>
            </a:r>
            <a:r>
              <a:rPr lang="en-US" baseline="0" dirty="0" smtClean="0"/>
              <a:t>largely on an </a:t>
            </a:r>
            <a:r>
              <a:rPr lang="en-US" baseline="0" dirty="0" err="1" smtClean="0"/>
              <a:t>adhoc</a:t>
            </a:r>
            <a:r>
              <a:rPr lang="en-US" baseline="0" dirty="0" smtClean="0"/>
              <a:t> basis</a:t>
            </a:r>
            <a:endParaRPr lang="en-US" dirty="0" smtClean="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13</a:t>
            </a:fld>
            <a:endParaRPr lang="en-AU" dirty="0">
              <a:solidFill>
                <a:prstClr val="black"/>
              </a:solidFill>
            </a:endParaRPr>
          </a:p>
        </p:txBody>
      </p:sp>
    </p:spTree>
    <p:extLst>
      <p:ext uri="{BB962C8B-B14F-4D97-AF65-F5344CB8AC3E}">
        <p14:creationId xmlns:p14="http://schemas.microsoft.com/office/powerpoint/2010/main" val="31538485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argely within sales team</a:t>
            </a:r>
          </a:p>
          <a:p>
            <a:r>
              <a:rPr lang="en-US" dirty="0" smtClean="0"/>
              <a:t>Engage with </a:t>
            </a:r>
            <a:r>
              <a:rPr lang="en-US" dirty="0" err="1" smtClean="0"/>
              <a:t>fintechs</a:t>
            </a:r>
            <a:r>
              <a:rPr lang="en-US" dirty="0" smtClean="0"/>
              <a:t> on some collaboration </a:t>
            </a:r>
            <a:r>
              <a:rPr lang="en-US" baseline="0" dirty="0" smtClean="0"/>
              <a:t>largely on an </a:t>
            </a:r>
            <a:r>
              <a:rPr lang="en-US" baseline="0" dirty="0" err="1" smtClean="0"/>
              <a:t>adhoc</a:t>
            </a:r>
            <a:r>
              <a:rPr lang="en-US" baseline="0" dirty="0" smtClean="0"/>
              <a:t> basis</a:t>
            </a:r>
            <a:endParaRPr lang="en-US" dirty="0" smtClean="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14</a:t>
            </a:fld>
            <a:endParaRPr lang="en-AU" dirty="0">
              <a:solidFill>
                <a:prstClr val="black"/>
              </a:solidFill>
            </a:endParaRPr>
          </a:p>
        </p:txBody>
      </p:sp>
    </p:spTree>
    <p:extLst>
      <p:ext uri="{BB962C8B-B14F-4D97-AF65-F5344CB8AC3E}">
        <p14:creationId xmlns:p14="http://schemas.microsoft.com/office/powerpoint/2010/main" val="11842830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argely within sales team</a:t>
            </a:r>
          </a:p>
          <a:p>
            <a:r>
              <a:rPr lang="en-US" dirty="0" smtClean="0"/>
              <a:t>Engage with </a:t>
            </a:r>
            <a:r>
              <a:rPr lang="en-US" dirty="0" err="1" smtClean="0"/>
              <a:t>fintechs</a:t>
            </a:r>
            <a:r>
              <a:rPr lang="en-US" dirty="0" smtClean="0"/>
              <a:t> on some collaboration </a:t>
            </a:r>
            <a:r>
              <a:rPr lang="en-US" baseline="0" dirty="0" smtClean="0"/>
              <a:t>largely on an </a:t>
            </a:r>
            <a:r>
              <a:rPr lang="en-US" baseline="0" dirty="0" err="1" smtClean="0"/>
              <a:t>adhoc</a:t>
            </a:r>
            <a:r>
              <a:rPr lang="en-US" baseline="0" dirty="0" smtClean="0"/>
              <a:t> basis</a:t>
            </a:r>
            <a:endParaRPr lang="en-US" dirty="0" smtClean="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15</a:t>
            </a:fld>
            <a:endParaRPr lang="en-AU" dirty="0">
              <a:solidFill>
                <a:prstClr val="black"/>
              </a:solidFill>
            </a:endParaRPr>
          </a:p>
        </p:txBody>
      </p:sp>
    </p:spTree>
    <p:extLst>
      <p:ext uri="{BB962C8B-B14F-4D97-AF65-F5344CB8AC3E}">
        <p14:creationId xmlns:p14="http://schemas.microsoft.com/office/powerpoint/2010/main" val="23182502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argely within sales team</a:t>
            </a:r>
          </a:p>
          <a:p>
            <a:r>
              <a:rPr lang="en-US" dirty="0" smtClean="0"/>
              <a:t>Engage with </a:t>
            </a:r>
            <a:r>
              <a:rPr lang="en-US" dirty="0" err="1" smtClean="0"/>
              <a:t>fintechs</a:t>
            </a:r>
            <a:r>
              <a:rPr lang="en-US" dirty="0" smtClean="0"/>
              <a:t> on some collaboration </a:t>
            </a:r>
            <a:r>
              <a:rPr lang="en-US" baseline="0" dirty="0" smtClean="0"/>
              <a:t>largely on an </a:t>
            </a:r>
            <a:r>
              <a:rPr lang="en-US" baseline="0" dirty="0" err="1" smtClean="0"/>
              <a:t>adhoc</a:t>
            </a:r>
            <a:r>
              <a:rPr lang="en-US" baseline="0" dirty="0" smtClean="0"/>
              <a:t> basis</a:t>
            </a:r>
            <a:endParaRPr lang="en-US" dirty="0" smtClean="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16</a:t>
            </a:fld>
            <a:endParaRPr lang="en-AU" dirty="0">
              <a:solidFill>
                <a:prstClr val="black"/>
              </a:solidFill>
            </a:endParaRPr>
          </a:p>
        </p:txBody>
      </p:sp>
    </p:spTree>
    <p:extLst>
      <p:ext uri="{BB962C8B-B14F-4D97-AF65-F5344CB8AC3E}">
        <p14:creationId xmlns:p14="http://schemas.microsoft.com/office/powerpoint/2010/main" val="17006760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2</a:t>
            </a:fld>
            <a:endParaRPr lang="en-AU" dirty="0">
              <a:solidFill>
                <a:prstClr val="black"/>
              </a:solidFill>
            </a:endParaRPr>
          </a:p>
        </p:txBody>
      </p:sp>
    </p:spTree>
    <p:extLst>
      <p:ext uri="{BB962C8B-B14F-4D97-AF65-F5344CB8AC3E}">
        <p14:creationId xmlns:p14="http://schemas.microsoft.com/office/powerpoint/2010/main" val="233433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3</a:t>
            </a:fld>
            <a:endParaRPr lang="en-AU" dirty="0">
              <a:solidFill>
                <a:prstClr val="black"/>
              </a:solidFill>
            </a:endParaRPr>
          </a:p>
        </p:txBody>
      </p:sp>
    </p:spTree>
    <p:extLst>
      <p:ext uri="{BB962C8B-B14F-4D97-AF65-F5344CB8AC3E}">
        <p14:creationId xmlns:p14="http://schemas.microsoft.com/office/powerpoint/2010/main" val="38575770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4</a:t>
            </a:fld>
            <a:endParaRPr lang="en-US"/>
          </a:p>
        </p:txBody>
      </p:sp>
    </p:spTree>
    <p:extLst>
      <p:ext uri="{BB962C8B-B14F-4D97-AF65-F5344CB8AC3E}">
        <p14:creationId xmlns:p14="http://schemas.microsoft.com/office/powerpoint/2010/main" val="948858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5</a:t>
            </a:fld>
            <a:endParaRPr lang="en-US"/>
          </a:p>
        </p:txBody>
      </p:sp>
    </p:spTree>
    <p:extLst>
      <p:ext uri="{BB962C8B-B14F-4D97-AF65-F5344CB8AC3E}">
        <p14:creationId xmlns:p14="http://schemas.microsoft.com/office/powerpoint/2010/main" val="14013652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6</a:t>
            </a:fld>
            <a:endParaRPr lang="en-US"/>
          </a:p>
        </p:txBody>
      </p:sp>
    </p:spTree>
    <p:extLst>
      <p:ext uri="{BB962C8B-B14F-4D97-AF65-F5344CB8AC3E}">
        <p14:creationId xmlns:p14="http://schemas.microsoft.com/office/powerpoint/2010/main" val="28375022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7</a:t>
            </a:fld>
            <a:endParaRPr lang="en-US"/>
          </a:p>
        </p:txBody>
      </p:sp>
    </p:spTree>
    <p:extLst>
      <p:ext uri="{BB962C8B-B14F-4D97-AF65-F5344CB8AC3E}">
        <p14:creationId xmlns:p14="http://schemas.microsoft.com/office/powerpoint/2010/main" val="26797344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4B114E-27F4-435E-A829-B5251F496C7F}" type="slidenum">
              <a:rPr lang="en-US" smtClean="0"/>
              <a:t>8</a:t>
            </a:fld>
            <a:endParaRPr lang="en-US"/>
          </a:p>
        </p:txBody>
      </p:sp>
    </p:spTree>
    <p:extLst>
      <p:ext uri="{BB962C8B-B14F-4D97-AF65-F5344CB8AC3E}">
        <p14:creationId xmlns:p14="http://schemas.microsoft.com/office/powerpoint/2010/main" val="12065875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a:t>
            </a:r>
            <a:r>
              <a:rPr lang="en-US" dirty="0" err="1" smtClean="0"/>
              <a:t>colours</a:t>
            </a:r>
            <a:endParaRPr lang="en-US" dirty="0" smtClean="0"/>
          </a:p>
          <a:p>
            <a:r>
              <a:rPr lang="en-US" dirty="0" smtClean="0"/>
              <a:t>Ecosystem scanning</a:t>
            </a:r>
          </a:p>
          <a:p>
            <a:endParaRPr lang="en-US" dirty="0" smtClean="0"/>
          </a:p>
          <a:p>
            <a:r>
              <a:rPr lang="en-US" dirty="0" smtClean="0"/>
              <a:t>CRM</a:t>
            </a:r>
            <a:endParaRPr lang="en-GB" dirty="0"/>
          </a:p>
        </p:txBody>
      </p:sp>
      <p:sp>
        <p:nvSpPr>
          <p:cNvPr id="4" name="Slide Number Placeholder 3"/>
          <p:cNvSpPr>
            <a:spLocks noGrp="1"/>
          </p:cNvSpPr>
          <p:nvPr>
            <p:ph type="sldNum" sz="quarter" idx="10"/>
          </p:nvPr>
        </p:nvSpPr>
        <p:spPr/>
        <p:txBody>
          <a:bodyPr/>
          <a:lstStyle/>
          <a:p>
            <a:fld id="{B9A874CB-CC6B-4A8C-9EA1-93B7A646ACC6}" type="slidenum">
              <a:rPr lang="en-AU" smtClean="0">
                <a:solidFill>
                  <a:prstClr val="black"/>
                </a:solidFill>
              </a:rPr>
              <a:pPr/>
              <a:t>9</a:t>
            </a:fld>
            <a:endParaRPr lang="en-AU" dirty="0">
              <a:solidFill>
                <a:prstClr val="black"/>
              </a:solidFill>
            </a:endParaRPr>
          </a:p>
        </p:txBody>
      </p:sp>
    </p:spTree>
    <p:extLst>
      <p:ext uri="{BB962C8B-B14F-4D97-AF65-F5344CB8AC3E}">
        <p14:creationId xmlns:p14="http://schemas.microsoft.com/office/powerpoint/2010/main" val="37507832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10.png"/></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7.png"/><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416025" y="265043"/>
            <a:ext cx="8247208" cy="781879"/>
          </a:xfrm>
          <a:prstGeom prst="rect">
            <a:avLst/>
          </a:prstGeom>
        </p:spPr>
        <p:txBody>
          <a:bodyPr lIns="0"/>
          <a:lstStyle>
            <a:lvl1pPr>
              <a:lnSpc>
                <a:spcPct val="70000"/>
              </a:lnSpc>
              <a:defRPr sz="2400" b="0">
                <a:latin typeface="Arial" panose="020B0604020202020204" pitchFamily="34" charset="0"/>
                <a:cs typeface="Arial" panose="020B0604020202020204" pitchFamily="34" charset="0"/>
              </a:defRPr>
            </a:lvl1pPr>
          </a:lstStyle>
          <a:p>
            <a:r>
              <a:rPr lang="en-US" dirty="0"/>
              <a:t>Click to edit Master title style</a:t>
            </a:r>
            <a:endParaRPr lang="en-GB" dirty="0"/>
          </a:p>
        </p:txBody>
      </p:sp>
      <p:grpSp>
        <p:nvGrpSpPr>
          <p:cNvPr id="3" name="Group 2"/>
          <p:cNvGrpSpPr/>
          <p:nvPr userDrawn="1"/>
        </p:nvGrpSpPr>
        <p:grpSpPr>
          <a:xfrm>
            <a:off x="8839200" y="0"/>
            <a:ext cx="3352800" cy="6858000"/>
            <a:chOff x="8839200" y="0"/>
            <a:chExt cx="3352800" cy="6858000"/>
          </a:xfrm>
        </p:grpSpPr>
        <p:sp>
          <p:nvSpPr>
            <p:cNvPr id="4" name="Rectangle 3"/>
            <p:cNvSpPr/>
            <p:nvPr/>
          </p:nvSpPr>
          <p:spPr>
            <a:xfrm>
              <a:off x="8839200" y="0"/>
              <a:ext cx="3352800" cy="6858000"/>
            </a:xfrm>
            <a:prstGeom prst="rect">
              <a:avLst/>
            </a:prstGeom>
            <a:solidFill>
              <a:schemeClr val="accent4"/>
            </a:solidFill>
            <a:ln w="31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800" b="1" dirty="0">
                <a:latin typeface="Univers for KPMG"/>
                <a:cs typeface="Univers for KPMG"/>
              </a:endParaRPr>
            </a:p>
          </p:txBody>
        </p:sp>
        <p:sp>
          <p:nvSpPr>
            <p:cNvPr id="5" name="Isosceles Triangle 4"/>
            <p:cNvSpPr/>
            <p:nvPr/>
          </p:nvSpPr>
          <p:spPr>
            <a:xfrm rot="5400000">
              <a:off x="8723202" y="3150447"/>
              <a:ext cx="612008" cy="380012"/>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6" name="Text Placeholder 1"/>
          <p:cNvSpPr txBox="1">
            <a:spLocks/>
          </p:cNvSpPr>
          <p:nvPr userDrawn="1"/>
        </p:nvSpPr>
        <p:spPr>
          <a:xfrm>
            <a:off x="8945659" y="635635"/>
            <a:ext cx="3078135" cy="5894244"/>
          </a:xfrm>
          <a:prstGeom prst="rect">
            <a:avLst/>
          </a:prstGeom>
          <a:noFill/>
        </p:spPr>
        <p:txBody>
          <a:bodyPr vert="horz" wrap="square" lIns="0" tIns="0" rIns="0" bIns="0" rtlCol="0" anchor="ctr">
            <a:noAutofit/>
          </a:bodyPr>
          <a:lstStyle>
            <a:lvl1pPr marL="0" indent="0" algn="l" defTabSz="609585" rtl="0" eaLnBrk="1" latinLnBrk="0" hangingPunct="1">
              <a:spcBef>
                <a:spcPts val="0"/>
              </a:spcBef>
              <a:spcAft>
                <a:spcPts val="800"/>
              </a:spcAft>
              <a:buFont typeface="Arial"/>
              <a:buNone/>
              <a:defRPr sz="1500" b="1" i="0" kern="1200">
                <a:solidFill>
                  <a:schemeClr val="tx2"/>
                </a:solidFill>
                <a:latin typeface="Arial" panose="020B0604020202020204" pitchFamily="34" charset="0"/>
                <a:ea typeface="+mn-ea"/>
                <a:cs typeface="Arial" panose="020B0604020202020204" pitchFamily="34" charset="0"/>
              </a:defRPr>
            </a:lvl1pPr>
            <a:lvl2pPr marL="0" indent="0" algn="l" defTabSz="609585" rtl="0" eaLnBrk="1" latinLnBrk="0" hangingPunct="1">
              <a:spcBef>
                <a:spcPts val="0"/>
              </a:spcBef>
              <a:spcAft>
                <a:spcPts val="800"/>
              </a:spcAft>
              <a:buFont typeface="Arial"/>
              <a:buNone/>
              <a:tabLst/>
              <a:defRPr kumimoji="0" lang="en-US" sz="1500" b="0" i="0" u="none" strike="noStrike" kern="0" cap="none" spc="0" normalizeH="0" baseline="0" dirty="0" smtClean="0">
                <a:ln>
                  <a:noFill/>
                </a:ln>
                <a:solidFill>
                  <a:schemeClr val="tx2"/>
                </a:solidFill>
                <a:effectLst/>
                <a:uLnTx/>
                <a:uFillTx/>
                <a:latin typeface="Arial" panose="020B0604020202020204" pitchFamily="34" charset="0"/>
                <a:ea typeface="+mn-ea"/>
                <a:cs typeface="Arial" panose="020B0604020202020204" pitchFamily="34" charset="0"/>
              </a:defRPr>
            </a:lvl2pPr>
            <a:lvl3pPr marL="283464" indent="-283464" algn="l" defTabSz="914400" rtl="0" eaLnBrk="1" latinLnBrk="0" hangingPunct="1">
              <a:spcBef>
                <a:spcPts val="0"/>
              </a:spcBef>
              <a:spcAft>
                <a:spcPts val="600"/>
              </a:spcAft>
              <a:buClr>
                <a:schemeClr val="tx2"/>
              </a:buClr>
              <a:buFont typeface="Arial" panose="020B0604020202020204" pitchFamily="34" charset="0"/>
              <a:buChar char="—"/>
              <a:defRPr kumimoji="0" lang="en-US" sz="1500" b="0" i="0" u="none" strike="noStrike" kern="0" cap="none" spc="0" normalizeH="0" baseline="0" dirty="0" smtClean="0">
                <a:ln>
                  <a:noFill/>
                </a:ln>
                <a:solidFill>
                  <a:schemeClr val="tx2"/>
                </a:solidFill>
                <a:effectLst/>
                <a:uLnTx/>
                <a:uFillTx/>
                <a:latin typeface="Arial" panose="020B0604020202020204" pitchFamily="34" charset="0"/>
                <a:ea typeface="+mn-ea"/>
                <a:cs typeface="Arial" panose="020B0604020202020204" pitchFamily="34" charset="0"/>
              </a:defRPr>
            </a:lvl3pPr>
            <a:lvl4pPr marL="457200" indent="-166688" algn="l" defTabSz="914400" rtl="0" eaLnBrk="1" latinLnBrk="0" hangingPunct="1">
              <a:spcBef>
                <a:spcPts val="0"/>
              </a:spcBef>
              <a:spcAft>
                <a:spcPts val="600"/>
              </a:spcAft>
              <a:buClr>
                <a:schemeClr val="tx2"/>
              </a:buClr>
              <a:buSzPct val="80000"/>
              <a:buFont typeface="Arial" panose="020B0604020202020204" pitchFamily="34" charset="0"/>
              <a:buChar char="-"/>
              <a:defRPr kumimoji="0" lang="en-US" sz="1500" b="0" i="0" u="none" strike="noStrike" kern="0" cap="none" spc="0" normalizeH="0" baseline="0" dirty="0" smtClean="0">
                <a:ln>
                  <a:noFill/>
                </a:ln>
                <a:solidFill>
                  <a:schemeClr val="tx2"/>
                </a:solidFill>
                <a:effectLst/>
                <a:uLnTx/>
                <a:uFillTx/>
                <a:latin typeface="Arial" panose="020B0604020202020204" pitchFamily="34" charset="0"/>
                <a:ea typeface="+mn-ea"/>
                <a:cs typeface="Arial" panose="020B0604020202020204" pitchFamily="34" charset="0"/>
              </a:defRPr>
            </a:lvl4pPr>
            <a:lvl5pPr marL="749808" indent="-292608" algn="l" defTabSz="914400" rtl="0" eaLnBrk="1" latinLnBrk="0" hangingPunct="1">
              <a:spcBef>
                <a:spcPts val="0"/>
              </a:spcBef>
              <a:spcAft>
                <a:spcPts val="600"/>
              </a:spcAft>
              <a:buClr>
                <a:schemeClr val="tx2"/>
              </a:buClr>
              <a:buFont typeface="Arial" panose="020B0604020202020204" pitchFamily="34" charset="0"/>
              <a:buChar char="—"/>
              <a:defRPr kumimoji="0" lang="en-US" sz="1500" b="0" i="0" u="none" strike="noStrike" kern="0" cap="none" spc="0" normalizeH="0" baseline="0">
                <a:ln>
                  <a:noFill/>
                </a:ln>
                <a:solidFill>
                  <a:schemeClr val="tx2"/>
                </a:solidFill>
                <a:effectLst/>
                <a:uLnTx/>
                <a:uFillTx/>
                <a:latin typeface="Arial" panose="020B0604020202020204" pitchFamily="34" charset="0"/>
                <a:ea typeface="+mn-ea"/>
                <a:cs typeface="Arial" panose="020B0604020202020204" pitchFamily="34" charset="0"/>
              </a:defRPr>
            </a:lvl5pPr>
            <a:lvl6pPr marL="690563" indent="-174625" algn="l" defTabSz="609585" rtl="0" eaLnBrk="1" latinLnBrk="0" hangingPunct="1">
              <a:spcBef>
                <a:spcPts val="0"/>
              </a:spcBef>
              <a:spcAft>
                <a:spcPts val="600"/>
              </a:spcAft>
              <a:buFont typeface="Univers for KPMG Light" panose="020B0403020202020204" pitchFamily="34" charset="0"/>
              <a:buChar char="-"/>
              <a:defRPr kumimoji="0" lang="en-US" sz="1500" b="0" i="0" u="none" strike="noStrike" kern="0" cap="none" spc="0" normalizeH="0" baseline="0">
                <a:ln>
                  <a:noFill/>
                </a:ln>
                <a:solidFill>
                  <a:schemeClr val="tx2"/>
                </a:solidFill>
                <a:effectLst/>
                <a:uLnTx/>
                <a:uFillTx/>
                <a:latin typeface="Univers for KPMG Light" panose="020B0403020202020204" pitchFamily="34" charset="0"/>
                <a:ea typeface="+mn-ea"/>
                <a:cs typeface="+mn-cs"/>
              </a:defRPr>
            </a:lvl6pPr>
            <a:lvl7pPr marL="1706563" indent="-309600" algn="l" defTabSz="609585" rtl="0" eaLnBrk="1" latinLnBrk="0" hangingPunct="1">
              <a:spcBef>
                <a:spcPts val="0"/>
              </a:spcBef>
              <a:spcAft>
                <a:spcPts val="600"/>
              </a:spcAft>
              <a:buFont typeface="Univers for KPMG Light" panose="020B0403020202020204" pitchFamily="34" charset="0"/>
              <a:buChar char="—"/>
              <a:defRPr lang="en-US" sz="1600" b="0" i="0" kern="1200" dirty="0" smtClean="0">
                <a:solidFill>
                  <a:schemeClr val="tx2"/>
                </a:solidFill>
                <a:latin typeface="Univers for KPMG Light" panose="020B0403020202020204" pitchFamily="34" charset="0"/>
                <a:ea typeface="+mn-ea"/>
                <a:cs typeface="+mn-cs"/>
              </a:defRPr>
            </a:lvl7pPr>
            <a:lvl8pPr marL="2063750" indent="-248400" algn="l" defTabSz="609585" rtl="0" eaLnBrk="1" latinLnBrk="0" hangingPunct="1">
              <a:spcBef>
                <a:spcPts val="0"/>
              </a:spcBef>
              <a:spcAft>
                <a:spcPts val="600"/>
              </a:spcAft>
              <a:buFont typeface="Univers for KPMG Light" panose="020B0403020202020204" pitchFamily="34" charset="0"/>
              <a:buChar char="-"/>
              <a:defRPr lang="en-US" sz="1600" kern="1200" dirty="0" smtClean="0">
                <a:solidFill>
                  <a:schemeClr val="tx2"/>
                </a:solidFill>
                <a:latin typeface="Univers for KPMG Light" panose="020B0403020202020204" pitchFamily="34" charset="0"/>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177800" indent="-177800">
              <a:spcBef>
                <a:spcPts val="300"/>
              </a:spcBef>
              <a:spcAft>
                <a:spcPts val="600"/>
              </a:spcAft>
              <a:buFont typeface="Wingdings" panose="05000000000000000000" pitchFamily="2" charset="2"/>
              <a:buChar char="§"/>
            </a:pPr>
            <a:endParaRPr lang="en-US" sz="1600" b="1" dirty="0">
              <a:solidFill>
                <a:srgbClr val="FFFFFF"/>
              </a:solidFill>
              <a:latin typeface="Univers LT Std 45 Light" panose="020B0403020202020204"/>
            </a:endParaRPr>
          </a:p>
        </p:txBody>
      </p:sp>
    </p:spTree>
    <p:extLst>
      <p:ext uri="{BB962C8B-B14F-4D97-AF65-F5344CB8AC3E}">
        <p14:creationId xmlns:p14="http://schemas.microsoft.com/office/powerpoint/2010/main" val="7997137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319728" y="246224"/>
            <a:ext cx="11552542" cy="776605"/>
          </a:xfrm>
          <a:prstGeom prst="rect">
            <a:avLst/>
          </a:prstGeom>
        </p:spPr>
        <p:txBody>
          <a:bodyPr lIns="0" tIns="0" rIns="0" bIns="0"/>
          <a:lstStyle>
            <a:lvl1pPr>
              <a:defRPr sz="2000" b="1" i="0">
                <a:solidFill>
                  <a:srgbClr val="009FDA"/>
                </a:solidFill>
                <a:latin typeface="Univers 47 CondensedLight"/>
                <a:cs typeface="Univers 47 CondensedLight"/>
              </a:defRPr>
            </a:lvl1pPr>
          </a:lstStyle>
          <a:p>
            <a:endParaRPr/>
          </a:p>
        </p:txBody>
      </p:sp>
      <p:sp>
        <p:nvSpPr>
          <p:cNvPr id="3" name="Holder 3"/>
          <p:cNvSpPr>
            <a:spLocks noGrp="1"/>
          </p:cNvSpPr>
          <p:nvPr>
            <p:ph type="body" idx="1"/>
          </p:nvPr>
        </p:nvSpPr>
        <p:spPr>
          <a:xfrm>
            <a:off x="2041393" y="1736427"/>
            <a:ext cx="8109215" cy="3359150"/>
          </a:xfrm>
          <a:prstGeom prst="rect">
            <a:avLst/>
          </a:prstGeom>
        </p:spPr>
        <p:txBody>
          <a:bodyPr lIns="0" tIns="0" rIns="0" bIns="0"/>
          <a:lstStyle>
            <a:lvl1pPr>
              <a:defRPr sz="1800" b="1" i="0">
                <a:solidFill>
                  <a:srgbClr val="EBB700"/>
                </a:solidFill>
                <a:latin typeface="Univers 47 CondensedLight"/>
                <a:cs typeface="Univers 47 CondensedLight"/>
              </a:defRPr>
            </a:lvl1pPr>
          </a:lstStyle>
          <a:p>
            <a:endParaRPr/>
          </a:p>
        </p:txBody>
      </p:sp>
      <p:sp>
        <p:nvSpPr>
          <p:cNvPr id="4" name="Holder 4"/>
          <p:cNvSpPr>
            <a:spLocks noGrp="1"/>
          </p:cNvSpPr>
          <p:nvPr>
            <p:ph type="ftr" sz="quarter" idx="5"/>
          </p:nvPr>
        </p:nvSpPr>
        <p:spPr>
          <a:xfrm>
            <a:off x="4145281" y="6377940"/>
            <a:ext cx="3901439" cy="342900"/>
          </a:xfrm>
          <a:prstGeom prst="rect">
            <a:avLst/>
          </a:prstGeom>
        </p:spPr>
        <p:txBody>
          <a:bodyPr lIns="0" tIns="0" rIns="0" bIns="0"/>
          <a:lstStyle>
            <a:lvl1pPr algn="ctr">
              <a:defRPr>
                <a:solidFill>
                  <a:schemeClr val="tx1">
                    <a:tint val="75000"/>
                  </a:schemeClr>
                </a:solidFill>
              </a:defRPr>
            </a:lvl1pPr>
          </a:lstStyle>
          <a:p>
            <a:endParaRPr dirty="0">
              <a:solidFill>
                <a:srgbClr val="000000">
                  <a:tint val="75000"/>
                </a:srgbClr>
              </a:solidFill>
            </a:endParaRPr>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smtClean="0">
                <a:solidFill>
                  <a:srgbClr val="000000">
                    <a:tint val="75000"/>
                  </a:srgbClr>
                </a:solidFill>
              </a:rPr>
              <a:pPr/>
              <a:t>10/23/2018</a:t>
            </a:fld>
            <a:endParaRPr lang="en-US" dirty="0">
              <a:solidFill>
                <a:srgbClr val="000000">
                  <a:tint val="75000"/>
                </a:srgbClr>
              </a:solidFill>
            </a:endParaRPr>
          </a:p>
        </p:txBody>
      </p:sp>
      <p:sp>
        <p:nvSpPr>
          <p:cNvPr id="6" name="Holder 6"/>
          <p:cNvSpPr>
            <a:spLocks noGrp="1"/>
          </p:cNvSpPr>
          <p:nvPr>
            <p:ph type="sldNum" sz="quarter" idx="7"/>
          </p:nvPr>
        </p:nvSpPr>
        <p:spPr>
          <a:xfrm>
            <a:off x="11731200" y="6570172"/>
            <a:ext cx="182880" cy="114300"/>
          </a:xfrm>
          <a:prstGeom prst="rect">
            <a:avLst/>
          </a:prstGeom>
        </p:spPr>
        <p:txBody>
          <a:bodyPr lIns="0" tIns="0" rIns="0" bIns="0"/>
          <a:lstStyle>
            <a:lvl1pPr>
              <a:defRPr sz="700" b="0" i="0">
                <a:solidFill>
                  <a:schemeClr val="tx1"/>
                </a:solidFill>
                <a:latin typeface="Univers 45 Light"/>
                <a:cs typeface="Univers 45 Light"/>
              </a:defRPr>
            </a:lvl1pPr>
          </a:lstStyle>
          <a:p>
            <a:pPr marL="25400"/>
            <a:fld id="{81D60167-4931-47E6-BA6A-407CBD079E47}" type="slidenum">
              <a:rPr lang="en-GB" spc="-5" smtClean="0">
                <a:solidFill>
                  <a:srgbClr val="000000"/>
                </a:solidFill>
              </a:rPr>
              <a:pPr marL="25400"/>
              <a:t>‹#›</a:t>
            </a:fld>
            <a:endParaRPr lang="en-GB" spc="-5" dirty="0">
              <a:solidFill>
                <a:srgbClr val="000000"/>
              </a:solidFill>
            </a:endParaRPr>
          </a:p>
        </p:txBody>
      </p:sp>
    </p:spTree>
    <p:extLst>
      <p:ext uri="{BB962C8B-B14F-4D97-AF65-F5344CB8AC3E}">
        <p14:creationId xmlns:p14="http://schemas.microsoft.com/office/powerpoint/2010/main" val="9856666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sp>
        <p:nvSpPr>
          <p:cNvPr id="5" name="Title 1"/>
          <p:cNvSpPr>
            <a:spLocks noGrp="1"/>
          </p:cNvSpPr>
          <p:nvPr>
            <p:ph type="title"/>
          </p:nvPr>
        </p:nvSpPr>
        <p:spPr>
          <a:xfrm>
            <a:off x="732184" y="228600"/>
            <a:ext cx="10515600" cy="549275"/>
          </a:xfrm>
        </p:spPr>
        <p:txBody>
          <a:bodyPr lIns="0"/>
          <a:lstStyle/>
          <a:p>
            <a:r>
              <a:rPr lang="en-US" smtClean="0"/>
              <a:t>Click to edit Master title style</a:t>
            </a:r>
            <a:endParaRPr lang="en-GB"/>
          </a:p>
        </p:txBody>
      </p:sp>
    </p:spTree>
    <p:extLst>
      <p:ext uri="{BB962C8B-B14F-4D97-AF65-F5344CB8AC3E}">
        <p14:creationId xmlns:p14="http://schemas.microsoft.com/office/powerpoint/2010/main" val="386411239"/>
      </p:ext>
    </p:extLst>
  </p:cSld>
  <p:clrMapOvr>
    <a:masterClrMapping/>
  </p:clrMapOvr>
  <p:extLst mod="1">
    <p:ext uri="{DCECCB84-F9BA-43D5-87BE-67443E8EF086}">
      <p15:sldGuideLst xmlns:p15="http://schemas.microsoft.com/office/powerpoint/2012/main">
        <p15:guide id="1" orient="horz" pos="3744">
          <p15:clr>
            <a:srgbClr val="FBAE40"/>
          </p15:clr>
        </p15:guide>
        <p15:guide id="2" pos="45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2" y="646394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22" fontAlgn="base">
              <a:spcBef>
                <a:spcPct val="40000"/>
              </a:spcBef>
              <a:spcAft>
                <a:spcPct val="0"/>
              </a:spcAft>
            </a:pPr>
            <a:fld id="{358FC8E3-FE67-4452-9F4E-9A47A20D0542}" type="slidenum">
              <a:rPr lang="en-GB" sz="752">
                <a:solidFill>
                  <a:srgbClr val="00338D"/>
                </a:solidFill>
                <a:cs typeface="Arial" charset="0"/>
              </a:rPr>
              <a:pPr algn="r" defTabSz="763822"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402772" y="166345"/>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17680305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38200" y="228600"/>
            <a:ext cx="10515600" cy="549275"/>
          </a:xfrm>
          <a:prstGeom prst="rect">
            <a:avLst/>
          </a:prstGeom>
        </p:spPr>
        <p:txBody>
          <a:bodyPr/>
          <a:lstStyle/>
          <a:p>
            <a:r>
              <a:rPr lang="en-US" smtClean="0"/>
              <a:t>Click to edit Master title style</a:t>
            </a:r>
            <a:endParaRPr lang="en-GB"/>
          </a:p>
        </p:txBody>
      </p:sp>
    </p:spTree>
    <p:extLst>
      <p:ext uri="{BB962C8B-B14F-4D97-AF65-F5344CB8AC3E}">
        <p14:creationId xmlns:p14="http://schemas.microsoft.com/office/powerpoint/2010/main" val="28301700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38200" y="228600"/>
            <a:ext cx="10515600" cy="549275"/>
          </a:xfrm>
          <a:prstGeom prst="rect">
            <a:avLst/>
          </a:prstGeom>
        </p:spPr>
        <p:txBody>
          <a:bodyPr anchor="ctr">
            <a:normAutofit/>
          </a:bodyPr>
          <a:lstStyle>
            <a:lvl1pPr>
              <a:lnSpc>
                <a:spcPts val="3000"/>
              </a:lnSpc>
              <a:defRPr sz="2800" b="0">
                <a:latin typeface="Arial Narrow" panose="020B0606020202030204" pitchFamily="34" charset="0"/>
              </a:defRPr>
            </a:lvl1pPr>
          </a:lstStyle>
          <a:p>
            <a:r>
              <a:rPr lang="en-US" dirty="0" smtClean="0"/>
              <a:t>Click to edit Master title style</a:t>
            </a:r>
            <a:endParaRPr lang="en-GB" dirty="0"/>
          </a:p>
        </p:txBody>
      </p:sp>
      <p:sp>
        <p:nvSpPr>
          <p:cNvPr id="15" name="Text Placeholder 14"/>
          <p:cNvSpPr>
            <a:spLocks noGrp="1"/>
          </p:cNvSpPr>
          <p:nvPr>
            <p:ph type="body" sz="quarter" idx="10"/>
          </p:nvPr>
        </p:nvSpPr>
        <p:spPr>
          <a:xfrm rot="16200000">
            <a:off x="-1986643" y="4152900"/>
            <a:ext cx="4572000" cy="533400"/>
          </a:xfrm>
          <a:prstGeom prst="rect">
            <a:avLst/>
          </a:prstGeom>
        </p:spPr>
        <p:txBody>
          <a:bodyPr anchor="ctr"/>
          <a:lstStyle>
            <a:lvl1pPr>
              <a:defRPr sz="2800"/>
            </a:lvl1pPr>
          </a:lstStyle>
          <a:p>
            <a:pPr lvl="0"/>
            <a:r>
              <a:rPr lang="en-US" dirty="0" smtClean="0"/>
              <a:t>Click to edit Master text styles</a:t>
            </a:r>
          </a:p>
        </p:txBody>
      </p:sp>
    </p:spTree>
    <p:extLst>
      <p:ext uri="{BB962C8B-B14F-4D97-AF65-F5344CB8AC3E}">
        <p14:creationId xmlns:p14="http://schemas.microsoft.com/office/powerpoint/2010/main" val="23791124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319728" y="246224"/>
            <a:ext cx="11552542" cy="776605"/>
          </a:xfrm>
          <a:prstGeom prst="rect">
            <a:avLst/>
          </a:prstGeom>
        </p:spPr>
        <p:txBody>
          <a:bodyPr lIns="0" tIns="0" rIns="0" bIns="0"/>
          <a:lstStyle>
            <a:lvl1pPr>
              <a:defRPr sz="2000" b="1" i="0">
                <a:solidFill>
                  <a:srgbClr val="009FDA"/>
                </a:solidFill>
                <a:latin typeface="Univers 47 CondensedLight"/>
                <a:cs typeface="Univers 47 CondensedLight"/>
              </a:defRPr>
            </a:lvl1pPr>
          </a:lstStyle>
          <a:p>
            <a:endParaRPr/>
          </a:p>
        </p:txBody>
      </p:sp>
      <p:sp>
        <p:nvSpPr>
          <p:cNvPr id="3" name="Holder 3"/>
          <p:cNvSpPr>
            <a:spLocks noGrp="1"/>
          </p:cNvSpPr>
          <p:nvPr>
            <p:ph type="body" idx="1"/>
          </p:nvPr>
        </p:nvSpPr>
        <p:spPr>
          <a:xfrm>
            <a:off x="2041393" y="1736427"/>
            <a:ext cx="8109215" cy="3359150"/>
          </a:xfrm>
          <a:prstGeom prst="rect">
            <a:avLst/>
          </a:prstGeom>
        </p:spPr>
        <p:txBody>
          <a:bodyPr lIns="0" tIns="0" rIns="0" bIns="0"/>
          <a:lstStyle>
            <a:lvl1pPr>
              <a:defRPr sz="1800" b="1" i="0">
                <a:solidFill>
                  <a:srgbClr val="EBB700"/>
                </a:solidFill>
                <a:latin typeface="Univers 47 CondensedLight"/>
                <a:cs typeface="Univers 47 CondensedLight"/>
              </a:defRPr>
            </a:lvl1pPr>
          </a:lstStyle>
          <a:p>
            <a:endParaRPr/>
          </a:p>
        </p:txBody>
      </p:sp>
      <p:sp>
        <p:nvSpPr>
          <p:cNvPr id="4" name="Holder 4"/>
          <p:cNvSpPr>
            <a:spLocks noGrp="1"/>
          </p:cNvSpPr>
          <p:nvPr>
            <p:ph type="ftr" sz="quarter" idx="5"/>
          </p:nvPr>
        </p:nvSpPr>
        <p:spPr>
          <a:xfrm>
            <a:off x="4145281" y="6377940"/>
            <a:ext cx="3901439" cy="342900"/>
          </a:xfrm>
          <a:prstGeom prst="rect">
            <a:avLst/>
          </a:prstGeom>
        </p:spPr>
        <p:txBody>
          <a:bodyPr lIns="0" tIns="0" rIns="0" bIns="0"/>
          <a:lstStyle>
            <a:lvl1pPr algn="ctr">
              <a:defRPr>
                <a:solidFill>
                  <a:schemeClr val="tx1">
                    <a:tint val="75000"/>
                  </a:schemeClr>
                </a:solidFill>
              </a:defRPr>
            </a:lvl1pPr>
          </a:lstStyle>
          <a:p>
            <a:endParaRPr dirty="0">
              <a:solidFill>
                <a:srgbClr val="000000">
                  <a:tint val="75000"/>
                </a:srgbClr>
              </a:solidFill>
            </a:endParaRPr>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smtClean="0">
                <a:solidFill>
                  <a:srgbClr val="000000">
                    <a:tint val="75000"/>
                  </a:srgbClr>
                </a:solidFill>
              </a:rPr>
              <a:pPr/>
              <a:t>10/23/2018</a:t>
            </a:fld>
            <a:endParaRPr lang="en-US" dirty="0">
              <a:solidFill>
                <a:srgbClr val="000000">
                  <a:tint val="75000"/>
                </a:srgbClr>
              </a:solidFill>
            </a:endParaRPr>
          </a:p>
        </p:txBody>
      </p:sp>
      <p:sp>
        <p:nvSpPr>
          <p:cNvPr id="6" name="Holder 6"/>
          <p:cNvSpPr>
            <a:spLocks noGrp="1"/>
          </p:cNvSpPr>
          <p:nvPr>
            <p:ph type="sldNum" sz="quarter" idx="7"/>
          </p:nvPr>
        </p:nvSpPr>
        <p:spPr>
          <a:xfrm>
            <a:off x="11731200" y="6570172"/>
            <a:ext cx="182880" cy="114300"/>
          </a:xfrm>
          <a:prstGeom prst="rect">
            <a:avLst/>
          </a:prstGeom>
        </p:spPr>
        <p:txBody>
          <a:bodyPr lIns="0" tIns="0" rIns="0" bIns="0"/>
          <a:lstStyle>
            <a:lvl1pPr>
              <a:defRPr sz="700" b="0" i="0">
                <a:solidFill>
                  <a:schemeClr val="tx1"/>
                </a:solidFill>
                <a:latin typeface="Univers 45 Light"/>
                <a:cs typeface="Univers 45 Light"/>
              </a:defRPr>
            </a:lvl1pPr>
          </a:lstStyle>
          <a:p>
            <a:pPr marL="25400"/>
            <a:fld id="{81D60167-4931-47E6-BA6A-407CBD079E47}" type="slidenum">
              <a:rPr lang="en-GB" spc="-5" smtClean="0">
                <a:solidFill>
                  <a:srgbClr val="000000"/>
                </a:solidFill>
              </a:rPr>
              <a:pPr marL="25400"/>
              <a:t>‹#›</a:t>
            </a:fld>
            <a:endParaRPr lang="en-GB" spc="-5" dirty="0">
              <a:solidFill>
                <a:srgbClr val="000000"/>
              </a:solidFill>
            </a:endParaRPr>
          </a:p>
        </p:txBody>
      </p:sp>
    </p:spTree>
    <p:extLst>
      <p:ext uri="{BB962C8B-B14F-4D97-AF65-F5344CB8AC3E}">
        <p14:creationId xmlns:p14="http://schemas.microsoft.com/office/powerpoint/2010/main" val="29684230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2" y="646394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22" fontAlgn="base">
              <a:spcBef>
                <a:spcPct val="40000"/>
              </a:spcBef>
              <a:spcAft>
                <a:spcPct val="0"/>
              </a:spcAft>
            </a:pPr>
            <a:fld id="{358FC8E3-FE67-4452-9F4E-9A47A20D0542}" type="slidenum">
              <a:rPr lang="en-GB" sz="752">
                <a:solidFill>
                  <a:srgbClr val="00338D"/>
                </a:solidFill>
                <a:cs typeface="Arial" charset="0"/>
              </a:rPr>
              <a:pPr algn="r" defTabSz="763822"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402772" y="166345"/>
            <a:ext cx="10515600" cy="880579"/>
          </a:xfrm>
          <a:prstGeom prst="rect">
            <a:avLst/>
          </a:prstGeom>
        </p:spPr>
        <p:txBody>
          <a:bodyPr lIns="0"/>
          <a:lstStyle>
            <a:lvl1pPr>
              <a:lnSpc>
                <a:spcPct val="70000"/>
              </a:lnSpc>
              <a:defRPr sz="36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20078517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8" name="Rectangle 7"/>
          <p:cNvSpPr/>
          <p:nvPr userDrawn="1"/>
        </p:nvSpPr>
        <p:spPr>
          <a:xfrm>
            <a:off x="-1" y="0"/>
            <a:ext cx="1219200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lgn="ctr"/>
            <a:endParaRPr lang="en-US" dirty="0"/>
          </a:p>
        </p:txBody>
      </p:sp>
      <p:sp>
        <p:nvSpPr>
          <p:cNvPr id="7" name="Rectangle 6"/>
          <p:cNvSpPr/>
          <p:nvPr userDrawn="1"/>
        </p:nvSpPr>
        <p:spPr bwMode="gray">
          <a:xfrm>
            <a:off x="11395362" y="646394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22" fontAlgn="base">
              <a:spcBef>
                <a:spcPct val="40000"/>
              </a:spcBef>
              <a:spcAft>
                <a:spcPct val="0"/>
              </a:spcAft>
            </a:pPr>
            <a:fld id="{358FC8E3-FE67-4452-9F4E-9A47A20D0542}" type="slidenum">
              <a:rPr lang="en-GB" sz="752">
                <a:solidFill>
                  <a:srgbClr val="FFFFFF"/>
                </a:solidFill>
                <a:cs typeface="Arial" charset="0"/>
              </a:rPr>
              <a:pPr algn="r" defTabSz="763822" fontAlgn="base">
                <a:spcBef>
                  <a:spcPct val="40000"/>
                </a:spcBef>
                <a:spcAft>
                  <a:spcPct val="0"/>
                </a:spcAft>
              </a:pPr>
              <a:t>‹#›</a:t>
            </a:fld>
            <a:endParaRPr lang="en-GB" sz="752" dirty="0">
              <a:solidFill>
                <a:srgbClr val="FFFFFF"/>
              </a:solidFill>
              <a:cs typeface="Arial" charset="0"/>
            </a:endParaRPr>
          </a:p>
        </p:txBody>
      </p:sp>
      <p:sp>
        <p:nvSpPr>
          <p:cNvPr id="2" name="Title 1"/>
          <p:cNvSpPr>
            <a:spLocks noGrp="1"/>
          </p:cNvSpPr>
          <p:nvPr>
            <p:ph type="title"/>
          </p:nvPr>
        </p:nvSpPr>
        <p:spPr>
          <a:xfrm>
            <a:off x="402772" y="166345"/>
            <a:ext cx="10515600" cy="880579"/>
          </a:xfrm>
          <a:prstGeom prst="rect">
            <a:avLst/>
          </a:prstGeom>
        </p:spPr>
        <p:txBody>
          <a:bodyPr lIns="0"/>
          <a:lstStyle>
            <a:lvl1pPr>
              <a:lnSpc>
                <a:spcPct val="70000"/>
              </a:lnSpc>
              <a:defRPr sz="4400" b="0">
                <a:solidFill>
                  <a:schemeClr val="bg1"/>
                </a:solidFill>
                <a:latin typeface="KPMG Extralight" panose="020B0303030202040204" pitchFamily="34" charset="0"/>
              </a:defRPr>
            </a:lvl1pPr>
          </a:lstStyle>
          <a:p>
            <a:r>
              <a:rPr lang="en-US" dirty="0" smtClean="0"/>
              <a:t>Click to edit Master title style</a:t>
            </a:r>
            <a:endParaRPr lang="en-GB" dirty="0"/>
          </a:p>
        </p:txBody>
      </p:sp>
      <p:sp>
        <p:nvSpPr>
          <p:cNvPr id="5" name="bk object 16"/>
          <p:cNvSpPr/>
          <p:nvPr userDrawn="1"/>
        </p:nvSpPr>
        <p:spPr>
          <a:xfrm>
            <a:off x="410817" y="6450497"/>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dirty="0">
              <a:solidFill>
                <a:srgbClr val="FFFFFF"/>
              </a:solidFill>
            </a:endParaRPr>
          </a:p>
        </p:txBody>
      </p:sp>
      <p:sp>
        <p:nvSpPr>
          <p:cNvPr id="6" name="TextBox 5"/>
          <p:cNvSpPr txBox="1"/>
          <p:nvPr userDrawn="1"/>
        </p:nvSpPr>
        <p:spPr>
          <a:xfrm>
            <a:off x="1313317" y="6503644"/>
            <a:ext cx="4717775" cy="276999"/>
          </a:xfrm>
          <a:prstGeom prst="rect">
            <a:avLst/>
          </a:prstGeom>
          <a:noFill/>
        </p:spPr>
        <p:txBody>
          <a:bodyPr wrap="square" lIns="0" tIns="0" rIns="0" bIns="0" rtlCol="0">
            <a:spAutoFit/>
          </a:bodyPr>
          <a:lstStyle/>
          <a:p>
            <a:r>
              <a:rPr lang="en-US" sz="600" dirty="0" smtClean="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39469569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92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n-US" sz="4400" b="0" i="0" baseline="0" dirty="0">
              <a:latin typeface="KPMG Extralight" panose="020B0303030202040204" pitchFamily="34" charset="0"/>
              <a:ea typeface="+mj-ea"/>
              <a:cs typeface="+mj-cs"/>
              <a:sym typeface="KPMG Extralight" panose="020B0303030202040204"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9" name="object 9"/>
          <p:cNvSpPr/>
          <p:nvPr userDrawn="1"/>
        </p:nvSpPr>
        <p:spPr>
          <a:xfrm>
            <a:off x="1" y="0"/>
            <a:ext cx="3293616"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007C92"/>
          </a:solidFill>
        </p:spPr>
        <p:txBody>
          <a:bodyPr wrap="square" lIns="0" tIns="0" rIns="0" bIns="0" rtlCol="0"/>
          <a:lstStyle/>
          <a:p>
            <a:endParaRPr>
              <a:solidFill>
                <a:srgbClr val="000000"/>
              </a:solidFill>
            </a:endParaRPr>
          </a:p>
        </p:txBody>
      </p:sp>
      <p:sp>
        <p:nvSpPr>
          <p:cNvPr id="10" name="object 25862"/>
          <p:cNvSpPr/>
          <p:nvPr userDrawn="1"/>
        </p:nvSpPr>
        <p:spPr>
          <a:xfrm rot="5400000">
            <a:off x="30708" y="5674056"/>
            <a:ext cx="1153236" cy="1214651"/>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endParaRPr>
              <a:solidFill>
                <a:srgbClr val="000000"/>
              </a:solidFill>
            </a:endParaRPr>
          </a:p>
        </p:txBody>
      </p:sp>
      <p:sp>
        <p:nvSpPr>
          <p:cNvPr id="8" name="TextBox 7"/>
          <p:cNvSpPr txBox="1"/>
          <p:nvPr userDrawn="1"/>
        </p:nvSpPr>
        <p:spPr>
          <a:xfrm>
            <a:off x="4115646" y="6517148"/>
            <a:ext cx="7492153" cy="276999"/>
          </a:xfrm>
          <a:prstGeom prst="rect">
            <a:avLst/>
          </a:prstGeom>
          <a:noFill/>
        </p:spPr>
        <p:txBody>
          <a:bodyPr wrap="square" lIns="0" tIns="0" rIns="0" bIns="0" rtlCol="0">
            <a:spAutoFit/>
          </a:bodyPr>
          <a:lstStyle/>
          <a:p>
            <a:r>
              <a:rPr lang="en-US" sz="600" dirty="0" smtClean="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11" name="Freeform 19"/>
          <p:cNvSpPr>
            <a:spLocks noEditPoints="1"/>
          </p:cNvSpPr>
          <p:nvPr userDrawn="1"/>
        </p:nvSpPr>
        <p:spPr bwMode="auto">
          <a:xfrm>
            <a:off x="3383364" y="6463947"/>
            <a:ext cx="642536" cy="2527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smtClean="0">
              <a:solidFill>
                <a:srgbClr val="000000"/>
              </a:solidFill>
              <a:latin typeface="Arial"/>
            </a:endParaRPr>
          </a:p>
        </p:txBody>
      </p:sp>
    </p:spTree>
    <p:extLst>
      <p:ext uri="{BB962C8B-B14F-4D97-AF65-F5344CB8AC3E}">
        <p14:creationId xmlns:p14="http://schemas.microsoft.com/office/powerpoint/2010/main" val="20719786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14767436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grpSp>
        <p:nvGrpSpPr>
          <p:cNvPr id="9" name="Group 8"/>
          <p:cNvGrpSpPr/>
          <p:nvPr userDrawn="1"/>
        </p:nvGrpSpPr>
        <p:grpSpPr>
          <a:xfrm>
            <a:off x="8839200" y="0"/>
            <a:ext cx="3352800" cy="6858000"/>
            <a:chOff x="8839200" y="0"/>
            <a:chExt cx="3352800" cy="6858000"/>
          </a:xfrm>
        </p:grpSpPr>
        <p:sp>
          <p:nvSpPr>
            <p:cNvPr id="10" name="Rectangle 9"/>
            <p:cNvSpPr/>
            <p:nvPr/>
          </p:nvSpPr>
          <p:spPr>
            <a:xfrm>
              <a:off x="8839200" y="0"/>
              <a:ext cx="3352800" cy="6858000"/>
            </a:xfrm>
            <a:prstGeom prst="rect">
              <a:avLst/>
            </a:prstGeom>
            <a:solidFill>
              <a:schemeClr val="accent4"/>
            </a:solidFill>
            <a:ln w="31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800" b="1" dirty="0">
                <a:latin typeface="Univers for KPMG"/>
                <a:cs typeface="Univers for KPMG"/>
              </a:endParaRPr>
            </a:p>
          </p:txBody>
        </p:sp>
        <p:sp>
          <p:nvSpPr>
            <p:cNvPr id="11" name="Isosceles Triangle 10"/>
            <p:cNvSpPr/>
            <p:nvPr/>
          </p:nvSpPr>
          <p:spPr>
            <a:xfrm rot="5400000">
              <a:off x="8723202" y="3150447"/>
              <a:ext cx="612008" cy="380012"/>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2" name="Title 1"/>
          <p:cNvSpPr>
            <a:spLocks noGrp="1"/>
          </p:cNvSpPr>
          <p:nvPr>
            <p:ph type="title"/>
          </p:nvPr>
        </p:nvSpPr>
        <p:spPr>
          <a:xfrm>
            <a:off x="416025" y="436728"/>
            <a:ext cx="10515600" cy="488995"/>
          </a:xfrm>
          <a:prstGeom prst="rect">
            <a:avLst/>
          </a:prstGeom>
        </p:spPr>
        <p:txBody>
          <a:bodyPr lIns="0"/>
          <a:lstStyle>
            <a:lvl1pPr>
              <a:defRPr lang="en-GB" sz="2400" b="0" dirty="0">
                <a:latin typeface="Arial" panose="020B0604020202020204" pitchFamily="34" charset="0"/>
                <a:cs typeface="Arial" panose="020B0604020202020204" pitchFamily="34" charset="0"/>
              </a:defRPr>
            </a:lvl1pPr>
          </a:lstStyle>
          <a:p>
            <a:pPr lvl="0">
              <a:lnSpc>
                <a:spcPct val="70000"/>
              </a:lnSpc>
            </a:pPr>
            <a:r>
              <a:rPr lang="en-US" dirty="0"/>
              <a:t>Click to edit Master title style</a:t>
            </a:r>
            <a:endParaRPr lang="en-GB" dirty="0"/>
          </a:p>
        </p:txBody>
      </p:sp>
      <p:sp>
        <p:nvSpPr>
          <p:cNvPr id="7" name="Content Placeholder 16"/>
          <p:cNvSpPr>
            <a:spLocks noGrp="1"/>
          </p:cNvSpPr>
          <p:nvPr>
            <p:ph sz="quarter" idx="13"/>
          </p:nvPr>
        </p:nvSpPr>
        <p:spPr>
          <a:xfrm>
            <a:off x="408403" y="195138"/>
            <a:ext cx="10816187" cy="216125"/>
          </a:xfrm>
          <a:prstGeom prst="rect">
            <a:avLst/>
          </a:prstGeom>
        </p:spPr>
        <p:txBody>
          <a:bodyPr lIns="0">
            <a:noAutofit/>
          </a:bodyPr>
          <a:lstStyle>
            <a:lvl1pPr marL="0" indent="0">
              <a:buFontTx/>
              <a:buNone/>
              <a:defRPr kumimoji="0" lang="en-US" sz="1200" b="1" i="0" u="none" strike="noStrike" kern="1200" cap="none" spc="0" normalizeH="0" baseline="0" dirty="0">
                <a:ln>
                  <a:noFill/>
                </a:ln>
                <a:solidFill>
                  <a:srgbClr val="00338D"/>
                </a:solidFill>
                <a:effectLst/>
                <a:uLnTx/>
                <a:uFillTx/>
                <a:latin typeface="Arial" panose="020B0604020202020204" pitchFamily="34" charset="0"/>
                <a:ea typeface="+mn-ea"/>
                <a:cs typeface="Arial" panose="020B0604020202020204" pitchFamily="34" charset="0"/>
              </a:defRPr>
            </a:lvl1pPr>
          </a:lstStyle>
          <a:p>
            <a:pPr lvl="0"/>
            <a:r>
              <a:rPr lang="en-US" dirty="0"/>
              <a:t>Click to edit Master</a:t>
            </a:r>
          </a:p>
        </p:txBody>
      </p:sp>
    </p:spTree>
    <p:extLst>
      <p:ext uri="{BB962C8B-B14F-4D97-AF65-F5344CB8AC3E}">
        <p14:creationId xmlns:p14="http://schemas.microsoft.com/office/powerpoint/2010/main" val="9315262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402772" y="166343"/>
            <a:ext cx="8392885"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5" name="Isosceles Triangle 4"/>
          <p:cNvSpPr/>
          <p:nvPr userDrawn="1"/>
        </p:nvSpPr>
        <p:spPr>
          <a:xfrm rot="5400000">
            <a:off x="8769060" y="1416609"/>
            <a:ext cx="516682" cy="316677"/>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dirty="0">
              <a:solidFill>
                <a:prstClr val="white"/>
              </a:solidFill>
            </a:endParaRPr>
          </a:p>
        </p:txBody>
      </p:sp>
    </p:spTree>
    <p:extLst>
      <p:ext uri="{BB962C8B-B14F-4D97-AF65-F5344CB8AC3E}">
        <p14:creationId xmlns:p14="http://schemas.microsoft.com/office/powerpoint/2010/main" val="1830197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838200" y="228600"/>
            <a:ext cx="10515600" cy="549275"/>
          </a:xfrm>
          <a:prstGeom prst="rect">
            <a:avLst/>
          </a:prstGeom>
        </p:spPr>
        <p:txBody>
          <a:bodyPr anchor="ctr">
            <a:normAutofit/>
          </a:bodyPr>
          <a:lstStyle>
            <a:lvl1pPr>
              <a:lnSpc>
                <a:spcPts val="3000"/>
              </a:lnSpc>
              <a:defRPr sz="2800" b="0">
                <a:latin typeface="Arial Narrow" panose="020B0606020202030204" pitchFamily="34" charset="0"/>
              </a:defRPr>
            </a:lvl1pPr>
          </a:lstStyle>
          <a:p>
            <a:r>
              <a:rPr lang="en-US" dirty="0" smtClean="0"/>
              <a:t>Click to edit Master title style</a:t>
            </a:r>
            <a:endParaRPr lang="en-GB" dirty="0"/>
          </a:p>
        </p:txBody>
      </p:sp>
      <p:sp>
        <p:nvSpPr>
          <p:cNvPr id="15" name="Text Placeholder 14"/>
          <p:cNvSpPr>
            <a:spLocks noGrp="1"/>
          </p:cNvSpPr>
          <p:nvPr>
            <p:ph type="body" sz="quarter" idx="10"/>
          </p:nvPr>
        </p:nvSpPr>
        <p:spPr>
          <a:xfrm rot="16200000">
            <a:off x="-1986643" y="4152900"/>
            <a:ext cx="4572000" cy="533400"/>
          </a:xfrm>
          <a:prstGeom prst="rect">
            <a:avLst/>
          </a:prstGeom>
        </p:spPr>
        <p:txBody>
          <a:bodyPr anchor="ctr"/>
          <a:lstStyle>
            <a:lvl1pPr>
              <a:defRPr sz="2800"/>
            </a:lvl1pPr>
          </a:lstStyle>
          <a:p>
            <a:pPr lvl="0"/>
            <a:r>
              <a:rPr lang="en-US" dirty="0" smtClean="0"/>
              <a:t>Click to edit Master text styles</a:t>
            </a:r>
          </a:p>
        </p:txBody>
      </p:sp>
    </p:spTree>
    <p:extLst>
      <p:ext uri="{BB962C8B-B14F-4D97-AF65-F5344CB8AC3E}">
        <p14:creationId xmlns:p14="http://schemas.microsoft.com/office/powerpoint/2010/main" val="37249441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with super title">
    <p:spTree>
      <p:nvGrpSpPr>
        <p:cNvPr id="1" name=""/>
        <p:cNvGrpSpPr/>
        <p:nvPr/>
      </p:nvGrpSpPr>
      <p:grpSpPr>
        <a:xfrm>
          <a:off x="0" y="0"/>
          <a:ext cx="0" cy="0"/>
          <a:chOff x="0" y="0"/>
          <a:chExt cx="0" cy="0"/>
        </a:xfrm>
      </p:grpSpPr>
      <p:sp>
        <p:nvSpPr>
          <p:cNvPr id="2" name="Title 1"/>
          <p:cNvSpPr>
            <a:spLocks noGrp="1"/>
          </p:cNvSpPr>
          <p:nvPr>
            <p:ph type="title"/>
          </p:nvPr>
        </p:nvSpPr>
        <p:spPr>
          <a:xfrm>
            <a:off x="468923" y="366957"/>
            <a:ext cx="11207262" cy="518400"/>
          </a:xfrm>
          <a:prstGeom prst="rect">
            <a:avLst/>
          </a:prstGeom>
        </p:spPr>
        <p:txBody>
          <a:bodyPr/>
          <a:lstStyle>
            <a:lvl1pPr>
              <a:defRPr b="1"/>
            </a:lvl1pPr>
          </a:lstStyle>
          <a:p>
            <a:r>
              <a:rPr lang="en-US" dirty="0" smtClean="0"/>
              <a:t>Click to edit Master title style</a:t>
            </a:r>
            <a:endParaRPr lang="en-US" dirty="0"/>
          </a:p>
        </p:txBody>
      </p:sp>
      <p:sp>
        <p:nvSpPr>
          <p:cNvPr id="4" name="Text Placeholder 4"/>
          <p:cNvSpPr>
            <a:spLocks noGrp="1"/>
          </p:cNvSpPr>
          <p:nvPr>
            <p:ph type="body" sz="quarter" idx="11" hasCustomPrompt="1"/>
          </p:nvPr>
        </p:nvSpPr>
        <p:spPr>
          <a:xfrm>
            <a:off x="468923" y="116632"/>
            <a:ext cx="11207262" cy="169200"/>
          </a:xfrm>
          <a:prstGeom prst="rect">
            <a:avLst/>
          </a:prstGeom>
        </p:spPr>
        <p:txBody>
          <a:bodyPr anchor="b"/>
          <a:lstStyle>
            <a:lvl1pPr>
              <a:spcAft>
                <a:spcPts val="0"/>
              </a:spcAft>
              <a:defRPr sz="1108"/>
            </a:lvl1pPr>
          </a:lstStyle>
          <a:p>
            <a:pPr lvl="0"/>
            <a:r>
              <a:rPr lang="en-US" dirty="0" smtClean="0"/>
              <a:t>Super title here</a:t>
            </a:r>
          </a:p>
        </p:txBody>
      </p:sp>
    </p:spTree>
    <p:extLst>
      <p:ext uri="{BB962C8B-B14F-4D97-AF65-F5344CB8AC3E}">
        <p14:creationId xmlns:p14="http://schemas.microsoft.com/office/powerpoint/2010/main" val="81224654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7" name="object 3"/>
          <p:cNvSpPr/>
          <p:nvPr userDrawn="1"/>
        </p:nvSpPr>
        <p:spPr>
          <a:xfrm>
            <a:off x="1" y="0"/>
            <a:ext cx="609600" cy="6858000"/>
          </a:xfrm>
          <a:custGeom>
            <a:avLst/>
            <a:gdLst/>
            <a:ahLst/>
            <a:cxnLst/>
            <a:rect l="l" t="t" r="r" b="b"/>
            <a:pathLst>
              <a:path w="765175" h="7564120">
                <a:moveTo>
                  <a:pt x="0" y="7563611"/>
                </a:moveTo>
                <a:lnTo>
                  <a:pt x="765048" y="7563611"/>
                </a:lnTo>
                <a:lnTo>
                  <a:pt x="765048" y="0"/>
                </a:lnTo>
                <a:lnTo>
                  <a:pt x="0" y="0"/>
                </a:lnTo>
                <a:lnTo>
                  <a:pt x="0" y="7563611"/>
                </a:lnTo>
              </a:path>
            </a:pathLst>
          </a:custGeom>
          <a:solidFill>
            <a:schemeClr val="accent4">
              <a:lumMod val="75000"/>
            </a:schemeClr>
          </a:solidFill>
        </p:spPr>
        <p:txBody>
          <a:bodyPr wrap="square" lIns="0" tIns="0" rIns="0" bIns="0" rtlCol="0"/>
          <a:lstStyle/>
          <a:p>
            <a:endParaRPr dirty="0">
              <a:solidFill>
                <a:srgbClr val="000000"/>
              </a:solidFill>
            </a:endParaRPr>
          </a:p>
        </p:txBody>
      </p:sp>
      <p:sp>
        <p:nvSpPr>
          <p:cNvPr id="2" name="Title 1"/>
          <p:cNvSpPr>
            <a:spLocks noGrp="1"/>
          </p:cNvSpPr>
          <p:nvPr>
            <p:ph type="title"/>
          </p:nvPr>
        </p:nvSpPr>
        <p:spPr>
          <a:xfrm>
            <a:off x="732184" y="228600"/>
            <a:ext cx="10515600" cy="549275"/>
          </a:xfrm>
          <a:prstGeom prst="rect">
            <a:avLst/>
          </a:prstGeom>
        </p:spPr>
        <p:txBody>
          <a:bodyPr lIns="0"/>
          <a:lstStyle/>
          <a:p>
            <a:r>
              <a:rPr lang="en-US" smtClean="0"/>
              <a:t>Click to edit Master title style</a:t>
            </a:r>
            <a:endParaRPr lang="en-GB"/>
          </a:p>
        </p:txBody>
      </p:sp>
      <p:sp>
        <p:nvSpPr>
          <p:cNvPr id="5" name="Text Placeholder 14"/>
          <p:cNvSpPr>
            <a:spLocks noGrp="1"/>
          </p:cNvSpPr>
          <p:nvPr>
            <p:ph type="body" sz="quarter" idx="10"/>
          </p:nvPr>
        </p:nvSpPr>
        <p:spPr>
          <a:xfrm rot="16200000">
            <a:off x="-1986643" y="3543300"/>
            <a:ext cx="4572000" cy="533400"/>
          </a:xfrm>
          <a:prstGeom prst="rect">
            <a:avLst/>
          </a:prstGeom>
        </p:spPr>
        <p:txBody>
          <a:bodyPr anchor="ctr"/>
          <a:lstStyle>
            <a:lvl1pPr>
              <a:defRPr sz="2000" b="0">
                <a:solidFill>
                  <a:schemeClr val="bg1"/>
                </a:solidFill>
                <a:latin typeface="Univers LT Std 45 Light" panose="020B0403020202020204" pitchFamily="34" charset="0"/>
              </a:defRPr>
            </a:lvl1pPr>
          </a:lstStyle>
          <a:p>
            <a:pPr lvl="0"/>
            <a:r>
              <a:rPr lang="en-US" dirty="0" smtClean="0"/>
              <a:t>Click to edit Master text styles</a:t>
            </a:r>
          </a:p>
        </p:txBody>
      </p:sp>
      <p:sp>
        <p:nvSpPr>
          <p:cNvPr id="6" name="object 88"/>
          <p:cNvSpPr/>
          <p:nvPr userDrawn="1"/>
        </p:nvSpPr>
        <p:spPr>
          <a:xfrm>
            <a:off x="34205" y="6319750"/>
            <a:ext cx="549817" cy="420404"/>
          </a:xfrm>
          <a:custGeom>
            <a:avLst/>
            <a:gdLst/>
            <a:ahLst/>
            <a:cxnLst/>
            <a:rect l="l" t="t" r="r" b="b"/>
            <a:pathLst>
              <a:path w="327659" h="275589">
                <a:moveTo>
                  <a:pt x="186601" y="148698"/>
                </a:moveTo>
                <a:lnTo>
                  <a:pt x="145834" y="148698"/>
                </a:lnTo>
                <a:lnTo>
                  <a:pt x="131449" y="150396"/>
                </a:lnTo>
                <a:lnTo>
                  <a:pt x="97116" y="172690"/>
                </a:lnTo>
                <a:lnTo>
                  <a:pt x="84317" y="260090"/>
                </a:lnTo>
                <a:lnTo>
                  <a:pt x="84442" y="260864"/>
                </a:lnTo>
                <a:lnTo>
                  <a:pt x="128904" y="271803"/>
                </a:lnTo>
                <a:lnTo>
                  <a:pt x="164379" y="275325"/>
                </a:lnTo>
                <a:lnTo>
                  <a:pt x="186991" y="274520"/>
                </a:lnTo>
                <a:lnTo>
                  <a:pt x="232249" y="266425"/>
                </a:lnTo>
                <a:lnTo>
                  <a:pt x="247776" y="260090"/>
                </a:lnTo>
                <a:lnTo>
                  <a:pt x="248119" y="260090"/>
                </a:lnTo>
                <a:lnTo>
                  <a:pt x="248119" y="210217"/>
                </a:lnTo>
                <a:lnTo>
                  <a:pt x="246421" y="195832"/>
                </a:lnTo>
                <a:lnTo>
                  <a:pt x="224127" y="161500"/>
                </a:lnTo>
                <a:lnTo>
                  <a:pt x="198901" y="149933"/>
                </a:lnTo>
                <a:lnTo>
                  <a:pt x="186601" y="148698"/>
                </a:lnTo>
                <a:close/>
              </a:path>
              <a:path w="327659" h="275589">
                <a:moveTo>
                  <a:pt x="266103" y="99092"/>
                </a:moveTo>
                <a:lnTo>
                  <a:pt x="225640" y="99092"/>
                </a:lnTo>
                <a:lnTo>
                  <a:pt x="223791" y="112326"/>
                </a:lnTo>
                <a:lnTo>
                  <a:pt x="219191" y="124460"/>
                </a:lnTo>
                <a:lnTo>
                  <a:pt x="212170" y="135164"/>
                </a:lnTo>
                <a:lnTo>
                  <a:pt x="222788" y="142051"/>
                </a:lnTo>
                <a:lnTo>
                  <a:pt x="232672" y="150479"/>
                </a:lnTo>
                <a:lnTo>
                  <a:pt x="254638" y="183474"/>
                </a:lnTo>
                <a:lnTo>
                  <a:pt x="259587" y="225660"/>
                </a:lnTo>
                <a:lnTo>
                  <a:pt x="280765" y="223857"/>
                </a:lnTo>
                <a:lnTo>
                  <a:pt x="319693" y="214048"/>
                </a:lnTo>
                <a:lnTo>
                  <a:pt x="327278" y="210483"/>
                </a:lnTo>
                <a:lnTo>
                  <a:pt x="327621" y="210483"/>
                </a:lnTo>
                <a:lnTo>
                  <a:pt x="327584" y="160295"/>
                </a:lnTo>
                <a:lnTo>
                  <a:pt x="313530" y="121470"/>
                </a:lnTo>
                <a:lnTo>
                  <a:pt x="278403" y="100327"/>
                </a:lnTo>
                <a:lnTo>
                  <a:pt x="266103" y="99092"/>
                </a:lnTo>
                <a:close/>
              </a:path>
              <a:path w="327659" h="275589">
                <a:moveTo>
                  <a:pt x="103822" y="99092"/>
                </a:moveTo>
                <a:lnTo>
                  <a:pt x="61518" y="99092"/>
                </a:lnTo>
                <a:lnTo>
                  <a:pt x="47134" y="100790"/>
                </a:lnTo>
                <a:lnTo>
                  <a:pt x="12801" y="123084"/>
                </a:lnTo>
                <a:lnTo>
                  <a:pt x="0" y="210483"/>
                </a:lnTo>
                <a:lnTo>
                  <a:pt x="126" y="211245"/>
                </a:lnTo>
                <a:lnTo>
                  <a:pt x="43173" y="221931"/>
                </a:lnTo>
                <a:lnTo>
                  <a:pt x="66753" y="224926"/>
                </a:lnTo>
                <a:lnTo>
                  <a:pt x="72767" y="210483"/>
                </a:lnTo>
                <a:lnTo>
                  <a:pt x="72854" y="210217"/>
                </a:lnTo>
                <a:lnTo>
                  <a:pt x="74204" y="196245"/>
                </a:lnTo>
                <a:lnTo>
                  <a:pt x="78104" y="183097"/>
                </a:lnTo>
                <a:lnTo>
                  <a:pt x="102487" y="151626"/>
                </a:lnTo>
                <a:lnTo>
                  <a:pt x="125069" y="140341"/>
                </a:lnTo>
                <a:lnTo>
                  <a:pt x="116848" y="130572"/>
                </a:lnTo>
                <a:lnTo>
                  <a:pt x="110871" y="119184"/>
                </a:lnTo>
                <a:lnTo>
                  <a:pt x="107463" y="106516"/>
                </a:lnTo>
                <a:lnTo>
                  <a:pt x="105308" y="99219"/>
                </a:lnTo>
                <a:lnTo>
                  <a:pt x="103822" y="99092"/>
                </a:lnTo>
                <a:close/>
              </a:path>
              <a:path w="327659" h="275589">
                <a:moveTo>
                  <a:pt x="175260" y="50176"/>
                </a:moveTo>
                <a:lnTo>
                  <a:pt x="132977" y="63855"/>
                </a:lnTo>
                <a:lnTo>
                  <a:pt x="119702" y="85439"/>
                </a:lnTo>
                <a:lnTo>
                  <a:pt x="120716" y="102897"/>
                </a:lnTo>
                <a:lnTo>
                  <a:pt x="141152" y="137830"/>
                </a:lnTo>
                <a:lnTo>
                  <a:pt x="166230" y="145421"/>
                </a:lnTo>
                <a:lnTo>
                  <a:pt x="180496" y="143263"/>
                </a:lnTo>
                <a:lnTo>
                  <a:pt x="193018" y="137263"/>
                </a:lnTo>
                <a:lnTo>
                  <a:pt x="203219" y="128036"/>
                </a:lnTo>
                <a:lnTo>
                  <a:pt x="210430" y="116237"/>
                </a:lnTo>
                <a:lnTo>
                  <a:pt x="214002" y="102515"/>
                </a:lnTo>
                <a:lnTo>
                  <a:pt x="212198" y="86733"/>
                </a:lnTo>
                <a:lnTo>
                  <a:pt x="206866" y="73233"/>
                </a:lnTo>
                <a:lnTo>
                  <a:pt x="198562" y="62389"/>
                </a:lnTo>
                <a:lnTo>
                  <a:pt x="187842" y="54579"/>
                </a:lnTo>
                <a:lnTo>
                  <a:pt x="175260" y="50176"/>
                </a:lnTo>
                <a:close/>
              </a:path>
              <a:path w="327659" h="275589">
                <a:moveTo>
                  <a:pt x="87062" y="0"/>
                </a:moveTo>
                <a:lnTo>
                  <a:pt x="46937" y="15438"/>
                </a:lnTo>
                <a:lnTo>
                  <a:pt x="34727" y="38743"/>
                </a:lnTo>
                <a:lnTo>
                  <a:pt x="36124" y="55534"/>
                </a:lnTo>
                <a:lnTo>
                  <a:pt x="58286" y="89293"/>
                </a:lnTo>
                <a:lnTo>
                  <a:pt x="81914" y="95815"/>
                </a:lnTo>
                <a:lnTo>
                  <a:pt x="94853" y="94029"/>
                </a:lnTo>
                <a:lnTo>
                  <a:pt x="106451" y="89022"/>
                </a:lnTo>
                <a:lnTo>
                  <a:pt x="110427" y="76164"/>
                </a:lnTo>
                <a:lnTo>
                  <a:pt x="116542" y="64753"/>
                </a:lnTo>
                <a:lnTo>
                  <a:pt x="124616" y="55023"/>
                </a:lnTo>
                <a:lnTo>
                  <a:pt x="129870" y="49574"/>
                </a:lnTo>
                <a:lnTo>
                  <a:pt x="129848" y="47047"/>
                </a:lnTo>
                <a:lnTo>
                  <a:pt x="127812" y="33536"/>
                </a:lnTo>
                <a:lnTo>
                  <a:pt x="121803" y="20988"/>
                </a:lnTo>
                <a:lnTo>
                  <a:pt x="112577" y="10786"/>
                </a:lnTo>
                <a:lnTo>
                  <a:pt x="100781" y="3574"/>
                </a:lnTo>
                <a:lnTo>
                  <a:pt x="87062" y="0"/>
                </a:lnTo>
                <a:close/>
              </a:path>
              <a:path w="327659" h="275589">
                <a:moveTo>
                  <a:pt x="254740" y="570"/>
                </a:moveTo>
                <a:lnTo>
                  <a:pt x="212524" y="14197"/>
                </a:lnTo>
                <a:lnTo>
                  <a:pt x="197700" y="47047"/>
                </a:lnTo>
                <a:lnTo>
                  <a:pt x="207897" y="55092"/>
                </a:lnTo>
                <a:lnTo>
                  <a:pt x="216124" y="65126"/>
                </a:lnTo>
                <a:lnTo>
                  <a:pt x="222024" y="76805"/>
                </a:lnTo>
                <a:lnTo>
                  <a:pt x="225239" y="89787"/>
                </a:lnTo>
                <a:lnTo>
                  <a:pt x="231584" y="94151"/>
                </a:lnTo>
                <a:lnTo>
                  <a:pt x="238455" y="95815"/>
                </a:lnTo>
                <a:lnTo>
                  <a:pt x="245706" y="95815"/>
                </a:lnTo>
                <a:lnTo>
                  <a:pt x="282700" y="78429"/>
                </a:lnTo>
                <a:lnTo>
                  <a:pt x="293479" y="52908"/>
                </a:lnTo>
                <a:lnTo>
                  <a:pt x="291675" y="37127"/>
                </a:lnTo>
                <a:lnTo>
                  <a:pt x="286345" y="23627"/>
                </a:lnTo>
                <a:lnTo>
                  <a:pt x="278043" y="12783"/>
                </a:lnTo>
                <a:lnTo>
                  <a:pt x="267324" y="4972"/>
                </a:lnTo>
                <a:lnTo>
                  <a:pt x="254740" y="570"/>
                </a:lnTo>
                <a:close/>
              </a:path>
            </a:pathLst>
          </a:custGeom>
          <a:solidFill>
            <a:srgbClr val="FFFFFF"/>
          </a:solidFill>
        </p:spPr>
        <p:txBody>
          <a:bodyPr wrap="square" lIns="0" tIns="0" rIns="0" bIns="0" rtlCol="0"/>
          <a:lstStyle/>
          <a:p>
            <a:endParaRPr dirty="0">
              <a:solidFill>
                <a:srgbClr val="000000"/>
              </a:solidFill>
            </a:endParaRPr>
          </a:p>
        </p:txBody>
      </p:sp>
      <p:sp>
        <p:nvSpPr>
          <p:cNvPr id="8" name="TextBox 7">
            <a:hlinkClick r:id="" action="ppaction://noaction"/>
          </p:cNvPr>
          <p:cNvSpPr txBox="1"/>
          <p:nvPr userDrawn="1"/>
        </p:nvSpPr>
        <p:spPr>
          <a:xfrm>
            <a:off x="327024" y="271461"/>
            <a:ext cx="209550" cy="249239"/>
          </a:xfrm>
          <a:prstGeom prst="rect">
            <a:avLst/>
          </a:prstGeom>
          <a:solidFill>
            <a:srgbClr val="00338D"/>
          </a:solidFill>
        </p:spPr>
        <p:txBody>
          <a:bodyPr wrap="square" lIns="54000" tIns="54000" rIns="54000" bIns="54000" rtlCol="0">
            <a:noAutofit/>
          </a:bodyPr>
          <a:lstStyle/>
          <a:p>
            <a:pPr algn="ctr"/>
            <a:r>
              <a:rPr lang="en-US" sz="1050" b="1" dirty="0">
                <a:solidFill>
                  <a:srgbClr val="FFFFFF"/>
                </a:solidFill>
                <a:latin typeface="Univers LT Std 45 Light" panose="020B0403020202020204" pitchFamily="34" charset="0"/>
                <a:cs typeface="Arial" pitchFamily="34" charset="0"/>
              </a:rPr>
              <a:t>S</a:t>
            </a:r>
          </a:p>
        </p:txBody>
      </p:sp>
      <p:sp>
        <p:nvSpPr>
          <p:cNvPr id="9" name="TextBox 8">
            <a:hlinkClick r:id="" action="ppaction://noaction"/>
          </p:cNvPr>
          <p:cNvSpPr txBox="1"/>
          <p:nvPr userDrawn="1"/>
        </p:nvSpPr>
        <p:spPr>
          <a:xfrm>
            <a:off x="73024" y="271461"/>
            <a:ext cx="209550" cy="249239"/>
          </a:xfrm>
          <a:prstGeom prst="rect">
            <a:avLst/>
          </a:prstGeom>
          <a:solidFill>
            <a:srgbClr val="00338D"/>
          </a:solidFill>
        </p:spPr>
        <p:txBody>
          <a:bodyPr wrap="square" lIns="54000" tIns="54000" rIns="54000" bIns="54000" rtlCol="0">
            <a:noAutofit/>
          </a:bodyPr>
          <a:lstStyle/>
          <a:p>
            <a:pPr algn="ctr"/>
            <a:r>
              <a:rPr lang="en-US" sz="1050" b="1" dirty="0">
                <a:solidFill>
                  <a:srgbClr val="FFFFFF"/>
                </a:solidFill>
                <a:latin typeface="Univers LT Std 45 Light" panose="020B0403020202020204" pitchFamily="34" charset="0"/>
                <a:cs typeface="Arial" pitchFamily="34" charset="0"/>
              </a:rPr>
              <a:t>C</a:t>
            </a:r>
          </a:p>
        </p:txBody>
      </p:sp>
    </p:spTree>
    <p:extLst>
      <p:ext uri="{BB962C8B-B14F-4D97-AF65-F5344CB8AC3E}">
        <p14:creationId xmlns:p14="http://schemas.microsoft.com/office/powerpoint/2010/main" val="352571099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45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402771" y="166343"/>
            <a:ext cx="11440885" cy="880579"/>
          </a:xfrm>
          <a:prstGeom prst="rect">
            <a:avLst/>
          </a:prstGeom>
        </p:spPr>
        <p:txBody>
          <a:bodyPr lIns="0" r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17051941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7447648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object 2"/>
          <p:cNvSpPr/>
          <p:nvPr userDrawn="1"/>
        </p:nvSpPr>
        <p:spPr>
          <a:xfrm flipV="1">
            <a:off x="-1" y="-5"/>
            <a:ext cx="12192001" cy="6858004"/>
          </a:xfrm>
          <a:prstGeom prst="rect">
            <a:avLst/>
          </a:prstGeom>
          <a:blipFill>
            <a:blip r:embed="rId2" cstate="print">
              <a:extLst>
                <a:ext uri="{28A0092B-C50C-407E-A947-70E740481C1C}">
                  <a14:useLocalDpi xmlns:a14="http://schemas.microsoft.com/office/drawing/2010/main" val="0"/>
                </a:ext>
              </a:extLst>
            </a:blip>
            <a:srcRect/>
            <a:stretch>
              <a:fillRect b="1"/>
            </a:stretch>
          </a:blipFill>
        </p:spPr>
        <p:txBody>
          <a:bodyPr wrap="square" lIns="0" tIns="0" rIns="0" bIns="0" rtlCol="0"/>
          <a:lstStyle/>
          <a:p>
            <a:endParaRPr sz="1662" dirty="0">
              <a:solidFill>
                <a:srgbClr val="000000"/>
              </a:solidFill>
            </a:endParaRPr>
          </a:p>
        </p:txBody>
      </p:sp>
      <p:sp>
        <p:nvSpPr>
          <p:cNvPr id="5" name="Rectangle 4"/>
          <p:cNvSpPr/>
          <p:nvPr userDrawn="1"/>
        </p:nvSpPr>
        <p:spPr>
          <a:xfrm>
            <a:off x="-1" y="0"/>
            <a:ext cx="12183400" cy="6858000"/>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endParaRPr lang="en-US" sz="1385" dirty="0" smtClean="0">
              <a:solidFill>
                <a:prstClr val="white"/>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6" name="TextBox 5"/>
          <p:cNvSpPr txBox="1"/>
          <p:nvPr userDrawn="1"/>
        </p:nvSpPr>
        <p:spPr>
          <a:xfrm>
            <a:off x="1364973" y="6515652"/>
            <a:ext cx="4717775" cy="276999"/>
          </a:xfrm>
          <a:prstGeom prst="rect">
            <a:avLst/>
          </a:prstGeom>
          <a:noFill/>
        </p:spPr>
        <p:txBody>
          <a:bodyPr wrap="square" lIns="0" tIns="0" rIns="0" bIns="0" rtlCol="0">
            <a:spAutoFit/>
          </a:bodyPr>
          <a:lstStyle/>
          <a:p>
            <a:r>
              <a:rPr lang="en-US" sz="600" dirty="0" smtClean="0">
                <a:solidFill>
                  <a:srgbClr val="00338D"/>
                </a:solidFill>
                <a:latin typeface="Univers LT Std 45 Light" panose="020B0403020202020204" pitchFamily="34" charset="0"/>
                <a:cs typeface="Arial" pitchFamily="34" charset="0"/>
              </a:rPr>
              <a:t>© 2018 KPMG Advisory Services, a partnership registered in Ghana and a member firm of the KPMG network of independent member firms affiliated with KPMG International Cooperative (“KPMG International”), a Swiss entity. All rights reserved. Printed in Ghana.</a:t>
            </a:r>
          </a:p>
          <a:p>
            <a:endParaRPr lang="en-GB" sz="600" dirty="0">
              <a:solidFill>
                <a:srgbClr val="00338D"/>
              </a:solidFill>
              <a:latin typeface="Univers LT Std 45 Light" panose="020B0403020202020204" pitchFamily="34" charset="0"/>
              <a:cs typeface="Arial" pitchFamily="34" charset="0"/>
            </a:endParaRPr>
          </a:p>
        </p:txBody>
      </p:sp>
      <p:sp>
        <p:nvSpPr>
          <p:cNvPr id="8"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smtClean="0">
              <a:solidFill>
                <a:srgbClr val="000000"/>
              </a:solidFill>
              <a:latin typeface="Arial"/>
            </a:endParaRPr>
          </a:p>
        </p:txBody>
      </p:sp>
    </p:spTree>
    <p:extLst>
      <p:ext uri="{BB962C8B-B14F-4D97-AF65-F5344CB8AC3E}">
        <p14:creationId xmlns:p14="http://schemas.microsoft.com/office/powerpoint/2010/main" val="2547358392"/>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8131628"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219354817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Divider 1">
    <p:spTree>
      <p:nvGrpSpPr>
        <p:cNvPr id="1" name=""/>
        <p:cNvGrpSpPr/>
        <p:nvPr/>
      </p:nvGrpSpPr>
      <p:grpSpPr>
        <a:xfrm>
          <a:off x="0" y="0"/>
          <a:ext cx="0" cy="0"/>
          <a:chOff x="0" y="0"/>
          <a:chExt cx="0" cy="0"/>
        </a:xfrm>
      </p:grpSpPr>
      <p:sp>
        <p:nvSpPr>
          <p:cNvPr id="22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2D5491"/>
          </a:solidFill>
        </p:spPr>
        <p:txBody>
          <a:bodyPr wrap="square" lIns="0" tIns="0" rIns="0" bIns="0" rtlCol="0">
            <a:noAutofit/>
          </a:bodyPr>
          <a:lstStyle/>
          <a:p>
            <a:endParaRPr dirty="0">
              <a:solidFill>
                <a:srgbClr val="000000"/>
              </a:solidFill>
            </a:endParaRPr>
          </a:p>
        </p:txBody>
      </p:sp>
      <p:sp>
        <p:nvSpPr>
          <p:cNvPr id="2" name="Title 1"/>
          <p:cNvSpPr>
            <a:spLocks noGrp="1"/>
          </p:cNvSpPr>
          <p:nvPr>
            <p:ph type="title"/>
          </p:nvPr>
        </p:nvSpPr>
        <p:spPr>
          <a:xfrm>
            <a:off x="1761375" y="1931595"/>
            <a:ext cx="5566525" cy="3703320"/>
          </a:xfrm>
          <a:prstGeom prst="rect">
            <a:avLst/>
          </a:prstGeom>
        </p:spPr>
        <p:txBody>
          <a:bodyPr anchor="t" anchorCtr="0"/>
          <a:lstStyle>
            <a:lvl1pPr>
              <a:lnSpc>
                <a:spcPct val="70000"/>
              </a:lnSpc>
              <a:defRPr sz="8800" b="0" i="0">
                <a:solidFill>
                  <a:srgbClr val="FFFFFF"/>
                </a:solidFill>
                <a:latin typeface="KPMG Extralight"/>
                <a:cs typeface="KPMG Extralight"/>
              </a:defRPr>
            </a:lvl1pPr>
          </a:lstStyle>
          <a:p>
            <a:r>
              <a:rPr lang="en-US" dirty="0" smtClean="0"/>
              <a:t>Click to edit Master title style</a:t>
            </a:r>
            <a:endParaRPr lang="en-US" dirty="0"/>
          </a:p>
        </p:txBody>
      </p:sp>
      <p:sp>
        <p:nvSpPr>
          <p:cNvPr id="115" name="object 25862"/>
          <p:cNvSpPr/>
          <p:nvPr userDrawn="1"/>
        </p:nvSpPr>
        <p:spPr>
          <a:xfrm rot="5400000">
            <a:off x="30708" y="5674056"/>
            <a:ext cx="1153236" cy="1214651"/>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solidFill>
                <a:srgbClr val="000000"/>
              </a:solidFill>
            </a:endParaRPr>
          </a:p>
        </p:txBody>
      </p:sp>
      <p:sp>
        <p:nvSpPr>
          <p:cNvPr id="116" name="object 25863"/>
          <p:cNvSpPr/>
          <p:nvPr userDrawn="1"/>
        </p:nvSpPr>
        <p:spPr>
          <a:xfrm>
            <a:off x="11199863" y="0"/>
            <a:ext cx="992141" cy="1806417"/>
          </a:xfrm>
          <a:prstGeom prst="rect">
            <a:avLst/>
          </a:prstGeom>
          <a:blipFill>
            <a:blip r:embed="rId3"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solidFill>
                <a:srgbClr val="000000"/>
              </a:solidFill>
            </a:endParaRPr>
          </a:p>
        </p:txBody>
      </p:sp>
      <p:pic>
        <p:nvPicPr>
          <p:cNvPr id="6" name="Picture 5"/>
          <p:cNvPicPr>
            <a:picLocks noChangeAspect="1"/>
          </p:cNvPicPr>
          <p:nvPr userDrawn="1"/>
        </p:nvPicPr>
        <p:blipFill>
          <a:blip r:embed="rId4"/>
          <a:stretch>
            <a:fillRect/>
          </a:stretch>
        </p:blipFill>
        <p:spPr>
          <a:xfrm>
            <a:off x="-1113184" y="4492488"/>
            <a:ext cx="853376" cy="347870"/>
          </a:xfrm>
          <a:prstGeom prst="rect">
            <a:avLst/>
          </a:prstGeom>
          <a:solidFill>
            <a:srgbClr val="003D6F"/>
          </a:solidFill>
        </p:spPr>
      </p:pic>
    </p:spTree>
    <p:extLst>
      <p:ext uri="{BB962C8B-B14F-4D97-AF65-F5344CB8AC3E}">
        <p14:creationId xmlns:p14="http://schemas.microsoft.com/office/powerpoint/2010/main" val="9855526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852"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4400" dirty="0">
              <a:solidFill>
                <a:srgbClr val="FFFFFF"/>
              </a:solidFill>
              <a:latin typeface="KPMG Extralight" panose="020B0303030202040204" pitchFamily="34" charset="0"/>
              <a:sym typeface="KPMG Extralight" panose="020B0303030202040204"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515557" y="198241"/>
            <a:ext cx="8470585"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1" y="0"/>
            <a:ext cx="3293616"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0" name="object 25862"/>
          <p:cNvSpPr/>
          <p:nvPr userDrawn="1"/>
        </p:nvSpPr>
        <p:spPr>
          <a:xfrm rot="5400000">
            <a:off x="30708" y="5674056"/>
            <a:ext cx="1153236" cy="1214651"/>
          </a:xfrm>
          <a:prstGeom prst="rect">
            <a:avLst/>
          </a:prstGeom>
          <a:blipFill>
            <a:blip r:embed="rId7"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23255950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FINAL SLIDE">
    <p:spTree>
      <p:nvGrpSpPr>
        <p:cNvPr id="1" name=""/>
        <p:cNvGrpSpPr/>
        <p:nvPr/>
      </p:nvGrpSpPr>
      <p:grpSpPr>
        <a:xfrm>
          <a:off x="0" y="0"/>
          <a:ext cx="0" cy="0"/>
          <a:chOff x="0" y="0"/>
          <a:chExt cx="0" cy="0"/>
        </a:xfrm>
      </p:grpSpPr>
      <p:sp>
        <p:nvSpPr>
          <p:cNvPr id="13" name="object 3"/>
          <p:cNvSpPr/>
          <p:nvPr userDrawn="1"/>
        </p:nvSpPr>
        <p:spPr>
          <a:xfrm>
            <a:off x="0" y="1"/>
            <a:ext cx="12192000" cy="6858000"/>
          </a:xfrm>
          <a:custGeom>
            <a:avLst/>
            <a:gdLst/>
            <a:ahLst/>
            <a:cxnLst/>
            <a:rect l="l" t="t" r="r" b="b"/>
            <a:pathLst>
              <a:path w="14630400" h="8229600">
                <a:moveTo>
                  <a:pt x="0" y="8229598"/>
                </a:moveTo>
                <a:lnTo>
                  <a:pt x="14630400" y="8229598"/>
                </a:lnTo>
                <a:lnTo>
                  <a:pt x="14630400" y="0"/>
                </a:lnTo>
                <a:lnTo>
                  <a:pt x="0" y="0"/>
                </a:lnTo>
                <a:lnTo>
                  <a:pt x="0" y="8229598"/>
                </a:lnTo>
                <a:close/>
              </a:path>
            </a:pathLst>
          </a:custGeom>
          <a:solidFill>
            <a:srgbClr val="022974"/>
          </a:solidFill>
        </p:spPr>
        <p:txBody>
          <a:bodyPr wrap="square" lIns="0" tIns="0" rIns="0" bIns="0" rtlCol="0"/>
          <a:lstStyle/>
          <a:p>
            <a:endParaRPr sz="1500" dirty="0">
              <a:solidFill>
                <a:srgbClr val="000000"/>
              </a:solidFill>
            </a:endParaRPr>
          </a:p>
        </p:txBody>
      </p:sp>
      <p:sp>
        <p:nvSpPr>
          <p:cNvPr id="5" name="bk object 16"/>
          <p:cNvSpPr/>
          <p:nvPr userDrawn="1"/>
        </p:nvSpPr>
        <p:spPr>
          <a:xfrm>
            <a:off x="563217" y="6496879"/>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dirty="0">
              <a:solidFill>
                <a:srgbClr val="FFFFFF"/>
              </a:solidFill>
            </a:endParaRPr>
          </a:p>
        </p:txBody>
      </p:sp>
      <p:sp>
        <p:nvSpPr>
          <p:cNvPr id="6" name="TextBox 5"/>
          <p:cNvSpPr txBox="1"/>
          <p:nvPr userDrawn="1"/>
        </p:nvSpPr>
        <p:spPr>
          <a:xfrm>
            <a:off x="1517373" y="6566452"/>
            <a:ext cx="4717775" cy="276999"/>
          </a:xfrm>
          <a:prstGeom prst="rect">
            <a:avLst/>
          </a:prstGeom>
          <a:noFill/>
        </p:spPr>
        <p:txBody>
          <a:bodyPr wrap="square" lIns="0" tIns="0" rIns="0" bIns="0" rtlCol="0">
            <a:spAutoFit/>
          </a:bodyPr>
          <a:lstStyle/>
          <a:p>
            <a:r>
              <a:rPr lang="en-US" sz="600" dirty="0">
                <a:solidFill>
                  <a:srgbClr val="FFFFFF"/>
                </a:solidFill>
                <a:cs typeface="Arial" pitchFamily="34" charset="0"/>
              </a:rPr>
              <a:t>© 2017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cs typeface="Arial"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FFFFFF"/>
                </a:solidFill>
                <a:cs typeface="Arial" charset="0"/>
              </a:rPr>
              <a:pPr algn="r" defTabSz="763841" fontAlgn="base">
                <a:spcBef>
                  <a:spcPct val="40000"/>
                </a:spcBef>
                <a:spcAft>
                  <a:spcPct val="0"/>
                </a:spcAft>
              </a:pPr>
              <a:t>‹#›</a:t>
            </a:fld>
            <a:endParaRPr lang="en-GB" sz="752" dirty="0">
              <a:solidFill>
                <a:srgbClr val="FFFFFF"/>
              </a:solidFill>
              <a:cs typeface="Arial" charset="0"/>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67618" y="0"/>
            <a:ext cx="4924382" cy="6858001"/>
          </a:xfrm>
          <a:prstGeom prst="rect">
            <a:avLst/>
          </a:prstGeom>
          <a:solidFill>
            <a:srgbClr val="012A7A"/>
          </a:solidFill>
        </p:spPr>
      </p:pic>
    </p:spTree>
    <p:extLst>
      <p:ext uri="{BB962C8B-B14F-4D97-AF65-F5344CB8AC3E}">
        <p14:creationId xmlns:p14="http://schemas.microsoft.com/office/powerpoint/2010/main" val="2974457151"/>
      </p:ext>
    </p:extLst>
  </p:cSld>
  <p:clrMapOvr>
    <a:masterClrMapping/>
  </p:clrMapOvr>
  <p:extLst mod="1">
    <p:ext uri="{DCECCB84-F9BA-43D5-87BE-67443E8EF086}">
      <p15:sldGuideLst xmlns:p15="http://schemas.microsoft.com/office/powerpoint/2012/main">
        <p15:guide id="1" orient="horz" pos="2160">
          <p15:clr>
            <a:srgbClr val="FBAE40"/>
          </p15:clr>
        </p15:guide>
        <p15:guide id="2" pos="166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151569122"/>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object 2"/>
          <p:cNvSpPr/>
          <p:nvPr userDrawn="1"/>
        </p:nvSpPr>
        <p:spPr>
          <a:xfrm flipV="1">
            <a:off x="-1" y="-5"/>
            <a:ext cx="12192001" cy="6858004"/>
          </a:xfrm>
          <a:prstGeom prst="rect">
            <a:avLst/>
          </a:prstGeom>
          <a:blipFill>
            <a:blip r:embed="rId2" cstate="print">
              <a:extLst>
                <a:ext uri="{28A0092B-C50C-407E-A947-70E740481C1C}">
                  <a14:useLocalDpi xmlns:a14="http://schemas.microsoft.com/office/drawing/2010/main" val="0"/>
                </a:ext>
              </a:extLst>
            </a:blip>
            <a:srcRect/>
            <a:stretch>
              <a:fillRect b="1"/>
            </a:stretch>
          </a:blipFill>
        </p:spPr>
        <p:txBody>
          <a:bodyPr wrap="square" lIns="0" tIns="0" rIns="0" bIns="0" rtlCol="0"/>
          <a:lstStyle/>
          <a:p>
            <a:endParaRPr sz="1662" dirty="0">
              <a:solidFill>
                <a:srgbClr val="000000"/>
              </a:solidFill>
            </a:endParaRPr>
          </a:p>
        </p:txBody>
      </p:sp>
      <p:sp>
        <p:nvSpPr>
          <p:cNvPr id="5" name="Rectangle 4"/>
          <p:cNvSpPr/>
          <p:nvPr userDrawn="1"/>
        </p:nvSpPr>
        <p:spPr>
          <a:xfrm>
            <a:off x="-1" y="0"/>
            <a:ext cx="12183400" cy="6858000"/>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ctr"/>
          <a:lstStyle/>
          <a:p>
            <a:endParaRPr lang="en-US" sz="1385" dirty="0" smtClean="0">
              <a:solidFill>
                <a:prstClr val="white"/>
              </a:solidFill>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10515600"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827115007"/>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13872" y="166343"/>
            <a:ext cx="8131628"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8483600" y="0"/>
            <a:ext cx="3708781"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0" name="object 25862"/>
          <p:cNvSpPr/>
          <p:nvPr userDrawn="1"/>
        </p:nvSpPr>
        <p:spPr>
          <a:xfrm>
            <a:off x="10354060" y="5086348"/>
            <a:ext cx="1837944" cy="1771652"/>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solidFill>
                <a:srgbClr val="000000"/>
              </a:solidFill>
            </a:endParaRPr>
          </a:p>
        </p:txBody>
      </p:sp>
      <p:sp>
        <p:nvSpPr>
          <p:cNvPr id="11" name="object 25863"/>
          <p:cNvSpPr/>
          <p:nvPr userDrawn="1"/>
        </p:nvSpPr>
        <p:spPr>
          <a:xfrm>
            <a:off x="11199863" y="0"/>
            <a:ext cx="992141" cy="1806417"/>
          </a:xfrm>
          <a:prstGeom prst="rect">
            <a:avLst/>
          </a:prstGeom>
          <a:blipFill>
            <a:blip r:embed="rId3"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324685085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740"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4400" dirty="0">
              <a:solidFill>
                <a:srgbClr val="FFFFFF"/>
              </a:solidFill>
              <a:latin typeface="KPMG Extralight" panose="020B0303030202040204" pitchFamily="34" charset="0"/>
              <a:sym typeface="KPMG Extralight" panose="020B0303030202040204"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
        <p:nvSpPr>
          <p:cNvPr id="2" name="Title 1"/>
          <p:cNvSpPr>
            <a:spLocks noGrp="1"/>
          </p:cNvSpPr>
          <p:nvPr>
            <p:ph type="title"/>
          </p:nvPr>
        </p:nvSpPr>
        <p:spPr>
          <a:xfrm>
            <a:off x="3515557" y="198241"/>
            <a:ext cx="8470585" cy="880579"/>
          </a:xfrm>
          <a:prstGeom prst="rect">
            <a:avLst/>
          </a:prstGeom>
        </p:spPr>
        <p:txBody>
          <a:bodyPr lIns="0"/>
          <a:lstStyle>
            <a:lvl1pPr>
              <a:lnSpc>
                <a:spcPct val="70000"/>
              </a:lnSpc>
              <a:defRPr sz="4400" b="0">
                <a:latin typeface="KPMG Extralight" panose="020B0303030202040204" pitchFamily="34" charset="0"/>
              </a:defRPr>
            </a:lvl1pPr>
          </a:lstStyle>
          <a:p>
            <a:r>
              <a:rPr lang="en-US" dirty="0" smtClean="0"/>
              <a:t>Click to edit Master title style</a:t>
            </a:r>
            <a:endParaRPr lang="en-GB" dirty="0"/>
          </a:p>
        </p:txBody>
      </p:sp>
      <p:sp>
        <p:nvSpPr>
          <p:cNvPr id="9" name="object 9"/>
          <p:cNvSpPr/>
          <p:nvPr userDrawn="1"/>
        </p:nvSpPr>
        <p:spPr>
          <a:xfrm>
            <a:off x="1" y="0"/>
            <a:ext cx="3293616" cy="6858254"/>
          </a:xfrm>
          <a:custGeom>
            <a:avLst/>
            <a:gdLst/>
            <a:ahLst/>
            <a:cxnLst/>
            <a:rect l="l" t="t" r="r" b="b"/>
            <a:pathLst>
              <a:path w="4231005" h="2345690">
                <a:moveTo>
                  <a:pt x="0" y="2345436"/>
                </a:moveTo>
                <a:lnTo>
                  <a:pt x="4230636" y="2345436"/>
                </a:lnTo>
                <a:lnTo>
                  <a:pt x="4230636" y="0"/>
                </a:lnTo>
                <a:lnTo>
                  <a:pt x="0" y="0"/>
                </a:lnTo>
                <a:lnTo>
                  <a:pt x="0" y="2345436"/>
                </a:lnTo>
                <a:close/>
              </a:path>
            </a:pathLst>
          </a:custGeom>
          <a:solidFill>
            <a:srgbClr val="470A68"/>
          </a:solidFill>
        </p:spPr>
        <p:txBody>
          <a:bodyPr wrap="square" lIns="0" tIns="0" rIns="0" bIns="0" rtlCol="0"/>
          <a:lstStyle/>
          <a:p>
            <a:endParaRPr>
              <a:solidFill>
                <a:srgbClr val="000000"/>
              </a:solidFill>
            </a:endParaRPr>
          </a:p>
        </p:txBody>
      </p:sp>
      <p:sp>
        <p:nvSpPr>
          <p:cNvPr id="10" name="object 25862"/>
          <p:cNvSpPr/>
          <p:nvPr userDrawn="1"/>
        </p:nvSpPr>
        <p:spPr>
          <a:xfrm rot="5400000">
            <a:off x="30708" y="5674056"/>
            <a:ext cx="1153236" cy="1214651"/>
          </a:xfrm>
          <a:prstGeom prst="rect">
            <a:avLst/>
          </a:prstGeom>
          <a:blipFill>
            <a:blip r:embed="rId7"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solidFill>
                <a:srgbClr val="000000"/>
              </a:solidFill>
            </a:endParaRPr>
          </a:p>
        </p:txBody>
      </p:sp>
      <p:sp>
        <p:nvSpPr>
          <p:cNvPr id="8" name="TextBox 7"/>
          <p:cNvSpPr txBox="1"/>
          <p:nvPr userDrawn="1"/>
        </p:nvSpPr>
        <p:spPr>
          <a:xfrm>
            <a:off x="4115646" y="6517148"/>
            <a:ext cx="7492153" cy="276999"/>
          </a:xfrm>
          <a:prstGeom prst="rect">
            <a:avLst/>
          </a:prstGeom>
          <a:noFill/>
        </p:spPr>
        <p:txBody>
          <a:bodyPr wrap="square" lIns="0" tIns="0" rIns="0" bIns="0" rtlCol="0">
            <a:spAutoFit/>
          </a:bodyPr>
          <a:lstStyle/>
          <a:p>
            <a:r>
              <a:rPr lang="en-US" sz="600" dirty="0" smtClean="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11" name="Freeform 19"/>
          <p:cNvSpPr>
            <a:spLocks noEditPoints="1"/>
          </p:cNvSpPr>
          <p:nvPr userDrawn="1"/>
        </p:nvSpPr>
        <p:spPr bwMode="auto">
          <a:xfrm>
            <a:off x="3383364" y="6463947"/>
            <a:ext cx="642536" cy="2527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smtClean="0">
              <a:solidFill>
                <a:srgbClr val="000000"/>
              </a:solidFill>
              <a:latin typeface="Arial"/>
            </a:endParaRPr>
          </a:p>
        </p:txBody>
      </p:sp>
    </p:spTree>
    <p:extLst>
      <p:ext uri="{BB962C8B-B14F-4D97-AF65-F5344CB8AC3E}">
        <p14:creationId xmlns:p14="http://schemas.microsoft.com/office/powerpoint/2010/main" val="12072241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16123" y="1422400"/>
            <a:ext cx="10159754" cy="4604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1" hasCustomPrompt="1"/>
          </p:nvPr>
        </p:nvSpPr>
        <p:spPr>
          <a:xfrm>
            <a:off x="309897" y="64163"/>
            <a:ext cx="10865980" cy="169200"/>
          </a:xfrm>
          <a:prstGeom prst="rect">
            <a:avLst/>
          </a:prstGeo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309897" y="286475"/>
            <a:ext cx="10865980" cy="723600"/>
          </a:xfrm>
          <a:prstGeom prst="rect">
            <a:avLst/>
          </a:prstGeom>
        </p:spPr>
        <p:txBody>
          <a:bodyPr/>
          <a:lstStyle>
            <a:lvl1pPr>
              <a:defRPr sz="3200" b="1"/>
            </a:lvl1pPr>
          </a:lstStyle>
          <a:p>
            <a:r>
              <a:rPr lang="en-US"/>
              <a:t>Click to edit Master title style</a:t>
            </a:r>
            <a:endParaRPr lang="en-GB" dirty="0"/>
          </a:p>
        </p:txBody>
      </p:sp>
    </p:spTree>
    <p:extLst>
      <p:ext uri="{BB962C8B-B14F-4D97-AF65-F5344CB8AC3E}">
        <p14:creationId xmlns:p14="http://schemas.microsoft.com/office/powerpoint/2010/main" val="1919762866"/>
      </p:ext>
    </p:extLst>
  </p:cSld>
  <p:clrMapOvr>
    <a:masterClrMapping/>
  </p:clrMapOvr>
  <p:extLst>
    <p:ext uri="{DCECCB84-F9BA-43D5-87BE-67443E8EF086}">
      <p15:sldGuideLst xmlns:p15="http://schemas.microsoft.com/office/powerpoint/2012/main">
        <p15:guide id="1" pos="2184">
          <p15:clr>
            <a:srgbClr val="FBAE40"/>
          </p15:clr>
        </p15:guide>
        <p15:guide id="2" pos="223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7" name="Rectangle 6"/>
          <p:cNvSpPr/>
          <p:nvPr userDrawn="1"/>
        </p:nvSpPr>
        <p:spPr bwMode="gray">
          <a:xfrm>
            <a:off x="11395361" y="652950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912865"/>
          </a:xfrm>
          <a:prstGeom prst="rect">
            <a:avLst/>
          </a:prstGeom>
        </p:spPr>
      </p:pic>
      <p:pic>
        <p:nvPicPr>
          <p:cNvPr id="10" name="Picture 9" descr="KPMG_NoCP_white_US_283_6780.eps"/>
          <p:cNvPicPr>
            <a:picLocks noChangeAspect="1"/>
          </p:cNvPicPr>
          <p:nvPr userDrawn="1"/>
        </p:nvPicPr>
        <p:blipFill rotWithShape="1">
          <a:blip r:embed="rId3" cstate="email">
            <a:extLst>
              <a:ext uri="{28A0092B-C50C-407E-A947-70E740481C1C}">
                <a14:useLocalDpi xmlns:a14="http://schemas.microsoft.com/office/drawing/2010/main"/>
              </a:ext>
            </a:extLst>
          </a:blip>
          <a:stretch/>
        </p:blipFill>
        <p:spPr>
          <a:xfrm>
            <a:off x="525015" y="217784"/>
            <a:ext cx="1555578" cy="1148910"/>
          </a:xfrm>
          <a:prstGeom prst="rect">
            <a:avLst/>
          </a:prstGeom>
          <a:noFill/>
          <a:ln>
            <a:noFill/>
          </a:ln>
        </p:spPr>
      </p:pic>
      <p:sp>
        <p:nvSpPr>
          <p:cNvPr id="11" name="Title 10"/>
          <p:cNvSpPr>
            <a:spLocks noGrp="1"/>
          </p:cNvSpPr>
          <p:nvPr>
            <p:ph type="title"/>
          </p:nvPr>
        </p:nvSpPr>
        <p:spPr>
          <a:xfrm>
            <a:off x="1025527" y="1821393"/>
            <a:ext cx="7069586" cy="1557074"/>
          </a:xfrm>
          <a:prstGeom prst="rect">
            <a:avLst/>
          </a:prstGeom>
        </p:spPr>
        <p:txBody>
          <a:bodyPr/>
          <a:lstStyle>
            <a:lvl1pPr>
              <a:defRPr sz="7200">
                <a:solidFill>
                  <a:schemeClr val="bg1"/>
                </a:solidFill>
                <a:latin typeface="KPMG Extralight" panose="020B0303030202040204" pitchFamily="34" charset="0"/>
              </a:defRPr>
            </a:lvl1pPr>
          </a:lstStyle>
          <a:p>
            <a:r>
              <a:rPr lang="en-US" dirty="0" smtClean="0"/>
              <a:t>Click to edit Master title style</a:t>
            </a:r>
            <a:endParaRPr lang="en-US" dirty="0"/>
          </a:p>
        </p:txBody>
      </p:sp>
      <p:sp>
        <p:nvSpPr>
          <p:cNvPr id="13" name="Text Placeholder 12"/>
          <p:cNvSpPr>
            <a:spLocks noGrp="1"/>
          </p:cNvSpPr>
          <p:nvPr>
            <p:ph type="body" sz="quarter" idx="10"/>
          </p:nvPr>
        </p:nvSpPr>
        <p:spPr>
          <a:xfrm>
            <a:off x="1025526" y="3628190"/>
            <a:ext cx="4855509" cy="508000"/>
          </a:xfrm>
          <a:prstGeom prst="rect">
            <a:avLst/>
          </a:prstGeom>
        </p:spPr>
        <p:txBody>
          <a:bodyPr/>
          <a:lstStyle>
            <a:lvl1pPr>
              <a:defRPr sz="2400">
                <a:solidFill>
                  <a:schemeClr val="accent3">
                    <a:lumMod val="60000"/>
                    <a:lumOff val="40000"/>
                  </a:schemeClr>
                </a:solidFill>
                <a:latin typeface="Univers LT 45 Light"/>
              </a:defRPr>
            </a:lvl1pPr>
            <a:lvl2pPr>
              <a:defRPr sz="1600">
                <a:latin typeface="Univers LT 45 Light"/>
              </a:defRPr>
            </a:lvl2pPr>
            <a:lvl3pPr>
              <a:defRPr sz="1600">
                <a:latin typeface="Univers LT 45 Light"/>
              </a:defRPr>
            </a:lvl3pPr>
            <a:lvl4pPr>
              <a:defRPr sz="1600">
                <a:latin typeface="Univers LT 45 Light"/>
              </a:defRPr>
            </a:lvl4pPr>
            <a:lvl5pPr>
              <a:defRPr sz="1600">
                <a:latin typeface="Univers LT 45 Light"/>
              </a:defRPr>
            </a:lvl5pPr>
          </a:lstStyle>
          <a:p>
            <a:pPr lvl="0"/>
            <a:r>
              <a:rPr lang="en-US" dirty="0" smtClean="0"/>
              <a:t>Click to edit Master text styles</a:t>
            </a:r>
          </a:p>
        </p:txBody>
      </p:sp>
      <p:sp>
        <p:nvSpPr>
          <p:cNvPr id="17" name="Text Placeholder 16"/>
          <p:cNvSpPr>
            <a:spLocks noGrp="1"/>
          </p:cNvSpPr>
          <p:nvPr>
            <p:ph type="body" sz="quarter" idx="13"/>
          </p:nvPr>
        </p:nvSpPr>
        <p:spPr>
          <a:xfrm>
            <a:off x="1025526" y="4513263"/>
            <a:ext cx="3657600" cy="404812"/>
          </a:xfrm>
          <a:prstGeom prst="rect">
            <a:avLst/>
          </a:prstGeom>
        </p:spPr>
        <p:txBody>
          <a:bodyPr/>
          <a:lstStyle>
            <a:lvl1pPr>
              <a:defRPr sz="1600">
                <a:solidFill>
                  <a:schemeClr val="bg1"/>
                </a:solidFill>
              </a:defRPr>
            </a:lvl1pPr>
          </a:lstStyle>
          <a:p>
            <a:pPr lvl="0"/>
            <a:r>
              <a:rPr lang="en-US" dirty="0" smtClean="0"/>
              <a:t>Click to edit Master text styles</a:t>
            </a:r>
            <a:endParaRPr lang="en-US" dirty="0"/>
          </a:p>
        </p:txBody>
      </p:sp>
      <p:sp>
        <p:nvSpPr>
          <p:cNvPr id="19" name="Text Placeholder 18"/>
          <p:cNvSpPr>
            <a:spLocks noGrp="1"/>
          </p:cNvSpPr>
          <p:nvPr>
            <p:ph type="body" sz="quarter" idx="14"/>
          </p:nvPr>
        </p:nvSpPr>
        <p:spPr>
          <a:xfrm>
            <a:off x="1035051" y="5322888"/>
            <a:ext cx="2724150" cy="317500"/>
          </a:xfrm>
          <a:prstGeom prst="rect">
            <a:avLst/>
          </a:prstGeom>
        </p:spPr>
        <p:txBody>
          <a:bodyPr/>
          <a:lstStyle>
            <a:lvl1pPr>
              <a:defRPr sz="105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9650338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FINAL SLIDE">
    <p:spTree>
      <p:nvGrpSpPr>
        <p:cNvPr id="1" name=""/>
        <p:cNvGrpSpPr/>
        <p:nvPr/>
      </p:nvGrpSpPr>
      <p:grpSpPr>
        <a:xfrm>
          <a:off x="0" y="0"/>
          <a:ext cx="0" cy="0"/>
          <a:chOff x="0" y="0"/>
          <a:chExt cx="0" cy="0"/>
        </a:xfrm>
      </p:grpSpPr>
      <p:sp>
        <p:nvSpPr>
          <p:cNvPr id="13" name="object 3"/>
          <p:cNvSpPr/>
          <p:nvPr userDrawn="1"/>
        </p:nvSpPr>
        <p:spPr>
          <a:xfrm>
            <a:off x="0" y="1"/>
            <a:ext cx="12192000" cy="6858000"/>
          </a:xfrm>
          <a:custGeom>
            <a:avLst/>
            <a:gdLst/>
            <a:ahLst/>
            <a:cxnLst/>
            <a:rect l="l" t="t" r="r" b="b"/>
            <a:pathLst>
              <a:path w="14630400" h="8229600">
                <a:moveTo>
                  <a:pt x="0" y="8229598"/>
                </a:moveTo>
                <a:lnTo>
                  <a:pt x="14630400" y="8229598"/>
                </a:lnTo>
                <a:lnTo>
                  <a:pt x="14630400" y="0"/>
                </a:lnTo>
                <a:lnTo>
                  <a:pt x="0" y="0"/>
                </a:lnTo>
                <a:lnTo>
                  <a:pt x="0" y="8229598"/>
                </a:lnTo>
                <a:close/>
              </a:path>
            </a:pathLst>
          </a:custGeom>
          <a:solidFill>
            <a:srgbClr val="00338D"/>
          </a:solidFill>
        </p:spPr>
        <p:txBody>
          <a:bodyPr wrap="square" lIns="0" tIns="0" rIns="0" bIns="0" rtlCol="0"/>
          <a:lstStyle/>
          <a:p>
            <a:endParaRPr sz="1500" dirty="0">
              <a:solidFill>
                <a:srgbClr val="000000"/>
              </a:solidFill>
            </a:endParaRPr>
          </a:p>
        </p:txBody>
      </p:sp>
      <p:sp>
        <p:nvSpPr>
          <p:cNvPr id="5" name="bk object 16"/>
          <p:cNvSpPr/>
          <p:nvPr userDrawn="1"/>
        </p:nvSpPr>
        <p:spPr>
          <a:xfrm>
            <a:off x="563217" y="6496879"/>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dirty="0">
              <a:solidFill>
                <a:srgbClr val="FFFFFF"/>
              </a:solidFill>
            </a:endParaRPr>
          </a:p>
        </p:txBody>
      </p:sp>
      <p:sp>
        <p:nvSpPr>
          <p:cNvPr id="6" name="TextBox 5"/>
          <p:cNvSpPr txBox="1"/>
          <p:nvPr userDrawn="1"/>
        </p:nvSpPr>
        <p:spPr>
          <a:xfrm>
            <a:off x="1517373" y="6566452"/>
            <a:ext cx="4717775" cy="276999"/>
          </a:xfrm>
          <a:prstGeom prst="rect">
            <a:avLst/>
          </a:prstGeom>
          <a:noFill/>
        </p:spPr>
        <p:txBody>
          <a:bodyPr wrap="square" lIns="0" tIns="0" rIns="0" bIns="0" rtlCol="0">
            <a:spAutoFit/>
          </a:bodyPr>
          <a:lstStyle/>
          <a:p>
            <a:r>
              <a:rPr lang="en-US" sz="600" dirty="0">
                <a:solidFill>
                  <a:srgbClr val="FFFFFF"/>
                </a:solidFill>
                <a:cs typeface="Arial" pitchFamily="34" charset="0"/>
              </a:rPr>
              <a:t>© 2017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FFFFFF"/>
              </a:solidFill>
              <a:cs typeface="Arial" pitchFamily="34" charset="0"/>
            </a:endParaRPr>
          </a:p>
        </p:txBody>
      </p:sp>
      <p:sp>
        <p:nvSpPr>
          <p:cNvPr id="7" name="Rectangle 6"/>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FFFFFF"/>
                </a:solidFill>
                <a:cs typeface="Arial" charset="0"/>
              </a:rPr>
              <a:pPr algn="r" defTabSz="763841" fontAlgn="base">
                <a:spcBef>
                  <a:spcPct val="40000"/>
                </a:spcBef>
                <a:spcAft>
                  <a:spcPct val="0"/>
                </a:spcAft>
              </a:pPr>
              <a:t>‹#›</a:t>
            </a:fld>
            <a:endParaRPr lang="en-GB" sz="752" dirty="0">
              <a:solidFill>
                <a:srgbClr val="FFFFFF"/>
              </a:solidFill>
              <a:cs typeface="Arial" charset="0"/>
            </a:endParaRPr>
          </a:p>
        </p:txBody>
      </p:sp>
    </p:spTree>
    <p:extLst>
      <p:ext uri="{BB962C8B-B14F-4D97-AF65-F5344CB8AC3E}">
        <p14:creationId xmlns:p14="http://schemas.microsoft.com/office/powerpoint/2010/main" val="1911712869"/>
      </p:ext>
    </p:extLst>
  </p:cSld>
  <p:clrMapOvr>
    <a:masterClrMapping/>
  </p:clrMapOvr>
  <p:extLst mod="1">
    <p:ext uri="{DCECCB84-F9BA-43D5-87BE-67443E8EF086}">
      <p15:sldGuideLst xmlns:p15="http://schemas.microsoft.com/office/powerpoint/2012/main">
        <p15:guide id="1" orient="horz" pos="2160">
          <p15:clr>
            <a:srgbClr val="FBAE40"/>
          </p15:clr>
        </p15:guide>
        <p15:guide id="2" pos="166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416025" y="397566"/>
            <a:ext cx="10515600" cy="384313"/>
          </a:xfrm>
          <a:prstGeom prst="rect">
            <a:avLst/>
          </a:prstGeom>
        </p:spPr>
        <p:txBody>
          <a:bodyPr lIns="0"/>
          <a:lstStyle>
            <a:lvl1pPr>
              <a:lnSpc>
                <a:spcPct val="70000"/>
              </a:lnSpc>
              <a:defRPr sz="2600" b="0">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Tree>
    <p:extLst>
      <p:ext uri="{BB962C8B-B14F-4D97-AF65-F5344CB8AC3E}">
        <p14:creationId xmlns:p14="http://schemas.microsoft.com/office/powerpoint/2010/main" val="30980938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88211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94380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8.xml"/><Relationship Id="rId7"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ags" Target="../tags/tag2.xml"/><Relationship Id="rId5" Type="http://schemas.openxmlformats.org/officeDocument/2006/relationships/vmlDrawing" Target="../drawings/vmlDrawing2.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image" Target="../media/image5.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14.xml"/><Relationship Id="rId7" Type="http://schemas.openxmlformats.org/officeDocument/2006/relationships/tags" Target="../tags/tag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vmlDrawing" Target="../drawings/vmlDrawing3.vml"/><Relationship Id="rId5" Type="http://schemas.openxmlformats.org/officeDocument/2006/relationships/theme" Target="../theme/theme4.xml"/><Relationship Id="rId4" Type="http://schemas.openxmlformats.org/officeDocument/2006/relationships/slideLayout" Target="../slideLayouts/slideLayout15.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4.bin"/><Relationship Id="rId5" Type="http://schemas.openxmlformats.org/officeDocument/2006/relationships/tags" Target="../tags/tag4.xml"/><Relationship Id="rId4" Type="http://schemas.openxmlformats.org/officeDocument/2006/relationships/vmlDrawing" Target="../drawings/vmlDrawing4.v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image" Target="../media/image1.emf"/><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oleObject" Target="../embeddings/oleObject5.bin"/><Relationship Id="rId5" Type="http://schemas.openxmlformats.org/officeDocument/2006/relationships/slideLayout" Target="../slideLayouts/slideLayout22.xml"/><Relationship Id="rId10" Type="http://schemas.openxmlformats.org/officeDocument/2006/relationships/tags" Target="../tags/tag5.xml"/><Relationship Id="rId4" Type="http://schemas.openxmlformats.org/officeDocument/2006/relationships/slideLayout" Target="../slideLayouts/slideLayout21.xml"/><Relationship Id="rId9" Type="http://schemas.openxmlformats.org/officeDocument/2006/relationships/vmlDrawing" Target="../drawings/vmlDrawing5.v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slideLayout" Target="../slideLayouts/slideLayout27.xml"/><Relationship Id="rId7" Type="http://schemas.openxmlformats.org/officeDocument/2006/relationships/vmlDrawing" Target="../drawings/vmlDrawing7.v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heme" Target="../theme/theme7.xml"/><Relationship Id="rId5" Type="http://schemas.openxmlformats.org/officeDocument/2006/relationships/slideLayout" Target="../slideLayouts/slideLayout29.xml"/><Relationship Id="rId10" Type="http://schemas.openxmlformats.org/officeDocument/2006/relationships/image" Target="../media/image1.emf"/><Relationship Id="rId4" Type="http://schemas.openxmlformats.org/officeDocument/2006/relationships/slideLayout" Target="../slideLayouts/slideLayout28.xml"/><Relationship Id="rId9" Type="http://schemas.openxmlformats.org/officeDocument/2006/relationships/oleObject" Target="../embeddings/oleObject7.bin"/></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slideLayout" Target="../slideLayouts/slideLayout32.xml"/><Relationship Id="rId7" Type="http://schemas.openxmlformats.org/officeDocument/2006/relationships/tags" Target="../tags/tag1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vmlDrawing" Target="../drawings/vmlDrawing9.vml"/><Relationship Id="rId5" Type="http://schemas.openxmlformats.org/officeDocument/2006/relationships/theme" Target="../theme/theme8.xml"/><Relationship Id="rId4" Type="http://schemas.openxmlformats.org/officeDocument/2006/relationships/slideLayout" Target="../slideLayouts/slideLayout33.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8"/>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3887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grpSp>
      <p:sp>
        <p:nvSpPr>
          <p:cNvPr id="12" name="bk object 16"/>
          <p:cNvSpPr/>
          <p:nvPr userDrawn="1"/>
        </p:nvSpPr>
        <p:spPr>
          <a:xfrm>
            <a:off x="410817" y="6450495"/>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p>
        </p:txBody>
      </p:sp>
      <p:sp>
        <p:nvSpPr>
          <p:cNvPr id="13" name="TextBox 12"/>
          <p:cNvSpPr txBox="1"/>
          <p:nvPr userDrawn="1"/>
        </p:nvSpPr>
        <p:spPr>
          <a:xfrm>
            <a:off x="1364973" y="6520068"/>
            <a:ext cx="4717775" cy="276999"/>
          </a:xfrm>
          <a:prstGeom prst="rect">
            <a:avLst/>
          </a:prstGeom>
          <a:noFill/>
        </p:spPr>
        <p:txBody>
          <a:bodyPr wrap="square" lIns="0" tIns="0" rIns="0" bIns="0" rtlCol="0">
            <a:spAutoFit/>
          </a:bodyPr>
          <a:lstStyle/>
          <a:p>
            <a:r>
              <a:rPr lang="en-US" sz="600" dirty="0">
                <a:solidFill>
                  <a:srgbClr val="00338D"/>
                </a:solidFill>
                <a:latin typeface="Arial" panose="020B0604020202020204" pitchFamily="34" charset="0"/>
                <a:cs typeface="Arial" panose="020B0604020202020204" pitchFamily="34" charset="0"/>
              </a:rPr>
              <a:t>© </a:t>
            </a:r>
            <a:r>
              <a:rPr lang="en-US" sz="600" dirty="0" smtClean="0">
                <a:solidFill>
                  <a:srgbClr val="00338D"/>
                </a:solidFill>
                <a:latin typeface="Arial" panose="020B0604020202020204" pitchFamily="34" charset="0"/>
                <a:cs typeface="Arial" panose="020B0604020202020204" pitchFamily="34" charset="0"/>
              </a:rPr>
              <a:t>2018 </a:t>
            </a:r>
            <a:r>
              <a:rPr lang="en-US" sz="600" dirty="0">
                <a:solidFill>
                  <a:srgbClr val="00338D"/>
                </a:solidFill>
                <a:latin typeface="Arial" panose="020B0604020202020204" pitchFamily="34" charset="0"/>
                <a:cs typeface="Arial" panose="020B0604020202020204" pitchFamily="34" charset="0"/>
              </a:rPr>
              <a:t>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Arial" panose="020B0604020202020204" pitchFamily="34" charset="0"/>
              <a:cs typeface="Arial" panose="020B0604020202020204" pitchFamily="34" charset="0"/>
            </a:endParaRPr>
          </a:p>
        </p:txBody>
      </p:sp>
      <p:sp>
        <p:nvSpPr>
          <p:cNvPr id="18" name="Rectangle 17"/>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2683417040"/>
      </p:ext>
    </p:extLst>
  </p:cSld>
  <p:clrMap bg1="lt1" tx1="dk1" bg2="lt2" tx2="dk2" accent1="accent1" accent2="accent2" accent3="accent3" accent4="accent4" accent5="accent5" accent6="accent6" hlink="hlink" folHlink="folHlink"/>
  <p:sldLayoutIdLst>
    <p:sldLayoutId id="2147483679" r:id="rId1"/>
    <p:sldLayoutId id="2147483709" r:id="rId2"/>
    <p:sldLayoutId id="2147483863" r:id="rId3"/>
    <p:sldLayoutId id="2147483862" r:id="rId4"/>
    <p:sldLayoutId id="2147483895" r:id="rId5"/>
  </p:sldLayoutIdLst>
  <p:hf hdr="0" ftr="0" dt="0"/>
  <p:txStyles>
    <p:titleStyle>
      <a:lvl1pPr algn="l" defTabSz="723784" rtl="0" eaLnBrk="1" latinLnBrk="0" hangingPunct="1">
        <a:spcBef>
          <a:spcPct val="0"/>
        </a:spcBef>
        <a:buNone/>
        <a:defRPr kumimoji="0" lang="en-GB" sz="2240"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723784" rtl="0" eaLnBrk="1" latinLnBrk="0" hangingPunct="1">
        <a:lnSpc>
          <a:spcPct val="100000"/>
        </a:lnSpc>
        <a:spcBef>
          <a:spcPts val="407"/>
        </a:spcBef>
        <a:spcAft>
          <a:spcPts val="407"/>
        </a:spcAft>
        <a:buFont typeface="Arial" pitchFamily="34" charset="0"/>
        <a:buNone/>
        <a:defRPr kumimoji="0" lang="en-US" sz="2240"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723784" rtl="0" eaLnBrk="1" latinLnBrk="0" hangingPunct="1">
        <a:lnSpc>
          <a:spcPct val="100000"/>
        </a:lnSpc>
        <a:spcBef>
          <a:spcPts val="407"/>
        </a:spcBef>
        <a:spcAft>
          <a:spcPts val="0"/>
        </a:spcAft>
        <a:buFont typeface="Arial" pitchFamily="34" charset="0"/>
        <a:buNone/>
        <a:defRPr kumimoji="0" lang="en-US" sz="176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723784" rtl="0" eaLnBrk="1" latinLnBrk="0" hangingPunct="1">
        <a:lnSpc>
          <a:spcPct val="100000"/>
        </a:lnSpc>
        <a:spcBef>
          <a:spcPts val="407"/>
        </a:spcBef>
        <a:spcAft>
          <a:spcPts val="407"/>
        </a:spcAft>
        <a:buClr>
          <a:srgbClr val="97989A"/>
        </a:buClr>
        <a:buFont typeface="Arial" pitchFamily="34" charset="0"/>
        <a:buNone/>
        <a:defRPr kumimoji="0" lang="en-US" sz="814"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723784" rtl="0" eaLnBrk="1" latinLnBrk="0" hangingPunct="1">
        <a:lnSpc>
          <a:spcPct val="100000"/>
        </a:lnSpc>
        <a:spcBef>
          <a:spcPts val="407"/>
        </a:spcBef>
        <a:spcAft>
          <a:spcPts val="0"/>
        </a:spcAft>
        <a:buClr>
          <a:srgbClr val="97989A"/>
        </a:buClr>
        <a:buSzPct val="85000"/>
        <a:buFont typeface="Wingdings" pitchFamily="2" charset="2"/>
        <a:buNone/>
        <a:defRPr kumimoji="0" lang="en-US" sz="64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723784" rtl="0" eaLnBrk="1" latinLnBrk="0" hangingPunct="1">
        <a:lnSpc>
          <a:spcPct val="100000"/>
        </a:lnSpc>
        <a:spcBef>
          <a:spcPts val="0"/>
        </a:spcBef>
        <a:spcAft>
          <a:spcPts val="0"/>
        </a:spcAft>
        <a:buClr>
          <a:srgbClr val="97989A"/>
        </a:buClr>
        <a:buFont typeface="Univers 45 Light" pitchFamily="2" charset="0"/>
        <a:buNone/>
        <a:defRPr kumimoji="0" lang="en-GB" sz="64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723784" rtl="0" eaLnBrk="1" latinLnBrk="0" hangingPunct="1">
        <a:lnSpc>
          <a:spcPct val="100000"/>
        </a:lnSpc>
        <a:spcBef>
          <a:spcPts val="0"/>
        </a:spcBef>
        <a:spcAft>
          <a:spcPts val="407"/>
        </a:spcAft>
        <a:buClr>
          <a:srgbClr val="97989A"/>
        </a:buClr>
        <a:buSzPct val="85000"/>
        <a:buFont typeface="Wingdings" pitchFamily="2" charset="2"/>
        <a:buNone/>
        <a:defRPr sz="645" kern="1200">
          <a:solidFill>
            <a:schemeClr val="tx1"/>
          </a:solidFill>
          <a:latin typeface="Univers 45 Light" pitchFamily="2" charset="0"/>
          <a:ea typeface="+mn-ea"/>
          <a:cs typeface="+mn-cs"/>
        </a:defRPr>
      </a:lvl6pPr>
      <a:lvl7pPr marL="90515" indent="-9051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7pPr>
      <a:lvl8pPr marL="183185" indent="-88360"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8pPr>
      <a:lvl9pPr marL="267235" indent="-8189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9pPr>
    </p:bodyStyle>
    <p:otherStyle>
      <a:defPPr>
        <a:defRPr lang="en-US"/>
      </a:defPPr>
      <a:lvl1pPr marL="0" algn="l" defTabSz="723784" rtl="0" eaLnBrk="1" latinLnBrk="0" hangingPunct="1">
        <a:defRPr sz="1425" kern="1200">
          <a:solidFill>
            <a:schemeClr val="tx1"/>
          </a:solidFill>
          <a:latin typeface="+mn-lt"/>
          <a:ea typeface="+mn-ea"/>
          <a:cs typeface="+mn-cs"/>
        </a:defRPr>
      </a:lvl1pPr>
      <a:lvl2pPr marL="361892" algn="l" defTabSz="723784" rtl="0" eaLnBrk="1" latinLnBrk="0" hangingPunct="1">
        <a:defRPr sz="1425" kern="1200">
          <a:solidFill>
            <a:schemeClr val="tx1"/>
          </a:solidFill>
          <a:latin typeface="+mn-lt"/>
          <a:ea typeface="+mn-ea"/>
          <a:cs typeface="+mn-cs"/>
        </a:defRPr>
      </a:lvl2pPr>
      <a:lvl3pPr marL="723784" algn="l" defTabSz="723784" rtl="0" eaLnBrk="1" latinLnBrk="0" hangingPunct="1">
        <a:defRPr sz="1425" kern="1200">
          <a:solidFill>
            <a:schemeClr val="tx1"/>
          </a:solidFill>
          <a:latin typeface="+mn-lt"/>
          <a:ea typeface="+mn-ea"/>
          <a:cs typeface="+mn-cs"/>
        </a:defRPr>
      </a:lvl3pPr>
      <a:lvl4pPr marL="1085676" algn="l" defTabSz="723784" rtl="0" eaLnBrk="1" latinLnBrk="0" hangingPunct="1">
        <a:defRPr sz="1425" kern="1200">
          <a:solidFill>
            <a:schemeClr val="tx1"/>
          </a:solidFill>
          <a:latin typeface="+mn-lt"/>
          <a:ea typeface="+mn-ea"/>
          <a:cs typeface="+mn-cs"/>
        </a:defRPr>
      </a:lvl4pPr>
      <a:lvl5pPr marL="1447567" algn="l" defTabSz="723784" rtl="0" eaLnBrk="1" latinLnBrk="0" hangingPunct="1">
        <a:defRPr sz="1425" kern="1200">
          <a:solidFill>
            <a:schemeClr val="tx1"/>
          </a:solidFill>
          <a:latin typeface="+mn-lt"/>
          <a:ea typeface="+mn-ea"/>
          <a:cs typeface="+mn-cs"/>
        </a:defRPr>
      </a:lvl5pPr>
      <a:lvl6pPr marL="1809460" algn="l" defTabSz="723784" rtl="0" eaLnBrk="1" latinLnBrk="0" hangingPunct="1">
        <a:defRPr sz="1425" kern="1200">
          <a:solidFill>
            <a:schemeClr val="tx1"/>
          </a:solidFill>
          <a:latin typeface="+mn-lt"/>
          <a:ea typeface="+mn-ea"/>
          <a:cs typeface="+mn-cs"/>
        </a:defRPr>
      </a:lvl6pPr>
      <a:lvl7pPr marL="2171351" algn="l" defTabSz="723784" rtl="0" eaLnBrk="1" latinLnBrk="0" hangingPunct="1">
        <a:defRPr sz="1425" kern="1200">
          <a:solidFill>
            <a:schemeClr val="tx1"/>
          </a:solidFill>
          <a:latin typeface="+mn-lt"/>
          <a:ea typeface="+mn-ea"/>
          <a:cs typeface="+mn-cs"/>
        </a:defRPr>
      </a:lvl7pPr>
      <a:lvl8pPr marL="2533243" algn="l" defTabSz="723784" rtl="0" eaLnBrk="1" latinLnBrk="0" hangingPunct="1">
        <a:defRPr sz="1425" kern="1200">
          <a:solidFill>
            <a:schemeClr val="tx1"/>
          </a:solidFill>
          <a:latin typeface="+mn-lt"/>
          <a:ea typeface="+mn-ea"/>
          <a:cs typeface="+mn-cs"/>
        </a:defRPr>
      </a:lvl8pPr>
      <a:lvl9pPr marL="2895136" algn="l" defTabSz="723784" rtl="0" eaLnBrk="1" latinLnBrk="0" hangingPunct="1">
        <a:defRPr sz="142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6"/>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6186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723784"/>
              <a:endParaRPr lang="en-GB" sz="1425" dirty="0">
                <a:solidFill>
                  <a:srgbClr val="000000"/>
                </a:solidFill>
              </a:endParaRPr>
            </a:p>
          </p:txBody>
        </p:sp>
      </p:grpSp>
      <p:sp>
        <p:nvSpPr>
          <p:cNvPr id="18" name="Rectangle 17"/>
          <p:cNvSpPr/>
          <p:nvPr userDrawn="1"/>
        </p:nvSpPr>
        <p:spPr bwMode="gray">
          <a:xfrm>
            <a:off x="11395361" y="6463947"/>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41" fontAlgn="base">
              <a:spcBef>
                <a:spcPct val="40000"/>
              </a:spcBef>
              <a:spcAft>
                <a:spcPct val="0"/>
              </a:spcAft>
            </a:pPr>
            <a:fld id="{358FC8E3-FE67-4452-9F4E-9A47A20D0542}" type="slidenum">
              <a:rPr lang="en-GB" sz="752">
                <a:solidFill>
                  <a:srgbClr val="00338D"/>
                </a:solidFill>
                <a:cs typeface="Arial" charset="0"/>
              </a:rPr>
              <a:pPr algn="r" defTabSz="763841" fontAlgn="base">
                <a:spcBef>
                  <a:spcPct val="40000"/>
                </a:spcBef>
                <a:spcAft>
                  <a:spcPct val="0"/>
                </a:spcAft>
              </a:pPr>
              <a:t>‹#›</a:t>
            </a:fld>
            <a:endParaRPr lang="en-GB" sz="752" dirty="0">
              <a:solidFill>
                <a:srgbClr val="00338D"/>
              </a:solidFill>
              <a:cs typeface="Arial" charset="0"/>
            </a:endParaRPr>
          </a:p>
        </p:txBody>
      </p:sp>
    </p:spTree>
    <p:extLst>
      <p:ext uri="{BB962C8B-B14F-4D97-AF65-F5344CB8AC3E}">
        <p14:creationId xmlns:p14="http://schemas.microsoft.com/office/powerpoint/2010/main" val="542914784"/>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Lst>
  <p:hf hdr="0" ftr="0" dt="0"/>
  <p:txStyles>
    <p:titleStyle>
      <a:lvl1pPr algn="l" defTabSz="723784" rtl="0" eaLnBrk="1" latinLnBrk="0" hangingPunct="1">
        <a:spcBef>
          <a:spcPct val="0"/>
        </a:spcBef>
        <a:buNone/>
        <a:defRPr kumimoji="0" lang="en-GB" sz="2240"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42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723784" rtl="0" eaLnBrk="1" latinLnBrk="0" hangingPunct="1">
        <a:lnSpc>
          <a:spcPct val="100000"/>
        </a:lnSpc>
        <a:spcBef>
          <a:spcPts val="407"/>
        </a:spcBef>
        <a:spcAft>
          <a:spcPts val="407"/>
        </a:spcAft>
        <a:buFont typeface="Arial" pitchFamily="34" charset="0"/>
        <a:buNone/>
        <a:defRPr kumimoji="0" lang="en-US" sz="2240"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723784" rtl="0" eaLnBrk="1" latinLnBrk="0" hangingPunct="1">
        <a:lnSpc>
          <a:spcPct val="100000"/>
        </a:lnSpc>
        <a:spcBef>
          <a:spcPts val="407"/>
        </a:spcBef>
        <a:spcAft>
          <a:spcPts val="0"/>
        </a:spcAft>
        <a:buFont typeface="Arial" pitchFamily="34" charset="0"/>
        <a:buNone/>
        <a:defRPr kumimoji="0" lang="en-US" sz="176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723784" rtl="0" eaLnBrk="1" latinLnBrk="0" hangingPunct="1">
        <a:lnSpc>
          <a:spcPct val="100000"/>
        </a:lnSpc>
        <a:spcBef>
          <a:spcPts val="407"/>
        </a:spcBef>
        <a:spcAft>
          <a:spcPts val="407"/>
        </a:spcAft>
        <a:buClr>
          <a:srgbClr val="97989A"/>
        </a:buClr>
        <a:buFont typeface="Arial" pitchFamily="34" charset="0"/>
        <a:buNone/>
        <a:defRPr kumimoji="0" lang="en-US" sz="814"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723784" rtl="0" eaLnBrk="1" latinLnBrk="0" hangingPunct="1">
        <a:lnSpc>
          <a:spcPct val="100000"/>
        </a:lnSpc>
        <a:spcBef>
          <a:spcPts val="407"/>
        </a:spcBef>
        <a:spcAft>
          <a:spcPts val="0"/>
        </a:spcAft>
        <a:buClr>
          <a:srgbClr val="97989A"/>
        </a:buClr>
        <a:buSzPct val="85000"/>
        <a:buFont typeface="Wingdings" pitchFamily="2" charset="2"/>
        <a:buNone/>
        <a:defRPr kumimoji="0" lang="en-US" sz="64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723784" rtl="0" eaLnBrk="1" latinLnBrk="0" hangingPunct="1">
        <a:lnSpc>
          <a:spcPct val="100000"/>
        </a:lnSpc>
        <a:spcBef>
          <a:spcPts val="0"/>
        </a:spcBef>
        <a:spcAft>
          <a:spcPts val="0"/>
        </a:spcAft>
        <a:buClr>
          <a:srgbClr val="97989A"/>
        </a:buClr>
        <a:buFont typeface="Univers 45 Light" pitchFamily="2" charset="0"/>
        <a:buNone/>
        <a:defRPr kumimoji="0" lang="en-GB" sz="64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723784" rtl="0" eaLnBrk="1" latinLnBrk="0" hangingPunct="1">
        <a:lnSpc>
          <a:spcPct val="100000"/>
        </a:lnSpc>
        <a:spcBef>
          <a:spcPts val="0"/>
        </a:spcBef>
        <a:spcAft>
          <a:spcPts val="407"/>
        </a:spcAft>
        <a:buClr>
          <a:srgbClr val="97989A"/>
        </a:buClr>
        <a:buSzPct val="85000"/>
        <a:buFont typeface="Wingdings" pitchFamily="2" charset="2"/>
        <a:buNone/>
        <a:defRPr sz="645" kern="1200">
          <a:solidFill>
            <a:schemeClr val="tx1"/>
          </a:solidFill>
          <a:latin typeface="Univers 45 Light" pitchFamily="2" charset="0"/>
          <a:ea typeface="+mn-ea"/>
          <a:cs typeface="+mn-cs"/>
        </a:defRPr>
      </a:lvl6pPr>
      <a:lvl7pPr marL="90515" indent="-9051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7pPr>
      <a:lvl8pPr marL="183185" indent="-88360"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8pPr>
      <a:lvl9pPr marL="267235" indent="-81895" algn="l" defTabSz="723784" rtl="0" eaLnBrk="1" latinLnBrk="0" hangingPunct="1">
        <a:lnSpc>
          <a:spcPct val="100000"/>
        </a:lnSpc>
        <a:spcBef>
          <a:spcPts val="0"/>
        </a:spcBef>
        <a:spcAft>
          <a:spcPts val="407"/>
        </a:spcAft>
        <a:buClr>
          <a:srgbClr val="00338D"/>
        </a:buClr>
        <a:buSzPct val="100000"/>
        <a:buFont typeface="Univers 45 Light" pitchFamily="2" charset="0"/>
        <a:buChar char="•"/>
        <a:defRPr sz="645" kern="1200" baseline="0">
          <a:solidFill>
            <a:schemeClr val="tx1"/>
          </a:solidFill>
          <a:latin typeface="Univers 45 Light" pitchFamily="2" charset="0"/>
          <a:ea typeface="+mn-ea"/>
          <a:cs typeface="+mn-cs"/>
        </a:defRPr>
      </a:lvl9pPr>
    </p:bodyStyle>
    <p:otherStyle>
      <a:defPPr>
        <a:defRPr lang="en-US"/>
      </a:defPPr>
      <a:lvl1pPr marL="0" algn="l" defTabSz="723784" rtl="0" eaLnBrk="1" latinLnBrk="0" hangingPunct="1">
        <a:defRPr sz="1425" kern="1200">
          <a:solidFill>
            <a:schemeClr val="tx1"/>
          </a:solidFill>
          <a:latin typeface="+mn-lt"/>
          <a:ea typeface="+mn-ea"/>
          <a:cs typeface="+mn-cs"/>
        </a:defRPr>
      </a:lvl1pPr>
      <a:lvl2pPr marL="361892" algn="l" defTabSz="723784" rtl="0" eaLnBrk="1" latinLnBrk="0" hangingPunct="1">
        <a:defRPr sz="1425" kern="1200">
          <a:solidFill>
            <a:schemeClr val="tx1"/>
          </a:solidFill>
          <a:latin typeface="+mn-lt"/>
          <a:ea typeface="+mn-ea"/>
          <a:cs typeface="+mn-cs"/>
        </a:defRPr>
      </a:lvl2pPr>
      <a:lvl3pPr marL="723784" algn="l" defTabSz="723784" rtl="0" eaLnBrk="1" latinLnBrk="0" hangingPunct="1">
        <a:defRPr sz="1425" kern="1200">
          <a:solidFill>
            <a:schemeClr val="tx1"/>
          </a:solidFill>
          <a:latin typeface="+mn-lt"/>
          <a:ea typeface="+mn-ea"/>
          <a:cs typeface="+mn-cs"/>
        </a:defRPr>
      </a:lvl3pPr>
      <a:lvl4pPr marL="1085676" algn="l" defTabSz="723784" rtl="0" eaLnBrk="1" latinLnBrk="0" hangingPunct="1">
        <a:defRPr sz="1425" kern="1200">
          <a:solidFill>
            <a:schemeClr val="tx1"/>
          </a:solidFill>
          <a:latin typeface="+mn-lt"/>
          <a:ea typeface="+mn-ea"/>
          <a:cs typeface="+mn-cs"/>
        </a:defRPr>
      </a:lvl4pPr>
      <a:lvl5pPr marL="1447567" algn="l" defTabSz="723784" rtl="0" eaLnBrk="1" latinLnBrk="0" hangingPunct="1">
        <a:defRPr sz="1425" kern="1200">
          <a:solidFill>
            <a:schemeClr val="tx1"/>
          </a:solidFill>
          <a:latin typeface="+mn-lt"/>
          <a:ea typeface="+mn-ea"/>
          <a:cs typeface="+mn-cs"/>
        </a:defRPr>
      </a:lvl5pPr>
      <a:lvl6pPr marL="1809460" algn="l" defTabSz="723784" rtl="0" eaLnBrk="1" latinLnBrk="0" hangingPunct="1">
        <a:defRPr sz="1425" kern="1200">
          <a:solidFill>
            <a:schemeClr val="tx1"/>
          </a:solidFill>
          <a:latin typeface="+mn-lt"/>
          <a:ea typeface="+mn-ea"/>
          <a:cs typeface="+mn-cs"/>
        </a:defRPr>
      </a:lvl6pPr>
      <a:lvl7pPr marL="2171351" algn="l" defTabSz="723784" rtl="0" eaLnBrk="1" latinLnBrk="0" hangingPunct="1">
        <a:defRPr sz="1425" kern="1200">
          <a:solidFill>
            <a:schemeClr val="tx1"/>
          </a:solidFill>
          <a:latin typeface="+mn-lt"/>
          <a:ea typeface="+mn-ea"/>
          <a:cs typeface="+mn-cs"/>
        </a:defRPr>
      </a:lvl7pPr>
      <a:lvl8pPr marL="2533243" algn="l" defTabSz="723784" rtl="0" eaLnBrk="1" latinLnBrk="0" hangingPunct="1">
        <a:defRPr sz="1425" kern="1200">
          <a:solidFill>
            <a:schemeClr val="tx1"/>
          </a:solidFill>
          <a:latin typeface="+mn-lt"/>
          <a:ea typeface="+mn-ea"/>
          <a:cs typeface="+mn-cs"/>
        </a:defRPr>
      </a:lvl8pPr>
      <a:lvl9pPr marL="2895136" algn="l" defTabSz="723784" rtl="0" eaLnBrk="1" latinLnBrk="0" hangingPunct="1">
        <a:defRPr sz="142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28600"/>
            <a:ext cx="10515600" cy="549275"/>
          </a:xfrm>
          <a:prstGeom prst="rect">
            <a:avLst/>
          </a:prstGeom>
        </p:spPr>
        <p:txBody>
          <a:bodyPr vert="horz" lIns="91440" tIns="0" rIns="91440" bIns="0" rtlCol="0" anchor="t">
            <a:normAutofit/>
          </a:bodyPr>
          <a:lstStyle/>
          <a:p>
            <a:r>
              <a:rPr lang="en-US" dirty="0" smtClean="0"/>
              <a:t>Click to edit Master title style</a:t>
            </a:r>
            <a:endParaRPr lang="en-GB" dirty="0"/>
          </a:p>
        </p:txBody>
      </p:sp>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762000" y="6589462"/>
            <a:ext cx="379792" cy="148736"/>
          </a:xfrm>
          <a:prstGeom prst="rect">
            <a:avLst/>
          </a:prstGeom>
        </p:spPr>
      </p:pic>
      <p:sp>
        <p:nvSpPr>
          <p:cNvPr id="5" name="Slide Number Placeholder 6"/>
          <p:cNvSpPr txBox="1">
            <a:spLocks/>
          </p:cNvSpPr>
          <p:nvPr userDrawn="1"/>
        </p:nvSpPr>
        <p:spPr bwMode="auto">
          <a:xfrm>
            <a:off x="11665615" y="6596407"/>
            <a:ext cx="346909" cy="91440"/>
          </a:xfrm>
          <a:prstGeom prst="rect">
            <a:avLst/>
          </a:prstGeom>
          <a:ln>
            <a:miter lim="800000"/>
            <a:headEnd/>
            <a:tailEnd/>
          </a:ln>
        </p:spPr>
        <p:txBody>
          <a:bodyPr vert="horz" wrap="square" lIns="74287" tIns="37143" rIns="74287" bIns="37143" numCol="1" anchor="ctr" anchorCtr="0" compatLnSpc="1">
            <a:prstTxWarp prst="textNoShape">
              <a:avLst/>
            </a:prstTxWarp>
          </a:bodyPr>
          <a:lstStyle>
            <a:lvl1pPr algn="r">
              <a:defRPr sz="900" b="0">
                <a:solidFill>
                  <a:srgbClr val="00338D"/>
                </a:solidFill>
                <a:latin typeface="+mn-lt"/>
                <a:cs typeface="+mn-cs"/>
              </a:defRPr>
            </a:lvl1pPr>
          </a:lstStyle>
          <a:p>
            <a:pPr algn="ctr" defTabSz="742871">
              <a:defRPr/>
            </a:pPr>
            <a:fld id="{366415FC-D24C-4D16-99A0-E4CE598484E4}" type="slidenum">
              <a:rPr lang="en-GB" sz="569" smtClean="0">
                <a:solidFill>
                  <a:srgbClr val="0070C0"/>
                </a:solidFill>
                <a:cs typeface="Arial" panose="020B0604020202020204" pitchFamily="34" charset="0"/>
              </a:rPr>
              <a:pPr algn="ctr" defTabSz="742871">
                <a:defRPr/>
              </a:pPr>
              <a:t>‹#›</a:t>
            </a:fld>
            <a:endParaRPr lang="en-GB" sz="569" dirty="0">
              <a:solidFill>
                <a:srgbClr val="0070C0"/>
              </a:solidFill>
              <a:cs typeface="Arial" panose="020B0604020202020204" pitchFamily="34" charset="0"/>
            </a:endParaRPr>
          </a:p>
        </p:txBody>
      </p:sp>
    </p:spTree>
    <p:extLst>
      <p:ext uri="{BB962C8B-B14F-4D97-AF65-F5344CB8AC3E}">
        <p14:creationId xmlns:p14="http://schemas.microsoft.com/office/powerpoint/2010/main" val="3131539964"/>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Lst>
  <p:timing>
    <p:tnLst>
      <p:par>
        <p:cTn id="1" dur="indefinite" restart="never" nodeType="tmRoot"/>
      </p:par>
    </p:tnLst>
  </p:timing>
  <p:hf hdr="0" ftr="0" dt="0"/>
  <p:txStyles>
    <p:titleStyle>
      <a:lvl1pPr algn="l" defTabSz="713603" rtl="0" eaLnBrk="1" latinLnBrk="0" hangingPunct="1">
        <a:lnSpc>
          <a:spcPts val="3000"/>
        </a:lnSpc>
        <a:spcBef>
          <a:spcPct val="0"/>
        </a:spcBef>
        <a:buNone/>
        <a:defRPr lang="en-GB" sz="3200" b="0" kern="1200" noProof="0" dirty="0" smtClean="0">
          <a:solidFill>
            <a:srgbClr val="00338D"/>
          </a:solidFill>
          <a:latin typeface="KPMG Extralight" panose="020B0303030202040204" pitchFamily="34" charset="0"/>
          <a:ea typeface="+mj-ea"/>
          <a:cs typeface="Arial" pitchFamily="34" charset="0"/>
        </a:defRPr>
      </a:lvl1pPr>
      <a:lvl2pPr eaLnBrk="1" hangingPunct="1">
        <a:defRPr lang="en-GB" sz="1406" b="1" kern="1200" noProof="0" dirty="0">
          <a:solidFill>
            <a:schemeClr val="bg1"/>
          </a:solidFill>
          <a:latin typeface="Arial" pitchFamily="34" charset="0"/>
          <a:ea typeface="+mj-ea"/>
          <a:cs typeface="Arial" pitchFamily="34" charset="0"/>
        </a:defRPr>
      </a:lvl2pPr>
      <a:lvl3pPr eaLnBrk="1" hangingPunct="1">
        <a:defRPr lang="en-GB" sz="1406" b="1" kern="1200" noProof="0" dirty="0">
          <a:solidFill>
            <a:schemeClr val="bg1"/>
          </a:solidFill>
          <a:latin typeface="Arial" pitchFamily="34" charset="0"/>
          <a:ea typeface="+mj-ea"/>
          <a:cs typeface="Arial" pitchFamily="34" charset="0"/>
        </a:defRPr>
      </a:lvl3pPr>
      <a:lvl4pPr eaLnBrk="1" hangingPunct="1">
        <a:defRPr lang="en-GB" sz="1406" b="1" kern="1200" noProof="0" dirty="0">
          <a:solidFill>
            <a:schemeClr val="bg1"/>
          </a:solidFill>
          <a:latin typeface="Arial" pitchFamily="34" charset="0"/>
          <a:ea typeface="+mj-ea"/>
          <a:cs typeface="Arial" pitchFamily="34" charset="0"/>
        </a:defRPr>
      </a:lvl4pPr>
      <a:lvl5pPr eaLnBrk="1" hangingPunct="1">
        <a:defRPr lang="en-GB" sz="1406" b="1" kern="1200" noProof="0" dirty="0">
          <a:solidFill>
            <a:schemeClr val="bg1"/>
          </a:solidFill>
          <a:latin typeface="Arial" pitchFamily="34" charset="0"/>
          <a:ea typeface="+mj-ea"/>
          <a:cs typeface="Arial" pitchFamily="34" charset="0"/>
        </a:defRPr>
      </a:lvl5pPr>
      <a:lvl6pPr eaLnBrk="1" hangingPunct="1">
        <a:defRPr lang="en-GB" sz="1406" b="1" kern="1200" noProof="0" dirty="0">
          <a:solidFill>
            <a:schemeClr val="bg1"/>
          </a:solidFill>
          <a:latin typeface="Arial" pitchFamily="34" charset="0"/>
          <a:ea typeface="+mj-ea"/>
          <a:cs typeface="Arial" pitchFamily="34" charset="0"/>
        </a:defRPr>
      </a:lvl6pPr>
      <a:lvl7pPr eaLnBrk="1" hangingPunct="1">
        <a:defRPr lang="en-GB" sz="1406" b="1" kern="1200" noProof="0" dirty="0">
          <a:solidFill>
            <a:schemeClr val="bg1"/>
          </a:solidFill>
          <a:latin typeface="Arial" pitchFamily="34" charset="0"/>
          <a:ea typeface="+mj-ea"/>
          <a:cs typeface="Arial" pitchFamily="34" charset="0"/>
        </a:defRPr>
      </a:lvl7pPr>
      <a:lvl8pPr eaLnBrk="1" hangingPunct="1">
        <a:defRPr lang="en-GB" sz="1406" b="1" kern="1200" noProof="0" dirty="0">
          <a:solidFill>
            <a:schemeClr val="bg1"/>
          </a:solidFill>
          <a:latin typeface="Arial" pitchFamily="34" charset="0"/>
          <a:ea typeface="+mj-ea"/>
          <a:cs typeface="Arial" pitchFamily="34" charset="0"/>
        </a:defRPr>
      </a:lvl8pPr>
      <a:lvl9pPr eaLnBrk="1" hangingPunct="1">
        <a:defRPr lang="en-GB" sz="1406" b="1" kern="1200" noProof="0" dirty="0">
          <a:solidFill>
            <a:schemeClr val="bg1"/>
          </a:solidFill>
          <a:latin typeface="Arial" pitchFamily="34" charset="0"/>
          <a:ea typeface="+mj-ea"/>
          <a:cs typeface="Arial" pitchFamily="34" charset="0"/>
        </a:defRPr>
      </a:lvl9pPr>
    </p:titleStyle>
    <p:bodyStyle>
      <a:lvl1pPr marL="0" indent="0" algn="l" defTabSz="713603" rtl="0" eaLnBrk="1" latinLnBrk="0" hangingPunct="1">
        <a:lnSpc>
          <a:spcPct val="100000"/>
        </a:lnSpc>
        <a:spcBef>
          <a:spcPts val="937"/>
        </a:spcBef>
        <a:buFont typeface="Arial" pitchFamily="34" charset="0"/>
        <a:buNone/>
        <a:defRPr lang="en-US" sz="2400" b="0" kern="1200" noProof="0" dirty="0" smtClean="0">
          <a:solidFill>
            <a:schemeClr val="bg1"/>
          </a:solidFill>
          <a:latin typeface="Univers 47 CondensedLight" panose="00000400000000000000" pitchFamily="2" charset="0"/>
          <a:ea typeface="+mn-ea"/>
          <a:cs typeface="Arial" pitchFamily="34" charset="0"/>
        </a:defRPr>
      </a:lvl1pPr>
      <a:lvl2pPr marL="0" indent="0" algn="l" defTabSz="713603" rtl="0" eaLnBrk="1" latinLnBrk="0" hangingPunct="1">
        <a:lnSpc>
          <a:spcPct val="100000"/>
        </a:lnSpc>
        <a:spcBef>
          <a:spcPts val="937"/>
        </a:spcBef>
        <a:buFont typeface="Arial" pitchFamily="34" charset="0"/>
        <a:buNone/>
        <a:defRPr lang="en-US" sz="1265" b="0" kern="1200" noProof="0" dirty="0" smtClean="0">
          <a:solidFill>
            <a:schemeClr val="tx1"/>
          </a:solidFill>
          <a:latin typeface="Arial"/>
          <a:ea typeface="+mn-ea"/>
          <a:cs typeface="Arial" pitchFamily="34" charset="0"/>
        </a:defRPr>
      </a:lvl2pPr>
      <a:lvl3pPr marL="213090" indent="-213090" algn="l" defTabSz="713603" rtl="0" eaLnBrk="1" latinLnBrk="0" hangingPunct="1">
        <a:lnSpc>
          <a:spcPct val="100000"/>
        </a:lnSpc>
        <a:spcBef>
          <a:spcPts val="937"/>
        </a:spcBef>
        <a:buClr>
          <a:srgbClr val="97989A"/>
        </a:buClr>
        <a:buFont typeface="Arial" pitchFamily="34" charset="0"/>
        <a:buChar char="■"/>
        <a:defRPr lang="en-US" sz="1265" b="0" kern="1200" noProof="0" dirty="0" smtClean="0">
          <a:solidFill>
            <a:schemeClr val="tx1"/>
          </a:solidFill>
          <a:latin typeface="Arial"/>
          <a:ea typeface="+mn-ea"/>
          <a:cs typeface="Arial" pitchFamily="34" charset="0"/>
        </a:defRPr>
      </a:lvl3pPr>
      <a:lvl4pPr marL="418746" indent="-205656" algn="l" defTabSz="713603" rtl="0" eaLnBrk="1" latinLnBrk="0" hangingPunct="1">
        <a:lnSpc>
          <a:spcPct val="100000"/>
        </a:lnSpc>
        <a:spcBef>
          <a:spcPts val="937"/>
        </a:spcBef>
        <a:buClr>
          <a:srgbClr val="97989A"/>
        </a:buClr>
        <a:buFont typeface="Arial" pitchFamily="34" charset="0"/>
        <a:buChar char="–"/>
        <a:tabLst/>
        <a:defRPr lang="en-US" sz="1265" b="0" kern="1200" noProof="0" dirty="0" smtClean="0">
          <a:solidFill>
            <a:schemeClr val="tx1"/>
          </a:solidFill>
          <a:latin typeface="Arial"/>
          <a:ea typeface="+mn-ea"/>
          <a:cs typeface="Arial" pitchFamily="34" charset="0"/>
        </a:defRPr>
      </a:lvl4pPr>
      <a:lvl5pPr marL="631837" indent="-211851" algn="l" defTabSz="713603" rtl="0" eaLnBrk="1" latinLnBrk="0" hangingPunct="1">
        <a:lnSpc>
          <a:spcPct val="100000"/>
        </a:lnSpc>
        <a:spcBef>
          <a:spcPts val="937"/>
        </a:spcBef>
        <a:buClr>
          <a:srgbClr val="97989A"/>
        </a:buClr>
        <a:buFont typeface="Arial" pitchFamily="34" charset="0"/>
        <a:buChar char="■"/>
        <a:tabLst/>
        <a:defRPr lang="en-GB" sz="1265" b="0" kern="1200" baseline="0" noProof="0" dirty="0" smtClean="0">
          <a:solidFill>
            <a:schemeClr val="tx1"/>
          </a:solidFill>
          <a:latin typeface="Arial"/>
          <a:ea typeface="+mn-ea"/>
          <a:cs typeface="Arial" pitchFamily="34" charset="0"/>
        </a:defRPr>
      </a:lvl5pPr>
      <a:lvl6pPr marL="844926" indent="-213090" algn="l" defTabSz="697498" rtl="0" eaLnBrk="1" latinLnBrk="0" hangingPunct="1">
        <a:lnSpc>
          <a:spcPct val="100000"/>
        </a:lnSpc>
        <a:spcBef>
          <a:spcPts val="937"/>
        </a:spcBef>
        <a:buClr>
          <a:srgbClr val="97989A"/>
        </a:buClr>
        <a:buFont typeface="Arial" pitchFamily="34" charset="0"/>
        <a:buChar char="–"/>
        <a:defRPr lang="en-GB" sz="1265" kern="1200" dirty="0" smtClean="0">
          <a:solidFill>
            <a:schemeClr val="tx1"/>
          </a:solidFill>
          <a:latin typeface="Arial"/>
          <a:ea typeface="+mn-ea"/>
          <a:cs typeface="Arial" pitchFamily="34" charset="0"/>
        </a:defRPr>
      </a:lvl6pPr>
      <a:lvl7pPr marL="1049344" indent="-208134" algn="l" defTabSz="713603" rtl="0" eaLnBrk="1" latinLnBrk="0" hangingPunct="1">
        <a:lnSpc>
          <a:spcPct val="100000"/>
        </a:lnSpc>
        <a:spcBef>
          <a:spcPts val="937"/>
        </a:spcBef>
        <a:buClr>
          <a:srgbClr val="97989A"/>
        </a:buClr>
        <a:buFont typeface="Arial" pitchFamily="34" charset="0"/>
        <a:buChar char="■"/>
        <a:defRPr lang="en-GB" sz="1265" kern="1200" baseline="0" dirty="0" smtClean="0">
          <a:solidFill>
            <a:schemeClr val="tx1"/>
          </a:solidFill>
          <a:latin typeface="Arial"/>
          <a:ea typeface="+mn-ea"/>
          <a:cs typeface="Arial" pitchFamily="34" charset="0"/>
        </a:defRPr>
      </a:lvl7pPr>
      <a:lvl8pPr marL="1263672" indent="-214329" algn="l" defTabSz="713603" rtl="0" eaLnBrk="1" latinLnBrk="0" hangingPunct="1">
        <a:lnSpc>
          <a:spcPct val="100000"/>
        </a:lnSpc>
        <a:spcBef>
          <a:spcPts val="937"/>
        </a:spcBef>
        <a:buClr>
          <a:srgbClr val="97989A"/>
        </a:buClr>
        <a:buFont typeface="Arial" pitchFamily="34" charset="0"/>
        <a:buChar char="–"/>
        <a:defRPr lang="en-GB" sz="1265" kern="1200" dirty="0" smtClean="0">
          <a:solidFill>
            <a:schemeClr val="tx1"/>
          </a:solidFill>
          <a:latin typeface="Arial"/>
          <a:ea typeface="+mn-ea"/>
          <a:cs typeface="+mn-cs"/>
        </a:defRPr>
      </a:lvl8pPr>
      <a:lvl9pPr marL="1464372" indent="-200701" algn="l" defTabSz="713603" rtl="0" eaLnBrk="1" latinLnBrk="0" hangingPunct="1">
        <a:lnSpc>
          <a:spcPct val="100000"/>
        </a:lnSpc>
        <a:spcBef>
          <a:spcPts val="937"/>
        </a:spcBef>
        <a:buClr>
          <a:srgbClr val="97989A"/>
        </a:buClr>
        <a:buFont typeface="Arial" pitchFamily="34" charset="0"/>
        <a:buChar char="■"/>
        <a:defRPr lang="en-GB" sz="1265" kern="1200" dirty="0" smtClean="0">
          <a:solidFill>
            <a:schemeClr val="tx1"/>
          </a:solidFill>
          <a:latin typeface="Arial"/>
          <a:ea typeface="+mn-ea"/>
          <a:cs typeface="Arial" pitchFamily="34" charset="0"/>
        </a:defRPr>
      </a:lvl9pPr>
    </p:bodyStyle>
    <p:otherStyle>
      <a:defPPr>
        <a:defRPr lang="en-US"/>
      </a:defPPr>
      <a:lvl1pPr marL="0" algn="l" defTabSz="713603" rtl="0" eaLnBrk="1" latinLnBrk="0" hangingPunct="1">
        <a:defRPr sz="1406" kern="1200">
          <a:solidFill>
            <a:schemeClr val="tx1"/>
          </a:solidFill>
          <a:latin typeface="+mn-lt"/>
          <a:ea typeface="+mn-ea"/>
          <a:cs typeface="+mn-cs"/>
        </a:defRPr>
      </a:lvl1pPr>
      <a:lvl2pPr marL="356802" algn="l" defTabSz="713603" rtl="0" eaLnBrk="1" latinLnBrk="0" hangingPunct="1">
        <a:defRPr sz="1406" kern="1200">
          <a:solidFill>
            <a:schemeClr val="tx1"/>
          </a:solidFill>
          <a:latin typeface="+mn-lt"/>
          <a:ea typeface="+mn-ea"/>
          <a:cs typeface="+mn-cs"/>
        </a:defRPr>
      </a:lvl2pPr>
      <a:lvl3pPr marL="713603" algn="l" defTabSz="713603" rtl="0" eaLnBrk="1" latinLnBrk="0" hangingPunct="1">
        <a:defRPr sz="1406" kern="1200">
          <a:solidFill>
            <a:schemeClr val="tx1"/>
          </a:solidFill>
          <a:latin typeface="+mn-lt"/>
          <a:ea typeface="+mn-ea"/>
          <a:cs typeface="+mn-cs"/>
        </a:defRPr>
      </a:lvl3pPr>
      <a:lvl4pPr marL="1070405" algn="l" defTabSz="713603" rtl="0" eaLnBrk="1" latinLnBrk="0" hangingPunct="1">
        <a:defRPr sz="1406" kern="1200">
          <a:solidFill>
            <a:schemeClr val="tx1"/>
          </a:solidFill>
          <a:latin typeface="+mn-lt"/>
          <a:ea typeface="+mn-ea"/>
          <a:cs typeface="+mn-cs"/>
        </a:defRPr>
      </a:lvl4pPr>
      <a:lvl5pPr marL="1427206" algn="l" defTabSz="713603" rtl="0" eaLnBrk="1" latinLnBrk="0" hangingPunct="1">
        <a:defRPr sz="1406" kern="1200">
          <a:solidFill>
            <a:schemeClr val="tx1"/>
          </a:solidFill>
          <a:latin typeface="+mn-lt"/>
          <a:ea typeface="+mn-ea"/>
          <a:cs typeface="+mn-cs"/>
        </a:defRPr>
      </a:lvl5pPr>
      <a:lvl6pPr marL="1784007" algn="l" defTabSz="713603" rtl="0" eaLnBrk="1" latinLnBrk="0" hangingPunct="1">
        <a:defRPr sz="1406" kern="1200">
          <a:solidFill>
            <a:schemeClr val="tx1"/>
          </a:solidFill>
          <a:latin typeface="+mn-lt"/>
          <a:ea typeface="+mn-ea"/>
          <a:cs typeface="+mn-cs"/>
        </a:defRPr>
      </a:lvl6pPr>
      <a:lvl7pPr marL="2140809" algn="l" defTabSz="713603" rtl="0" eaLnBrk="1" latinLnBrk="0" hangingPunct="1">
        <a:defRPr sz="1406" kern="1200">
          <a:solidFill>
            <a:schemeClr val="tx1"/>
          </a:solidFill>
          <a:latin typeface="+mn-lt"/>
          <a:ea typeface="+mn-ea"/>
          <a:cs typeface="+mn-cs"/>
        </a:defRPr>
      </a:lvl7pPr>
      <a:lvl8pPr marL="2497610" algn="l" defTabSz="713603" rtl="0" eaLnBrk="1" latinLnBrk="0" hangingPunct="1">
        <a:defRPr sz="1406" kern="1200">
          <a:solidFill>
            <a:schemeClr val="tx1"/>
          </a:solidFill>
          <a:latin typeface="+mn-lt"/>
          <a:ea typeface="+mn-ea"/>
          <a:cs typeface="+mn-cs"/>
        </a:defRPr>
      </a:lvl8pPr>
      <a:lvl9pPr marL="2854412" algn="l" defTabSz="713603" rtl="0" eaLnBrk="1" latinLnBrk="0" hangingPunct="1">
        <a:defRPr sz="140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7"/>
            </p:custDataLst>
            <p:extLst/>
          </p:nvPr>
        </p:nvGraphicFramePr>
        <p:xfrm>
          <a:off x="1708" y="1327"/>
          <a:ext cx="1707" cy="1326"/>
        </p:xfrm>
        <a:graphic>
          <a:graphicData uri="http://schemas.openxmlformats.org/presentationml/2006/ole">
            <mc:AlternateContent xmlns:mc="http://schemas.openxmlformats.org/markup-compatibility/2006">
              <mc:Choice xmlns:v="urn:schemas-microsoft-com:vml" Requires="v">
                <p:oleObj spid="_x0000_s8301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708" y="1327"/>
                        <a:ext cx="1707" cy="1326"/>
                      </a:xfrm>
                      <a:prstGeom prst="rect">
                        <a:avLst/>
                      </a:prstGeom>
                    </p:spPr>
                  </p:pic>
                </p:oleObj>
              </mc:Fallback>
            </mc:AlternateContent>
          </a:graphicData>
        </a:graphic>
      </p:graphicFrame>
      <p:grpSp>
        <p:nvGrpSpPr>
          <p:cNvPr id="2" name="Group 37"/>
          <p:cNvGrpSpPr>
            <a:grpSpLocks/>
          </p:cNvGrpSpPr>
          <p:nvPr/>
        </p:nvGrpSpPr>
        <p:grpSpPr bwMode="gray">
          <a:xfrm>
            <a:off x="3"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67"/>
              <a:endParaRPr lang="en-GB" sz="1755"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67"/>
              <a:endParaRPr lang="en-GB" sz="1755"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67"/>
              <a:endParaRPr lang="en-GB" sz="1755"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67"/>
              <a:endParaRPr lang="en-GB" sz="1755" dirty="0">
                <a:solidFill>
                  <a:srgbClr val="000000"/>
                </a:solidFill>
              </a:endParaRPr>
            </a:p>
          </p:txBody>
        </p:sp>
      </p:grpSp>
      <p:sp>
        <p:nvSpPr>
          <p:cNvPr id="9" name="bk object 16"/>
          <p:cNvSpPr/>
          <p:nvPr userDrawn="1"/>
        </p:nvSpPr>
        <p:spPr>
          <a:xfrm>
            <a:off x="410817" y="6450497"/>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4" name="TextBox 3"/>
          <p:cNvSpPr txBox="1"/>
          <p:nvPr userDrawn="1"/>
        </p:nvSpPr>
        <p:spPr>
          <a:xfrm>
            <a:off x="1313317" y="6576214"/>
            <a:ext cx="9240383" cy="184666"/>
          </a:xfrm>
          <a:prstGeom prst="rect">
            <a:avLst/>
          </a:prstGeom>
          <a:noFill/>
        </p:spPr>
        <p:txBody>
          <a:bodyPr wrap="square" lIns="0" tIns="0" rIns="0" bIns="0" rtlCol="0">
            <a:spAutoFit/>
          </a:bodyPr>
          <a:lstStyle/>
          <a:p>
            <a:r>
              <a:rPr lang="en-US" sz="600" dirty="0">
                <a:solidFill>
                  <a:srgbClr val="00338D"/>
                </a:solidFill>
                <a:cs typeface="Arial" pitchFamily="34" charset="0"/>
              </a:rPr>
              <a:t>© </a:t>
            </a:r>
            <a:r>
              <a:rPr lang="en-US" sz="600" dirty="0" smtClean="0">
                <a:solidFill>
                  <a:srgbClr val="00338D"/>
                </a:solidFill>
                <a:cs typeface="Arial" pitchFamily="34" charset="0"/>
              </a:rPr>
              <a:t>2018 </a:t>
            </a:r>
            <a:r>
              <a:rPr lang="en-US" sz="600" dirty="0">
                <a:solidFill>
                  <a:srgbClr val="00338D"/>
                </a:solidFill>
                <a:cs typeface="Arial" pitchFamily="34" charset="0"/>
              </a:rPr>
              <a:t>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cs typeface="Arial" pitchFamily="34" charset="0"/>
            </a:endParaRPr>
          </a:p>
        </p:txBody>
      </p:sp>
    </p:spTree>
    <p:extLst>
      <p:ext uri="{BB962C8B-B14F-4D97-AF65-F5344CB8AC3E}">
        <p14:creationId xmlns:p14="http://schemas.microsoft.com/office/powerpoint/2010/main" val="587890879"/>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defTabSz="890767"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67"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67"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67" rtl="0" eaLnBrk="1" latinLnBrk="0" hangingPunct="1">
        <a:lnSpc>
          <a:spcPct val="100000"/>
        </a:lnSpc>
        <a:spcBef>
          <a:spcPts val="501"/>
        </a:spcBef>
        <a:spcAft>
          <a:spcPts val="501"/>
        </a:spcAft>
        <a:buClr>
          <a:srgbClr val="97989A"/>
        </a:buClr>
        <a:buFont typeface="Arial" pitchFamily="34" charset="0"/>
        <a:buNone/>
        <a:defRPr kumimoji="0" lang="en-US" sz="1003"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67" rtl="0" eaLnBrk="1" latinLnBrk="0" hangingPunct="1">
        <a:lnSpc>
          <a:spcPct val="100000"/>
        </a:lnSpc>
        <a:spcBef>
          <a:spcPts val="501"/>
        </a:spcBef>
        <a:spcAft>
          <a:spcPts val="0"/>
        </a:spcAft>
        <a:buClr>
          <a:srgbClr val="97989A"/>
        </a:buClr>
        <a:buSzPct val="85000"/>
        <a:buFont typeface="Wingdings" pitchFamily="2" charset="2"/>
        <a:buNone/>
        <a:defRPr kumimoji="0" lang="en-US" sz="79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67" rtl="0" eaLnBrk="1" latinLnBrk="0" hangingPunct="1">
        <a:lnSpc>
          <a:spcPct val="100000"/>
        </a:lnSpc>
        <a:spcBef>
          <a:spcPts val="0"/>
        </a:spcBef>
        <a:spcAft>
          <a:spcPts val="0"/>
        </a:spcAft>
        <a:buClr>
          <a:srgbClr val="97989A"/>
        </a:buClr>
        <a:buFont typeface="Univers 45 Light" pitchFamily="2" charset="0"/>
        <a:buNone/>
        <a:defRPr kumimoji="0" lang="en-GB" sz="79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67" rtl="0" eaLnBrk="1" latinLnBrk="0" hangingPunct="1">
        <a:lnSpc>
          <a:spcPct val="100000"/>
        </a:lnSpc>
        <a:spcBef>
          <a:spcPts val="0"/>
        </a:spcBef>
        <a:spcAft>
          <a:spcPts val="501"/>
        </a:spcAft>
        <a:buClr>
          <a:srgbClr val="97989A"/>
        </a:buClr>
        <a:buSzPct val="85000"/>
        <a:buFont typeface="Wingdings" pitchFamily="2" charset="2"/>
        <a:buNone/>
        <a:defRPr sz="795" kern="1200">
          <a:solidFill>
            <a:schemeClr val="tx1"/>
          </a:solidFill>
          <a:latin typeface="Univers 45 Light" pitchFamily="2" charset="0"/>
          <a:ea typeface="+mn-ea"/>
          <a:cs typeface="+mn-cs"/>
        </a:defRPr>
      </a:lvl6pPr>
      <a:lvl7pPr marL="111399" indent="-111399" algn="l" defTabSz="890767" rtl="0" eaLnBrk="1" latinLnBrk="0" hangingPunct="1">
        <a:lnSpc>
          <a:spcPct val="100000"/>
        </a:lnSpc>
        <a:spcBef>
          <a:spcPts val="0"/>
        </a:spcBef>
        <a:spcAft>
          <a:spcPts val="501"/>
        </a:spcAft>
        <a:buClr>
          <a:srgbClr val="00338D"/>
        </a:buClr>
        <a:buSzPct val="100000"/>
        <a:buFont typeface="Univers 45 Light" pitchFamily="2" charset="0"/>
        <a:buChar char="•"/>
        <a:defRPr sz="795" kern="1200" baseline="0">
          <a:solidFill>
            <a:schemeClr val="tx1"/>
          </a:solidFill>
          <a:latin typeface="Univers 45 Light" pitchFamily="2" charset="0"/>
          <a:ea typeface="+mn-ea"/>
          <a:cs typeface="+mn-cs"/>
        </a:defRPr>
      </a:lvl7pPr>
      <a:lvl8pPr marL="225449" indent="-108745" algn="l" defTabSz="890767" rtl="0" eaLnBrk="1" latinLnBrk="0" hangingPunct="1">
        <a:lnSpc>
          <a:spcPct val="100000"/>
        </a:lnSpc>
        <a:spcBef>
          <a:spcPts val="0"/>
        </a:spcBef>
        <a:spcAft>
          <a:spcPts val="501"/>
        </a:spcAft>
        <a:buClr>
          <a:srgbClr val="00338D"/>
        </a:buClr>
        <a:buSzPct val="100000"/>
        <a:buFont typeface="Univers 45 Light" pitchFamily="2" charset="0"/>
        <a:buChar char="–"/>
        <a:defRPr sz="795" kern="1200" baseline="0">
          <a:solidFill>
            <a:schemeClr val="tx1"/>
          </a:solidFill>
          <a:latin typeface="Univers 45 Light" pitchFamily="2" charset="0"/>
          <a:ea typeface="+mn-ea"/>
          <a:cs typeface="+mn-cs"/>
        </a:defRPr>
      </a:lvl8pPr>
      <a:lvl9pPr marL="328889" indent="-100788" algn="l" defTabSz="890767" rtl="0" eaLnBrk="1" latinLnBrk="0" hangingPunct="1">
        <a:lnSpc>
          <a:spcPct val="100000"/>
        </a:lnSpc>
        <a:spcBef>
          <a:spcPts val="0"/>
        </a:spcBef>
        <a:spcAft>
          <a:spcPts val="501"/>
        </a:spcAft>
        <a:buClr>
          <a:srgbClr val="00338D"/>
        </a:buClr>
        <a:buSzPct val="100000"/>
        <a:buFont typeface="Univers 45 Light" pitchFamily="2" charset="0"/>
        <a:buChar char="•"/>
        <a:defRPr sz="795" kern="1200" baseline="0">
          <a:solidFill>
            <a:schemeClr val="tx1"/>
          </a:solidFill>
          <a:latin typeface="Univers 45 Light" pitchFamily="2" charset="0"/>
          <a:ea typeface="+mn-ea"/>
          <a:cs typeface="+mn-cs"/>
        </a:defRPr>
      </a:lvl9pPr>
    </p:bodyStyle>
    <p:otherStyle>
      <a:defPPr>
        <a:defRPr lang="en-US"/>
      </a:defPPr>
      <a:lvl1pPr marL="0" algn="l" defTabSz="890767" rtl="0" eaLnBrk="1" latinLnBrk="0" hangingPunct="1">
        <a:defRPr sz="1755" kern="1200">
          <a:solidFill>
            <a:schemeClr val="tx1"/>
          </a:solidFill>
          <a:latin typeface="+mn-lt"/>
          <a:ea typeface="+mn-ea"/>
          <a:cs typeface="+mn-cs"/>
        </a:defRPr>
      </a:lvl1pPr>
      <a:lvl2pPr marL="445384" algn="l" defTabSz="890767" rtl="0" eaLnBrk="1" latinLnBrk="0" hangingPunct="1">
        <a:defRPr sz="1755" kern="1200">
          <a:solidFill>
            <a:schemeClr val="tx1"/>
          </a:solidFill>
          <a:latin typeface="+mn-lt"/>
          <a:ea typeface="+mn-ea"/>
          <a:cs typeface="+mn-cs"/>
        </a:defRPr>
      </a:lvl2pPr>
      <a:lvl3pPr marL="890767" algn="l" defTabSz="890767" rtl="0" eaLnBrk="1" latinLnBrk="0" hangingPunct="1">
        <a:defRPr sz="1755" kern="1200">
          <a:solidFill>
            <a:schemeClr val="tx1"/>
          </a:solidFill>
          <a:latin typeface="+mn-lt"/>
          <a:ea typeface="+mn-ea"/>
          <a:cs typeface="+mn-cs"/>
        </a:defRPr>
      </a:lvl3pPr>
      <a:lvl4pPr marL="1336149" algn="l" defTabSz="890767" rtl="0" eaLnBrk="1" latinLnBrk="0" hangingPunct="1">
        <a:defRPr sz="1755" kern="1200">
          <a:solidFill>
            <a:schemeClr val="tx1"/>
          </a:solidFill>
          <a:latin typeface="+mn-lt"/>
          <a:ea typeface="+mn-ea"/>
          <a:cs typeface="+mn-cs"/>
        </a:defRPr>
      </a:lvl4pPr>
      <a:lvl5pPr marL="1781533" algn="l" defTabSz="890767" rtl="0" eaLnBrk="1" latinLnBrk="0" hangingPunct="1">
        <a:defRPr sz="1755" kern="1200">
          <a:solidFill>
            <a:schemeClr val="tx1"/>
          </a:solidFill>
          <a:latin typeface="+mn-lt"/>
          <a:ea typeface="+mn-ea"/>
          <a:cs typeface="+mn-cs"/>
        </a:defRPr>
      </a:lvl5pPr>
      <a:lvl6pPr marL="2226916" algn="l" defTabSz="890767" rtl="0" eaLnBrk="1" latinLnBrk="0" hangingPunct="1">
        <a:defRPr sz="1755" kern="1200">
          <a:solidFill>
            <a:schemeClr val="tx1"/>
          </a:solidFill>
          <a:latin typeface="+mn-lt"/>
          <a:ea typeface="+mn-ea"/>
          <a:cs typeface="+mn-cs"/>
        </a:defRPr>
      </a:lvl6pPr>
      <a:lvl7pPr marL="2672300" algn="l" defTabSz="890767" rtl="0" eaLnBrk="1" latinLnBrk="0" hangingPunct="1">
        <a:defRPr sz="1755" kern="1200">
          <a:solidFill>
            <a:schemeClr val="tx1"/>
          </a:solidFill>
          <a:latin typeface="+mn-lt"/>
          <a:ea typeface="+mn-ea"/>
          <a:cs typeface="+mn-cs"/>
        </a:defRPr>
      </a:lvl7pPr>
      <a:lvl8pPr marL="3117682" algn="l" defTabSz="890767" rtl="0" eaLnBrk="1" latinLnBrk="0" hangingPunct="1">
        <a:defRPr sz="1755" kern="1200">
          <a:solidFill>
            <a:schemeClr val="tx1"/>
          </a:solidFill>
          <a:latin typeface="+mn-lt"/>
          <a:ea typeface="+mn-ea"/>
          <a:cs typeface="+mn-cs"/>
        </a:defRPr>
      </a:lvl8pPr>
      <a:lvl9pPr marL="3563066" algn="l" defTabSz="890767" rtl="0" eaLnBrk="1" latinLnBrk="0" hangingPunct="1">
        <a:defRPr sz="175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5"/>
            </p:custDataLst>
            <p:extLst/>
          </p:nvPr>
        </p:nvGraphicFramePr>
        <p:xfrm>
          <a:off x="1708" y="1327"/>
          <a:ext cx="1707" cy="1326"/>
        </p:xfrm>
        <a:graphic>
          <a:graphicData uri="http://schemas.openxmlformats.org/presentationml/2006/ole">
            <mc:AlternateContent xmlns:mc="http://schemas.openxmlformats.org/markup-compatibility/2006">
              <mc:Choice xmlns:v="urn:schemas-microsoft-com:vml" Requires="v">
                <p:oleObj spid="_x0000_s8199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708" y="1327"/>
                        <a:ext cx="1707" cy="1326"/>
                      </a:xfrm>
                      <a:prstGeom prst="rect">
                        <a:avLst/>
                      </a:prstGeom>
                    </p:spPr>
                  </p:pic>
                </p:oleObj>
              </mc:Fallback>
            </mc:AlternateContent>
          </a:graphicData>
        </a:graphic>
      </p:graphicFrame>
      <p:grpSp>
        <p:nvGrpSpPr>
          <p:cNvPr id="2" name="Group 37"/>
          <p:cNvGrpSpPr>
            <a:grpSpLocks/>
          </p:cNvGrpSpPr>
          <p:nvPr/>
        </p:nvGrpSpPr>
        <p:grpSpPr bwMode="gray">
          <a:xfrm>
            <a:off x="3"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67"/>
              <a:endParaRPr lang="en-GB" sz="1755"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67"/>
              <a:endParaRPr lang="en-GB" sz="1755"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67"/>
              <a:endParaRPr lang="en-GB" sz="1755"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67"/>
              <a:endParaRPr lang="en-GB" sz="1755" dirty="0">
                <a:solidFill>
                  <a:srgbClr val="000000"/>
                </a:solidFill>
              </a:endParaRPr>
            </a:p>
          </p:txBody>
        </p:sp>
      </p:grpSp>
      <p:sp>
        <p:nvSpPr>
          <p:cNvPr id="9" name="bk object 16"/>
          <p:cNvSpPr/>
          <p:nvPr userDrawn="1"/>
        </p:nvSpPr>
        <p:spPr>
          <a:xfrm>
            <a:off x="410817" y="6450497"/>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4" name="TextBox 3"/>
          <p:cNvSpPr txBox="1"/>
          <p:nvPr userDrawn="1"/>
        </p:nvSpPr>
        <p:spPr>
          <a:xfrm>
            <a:off x="1313317" y="6503644"/>
            <a:ext cx="4717775" cy="276999"/>
          </a:xfrm>
          <a:prstGeom prst="rect">
            <a:avLst/>
          </a:prstGeom>
          <a:noFill/>
        </p:spPr>
        <p:txBody>
          <a:bodyPr wrap="square" lIns="0" tIns="0" rIns="0" bIns="0" rtlCol="0">
            <a:spAutoFit/>
          </a:bodyPr>
          <a:lstStyle/>
          <a:p>
            <a:r>
              <a:rPr lang="en-US" sz="600" dirty="0" smtClean="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3943043518"/>
      </p:ext>
    </p:extLst>
  </p:cSld>
  <p:clrMap bg1="lt1" tx1="dk1" bg2="lt2" tx2="dk2" accent1="accent1" accent2="accent2" accent3="accent3" accent4="accent4" accent5="accent5" accent6="accent6" hlink="hlink" folHlink="folHlink"/>
  <p:sldLayoutIdLst>
    <p:sldLayoutId id="2147483882" r:id="rId1"/>
    <p:sldLayoutId id="2147483883" r:id="rId2"/>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defTabSz="890767"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67"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67"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67" rtl="0" eaLnBrk="1" latinLnBrk="0" hangingPunct="1">
        <a:lnSpc>
          <a:spcPct val="100000"/>
        </a:lnSpc>
        <a:spcBef>
          <a:spcPts val="501"/>
        </a:spcBef>
        <a:spcAft>
          <a:spcPts val="501"/>
        </a:spcAft>
        <a:buClr>
          <a:srgbClr val="97989A"/>
        </a:buClr>
        <a:buFont typeface="Arial" pitchFamily="34" charset="0"/>
        <a:buNone/>
        <a:defRPr kumimoji="0" lang="en-US" sz="1003"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67" rtl="0" eaLnBrk="1" latinLnBrk="0" hangingPunct="1">
        <a:lnSpc>
          <a:spcPct val="100000"/>
        </a:lnSpc>
        <a:spcBef>
          <a:spcPts val="501"/>
        </a:spcBef>
        <a:spcAft>
          <a:spcPts val="0"/>
        </a:spcAft>
        <a:buClr>
          <a:srgbClr val="97989A"/>
        </a:buClr>
        <a:buSzPct val="85000"/>
        <a:buFont typeface="Wingdings" pitchFamily="2" charset="2"/>
        <a:buNone/>
        <a:defRPr kumimoji="0" lang="en-US" sz="79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67" rtl="0" eaLnBrk="1" latinLnBrk="0" hangingPunct="1">
        <a:lnSpc>
          <a:spcPct val="100000"/>
        </a:lnSpc>
        <a:spcBef>
          <a:spcPts val="0"/>
        </a:spcBef>
        <a:spcAft>
          <a:spcPts val="0"/>
        </a:spcAft>
        <a:buClr>
          <a:srgbClr val="97989A"/>
        </a:buClr>
        <a:buFont typeface="Univers 45 Light" pitchFamily="2" charset="0"/>
        <a:buNone/>
        <a:defRPr kumimoji="0" lang="en-GB" sz="79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67" rtl="0" eaLnBrk="1" latinLnBrk="0" hangingPunct="1">
        <a:lnSpc>
          <a:spcPct val="100000"/>
        </a:lnSpc>
        <a:spcBef>
          <a:spcPts val="0"/>
        </a:spcBef>
        <a:spcAft>
          <a:spcPts val="501"/>
        </a:spcAft>
        <a:buClr>
          <a:srgbClr val="97989A"/>
        </a:buClr>
        <a:buSzPct val="85000"/>
        <a:buFont typeface="Wingdings" pitchFamily="2" charset="2"/>
        <a:buNone/>
        <a:defRPr sz="795" kern="1200">
          <a:solidFill>
            <a:schemeClr val="tx1"/>
          </a:solidFill>
          <a:latin typeface="Univers 45 Light" pitchFamily="2" charset="0"/>
          <a:ea typeface="+mn-ea"/>
          <a:cs typeface="+mn-cs"/>
        </a:defRPr>
      </a:lvl6pPr>
      <a:lvl7pPr marL="111399" indent="-111399" algn="l" defTabSz="890767" rtl="0" eaLnBrk="1" latinLnBrk="0" hangingPunct="1">
        <a:lnSpc>
          <a:spcPct val="100000"/>
        </a:lnSpc>
        <a:spcBef>
          <a:spcPts val="0"/>
        </a:spcBef>
        <a:spcAft>
          <a:spcPts val="501"/>
        </a:spcAft>
        <a:buClr>
          <a:srgbClr val="00338D"/>
        </a:buClr>
        <a:buSzPct val="100000"/>
        <a:buFont typeface="Univers 45 Light" pitchFamily="2" charset="0"/>
        <a:buChar char="•"/>
        <a:defRPr sz="795" kern="1200" baseline="0">
          <a:solidFill>
            <a:schemeClr val="tx1"/>
          </a:solidFill>
          <a:latin typeface="Univers 45 Light" pitchFamily="2" charset="0"/>
          <a:ea typeface="+mn-ea"/>
          <a:cs typeface="+mn-cs"/>
        </a:defRPr>
      </a:lvl7pPr>
      <a:lvl8pPr marL="225449" indent="-108745" algn="l" defTabSz="890767" rtl="0" eaLnBrk="1" latinLnBrk="0" hangingPunct="1">
        <a:lnSpc>
          <a:spcPct val="100000"/>
        </a:lnSpc>
        <a:spcBef>
          <a:spcPts val="0"/>
        </a:spcBef>
        <a:spcAft>
          <a:spcPts val="501"/>
        </a:spcAft>
        <a:buClr>
          <a:srgbClr val="00338D"/>
        </a:buClr>
        <a:buSzPct val="100000"/>
        <a:buFont typeface="Univers 45 Light" pitchFamily="2" charset="0"/>
        <a:buChar char="–"/>
        <a:defRPr sz="795" kern="1200" baseline="0">
          <a:solidFill>
            <a:schemeClr val="tx1"/>
          </a:solidFill>
          <a:latin typeface="Univers 45 Light" pitchFamily="2" charset="0"/>
          <a:ea typeface="+mn-ea"/>
          <a:cs typeface="+mn-cs"/>
        </a:defRPr>
      </a:lvl8pPr>
      <a:lvl9pPr marL="328889" indent="-100788" algn="l" defTabSz="890767" rtl="0" eaLnBrk="1" latinLnBrk="0" hangingPunct="1">
        <a:lnSpc>
          <a:spcPct val="100000"/>
        </a:lnSpc>
        <a:spcBef>
          <a:spcPts val="0"/>
        </a:spcBef>
        <a:spcAft>
          <a:spcPts val="501"/>
        </a:spcAft>
        <a:buClr>
          <a:srgbClr val="00338D"/>
        </a:buClr>
        <a:buSzPct val="100000"/>
        <a:buFont typeface="Univers 45 Light" pitchFamily="2" charset="0"/>
        <a:buChar char="•"/>
        <a:defRPr sz="795" kern="1200" baseline="0">
          <a:solidFill>
            <a:schemeClr val="tx1"/>
          </a:solidFill>
          <a:latin typeface="Univers 45 Light" pitchFamily="2" charset="0"/>
          <a:ea typeface="+mn-ea"/>
          <a:cs typeface="+mn-cs"/>
        </a:defRPr>
      </a:lvl9pPr>
    </p:bodyStyle>
    <p:otherStyle>
      <a:defPPr>
        <a:defRPr lang="en-US"/>
      </a:defPPr>
      <a:lvl1pPr marL="0" algn="l" defTabSz="890767" rtl="0" eaLnBrk="1" latinLnBrk="0" hangingPunct="1">
        <a:defRPr sz="1755" kern="1200">
          <a:solidFill>
            <a:schemeClr val="tx1"/>
          </a:solidFill>
          <a:latin typeface="+mn-lt"/>
          <a:ea typeface="+mn-ea"/>
          <a:cs typeface="+mn-cs"/>
        </a:defRPr>
      </a:lvl1pPr>
      <a:lvl2pPr marL="445384" algn="l" defTabSz="890767" rtl="0" eaLnBrk="1" latinLnBrk="0" hangingPunct="1">
        <a:defRPr sz="1755" kern="1200">
          <a:solidFill>
            <a:schemeClr val="tx1"/>
          </a:solidFill>
          <a:latin typeface="+mn-lt"/>
          <a:ea typeface="+mn-ea"/>
          <a:cs typeface="+mn-cs"/>
        </a:defRPr>
      </a:lvl2pPr>
      <a:lvl3pPr marL="890767" algn="l" defTabSz="890767" rtl="0" eaLnBrk="1" latinLnBrk="0" hangingPunct="1">
        <a:defRPr sz="1755" kern="1200">
          <a:solidFill>
            <a:schemeClr val="tx1"/>
          </a:solidFill>
          <a:latin typeface="+mn-lt"/>
          <a:ea typeface="+mn-ea"/>
          <a:cs typeface="+mn-cs"/>
        </a:defRPr>
      </a:lvl3pPr>
      <a:lvl4pPr marL="1336149" algn="l" defTabSz="890767" rtl="0" eaLnBrk="1" latinLnBrk="0" hangingPunct="1">
        <a:defRPr sz="1755" kern="1200">
          <a:solidFill>
            <a:schemeClr val="tx1"/>
          </a:solidFill>
          <a:latin typeface="+mn-lt"/>
          <a:ea typeface="+mn-ea"/>
          <a:cs typeface="+mn-cs"/>
        </a:defRPr>
      </a:lvl4pPr>
      <a:lvl5pPr marL="1781533" algn="l" defTabSz="890767" rtl="0" eaLnBrk="1" latinLnBrk="0" hangingPunct="1">
        <a:defRPr sz="1755" kern="1200">
          <a:solidFill>
            <a:schemeClr val="tx1"/>
          </a:solidFill>
          <a:latin typeface="+mn-lt"/>
          <a:ea typeface="+mn-ea"/>
          <a:cs typeface="+mn-cs"/>
        </a:defRPr>
      </a:lvl5pPr>
      <a:lvl6pPr marL="2226916" algn="l" defTabSz="890767" rtl="0" eaLnBrk="1" latinLnBrk="0" hangingPunct="1">
        <a:defRPr sz="1755" kern="1200">
          <a:solidFill>
            <a:schemeClr val="tx1"/>
          </a:solidFill>
          <a:latin typeface="+mn-lt"/>
          <a:ea typeface="+mn-ea"/>
          <a:cs typeface="+mn-cs"/>
        </a:defRPr>
      </a:lvl6pPr>
      <a:lvl7pPr marL="2672300" algn="l" defTabSz="890767" rtl="0" eaLnBrk="1" latinLnBrk="0" hangingPunct="1">
        <a:defRPr sz="1755" kern="1200">
          <a:solidFill>
            <a:schemeClr val="tx1"/>
          </a:solidFill>
          <a:latin typeface="+mn-lt"/>
          <a:ea typeface="+mn-ea"/>
          <a:cs typeface="+mn-cs"/>
        </a:defRPr>
      </a:lvl7pPr>
      <a:lvl8pPr marL="3117682" algn="l" defTabSz="890767" rtl="0" eaLnBrk="1" latinLnBrk="0" hangingPunct="1">
        <a:defRPr sz="1755" kern="1200">
          <a:solidFill>
            <a:schemeClr val="tx1"/>
          </a:solidFill>
          <a:latin typeface="+mn-lt"/>
          <a:ea typeface="+mn-ea"/>
          <a:cs typeface="+mn-cs"/>
        </a:defRPr>
      </a:lvl8pPr>
      <a:lvl9pPr marL="3563066" algn="l" defTabSz="890767" rtl="0" eaLnBrk="1" latinLnBrk="0" hangingPunct="1">
        <a:defRPr sz="175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0"/>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8097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9" name="bk object 16"/>
          <p:cNvSpPr/>
          <p:nvPr userDrawn="1"/>
        </p:nvSpPr>
        <p:spPr>
          <a:xfrm>
            <a:off x="410817" y="6490251"/>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dirty="0">
              <a:solidFill>
                <a:srgbClr val="000000"/>
              </a:solidFill>
            </a:endParaRPr>
          </a:p>
        </p:txBody>
      </p:sp>
      <p:sp>
        <p:nvSpPr>
          <p:cNvPr id="4" name="TextBox 3"/>
          <p:cNvSpPr txBox="1"/>
          <p:nvPr userDrawn="1"/>
        </p:nvSpPr>
        <p:spPr>
          <a:xfrm>
            <a:off x="1313315" y="6543399"/>
            <a:ext cx="4717775" cy="276999"/>
          </a:xfrm>
          <a:prstGeom prst="rect">
            <a:avLst/>
          </a:prstGeom>
          <a:noFill/>
        </p:spPr>
        <p:txBody>
          <a:bodyPr wrap="square" lIns="0" tIns="0" rIns="0" bIns="0" rtlCol="0">
            <a:spAutoFit/>
          </a:bodyPr>
          <a:lstStyle/>
          <a:p>
            <a:r>
              <a:rPr lang="en-US" sz="600" dirty="0" smtClean="0">
                <a:solidFill>
                  <a:srgbClr val="00338D"/>
                </a:solidFill>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cs typeface="Arial" pitchFamily="34" charset="0"/>
            </a:endParaRPr>
          </a:p>
        </p:txBody>
      </p:sp>
    </p:spTree>
    <p:extLst>
      <p:ext uri="{BB962C8B-B14F-4D97-AF65-F5344CB8AC3E}">
        <p14:creationId xmlns:p14="http://schemas.microsoft.com/office/powerpoint/2010/main" val="3537858655"/>
      </p:ext>
    </p:extLst>
  </p:cSld>
  <p:clrMap bg1="lt1" tx1="dk1" bg2="lt2" tx2="dk2" accent1="accent1" accent2="accent2" accent3="accent3" accent4="accent4" accent5="accent5" accent6="accent6" hlink="hlink" folHlink="folHlink"/>
  <p:sldLayoutIdLst>
    <p:sldLayoutId id="2147483911" r:id="rId1"/>
    <p:sldLayoutId id="2147483887" r:id="rId2"/>
    <p:sldLayoutId id="2147483888" r:id="rId3"/>
    <p:sldLayoutId id="2147483891" r:id="rId4"/>
    <p:sldLayoutId id="2147483892" r:id="rId5"/>
    <p:sldLayoutId id="2147483894" r:id="rId6"/>
    <p:sldLayoutId id="2147483912" r:id="rId7"/>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8"/>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4683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sp>
        <p:nvSpPr>
          <p:cNvPr id="4" name="TextBox 3"/>
          <p:cNvSpPr txBox="1"/>
          <p:nvPr userDrawn="1"/>
        </p:nvSpPr>
        <p:spPr>
          <a:xfrm>
            <a:off x="1332700" y="6506060"/>
            <a:ext cx="7800542" cy="276999"/>
          </a:xfrm>
          <a:prstGeom prst="rect">
            <a:avLst/>
          </a:prstGeom>
          <a:noFill/>
        </p:spPr>
        <p:txBody>
          <a:bodyPr wrap="square" lIns="0" tIns="0" rIns="0" bIns="0" rtlCol="0">
            <a:spAutoFit/>
          </a:bodyPr>
          <a:lstStyle/>
          <a:p>
            <a:r>
              <a:rPr lang="en-US" sz="600" dirty="0" smtClean="0">
                <a:solidFill>
                  <a:srgbClr val="00338D"/>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
        <p:nvSpPr>
          <p:cNvPr id="12" name="Freeform 19"/>
          <p:cNvSpPr>
            <a:spLocks noEditPoints="1"/>
          </p:cNvSpPr>
          <p:nvPr userDrawn="1"/>
        </p:nvSpPr>
        <p:spPr bwMode="auto">
          <a:xfrm>
            <a:off x="324606" y="6426048"/>
            <a:ext cx="838686" cy="34168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a:defRPr/>
            </a:pPr>
            <a:endParaRPr lang="en-GB" kern="0" dirty="0" smtClean="0">
              <a:solidFill>
                <a:srgbClr val="000000"/>
              </a:solidFill>
              <a:latin typeface="Arial"/>
            </a:endParaRPr>
          </a:p>
        </p:txBody>
      </p:sp>
      <p:grpSp>
        <p:nvGrpSpPr>
          <p:cNvPr id="10" name="Group 9"/>
          <p:cNvGrpSpPr/>
          <p:nvPr userDrawn="1"/>
        </p:nvGrpSpPr>
        <p:grpSpPr>
          <a:xfrm>
            <a:off x="-1126769" y="963030"/>
            <a:ext cx="869317" cy="3441860"/>
            <a:chOff x="-1126770" y="963028"/>
            <a:chExt cx="869317" cy="3441860"/>
          </a:xfrm>
        </p:grpSpPr>
        <p:sp>
          <p:nvSpPr>
            <p:cNvPr id="13" name="Rectangle 12"/>
            <p:cNvSpPr/>
            <p:nvPr/>
          </p:nvSpPr>
          <p:spPr>
            <a:xfrm>
              <a:off x="-1126770" y="963028"/>
              <a:ext cx="869317" cy="38637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18" name="Rectangle 17"/>
            <p:cNvSpPr/>
            <p:nvPr/>
          </p:nvSpPr>
          <p:spPr>
            <a:xfrm>
              <a:off x="-1126770" y="1472276"/>
              <a:ext cx="869317" cy="386375"/>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19" name="Rectangle 18"/>
            <p:cNvSpPr/>
            <p:nvPr/>
          </p:nvSpPr>
          <p:spPr>
            <a:xfrm>
              <a:off x="-1126770" y="1981524"/>
              <a:ext cx="869317" cy="386375"/>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20" name="Rectangle 19"/>
            <p:cNvSpPr/>
            <p:nvPr/>
          </p:nvSpPr>
          <p:spPr>
            <a:xfrm>
              <a:off x="-1126770" y="3000019"/>
              <a:ext cx="869317" cy="386375"/>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21" name="Rectangle 20"/>
            <p:cNvSpPr/>
            <p:nvPr userDrawn="1"/>
          </p:nvSpPr>
          <p:spPr>
            <a:xfrm>
              <a:off x="-1126770" y="3509267"/>
              <a:ext cx="869317" cy="386375"/>
            </a:xfrm>
            <a:prstGeom prst="rect">
              <a:avLst/>
            </a:prstGeom>
            <a:solidFill>
              <a:srgbClr val="EBB7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22" name="Rectangle 21"/>
            <p:cNvSpPr/>
            <p:nvPr userDrawn="1"/>
          </p:nvSpPr>
          <p:spPr>
            <a:xfrm>
              <a:off x="-1126770" y="2490772"/>
              <a:ext cx="869317" cy="386375"/>
            </a:xfrm>
            <a:prstGeom prst="rect">
              <a:avLst/>
            </a:prstGeom>
            <a:solidFill>
              <a:srgbClr val="7030A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23" name="Rectangle 22"/>
            <p:cNvSpPr/>
            <p:nvPr userDrawn="1"/>
          </p:nvSpPr>
          <p:spPr>
            <a:xfrm>
              <a:off x="-1126770" y="4018513"/>
              <a:ext cx="869317" cy="38637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grpSp>
    </p:spTree>
    <p:extLst>
      <p:ext uri="{BB962C8B-B14F-4D97-AF65-F5344CB8AC3E}">
        <p14:creationId xmlns:p14="http://schemas.microsoft.com/office/powerpoint/2010/main" val="1570856980"/>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Ls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92">
          <p15:clr>
            <a:srgbClr val="F26B43"/>
          </p15:clr>
        </p15:guide>
        <p15:guide id="2" orient="horz" pos="40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7"/>
            </p:custDataLst>
            <p:extLst/>
          </p:nvPr>
        </p:nvGraphicFramePr>
        <p:xfrm>
          <a:off x="1708" y="1327"/>
          <a:ext cx="1706" cy="1326"/>
        </p:xfrm>
        <a:graphic>
          <a:graphicData uri="http://schemas.openxmlformats.org/presentationml/2006/ole">
            <mc:AlternateContent xmlns:mc="http://schemas.openxmlformats.org/markup-compatibility/2006">
              <mc:Choice xmlns:v="urn:schemas-microsoft-com:vml" Requires="v">
                <p:oleObj spid="_x0000_s6271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708" y="1327"/>
                        <a:ext cx="1706" cy="1326"/>
                      </a:xfrm>
                      <a:prstGeom prst="rect">
                        <a:avLst/>
                      </a:prstGeom>
                    </p:spPr>
                  </p:pic>
                </p:oleObj>
              </mc:Fallback>
            </mc:AlternateContent>
          </a:graphicData>
        </a:graphic>
      </p:graphicFrame>
      <p:grpSp>
        <p:nvGrpSpPr>
          <p:cNvPr id="2" name="Group 37"/>
          <p:cNvGrpSpPr>
            <a:grpSpLocks/>
          </p:cNvGrpSpPr>
          <p:nvPr/>
        </p:nvGrpSpPr>
        <p:grpSpPr bwMode="gray">
          <a:xfrm>
            <a:off x="2" y="737456"/>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89"/>
              <a:endParaRPr lang="en-GB" sz="1754" dirty="0">
                <a:solidFill>
                  <a:srgbClr val="000000"/>
                </a:solidFill>
              </a:endParaRPr>
            </a:p>
          </p:txBody>
        </p:sp>
      </p:grpSp>
      <p:grpSp>
        <p:nvGrpSpPr>
          <p:cNvPr id="8" name="Group 7"/>
          <p:cNvGrpSpPr/>
          <p:nvPr userDrawn="1"/>
        </p:nvGrpSpPr>
        <p:grpSpPr>
          <a:xfrm>
            <a:off x="-1126769" y="963030"/>
            <a:ext cx="869317" cy="3441860"/>
            <a:chOff x="-1126770" y="963028"/>
            <a:chExt cx="869317" cy="3441860"/>
          </a:xfrm>
        </p:grpSpPr>
        <p:sp>
          <p:nvSpPr>
            <p:cNvPr id="9" name="Rectangle 8"/>
            <p:cNvSpPr/>
            <p:nvPr/>
          </p:nvSpPr>
          <p:spPr>
            <a:xfrm>
              <a:off x="-1126770" y="963028"/>
              <a:ext cx="869317" cy="38637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10" name="Rectangle 9"/>
            <p:cNvSpPr/>
            <p:nvPr/>
          </p:nvSpPr>
          <p:spPr>
            <a:xfrm>
              <a:off x="-1126770" y="1472276"/>
              <a:ext cx="869317" cy="386375"/>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12" name="Rectangle 11"/>
            <p:cNvSpPr/>
            <p:nvPr/>
          </p:nvSpPr>
          <p:spPr>
            <a:xfrm>
              <a:off x="-1126770" y="1981524"/>
              <a:ext cx="869317" cy="386375"/>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13" name="Rectangle 12"/>
            <p:cNvSpPr/>
            <p:nvPr/>
          </p:nvSpPr>
          <p:spPr>
            <a:xfrm>
              <a:off x="-1126770" y="3000019"/>
              <a:ext cx="869317" cy="386375"/>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18" name="Rectangle 17"/>
            <p:cNvSpPr/>
            <p:nvPr userDrawn="1"/>
          </p:nvSpPr>
          <p:spPr>
            <a:xfrm>
              <a:off x="-1126770" y="3509267"/>
              <a:ext cx="869317" cy="386375"/>
            </a:xfrm>
            <a:prstGeom prst="rect">
              <a:avLst/>
            </a:prstGeom>
            <a:solidFill>
              <a:srgbClr val="EBB7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19" name="Rectangle 18"/>
            <p:cNvSpPr/>
            <p:nvPr userDrawn="1"/>
          </p:nvSpPr>
          <p:spPr>
            <a:xfrm>
              <a:off x="-1126770" y="2490772"/>
              <a:ext cx="869317" cy="386375"/>
            </a:xfrm>
            <a:prstGeom prst="rect">
              <a:avLst/>
            </a:prstGeom>
            <a:solidFill>
              <a:srgbClr val="7030A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sp>
          <p:nvSpPr>
            <p:cNvPr id="20" name="Rectangle 19"/>
            <p:cNvSpPr/>
            <p:nvPr userDrawn="1"/>
          </p:nvSpPr>
          <p:spPr>
            <a:xfrm>
              <a:off x="-1126770" y="4018513"/>
              <a:ext cx="869317" cy="38637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846" tIns="49846" rIns="49846" bIns="49846" numCol="1" spcCol="0" rtlCol="0" fromWordArt="0" anchor="ctr" anchorCtr="0" forceAA="0" compatLnSpc="1">
              <a:prstTxWarp prst="textNoShape">
                <a:avLst/>
              </a:prstTxWarp>
              <a:noAutofit/>
            </a:bodyPr>
            <a:lstStyle/>
            <a:p>
              <a:pPr algn="ctr"/>
              <a:endParaRPr lang="en-GB" sz="700" dirty="0">
                <a:solidFill>
                  <a:prstClr val="white"/>
                </a:solidFill>
              </a:endParaRPr>
            </a:p>
          </p:txBody>
        </p:sp>
      </p:grpSp>
    </p:spTree>
    <p:extLst>
      <p:ext uri="{BB962C8B-B14F-4D97-AF65-F5344CB8AC3E}">
        <p14:creationId xmlns:p14="http://schemas.microsoft.com/office/powerpoint/2010/main" val="1678742822"/>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Lst>
  <p:timing>
    <p:tnLst>
      <p:par>
        <p:cTn id="1" dur="indefinite" restart="never" nodeType="tmRoot"/>
      </p:par>
    </p:tnLst>
  </p:timing>
  <p:hf hdr="0" ftr="0" dt="0"/>
  <p:txStyles>
    <p:titleStyle>
      <a:lvl1pPr algn="l" defTabSz="890789"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89"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89"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89" rtl="0" eaLnBrk="1" latinLnBrk="0" hangingPunct="1">
        <a:lnSpc>
          <a:spcPct val="100000"/>
        </a:lnSpc>
        <a:spcBef>
          <a:spcPts val="501"/>
        </a:spcBef>
        <a:spcAft>
          <a:spcPts val="501"/>
        </a:spcAft>
        <a:buClr>
          <a:srgbClr val="97989A"/>
        </a:buClr>
        <a:buFont typeface="Arial" pitchFamily="34" charset="0"/>
        <a:buNone/>
        <a:defRPr kumimoji="0" lang="en-US" sz="1002"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89" rtl="0" eaLnBrk="1" latinLnBrk="0" hangingPunct="1">
        <a:lnSpc>
          <a:spcPct val="100000"/>
        </a:lnSpc>
        <a:spcBef>
          <a:spcPts val="501"/>
        </a:spcBef>
        <a:spcAft>
          <a:spcPts val="0"/>
        </a:spcAft>
        <a:buClr>
          <a:srgbClr val="97989A"/>
        </a:buClr>
        <a:buSzPct val="85000"/>
        <a:buFont typeface="Wingdings" pitchFamily="2" charset="2"/>
        <a:buNone/>
        <a:defRPr kumimoji="0" lang="en-US" sz="794"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89" rtl="0" eaLnBrk="1" latinLnBrk="0" hangingPunct="1">
        <a:lnSpc>
          <a:spcPct val="100000"/>
        </a:lnSpc>
        <a:spcBef>
          <a:spcPts val="0"/>
        </a:spcBef>
        <a:spcAft>
          <a:spcPts val="0"/>
        </a:spcAft>
        <a:buClr>
          <a:srgbClr val="97989A"/>
        </a:buClr>
        <a:buFont typeface="Univers 45 Light" pitchFamily="2" charset="0"/>
        <a:buNone/>
        <a:defRPr kumimoji="0" lang="en-GB" sz="794"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89" rtl="0" eaLnBrk="1" latinLnBrk="0" hangingPunct="1">
        <a:lnSpc>
          <a:spcPct val="100000"/>
        </a:lnSpc>
        <a:spcBef>
          <a:spcPts val="0"/>
        </a:spcBef>
        <a:spcAft>
          <a:spcPts val="501"/>
        </a:spcAft>
        <a:buClr>
          <a:srgbClr val="97989A"/>
        </a:buClr>
        <a:buSzPct val="85000"/>
        <a:buFont typeface="Wingdings" pitchFamily="2" charset="2"/>
        <a:buNone/>
        <a:defRPr sz="794" kern="1200">
          <a:solidFill>
            <a:schemeClr val="tx1"/>
          </a:solidFill>
          <a:latin typeface="Univers 45 Light" pitchFamily="2" charset="0"/>
          <a:ea typeface="+mn-ea"/>
          <a:cs typeface="+mn-cs"/>
        </a:defRPr>
      </a:lvl6pPr>
      <a:lvl7pPr marL="111401" indent="-11140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7pPr>
      <a:lvl8pPr marL="225454" indent="-108748"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8pPr>
      <a:lvl9pPr marL="328897" indent="-100791" algn="l" defTabSz="890789" rtl="0" eaLnBrk="1" latinLnBrk="0" hangingPunct="1">
        <a:lnSpc>
          <a:spcPct val="100000"/>
        </a:lnSpc>
        <a:spcBef>
          <a:spcPts val="0"/>
        </a:spcBef>
        <a:spcAft>
          <a:spcPts val="501"/>
        </a:spcAft>
        <a:buClr>
          <a:srgbClr val="00338D"/>
        </a:buClr>
        <a:buSzPct val="100000"/>
        <a:buFont typeface="Univers 45 Light" pitchFamily="2" charset="0"/>
        <a:buChar char="•"/>
        <a:defRPr sz="794" kern="1200" baseline="0">
          <a:solidFill>
            <a:schemeClr val="tx1"/>
          </a:solidFill>
          <a:latin typeface="Univers 45 Light" pitchFamily="2" charset="0"/>
          <a:ea typeface="+mn-ea"/>
          <a:cs typeface="+mn-cs"/>
        </a:defRPr>
      </a:lvl9pPr>
    </p:bodyStyle>
    <p:otherStyle>
      <a:defPPr>
        <a:defRPr lang="en-US"/>
      </a:defPPr>
      <a:lvl1pPr marL="0" algn="l" defTabSz="890789" rtl="0" eaLnBrk="1" latinLnBrk="0" hangingPunct="1">
        <a:defRPr sz="1754" kern="1200">
          <a:solidFill>
            <a:schemeClr val="tx1"/>
          </a:solidFill>
          <a:latin typeface="+mn-lt"/>
          <a:ea typeface="+mn-ea"/>
          <a:cs typeface="+mn-cs"/>
        </a:defRPr>
      </a:lvl1pPr>
      <a:lvl2pPr marL="445395" algn="l" defTabSz="890789" rtl="0" eaLnBrk="1" latinLnBrk="0" hangingPunct="1">
        <a:defRPr sz="1754" kern="1200">
          <a:solidFill>
            <a:schemeClr val="tx1"/>
          </a:solidFill>
          <a:latin typeface="+mn-lt"/>
          <a:ea typeface="+mn-ea"/>
          <a:cs typeface="+mn-cs"/>
        </a:defRPr>
      </a:lvl2pPr>
      <a:lvl3pPr marL="890789" algn="l" defTabSz="890789" rtl="0" eaLnBrk="1" latinLnBrk="0" hangingPunct="1">
        <a:defRPr sz="1754" kern="1200">
          <a:solidFill>
            <a:schemeClr val="tx1"/>
          </a:solidFill>
          <a:latin typeface="+mn-lt"/>
          <a:ea typeface="+mn-ea"/>
          <a:cs typeface="+mn-cs"/>
        </a:defRPr>
      </a:lvl3pPr>
      <a:lvl4pPr marL="1336183" algn="l" defTabSz="890789" rtl="0" eaLnBrk="1" latinLnBrk="0" hangingPunct="1">
        <a:defRPr sz="1754" kern="1200">
          <a:solidFill>
            <a:schemeClr val="tx1"/>
          </a:solidFill>
          <a:latin typeface="+mn-lt"/>
          <a:ea typeface="+mn-ea"/>
          <a:cs typeface="+mn-cs"/>
        </a:defRPr>
      </a:lvl4pPr>
      <a:lvl5pPr marL="1781577" algn="l" defTabSz="890789" rtl="0" eaLnBrk="1" latinLnBrk="0" hangingPunct="1">
        <a:defRPr sz="1754" kern="1200">
          <a:solidFill>
            <a:schemeClr val="tx1"/>
          </a:solidFill>
          <a:latin typeface="+mn-lt"/>
          <a:ea typeface="+mn-ea"/>
          <a:cs typeface="+mn-cs"/>
        </a:defRPr>
      </a:lvl5pPr>
      <a:lvl6pPr marL="2226972" algn="l" defTabSz="890789" rtl="0" eaLnBrk="1" latinLnBrk="0" hangingPunct="1">
        <a:defRPr sz="1754" kern="1200">
          <a:solidFill>
            <a:schemeClr val="tx1"/>
          </a:solidFill>
          <a:latin typeface="+mn-lt"/>
          <a:ea typeface="+mn-ea"/>
          <a:cs typeface="+mn-cs"/>
        </a:defRPr>
      </a:lvl6pPr>
      <a:lvl7pPr marL="2672366" algn="l" defTabSz="890789" rtl="0" eaLnBrk="1" latinLnBrk="0" hangingPunct="1">
        <a:defRPr sz="1754" kern="1200">
          <a:solidFill>
            <a:schemeClr val="tx1"/>
          </a:solidFill>
          <a:latin typeface="+mn-lt"/>
          <a:ea typeface="+mn-ea"/>
          <a:cs typeface="+mn-cs"/>
        </a:defRPr>
      </a:lvl7pPr>
      <a:lvl8pPr marL="3117760" algn="l" defTabSz="890789" rtl="0" eaLnBrk="1" latinLnBrk="0" hangingPunct="1">
        <a:defRPr sz="1754" kern="1200">
          <a:solidFill>
            <a:schemeClr val="tx1"/>
          </a:solidFill>
          <a:latin typeface="+mn-lt"/>
          <a:ea typeface="+mn-ea"/>
          <a:cs typeface="+mn-cs"/>
        </a:defRPr>
      </a:lvl8pPr>
      <a:lvl9pPr marL="3563154" algn="l" defTabSz="890789" rtl="0" eaLnBrk="1" latinLnBrk="0" hangingPunct="1">
        <a:defRPr sz="175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92">
          <p15:clr>
            <a:srgbClr val="F26B43"/>
          </p15:clr>
        </p15:guide>
        <p15:guide id="2"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24.xml"/><Relationship Id="rId4" Type="http://schemas.openxmlformats.org/officeDocument/2006/relationships/image" Target="../media/image34.png"/></Relationships>
</file>

<file path=ppt/slides/_rels/slide11.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26.png"/><Relationship Id="rId3" Type="http://schemas.openxmlformats.org/officeDocument/2006/relationships/tags" Target="../tags/tag21.xml"/><Relationship Id="rId7" Type="http://schemas.openxmlformats.org/officeDocument/2006/relationships/image" Target="../media/image6.emf"/><Relationship Id="rId12" Type="http://schemas.openxmlformats.org/officeDocument/2006/relationships/image" Target="../media/image27.png"/><Relationship Id="rId17" Type="http://schemas.openxmlformats.org/officeDocument/2006/relationships/image" Target="../media/image37.png"/><Relationship Id="rId2" Type="http://schemas.openxmlformats.org/officeDocument/2006/relationships/tags" Target="../tags/tag20.xml"/><Relationship Id="rId16" Type="http://schemas.openxmlformats.org/officeDocument/2006/relationships/image" Target="../media/image22.png"/><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25.jpg"/><Relationship Id="rId5" Type="http://schemas.openxmlformats.org/officeDocument/2006/relationships/notesSlide" Target="../notesSlides/notesSlide11.xml"/><Relationship Id="rId15" Type="http://schemas.openxmlformats.org/officeDocument/2006/relationships/image" Target="../media/image15.png"/><Relationship Id="rId10" Type="http://schemas.openxmlformats.org/officeDocument/2006/relationships/image" Target="../media/image24.png"/><Relationship Id="rId4" Type="http://schemas.openxmlformats.org/officeDocument/2006/relationships/slideLayout" Target="../slideLayouts/slideLayout33.xml"/><Relationship Id="rId9" Type="http://schemas.openxmlformats.org/officeDocument/2006/relationships/image" Target="../media/image36.png"/><Relationship Id="rId14" Type="http://schemas.openxmlformats.org/officeDocument/2006/relationships/image" Target="../media/image31.png"/></Relationships>
</file>

<file path=ppt/slides/_rels/slide12.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20.png"/><Relationship Id="rId18" Type="http://schemas.openxmlformats.org/officeDocument/2006/relationships/image" Target="../media/image16.png"/><Relationship Id="rId3" Type="http://schemas.openxmlformats.org/officeDocument/2006/relationships/tags" Target="../tags/tag23.xml"/><Relationship Id="rId21" Type="http://schemas.openxmlformats.org/officeDocument/2006/relationships/image" Target="../media/image17.png"/><Relationship Id="rId7" Type="http://schemas.openxmlformats.org/officeDocument/2006/relationships/image" Target="../media/image6.emf"/><Relationship Id="rId12" Type="http://schemas.openxmlformats.org/officeDocument/2006/relationships/image" Target="../media/image37.png"/><Relationship Id="rId17" Type="http://schemas.openxmlformats.org/officeDocument/2006/relationships/image" Target="../media/image29.png"/><Relationship Id="rId2" Type="http://schemas.openxmlformats.org/officeDocument/2006/relationships/tags" Target="../tags/tag22.xml"/><Relationship Id="rId16" Type="http://schemas.openxmlformats.org/officeDocument/2006/relationships/image" Target="../media/image23.png"/><Relationship Id="rId20" Type="http://schemas.openxmlformats.org/officeDocument/2006/relationships/image" Target="../media/image38.jpeg"/><Relationship Id="rId1" Type="http://schemas.openxmlformats.org/officeDocument/2006/relationships/vmlDrawing" Target="../drawings/vmlDrawing15.vml"/><Relationship Id="rId6" Type="http://schemas.openxmlformats.org/officeDocument/2006/relationships/oleObject" Target="../embeddings/oleObject15.bin"/><Relationship Id="rId11" Type="http://schemas.openxmlformats.org/officeDocument/2006/relationships/image" Target="../media/image15.png"/><Relationship Id="rId5" Type="http://schemas.openxmlformats.org/officeDocument/2006/relationships/notesSlide" Target="../notesSlides/notesSlide12.xml"/><Relationship Id="rId15" Type="http://schemas.openxmlformats.org/officeDocument/2006/relationships/image" Target="../media/image28.gif"/><Relationship Id="rId10" Type="http://schemas.openxmlformats.org/officeDocument/2006/relationships/image" Target="../media/image26.png"/><Relationship Id="rId19" Type="http://schemas.openxmlformats.org/officeDocument/2006/relationships/image" Target="../media/image32.png"/><Relationship Id="rId4" Type="http://schemas.openxmlformats.org/officeDocument/2006/relationships/slideLayout" Target="../slideLayouts/slideLayout33.xml"/><Relationship Id="rId9" Type="http://schemas.openxmlformats.org/officeDocument/2006/relationships/image" Target="../media/image36.png"/><Relationship Id="rId14" Type="http://schemas.openxmlformats.org/officeDocument/2006/relationships/image" Target="../media/image21.png"/><Relationship Id="rId22" Type="http://schemas.openxmlformats.org/officeDocument/2006/relationships/image" Target="../media/image22.png"/></Relationships>
</file>

<file path=ppt/slides/_rels/slide13.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20.png"/><Relationship Id="rId18" Type="http://schemas.openxmlformats.org/officeDocument/2006/relationships/image" Target="../media/image27.png"/><Relationship Id="rId3" Type="http://schemas.openxmlformats.org/officeDocument/2006/relationships/tags" Target="../tags/tag25.xml"/><Relationship Id="rId7" Type="http://schemas.openxmlformats.org/officeDocument/2006/relationships/image" Target="../media/image6.emf"/><Relationship Id="rId12" Type="http://schemas.openxmlformats.org/officeDocument/2006/relationships/image" Target="../media/image37.png"/><Relationship Id="rId17" Type="http://schemas.openxmlformats.org/officeDocument/2006/relationships/image" Target="../media/image25.jpg"/><Relationship Id="rId2" Type="http://schemas.openxmlformats.org/officeDocument/2006/relationships/tags" Target="../tags/tag24.xml"/><Relationship Id="rId16" Type="http://schemas.openxmlformats.org/officeDocument/2006/relationships/image" Target="../media/image22.png"/><Relationship Id="rId1" Type="http://schemas.openxmlformats.org/officeDocument/2006/relationships/vmlDrawing" Target="../drawings/vmlDrawing16.vml"/><Relationship Id="rId6" Type="http://schemas.openxmlformats.org/officeDocument/2006/relationships/oleObject" Target="../embeddings/oleObject16.bin"/><Relationship Id="rId11" Type="http://schemas.openxmlformats.org/officeDocument/2006/relationships/image" Target="../media/image15.png"/><Relationship Id="rId5" Type="http://schemas.openxmlformats.org/officeDocument/2006/relationships/notesSlide" Target="../notesSlides/notesSlide13.xml"/><Relationship Id="rId15" Type="http://schemas.openxmlformats.org/officeDocument/2006/relationships/image" Target="../media/image17.png"/><Relationship Id="rId10" Type="http://schemas.openxmlformats.org/officeDocument/2006/relationships/image" Target="../media/image26.png"/><Relationship Id="rId4" Type="http://schemas.openxmlformats.org/officeDocument/2006/relationships/slideLayout" Target="../slideLayouts/slideLayout33.xml"/><Relationship Id="rId9" Type="http://schemas.openxmlformats.org/officeDocument/2006/relationships/image" Target="../media/image36.png"/><Relationship Id="rId14" Type="http://schemas.openxmlformats.org/officeDocument/2006/relationships/image" Target="../media/image21.png"/></Relationships>
</file>

<file path=ppt/slides/_rels/slide14.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28.gif"/><Relationship Id="rId18" Type="http://schemas.openxmlformats.org/officeDocument/2006/relationships/image" Target="../media/image17.png"/><Relationship Id="rId3" Type="http://schemas.openxmlformats.org/officeDocument/2006/relationships/tags" Target="../tags/tag27.xml"/><Relationship Id="rId7" Type="http://schemas.openxmlformats.org/officeDocument/2006/relationships/image" Target="../media/image6.emf"/><Relationship Id="rId12" Type="http://schemas.openxmlformats.org/officeDocument/2006/relationships/image" Target="../media/image30.png"/><Relationship Id="rId17" Type="http://schemas.openxmlformats.org/officeDocument/2006/relationships/image" Target="../media/image19.png"/><Relationship Id="rId2" Type="http://schemas.openxmlformats.org/officeDocument/2006/relationships/tags" Target="../tags/tag26.xml"/><Relationship Id="rId16" Type="http://schemas.openxmlformats.org/officeDocument/2006/relationships/image" Target="../media/image39.jpeg"/><Relationship Id="rId20" Type="http://schemas.openxmlformats.org/officeDocument/2006/relationships/image" Target="../media/image22.png"/><Relationship Id="rId1" Type="http://schemas.openxmlformats.org/officeDocument/2006/relationships/vmlDrawing" Target="../drawings/vmlDrawing17.vml"/><Relationship Id="rId6" Type="http://schemas.openxmlformats.org/officeDocument/2006/relationships/oleObject" Target="../embeddings/oleObject17.bin"/><Relationship Id="rId11" Type="http://schemas.openxmlformats.org/officeDocument/2006/relationships/image" Target="../media/image25.jpg"/><Relationship Id="rId5" Type="http://schemas.openxmlformats.org/officeDocument/2006/relationships/notesSlide" Target="../notesSlides/notesSlide14.xml"/><Relationship Id="rId15" Type="http://schemas.openxmlformats.org/officeDocument/2006/relationships/image" Target="../media/image20.png"/><Relationship Id="rId10" Type="http://schemas.openxmlformats.org/officeDocument/2006/relationships/image" Target="../media/image37.png"/><Relationship Id="rId19" Type="http://schemas.openxmlformats.org/officeDocument/2006/relationships/image" Target="../media/image15.png"/><Relationship Id="rId4" Type="http://schemas.openxmlformats.org/officeDocument/2006/relationships/slideLayout" Target="../slideLayouts/slideLayout33.xml"/><Relationship Id="rId9" Type="http://schemas.openxmlformats.org/officeDocument/2006/relationships/image" Target="../media/image36.png"/><Relationship Id="rId14" Type="http://schemas.openxmlformats.org/officeDocument/2006/relationships/image" Target="../media/image23.png"/></Relationships>
</file>

<file path=ppt/slides/_rels/slide15.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28.gif"/><Relationship Id="rId18" Type="http://schemas.openxmlformats.org/officeDocument/2006/relationships/image" Target="../media/image26.png"/><Relationship Id="rId3" Type="http://schemas.openxmlformats.org/officeDocument/2006/relationships/tags" Target="../tags/tag29.xml"/><Relationship Id="rId7" Type="http://schemas.openxmlformats.org/officeDocument/2006/relationships/image" Target="../media/image6.emf"/><Relationship Id="rId12" Type="http://schemas.openxmlformats.org/officeDocument/2006/relationships/image" Target="../media/image30.png"/><Relationship Id="rId17" Type="http://schemas.openxmlformats.org/officeDocument/2006/relationships/image" Target="../media/image22.png"/><Relationship Id="rId2" Type="http://schemas.openxmlformats.org/officeDocument/2006/relationships/tags" Target="../tags/tag28.xml"/><Relationship Id="rId16" Type="http://schemas.openxmlformats.org/officeDocument/2006/relationships/image" Target="../media/image39.jpeg"/><Relationship Id="rId1" Type="http://schemas.openxmlformats.org/officeDocument/2006/relationships/vmlDrawing" Target="../drawings/vmlDrawing18.vml"/><Relationship Id="rId6" Type="http://schemas.openxmlformats.org/officeDocument/2006/relationships/oleObject" Target="../embeddings/oleObject18.bin"/><Relationship Id="rId11" Type="http://schemas.openxmlformats.org/officeDocument/2006/relationships/image" Target="../media/image25.jpg"/><Relationship Id="rId5" Type="http://schemas.openxmlformats.org/officeDocument/2006/relationships/notesSlide" Target="../notesSlides/notesSlide15.xml"/><Relationship Id="rId15" Type="http://schemas.openxmlformats.org/officeDocument/2006/relationships/image" Target="../media/image20.png"/><Relationship Id="rId10" Type="http://schemas.openxmlformats.org/officeDocument/2006/relationships/image" Target="../media/image37.png"/><Relationship Id="rId4" Type="http://schemas.openxmlformats.org/officeDocument/2006/relationships/slideLayout" Target="../slideLayouts/slideLayout33.xml"/><Relationship Id="rId9" Type="http://schemas.openxmlformats.org/officeDocument/2006/relationships/image" Target="../media/image36.png"/><Relationship Id="rId14" Type="http://schemas.openxmlformats.org/officeDocument/2006/relationships/image" Target="../media/image23.png"/></Relationships>
</file>

<file path=ppt/slides/_rels/slide16.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28.gif"/><Relationship Id="rId18" Type="http://schemas.openxmlformats.org/officeDocument/2006/relationships/image" Target="../media/image21.png"/><Relationship Id="rId3" Type="http://schemas.openxmlformats.org/officeDocument/2006/relationships/tags" Target="../tags/tag31.xml"/><Relationship Id="rId7" Type="http://schemas.openxmlformats.org/officeDocument/2006/relationships/image" Target="../media/image6.emf"/><Relationship Id="rId12" Type="http://schemas.openxmlformats.org/officeDocument/2006/relationships/image" Target="../media/image30.png"/><Relationship Id="rId17" Type="http://schemas.openxmlformats.org/officeDocument/2006/relationships/image" Target="../media/image26.png"/><Relationship Id="rId2" Type="http://schemas.openxmlformats.org/officeDocument/2006/relationships/tags" Target="../tags/tag30.xml"/><Relationship Id="rId16" Type="http://schemas.openxmlformats.org/officeDocument/2006/relationships/image" Target="../media/image22.png"/><Relationship Id="rId1" Type="http://schemas.openxmlformats.org/officeDocument/2006/relationships/vmlDrawing" Target="../drawings/vmlDrawing19.vml"/><Relationship Id="rId6" Type="http://schemas.openxmlformats.org/officeDocument/2006/relationships/oleObject" Target="../embeddings/oleObject19.bin"/><Relationship Id="rId11" Type="http://schemas.openxmlformats.org/officeDocument/2006/relationships/image" Target="../media/image25.jpg"/><Relationship Id="rId5" Type="http://schemas.openxmlformats.org/officeDocument/2006/relationships/notesSlide" Target="../notesSlides/notesSlide16.xml"/><Relationship Id="rId15" Type="http://schemas.openxmlformats.org/officeDocument/2006/relationships/image" Target="../media/image39.jpeg"/><Relationship Id="rId10" Type="http://schemas.openxmlformats.org/officeDocument/2006/relationships/image" Target="../media/image37.png"/><Relationship Id="rId4" Type="http://schemas.openxmlformats.org/officeDocument/2006/relationships/slideLayout" Target="../slideLayouts/slideLayout33.xml"/><Relationship Id="rId9" Type="http://schemas.openxmlformats.org/officeDocument/2006/relationships/image" Target="../media/image36.png"/><Relationship Id="rId14" Type="http://schemas.openxmlformats.org/officeDocument/2006/relationships/image" Target="../media/image20.png"/></Relationships>
</file>

<file path=ppt/slides/_rels/slide2.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6.emf"/><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2.xml"/><Relationship Id="rId4"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6.emf"/><Relationship Id="rId2" Type="http://schemas.openxmlformats.org/officeDocument/2006/relationships/tags" Target="../tags/tag1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3.xml"/><Relationship Id="rId4"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24.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jpg"/><Relationship Id="rId18" Type="http://schemas.openxmlformats.org/officeDocument/2006/relationships/image" Target="../media/image3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17" Type="http://schemas.openxmlformats.org/officeDocument/2006/relationships/image" Target="../media/image29.png"/><Relationship Id="rId2" Type="http://schemas.openxmlformats.org/officeDocument/2006/relationships/notesSlide" Target="../notesSlides/notesSlide8.xml"/><Relationship Id="rId16" Type="http://schemas.openxmlformats.org/officeDocument/2006/relationships/image" Target="../media/image28.gif"/><Relationship Id="rId20" Type="http://schemas.openxmlformats.org/officeDocument/2006/relationships/image" Target="../media/image32.png"/><Relationship Id="rId1" Type="http://schemas.openxmlformats.org/officeDocument/2006/relationships/slideLayout" Target="../slideLayouts/slideLayout24.xml"/><Relationship Id="rId6" Type="http://schemas.openxmlformats.org/officeDocument/2006/relationships/image" Target="../media/image18.jpe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png"/><Relationship Id="rId10" Type="http://schemas.openxmlformats.org/officeDocument/2006/relationships/image" Target="../media/image22.png"/><Relationship Id="rId19" Type="http://schemas.openxmlformats.org/officeDocument/2006/relationships/image" Target="../media/image31.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9.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6.emf"/><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9.xml"/><Relationship Id="rId4"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0550" y="1554693"/>
            <a:ext cx="8960855" cy="1557074"/>
          </a:xfrm>
        </p:spPr>
        <p:txBody>
          <a:bodyPr/>
          <a:lstStyle/>
          <a:p>
            <a:r>
              <a:rPr lang="en-US" dirty="0" smtClean="0"/>
              <a:t>Digital Maturity Assessment</a:t>
            </a:r>
            <a:r>
              <a:rPr lang="en-US" dirty="0" smtClean="0">
                <a:solidFill>
                  <a:srgbClr val="FFFF00"/>
                </a:solidFill>
              </a:rPr>
              <a:t/>
            </a:r>
            <a:br>
              <a:rPr lang="en-US" dirty="0" smtClean="0">
                <a:solidFill>
                  <a:srgbClr val="FFFF00"/>
                </a:solidFill>
              </a:rPr>
            </a:br>
            <a:r>
              <a:rPr lang="en-US" sz="1800" dirty="0" smtClean="0">
                <a:solidFill>
                  <a:srgbClr val="FFFF00"/>
                </a:solidFill>
                <a:latin typeface="+mn-lt"/>
              </a:rPr>
              <a:t>Executive Summary</a:t>
            </a:r>
            <a:endParaRPr lang="en-US" dirty="0">
              <a:solidFill>
                <a:srgbClr val="FFFF00"/>
              </a:solidFill>
            </a:endParaRPr>
          </a:p>
        </p:txBody>
      </p:sp>
      <p:sp>
        <p:nvSpPr>
          <p:cNvPr id="3" name="Text Placeholder 2"/>
          <p:cNvSpPr>
            <a:spLocks noGrp="1"/>
          </p:cNvSpPr>
          <p:nvPr>
            <p:ph type="body" sz="quarter" idx="10"/>
          </p:nvPr>
        </p:nvSpPr>
        <p:spPr>
          <a:xfrm>
            <a:off x="631826" y="3628190"/>
            <a:ext cx="4855509" cy="508000"/>
          </a:xfrm>
        </p:spPr>
        <p:txBody>
          <a:bodyPr/>
          <a:lstStyle/>
          <a:p>
            <a:r>
              <a:rPr lang="en-US" dirty="0">
                <a:solidFill>
                  <a:schemeClr val="bg1"/>
                </a:solidFill>
                <a:latin typeface="Univers LT Std 45 Light" panose="020B0403020202020204" pitchFamily="34" charset="0"/>
                <a:cs typeface="Univers for KPMG"/>
              </a:rPr>
              <a:t>Digital </a:t>
            </a:r>
            <a:r>
              <a:rPr lang="en-US" dirty="0" smtClean="0">
                <a:solidFill>
                  <a:schemeClr val="bg1"/>
                </a:solidFill>
                <a:latin typeface="Univers LT Std 45 Light" panose="020B0403020202020204" pitchFamily="34" charset="0"/>
                <a:cs typeface="Univers for KPMG"/>
              </a:rPr>
              <a:t>Strategy</a:t>
            </a:r>
            <a:endParaRPr lang="en-US" dirty="0">
              <a:solidFill>
                <a:schemeClr val="bg1"/>
              </a:solidFill>
              <a:latin typeface="Univers LT Std 45 Light" panose="020B0403020202020204" pitchFamily="34" charset="0"/>
              <a:cs typeface="Univers for KPMG"/>
            </a:endParaRPr>
          </a:p>
        </p:txBody>
      </p:sp>
      <p:sp>
        <p:nvSpPr>
          <p:cNvPr id="4" name="Text Placeholder 3"/>
          <p:cNvSpPr>
            <a:spLocks noGrp="1"/>
          </p:cNvSpPr>
          <p:nvPr>
            <p:ph type="body" sz="quarter" idx="13"/>
          </p:nvPr>
        </p:nvSpPr>
        <p:spPr>
          <a:xfrm>
            <a:off x="631826" y="4932363"/>
            <a:ext cx="3657600" cy="404812"/>
          </a:xfrm>
        </p:spPr>
        <p:txBody>
          <a:bodyPr/>
          <a:lstStyle/>
          <a:p>
            <a:r>
              <a:rPr lang="en-US" dirty="0">
                <a:latin typeface="Univers LT Std 45 Light" panose="020B0403020202020204" pitchFamily="34" charset="0"/>
              </a:rPr>
              <a:t>FBNQuest </a:t>
            </a:r>
          </a:p>
        </p:txBody>
      </p:sp>
      <p:sp>
        <p:nvSpPr>
          <p:cNvPr id="5" name="Text Placeholder 4"/>
          <p:cNvSpPr>
            <a:spLocks noGrp="1"/>
          </p:cNvSpPr>
          <p:nvPr>
            <p:ph type="body" sz="quarter" idx="14"/>
          </p:nvPr>
        </p:nvSpPr>
        <p:spPr>
          <a:xfrm>
            <a:off x="641351" y="5284788"/>
            <a:ext cx="2724150" cy="317500"/>
          </a:xfrm>
        </p:spPr>
        <p:txBody>
          <a:bodyPr/>
          <a:lstStyle/>
          <a:p>
            <a:r>
              <a:rPr lang="en-US" dirty="0" smtClean="0">
                <a:solidFill>
                  <a:prstClr val="white"/>
                </a:solidFill>
                <a:latin typeface="Univers LT Std 45 Light" panose="020B0403020202020204" pitchFamily="34" charset="0"/>
              </a:rPr>
              <a:t>October 2018</a:t>
            </a:r>
            <a:endParaRPr lang="en-US" dirty="0">
              <a:solidFill>
                <a:prstClr val="white"/>
              </a:solidFill>
              <a:latin typeface="Univers LT Std 45 Light" panose="020B0403020202020204" pitchFamily="34" charset="0"/>
            </a:endParaRPr>
          </a:p>
        </p:txBody>
      </p:sp>
    </p:spTree>
    <p:extLst>
      <p:ext uri="{BB962C8B-B14F-4D97-AF65-F5344CB8AC3E}">
        <p14:creationId xmlns:p14="http://schemas.microsoft.com/office/powerpoint/2010/main" val="23519938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 name="Rectangle 220"/>
          <p:cNvSpPr/>
          <p:nvPr/>
        </p:nvSpPr>
        <p:spPr>
          <a:xfrm>
            <a:off x="40698" y="1318964"/>
            <a:ext cx="6342508" cy="4899765"/>
          </a:xfrm>
          <a:prstGeom prst="rect">
            <a:avLst/>
          </a:prstGeom>
          <a:solidFill>
            <a:schemeClr val="bg1">
              <a:lumMod val="95000"/>
              <a:alpha val="9000"/>
            </a:schemeClr>
          </a:solidFill>
          <a:ln w="571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56"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Key Findings &amp; Initiatives</a:t>
            </a:r>
            <a:endParaRPr lang="en-US" sz="4400" b="0" kern="1200" dirty="0">
              <a:latin typeface="KPMG Extralight" panose="020B0303030202040204" pitchFamily="34" charset="0"/>
              <a:cs typeface="+mj-cs"/>
            </a:endParaRPr>
          </a:p>
        </p:txBody>
      </p:sp>
      <p:grpSp>
        <p:nvGrpSpPr>
          <p:cNvPr id="61" name="Group 60"/>
          <p:cNvGrpSpPr/>
          <p:nvPr/>
        </p:nvGrpSpPr>
        <p:grpSpPr>
          <a:xfrm>
            <a:off x="77098" y="885318"/>
            <a:ext cx="4834355" cy="336078"/>
            <a:chOff x="7579333" y="356874"/>
            <a:chExt cx="4834355" cy="336078"/>
          </a:xfrm>
        </p:grpSpPr>
        <p:grpSp>
          <p:nvGrpSpPr>
            <p:cNvPr id="62" name="Group 61"/>
            <p:cNvGrpSpPr/>
            <p:nvPr/>
          </p:nvGrpSpPr>
          <p:grpSpPr>
            <a:xfrm>
              <a:off x="7579333" y="356874"/>
              <a:ext cx="2526790" cy="321157"/>
              <a:chOff x="3455694" y="6476333"/>
              <a:chExt cx="2526790" cy="321157"/>
            </a:xfrm>
          </p:grpSpPr>
          <p:sp>
            <p:nvSpPr>
              <p:cNvPr id="67" name="Isosceles Triangle 66"/>
              <p:cNvSpPr/>
              <p:nvPr/>
            </p:nvSpPr>
            <p:spPr>
              <a:xfrm rot="10800000">
                <a:off x="3989016" y="6476333"/>
                <a:ext cx="285079" cy="321157"/>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8" name="TextBox 67"/>
              <p:cNvSpPr txBox="1"/>
              <p:nvPr/>
            </p:nvSpPr>
            <p:spPr>
              <a:xfrm>
                <a:off x="4240854" y="6476333"/>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69" name="Text Box 81"/>
              <p:cNvSpPr txBox="1">
                <a:spLocks noChangeArrowheads="1"/>
              </p:cNvSpPr>
              <p:nvPr/>
            </p:nvSpPr>
            <p:spPr bwMode="auto">
              <a:xfrm>
                <a:off x="3455694"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70" name="object 140"/>
              <p:cNvSpPr txBox="1"/>
              <p:nvPr/>
            </p:nvSpPr>
            <p:spPr>
              <a:xfrm>
                <a:off x="5099210" y="6501731"/>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71" name="Isosceles Triangle 70"/>
              <p:cNvSpPr/>
              <p:nvPr/>
            </p:nvSpPr>
            <p:spPr>
              <a:xfrm rot="10800000">
                <a:off x="4831139" y="6476333"/>
                <a:ext cx="258541" cy="314242"/>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63" name="Isosceles Triangle 62"/>
            <p:cNvSpPr/>
            <p:nvPr/>
          </p:nvSpPr>
          <p:spPr>
            <a:xfrm rot="10800000">
              <a:off x="9917441" y="356874"/>
              <a:ext cx="301141" cy="336078"/>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4" name="TextBox 63"/>
            <p:cNvSpPr txBox="1"/>
            <p:nvPr/>
          </p:nvSpPr>
          <p:spPr>
            <a:xfrm>
              <a:off x="10668464" y="356874"/>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65" name="Isosceles Triangle 64"/>
            <p:cNvSpPr/>
            <p:nvPr/>
          </p:nvSpPr>
          <p:spPr>
            <a:xfrm rot="10800000">
              <a:off x="11654599" y="356875"/>
              <a:ext cx="274408" cy="313239"/>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66" name="TextBox 65"/>
            <p:cNvSpPr txBox="1"/>
            <p:nvPr/>
          </p:nvSpPr>
          <p:spPr>
            <a:xfrm>
              <a:off x="11944547" y="356874"/>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sp>
        <p:nvSpPr>
          <p:cNvPr id="154" name="TextBox 153"/>
          <p:cNvSpPr txBox="1"/>
          <p:nvPr/>
        </p:nvSpPr>
        <p:spPr>
          <a:xfrm>
            <a:off x="183740" y="6280895"/>
            <a:ext cx="217483" cy="156820"/>
          </a:xfrm>
          <a:prstGeom prst="rect">
            <a:avLst/>
          </a:prstGeom>
          <a:solidFill>
            <a:schemeClr val="tx1">
              <a:lumMod val="95000"/>
              <a:lumOff val="5000"/>
            </a:schemeClr>
          </a:solidFill>
        </p:spPr>
        <p:txBody>
          <a:bodyPr wrap="square" lIns="0" tIns="0" rIns="0" bIns="0" rtlCol="0">
            <a:spAutoFit/>
          </a:bodyPr>
          <a:lstStyle/>
          <a:p>
            <a:pPr algn="ctr"/>
            <a:r>
              <a:rPr lang="en-US" sz="1000" b="1" dirty="0" smtClean="0">
                <a:solidFill>
                  <a:schemeClr val="bg1"/>
                </a:solidFill>
                <a:cs typeface="Arial" pitchFamily="34" charset="0"/>
              </a:rPr>
              <a:t>1</a:t>
            </a:r>
            <a:endParaRPr lang="en-US" sz="1000" b="1" dirty="0">
              <a:solidFill>
                <a:schemeClr val="bg1"/>
              </a:solidFill>
              <a:cs typeface="Arial" pitchFamily="34" charset="0"/>
            </a:endParaRPr>
          </a:p>
        </p:txBody>
      </p:sp>
      <p:sp>
        <p:nvSpPr>
          <p:cNvPr id="171" name="Shape 1182"/>
          <p:cNvSpPr/>
          <p:nvPr/>
        </p:nvSpPr>
        <p:spPr>
          <a:xfrm>
            <a:off x="440184" y="6280489"/>
            <a:ext cx="891861" cy="178564"/>
          </a:xfrm>
          <a:prstGeom prst="rect">
            <a:avLst/>
          </a:prstGeom>
          <a:solidFill>
            <a:srgbClr val="00338D"/>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b="1" dirty="0">
                <a:solidFill>
                  <a:schemeClr val="bg1"/>
                </a:solidFill>
                <a:latin typeface="+mj-lt"/>
                <a:ea typeface="Arial Narrow"/>
                <a:cs typeface="Arial Narrow"/>
                <a:sym typeface="Arial Narrow"/>
              </a:rPr>
              <a:t>Lagging</a:t>
            </a:r>
          </a:p>
        </p:txBody>
      </p:sp>
      <p:sp>
        <p:nvSpPr>
          <p:cNvPr id="172" name="TextBox 171"/>
          <p:cNvSpPr txBox="1"/>
          <p:nvPr/>
        </p:nvSpPr>
        <p:spPr>
          <a:xfrm>
            <a:off x="1461472" y="6280895"/>
            <a:ext cx="217483" cy="156820"/>
          </a:xfrm>
          <a:prstGeom prst="rect">
            <a:avLst/>
          </a:prstGeom>
          <a:solidFill>
            <a:schemeClr val="tx1">
              <a:lumMod val="95000"/>
              <a:lumOff val="5000"/>
            </a:schemeClr>
          </a:solidFill>
        </p:spPr>
        <p:txBody>
          <a:bodyPr wrap="square" lIns="0" tIns="0" rIns="0" bIns="0" rtlCol="0">
            <a:spAutoFit/>
          </a:bodyPr>
          <a:lstStyle/>
          <a:p>
            <a:pPr algn="ctr"/>
            <a:r>
              <a:rPr lang="en-US" sz="1000" b="1" dirty="0">
                <a:solidFill>
                  <a:schemeClr val="bg1"/>
                </a:solidFill>
                <a:cs typeface="Arial" pitchFamily="34" charset="0"/>
              </a:rPr>
              <a:t>2</a:t>
            </a:r>
          </a:p>
        </p:txBody>
      </p:sp>
      <p:sp>
        <p:nvSpPr>
          <p:cNvPr id="173" name="Shape 1182"/>
          <p:cNvSpPr/>
          <p:nvPr/>
        </p:nvSpPr>
        <p:spPr>
          <a:xfrm>
            <a:off x="1717916" y="6280489"/>
            <a:ext cx="891861" cy="178564"/>
          </a:xfrm>
          <a:prstGeom prst="rect">
            <a:avLst/>
          </a:prstGeom>
          <a:solidFill>
            <a:srgbClr val="00338D"/>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b="1" dirty="0" smtClean="0">
                <a:solidFill>
                  <a:schemeClr val="bg1"/>
                </a:solidFill>
                <a:latin typeface="+mj-lt"/>
                <a:ea typeface="Arial Narrow"/>
                <a:cs typeface="Arial Narrow"/>
                <a:sym typeface="Arial Narrow"/>
              </a:rPr>
              <a:t>Basic</a:t>
            </a:r>
            <a:endParaRPr lang="en-AU" sz="800" b="1" dirty="0">
              <a:solidFill>
                <a:schemeClr val="bg1"/>
              </a:solidFill>
              <a:latin typeface="+mj-lt"/>
              <a:ea typeface="Arial Narrow"/>
              <a:cs typeface="Arial Narrow"/>
              <a:sym typeface="Arial Narrow"/>
            </a:endParaRPr>
          </a:p>
        </p:txBody>
      </p:sp>
      <p:sp>
        <p:nvSpPr>
          <p:cNvPr id="174" name="TextBox 173"/>
          <p:cNvSpPr txBox="1"/>
          <p:nvPr/>
        </p:nvSpPr>
        <p:spPr>
          <a:xfrm>
            <a:off x="2709214" y="6291739"/>
            <a:ext cx="217483" cy="156820"/>
          </a:xfrm>
          <a:prstGeom prst="rect">
            <a:avLst/>
          </a:prstGeom>
          <a:solidFill>
            <a:schemeClr val="tx1">
              <a:lumMod val="95000"/>
              <a:lumOff val="5000"/>
            </a:schemeClr>
          </a:solidFill>
        </p:spPr>
        <p:txBody>
          <a:bodyPr wrap="square" lIns="0" tIns="0" rIns="0" bIns="0" rtlCol="0">
            <a:spAutoFit/>
          </a:bodyPr>
          <a:lstStyle/>
          <a:p>
            <a:pPr algn="ctr"/>
            <a:r>
              <a:rPr lang="en-US" sz="1000" b="1" dirty="0" smtClean="0">
                <a:solidFill>
                  <a:schemeClr val="bg1"/>
                </a:solidFill>
                <a:cs typeface="Arial" pitchFamily="34" charset="0"/>
              </a:rPr>
              <a:t>3</a:t>
            </a:r>
            <a:endParaRPr lang="en-US" sz="1000" b="1" dirty="0">
              <a:solidFill>
                <a:schemeClr val="bg1"/>
              </a:solidFill>
              <a:cs typeface="Arial" pitchFamily="34" charset="0"/>
            </a:endParaRPr>
          </a:p>
        </p:txBody>
      </p:sp>
      <p:sp>
        <p:nvSpPr>
          <p:cNvPr id="175" name="Shape 1182"/>
          <p:cNvSpPr/>
          <p:nvPr/>
        </p:nvSpPr>
        <p:spPr>
          <a:xfrm>
            <a:off x="2965658" y="6291333"/>
            <a:ext cx="891861" cy="178564"/>
          </a:xfrm>
          <a:prstGeom prst="rect">
            <a:avLst/>
          </a:prstGeom>
          <a:solidFill>
            <a:srgbClr val="00338D"/>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b="1" dirty="0" smtClean="0">
                <a:solidFill>
                  <a:schemeClr val="bg1"/>
                </a:solidFill>
                <a:latin typeface="+mj-lt"/>
                <a:ea typeface="Arial Narrow"/>
                <a:cs typeface="Arial Narrow"/>
                <a:sym typeface="Arial Narrow"/>
              </a:rPr>
              <a:t>Progressed</a:t>
            </a:r>
            <a:endParaRPr lang="en-AU" sz="800" b="1" dirty="0">
              <a:solidFill>
                <a:schemeClr val="bg1"/>
              </a:solidFill>
              <a:latin typeface="+mj-lt"/>
              <a:ea typeface="Arial Narrow"/>
              <a:cs typeface="Arial Narrow"/>
              <a:sym typeface="Arial Narrow"/>
            </a:endParaRPr>
          </a:p>
        </p:txBody>
      </p:sp>
      <p:sp>
        <p:nvSpPr>
          <p:cNvPr id="176" name="TextBox 175"/>
          <p:cNvSpPr txBox="1"/>
          <p:nvPr/>
        </p:nvSpPr>
        <p:spPr>
          <a:xfrm>
            <a:off x="3950079" y="6291739"/>
            <a:ext cx="217483" cy="156820"/>
          </a:xfrm>
          <a:prstGeom prst="rect">
            <a:avLst/>
          </a:prstGeom>
          <a:solidFill>
            <a:schemeClr val="tx1">
              <a:lumMod val="95000"/>
              <a:lumOff val="5000"/>
            </a:schemeClr>
          </a:solidFill>
        </p:spPr>
        <p:txBody>
          <a:bodyPr wrap="square" lIns="0" tIns="0" rIns="0" bIns="0" rtlCol="0">
            <a:spAutoFit/>
          </a:bodyPr>
          <a:lstStyle/>
          <a:p>
            <a:pPr algn="ctr"/>
            <a:r>
              <a:rPr lang="en-US" sz="1000" b="1" dirty="0">
                <a:solidFill>
                  <a:schemeClr val="bg1"/>
                </a:solidFill>
                <a:cs typeface="Arial" pitchFamily="34" charset="0"/>
              </a:rPr>
              <a:t>4</a:t>
            </a:r>
          </a:p>
        </p:txBody>
      </p:sp>
      <p:sp>
        <p:nvSpPr>
          <p:cNvPr id="177" name="Shape 1182"/>
          <p:cNvSpPr/>
          <p:nvPr/>
        </p:nvSpPr>
        <p:spPr>
          <a:xfrm>
            <a:off x="4206523" y="6291333"/>
            <a:ext cx="891861" cy="178564"/>
          </a:xfrm>
          <a:prstGeom prst="rect">
            <a:avLst/>
          </a:prstGeom>
          <a:solidFill>
            <a:srgbClr val="00338D"/>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b="1" dirty="0" smtClean="0">
                <a:solidFill>
                  <a:schemeClr val="bg1"/>
                </a:solidFill>
                <a:latin typeface="+mj-lt"/>
                <a:ea typeface="Arial Narrow"/>
                <a:cs typeface="Arial Narrow"/>
                <a:sym typeface="Arial Narrow"/>
              </a:rPr>
              <a:t>Leading</a:t>
            </a:r>
            <a:endParaRPr lang="en-AU" sz="800" b="1" dirty="0">
              <a:solidFill>
                <a:schemeClr val="bg1"/>
              </a:solidFill>
              <a:latin typeface="+mj-lt"/>
              <a:ea typeface="Arial Narrow"/>
              <a:cs typeface="Arial Narrow"/>
              <a:sym typeface="Arial Narrow"/>
            </a:endParaRPr>
          </a:p>
        </p:txBody>
      </p:sp>
      <p:sp>
        <p:nvSpPr>
          <p:cNvPr id="178" name="TextBox 177"/>
          <p:cNvSpPr txBox="1"/>
          <p:nvPr/>
        </p:nvSpPr>
        <p:spPr>
          <a:xfrm>
            <a:off x="5199219" y="6280895"/>
            <a:ext cx="217483" cy="156820"/>
          </a:xfrm>
          <a:prstGeom prst="rect">
            <a:avLst/>
          </a:prstGeom>
          <a:solidFill>
            <a:schemeClr val="tx1">
              <a:lumMod val="95000"/>
              <a:lumOff val="5000"/>
            </a:schemeClr>
          </a:solidFill>
        </p:spPr>
        <p:txBody>
          <a:bodyPr wrap="square" lIns="0" tIns="0" rIns="0" bIns="0" rtlCol="0">
            <a:spAutoFit/>
          </a:bodyPr>
          <a:lstStyle/>
          <a:p>
            <a:pPr algn="ctr"/>
            <a:r>
              <a:rPr lang="en-US" sz="1000" b="1" dirty="0">
                <a:solidFill>
                  <a:schemeClr val="bg1"/>
                </a:solidFill>
                <a:cs typeface="Arial" pitchFamily="34" charset="0"/>
              </a:rPr>
              <a:t>5</a:t>
            </a:r>
          </a:p>
        </p:txBody>
      </p:sp>
      <p:sp>
        <p:nvSpPr>
          <p:cNvPr id="179" name="Shape 1182"/>
          <p:cNvSpPr/>
          <p:nvPr/>
        </p:nvSpPr>
        <p:spPr>
          <a:xfrm>
            <a:off x="5455663" y="6280489"/>
            <a:ext cx="891861" cy="178564"/>
          </a:xfrm>
          <a:prstGeom prst="rect">
            <a:avLst/>
          </a:prstGeom>
          <a:solidFill>
            <a:srgbClr val="00338D"/>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b="1" dirty="0" smtClean="0">
                <a:solidFill>
                  <a:schemeClr val="bg1"/>
                </a:solidFill>
                <a:latin typeface="+mj-lt"/>
                <a:ea typeface="Arial Narrow"/>
                <a:cs typeface="Arial Narrow"/>
                <a:sym typeface="Arial Narrow"/>
              </a:rPr>
              <a:t>Innovating</a:t>
            </a:r>
            <a:endParaRPr lang="en-AU" sz="800" b="1" dirty="0">
              <a:solidFill>
                <a:schemeClr val="bg1"/>
              </a:solidFill>
              <a:latin typeface="+mj-lt"/>
              <a:ea typeface="Arial Narrow"/>
              <a:cs typeface="Arial Narrow"/>
              <a:sym typeface="Arial Narrow"/>
            </a:endParaRPr>
          </a:p>
        </p:txBody>
      </p:sp>
      <p:sp>
        <p:nvSpPr>
          <p:cNvPr id="41" name="Rectangle 40"/>
          <p:cNvSpPr/>
          <p:nvPr/>
        </p:nvSpPr>
        <p:spPr>
          <a:xfrm>
            <a:off x="6557222" y="1"/>
            <a:ext cx="5634778" cy="6858000"/>
          </a:xfrm>
          <a:prstGeom prst="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121" name="TextBox 120"/>
          <p:cNvSpPr txBox="1"/>
          <p:nvPr/>
        </p:nvSpPr>
        <p:spPr>
          <a:xfrm>
            <a:off x="5184401" y="925385"/>
            <a:ext cx="469141" cy="175304"/>
          </a:xfrm>
          <a:prstGeom prst="rect">
            <a:avLst/>
          </a:prstGeom>
          <a:noFill/>
        </p:spPr>
        <p:txBody>
          <a:bodyPr wrap="none" lIns="21772" tIns="21772" rIns="21772" bIns="21772" rtlCol="0" anchor="ctr" anchorCtr="0">
            <a:noAutofit/>
          </a:bodyPr>
          <a:lstStyle/>
          <a:p>
            <a:pPr algn="ctr"/>
            <a:r>
              <a:rPr lang="en-AU" sz="1200" b="1" dirty="0" smtClean="0">
                <a:solidFill>
                  <a:srgbClr val="00338D"/>
                </a:solidFill>
              </a:rPr>
              <a:t>*</a:t>
            </a:r>
            <a:r>
              <a:rPr lang="en-AU" sz="1200" dirty="0" smtClean="0">
                <a:solidFill>
                  <a:srgbClr val="00338D"/>
                </a:solidFill>
              </a:rPr>
              <a:t>Domain</a:t>
            </a:r>
          </a:p>
          <a:p>
            <a:r>
              <a:rPr lang="en-AU" sz="1200" dirty="0" smtClean="0">
                <a:solidFill>
                  <a:srgbClr val="00338D"/>
                </a:solidFill>
              </a:rPr>
              <a:t>Weighting</a:t>
            </a:r>
            <a:endParaRPr lang="en-AU" sz="1200" dirty="0">
              <a:solidFill>
                <a:srgbClr val="00338D"/>
              </a:solidFill>
            </a:endParaRPr>
          </a:p>
        </p:txBody>
      </p:sp>
      <p:sp>
        <p:nvSpPr>
          <p:cNvPr id="129" name="TextBox 128"/>
          <p:cNvSpPr txBox="1"/>
          <p:nvPr/>
        </p:nvSpPr>
        <p:spPr>
          <a:xfrm>
            <a:off x="6815009" y="544160"/>
            <a:ext cx="4813434" cy="215444"/>
          </a:xfrm>
          <a:prstGeom prst="rect">
            <a:avLst/>
          </a:prstGeom>
          <a:noFill/>
        </p:spPr>
        <p:txBody>
          <a:bodyPr wrap="none" lIns="0" tIns="0" rIns="0" bIns="0" rtlCol="0">
            <a:spAutoFit/>
          </a:bodyPr>
          <a:lstStyle/>
          <a:p>
            <a:r>
              <a:rPr lang="en-US" sz="1400" b="1" dirty="0" smtClean="0">
                <a:solidFill>
                  <a:srgbClr val="FFFFFF"/>
                </a:solidFill>
                <a:cs typeface="Arial" pitchFamily="34" charset="0"/>
              </a:rPr>
              <a:t>Overall Assessment of </a:t>
            </a:r>
            <a:r>
              <a:rPr lang="en-US" sz="1400" b="1" dirty="0" err="1" smtClean="0">
                <a:solidFill>
                  <a:srgbClr val="FFFFFF"/>
                </a:solidFill>
                <a:cs typeface="Arial" pitchFamily="34" charset="0"/>
              </a:rPr>
              <a:t>FBNQuest’s</a:t>
            </a:r>
            <a:r>
              <a:rPr lang="en-US" sz="1400" b="1" dirty="0" smtClean="0">
                <a:solidFill>
                  <a:srgbClr val="FFFFFF"/>
                </a:solidFill>
                <a:cs typeface="Arial" pitchFamily="34" charset="0"/>
              </a:rPr>
              <a:t> Digital Maturity Level</a:t>
            </a:r>
            <a:endParaRPr lang="en-GB" sz="1400" b="1" dirty="0" smtClean="0">
              <a:solidFill>
                <a:srgbClr val="FFFFFF"/>
              </a:solidFill>
              <a:cs typeface="Arial" pitchFamily="34" charset="0"/>
            </a:endParaRPr>
          </a:p>
        </p:txBody>
      </p:sp>
      <p:graphicFrame>
        <p:nvGraphicFramePr>
          <p:cNvPr id="130" name="Table 129"/>
          <p:cNvGraphicFramePr>
            <a:graphicFrameLocks noGrp="1"/>
          </p:cNvGraphicFramePr>
          <p:nvPr>
            <p:extLst>
              <p:ext uri="{D42A27DB-BD31-4B8C-83A1-F6EECF244321}">
                <p14:modId xmlns:p14="http://schemas.microsoft.com/office/powerpoint/2010/main" val="1575888260"/>
              </p:ext>
            </p:extLst>
          </p:nvPr>
        </p:nvGraphicFramePr>
        <p:xfrm>
          <a:off x="6826332" y="963508"/>
          <a:ext cx="5124663" cy="320040"/>
        </p:xfrm>
        <a:graphic>
          <a:graphicData uri="http://schemas.openxmlformats.org/drawingml/2006/table">
            <a:tbl>
              <a:tblPr bandRow="1">
                <a:tableStyleId>{5C22544A-7EE6-4342-B048-85BDC9FD1C3A}</a:tableStyleId>
              </a:tblPr>
              <a:tblGrid>
                <a:gridCol w="5124663"/>
              </a:tblGrid>
              <a:tr h="230385">
                <a:tc>
                  <a:txBody>
                    <a:bodyPr/>
                    <a:lstStyle/>
                    <a:p>
                      <a:endParaRPr lang="en-US" sz="1500" b="1" dirty="0"/>
                    </a:p>
                  </a:txBody>
                  <a:tcPr anchor="ctr">
                    <a:solidFill>
                      <a:srgbClr val="DBCDDB"/>
                    </a:solidFill>
                  </a:tcPr>
                </a:tc>
              </a:tr>
            </a:tbl>
          </a:graphicData>
        </a:graphic>
      </p:graphicFrame>
      <p:sp>
        <p:nvSpPr>
          <p:cNvPr id="131" name="TextBox 130"/>
          <p:cNvSpPr txBox="1"/>
          <p:nvPr/>
        </p:nvSpPr>
        <p:spPr>
          <a:xfrm>
            <a:off x="11559522" y="1080472"/>
            <a:ext cx="382639" cy="116869"/>
          </a:xfrm>
          <a:prstGeom prst="rect">
            <a:avLst/>
          </a:prstGeom>
          <a:noFill/>
        </p:spPr>
        <p:txBody>
          <a:bodyPr wrap="none" lIns="21772" tIns="21772" rIns="21772" bIns="21772" rtlCol="0" anchor="ctr" anchorCtr="0">
            <a:noAutofit/>
          </a:bodyPr>
          <a:lstStyle/>
          <a:p>
            <a:pPr algn="r"/>
            <a:r>
              <a:rPr lang="en-AU" sz="1050" b="1" dirty="0">
                <a:solidFill>
                  <a:srgbClr val="000000"/>
                </a:solidFill>
                <a:cs typeface="Arial" panose="020B0604020202020204" pitchFamily="34" charset="0"/>
              </a:rPr>
              <a:t>Innovating</a:t>
            </a:r>
          </a:p>
        </p:txBody>
      </p:sp>
      <p:sp>
        <p:nvSpPr>
          <p:cNvPr id="132" name="TextBox 131"/>
          <p:cNvSpPr txBox="1"/>
          <p:nvPr/>
        </p:nvSpPr>
        <p:spPr>
          <a:xfrm>
            <a:off x="8009859" y="1080472"/>
            <a:ext cx="382639" cy="116869"/>
          </a:xfrm>
          <a:prstGeom prst="rect">
            <a:avLst/>
          </a:prstGeom>
          <a:noFill/>
        </p:spPr>
        <p:txBody>
          <a:bodyPr wrap="none" lIns="21772" tIns="21772" rIns="21772" bIns="21772" rtlCol="0" anchor="ctr" anchorCtr="0">
            <a:noAutofit/>
          </a:bodyPr>
          <a:lstStyle/>
          <a:p>
            <a:pPr algn="ctr"/>
            <a:r>
              <a:rPr lang="en-AU" sz="1050" b="1" dirty="0" smtClean="0">
                <a:solidFill>
                  <a:srgbClr val="000000"/>
                </a:solidFill>
                <a:cs typeface="Arial" panose="020B0604020202020204" pitchFamily="34" charset="0"/>
              </a:rPr>
              <a:t> Basic</a:t>
            </a:r>
            <a:endParaRPr lang="en-AU" sz="1050" b="1" dirty="0">
              <a:solidFill>
                <a:srgbClr val="000000"/>
              </a:solidFill>
              <a:cs typeface="Arial" panose="020B0604020202020204" pitchFamily="34" charset="0"/>
            </a:endParaRPr>
          </a:p>
        </p:txBody>
      </p:sp>
      <p:sp>
        <p:nvSpPr>
          <p:cNvPr id="133" name="TextBox 132"/>
          <p:cNvSpPr txBox="1"/>
          <p:nvPr/>
        </p:nvSpPr>
        <p:spPr>
          <a:xfrm>
            <a:off x="10376301" y="1080472"/>
            <a:ext cx="382639" cy="116869"/>
          </a:xfrm>
          <a:prstGeom prst="rect">
            <a:avLst/>
          </a:prstGeom>
          <a:noFill/>
        </p:spPr>
        <p:txBody>
          <a:bodyPr wrap="none" lIns="21772" tIns="21772" rIns="21772" bIns="21772" rtlCol="0" anchor="ctr" anchorCtr="0">
            <a:noAutofit/>
          </a:bodyPr>
          <a:lstStyle/>
          <a:p>
            <a:pPr algn="ctr"/>
            <a:r>
              <a:rPr lang="en-AU" sz="1050" b="1" dirty="0">
                <a:solidFill>
                  <a:srgbClr val="000000"/>
                </a:solidFill>
                <a:cs typeface="Arial" panose="020B0604020202020204" pitchFamily="34" charset="0"/>
              </a:rPr>
              <a:t>Leading</a:t>
            </a:r>
          </a:p>
        </p:txBody>
      </p:sp>
      <p:sp>
        <p:nvSpPr>
          <p:cNvPr id="134" name="TextBox 133"/>
          <p:cNvSpPr txBox="1"/>
          <p:nvPr/>
        </p:nvSpPr>
        <p:spPr>
          <a:xfrm>
            <a:off x="6826638" y="1080472"/>
            <a:ext cx="382639" cy="116869"/>
          </a:xfrm>
          <a:prstGeom prst="rect">
            <a:avLst/>
          </a:prstGeom>
          <a:noFill/>
        </p:spPr>
        <p:txBody>
          <a:bodyPr wrap="none" lIns="21772" tIns="21772" rIns="21772" bIns="21772" rtlCol="0" anchor="ctr" anchorCtr="0">
            <a:noAutofit/>
          </a:bodyPr>
          <a:lstStyle/>
          <a:p>
            <a:r>
              <a:rPr lang="en-AU" sz="1050" b="1" dirty="0">
                <a:solidFill>
                  <a:srgbClr val="000000"/>
                </a:solidFill>
                <a:cs typeface="Arial" panose="020B0604020202020204" pitchFamily="34" charset="0"/>
              </a:rPr>
              <a:t>Lagging</a:t>
            </a:r>
          </a:p>
        </p:txBody>
      </p:sp>
      <p:sp>
        <p:nvSpPr>
          <p:cNvPr id="135" name="TextBox 134"/>
          <p:cNvSpPr txBox="1"/>
          <p:nvPr/>
        </p:nvSpPr>
        <p:spPr>
          <a:xfrm>
            <a:off x="9193080" y="1080472"/>
            <a:ext cx="382639" cy="116869"/>
          </a:xfrm>
          <a:prstGeom prst="rect">
            <a:avLst/>
          </a:prstGeom>
          <a:noFill/>
        </p:spPr>
        <p:txBody>
          <a:bodyPr wrap="none" lIns="21772" tIns="21772" rIns="21772" bIns="21772" rtlCol="0" anchor="ctr" anchorCtr="0">
            <a:noAutofit/>
          </a:bodyPr>
          <a:lstStyle/>
          <a:p>
            <a:pPr algn="ctr"/>
            <a:r>
              <a:rPr lang="en-AU" sz="1050" b="1" dirty="0">
                <a:solidFill>
                  <a:srgbClr val="000000"/>
                </a:solidFill>
                <a:cs typeface="Arial" panose="020B0604020202020204" pitchFamily="34" charset="0"/>
              </a:rPr>
              <a:t>Progressed</a:t>
            </a:r>
          </a:p>
        </p:txBody>
      </p:sp>
      <p:sp>
        <p:nvSpPr>
          <p:cNvPr id="145" name="Isosceles Triangle 144"/>
          <p:cNvSpPr/>
          <p:nvPr/>
        </p:nvSpPr>
        <p:spPr>
          <a:xfrm>
            <a:off x="6768458" y="1789332"/>
            <a:ext cx="346325" cy="263568"/>
          </a:xfrm>
          <a:prstGeom prst="triangle">
            <a:avLst/>
          </a:prstGeom>
          <a:solidFill>
            <a:srgbClr val="00338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47" name="Rectangle 146"/>
          <p:cNvSpPr/>
          <p:nvPr/>
        </p:nvSpPr>
        <p:spPr>
          <a:xfrm>
            <a:off x="86590" y="602065"/>
            <a:ext cx="4080424" cy="211083"/>
          </a:xfrm>
          <a:prstGeom prst="rect">
            <a:avLst/>
          </a:prstGeom>
        </p:spPr>
        <p:txBody>
          <a:bodyPr wrap="square">
            <a:spAutoFit/>
          </a:bodyPr>
          <a:lstStyle/>
          <a:p>
            <a:pPr>
              <a:lnSpc>
                <a:spcPct val="70000"/>
              </a:lnSpc>
            </a:pPr>
            <a:r>
              <a:rPr lang="en-US" sz="1050" b="1" dirty="0" smtClean="0">
                <a:solidFill>
                  <a:srgbClr val="005EB8">
                    <a:lumMod val="75000"/>
                  </a:srgbClr>
                </a:solidFill>
              </a:rPr>
              <a:t>Digital Maturity Assessment Result Summary </a:t>
            </a:r>
            <a:endParaRPr lang="en-US" sz="1050" b="1" dirty="0">
              <a:solidFill>
                <a:srgbClr val="005EB8">
                  <a:lumMod val="75000"/>
                </a:srgbClr>
              </a:solidFill>
            </a:endParaRPr>
          </a:p>
        </p:txBody>
      </p:sp>
      <p:pic>
        <p:nvPicPr>
          <p:cNvPr id="155" name="Picture 15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3950" y="2120335"/>
            <a:ext cx="742802" cy="210135"/>
          </a:xfrm>
          <a:prstGeom prst="rect">
            <a:avLst/>
          </a:prstGeom>
          <a:solidFill>
            <a:srgbClr val="BFBFBF"/>
          </a:solidFill>
        </p:spPr>
      </p:pic>
      <p:sp>
        <p:nvSpPr>
          <p:cNvPr id="156" name="Isosceles Triangle 155"/>
          <p:cNvSpPr/>
          <p:nvPr/>
        </p:nvSpPr>
        <p:spPr>
          <a:xfrm>
            <a:off x="8722415" y="1789332"/>
            <a:ext cx="346325" cy="263568"/>
          </a:xfrm>
          <a:prstGeom prst="triangl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cxnSp>
        <p:nvCxnSpPr>
          <p:cNvPr id="7" name="Straight Connector 6"/>
          <p:cNvCxnSpPr/>
          <p:nvPr/>
        </p:nvCxnSpPr>
        <p:spPr>
          <a:xfrm>
            <a:off x="7687337" y="984774"/>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a:off x="8743509" y="998948"/>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9884741" y="981225"/>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a:off x="11036605" y="995398"/>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6" name="Rectangle 135"/>
          <p:cNvSpPr/>
          <p:nvPr/>
        </p:nvSpPr>
        <p:spPr>
          <a:xfrm>
            <a:off x="6815008" y="1678809"/>
            <a:ext cx="5138928"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160" name="Isosceles Triangle 159"/>
          <p:cNvSpPr/>
          <p:nvPr/>
        </p:nvSpPr>
        <p:spPr>
          <a:xfrm>
            <a:off x="11460422" y="1789332"/>
            <a:ext cx="346325" cy="263568"/>
          </a:xfrm>
          <a:prstGeom prst="triangle">
            <a:avLst/>
          </a:prstGeom>
          <a:solidFill>
            <a:srgbClr val="00B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61" name="Isosceles Triangle 160"/>
          <p:cNvSpPr/>
          <p:nvPr/>
        </p:nvSpPr>
        <p:spPr>
          <a:xfrm>
            <a:off x="10970721" y="1789332"/>
            <a:ext cx="346325" cy="263568"/>
          </a:xfrm>
          <a:prstGeom prst="triangle">
            <a:avLst/>
          </a:prstGeom>
          <a:solidFill>
            <a:srgbClr val="8E258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8" name="Rectangle 7"/>
          <p:cNvSpPr/>
          <p:nvPr/>
        </p:nvSpPr>
        <p:spPr>
          <a:xfrm>
            <a:off x="6711216" y="2607058"/>
            <a:ext cx="5186723" cy="3631763"/>
          </a:xfrm>
          <a:prstGeom prst="rect">
            <a:avLst/>
          </a:prstGeom>
        </p:spPr>
        <p:txBody>
          <a:bodyPr wrap="square">
            <a:spAutoFit/>
          </a:bodyPr>
          <a:lstStyle/>
          <a:p>
            <a:pPr marL="171450" indent="-171450">
              <a:spcAft>
                <a:spcPts val="600"/>
              </a:spcAft>
              <a:buFont typeface="Arial" panose="020B0604020202020204" pitchFamily="34" charset="0"/>
              <a:buChar char="•"/>
            </a:pPr>
            <a:r>
              <a:rPr lang="en-US" sz="1400" dirty="0" smtClean="0">
                <a:solidFill>
                  <a:schemeClr val="bg1"/>
                </a:solidFill>
              </a:rPr>
              <a:t>Whilst FBNQuest is </a:t>
            </a:r>
            <a:r>
              <a:rPr lang="en-US" sz="1400" dirty="0">
                <a:solidFill>
                  <a:schemeClr val="bg1"/>
                </a:solidFill>
              </a:rPr>
              <a:t>currently digitally immature, a number of digital </a:t>
            </a:r>
            <a:r>
              <a:rPr lang="en-US" sz="1400" dirty="0" smtClean="0">
                <a:solidFill>
                  <a:schemeClr val="bg1"/>
                </a:solidFill>
              </a:rPr>
              <a:t>initiatives </a:t>
            </a:r>
            <a:r>
              <a:rPr lang="en-US" sz="1400" dirty="0">
                <a:solidFill>
                  <a:schemeClr val="bg1"/>
                </a:solidFill>
              </a:rPr>
              <a:t>have been identified </a:t>
            </a:r>
            <a:r>
              <a:rPr lang="en-US" sz="1400" dirty="0" smtClean="0">
                <a:solidFill>
                  <a:schemeClr val="bg1"/>
                </a:solidFill>
              </a:rPr>
              <a:t>to support </a:t>
            </a:r>
            <a:r>
              <a:rPr lang="en-US" sz="1400" dirty="0">
                <a:solidFill>
                  <a:schemeClr val="bg1"/>
                </a:solidFill>
              </a:rPr>
              <a:t>the </a:t>
            </a:r>
            <a:r>
              <a:rPr lang="en-US" sz="1400" dirty="0" smtClean="0">
                <a:solidFill>
                  <a:schemeClr val="bg1"/>
                </a:solidFill>
              </a:rPr>
              <a:t>Group’s ambition </a:t>
            </a:r>
            <a:r>
              <a:rPr lang="en-US" sz="1400" dirty="0">
                <a:solidFill>
                  <a:schemeClr val="bg1"/>
                </a:solidFill>
              </a:rPr>
              <a:t>to </a:t>
            </a:r>
            <a:r>
              <a:rPr lang="en-US" sz="1400" dirty="0" smtClean="0">
                <a:solidFill>
                  <a:schemeClr val="bg1"/>
                </a:solidFill>
              </a:rPr>
              <a:t>grow the </a:t>
            </a:r>
            <a:r>
              <a:rPr lang="en-US" sz="1400" dirty="0">
                <a:solidFill>
                  <a:schemeClr val="bg1"/>
                </a:solidFill>
              </a:rPr>
              <a:t>business </a:t>
            </a:r>
            <a:r>
              <a:rPr lang="en-US" sz="1400" dirty="0" smtClean="0">
                <a:solidFill>
                  <a:schemeClr val="bg1"/>
                </a:solidFill>
              </a:rPr>
              <a:t>significantly within the next 3 years.</a:t>
            </a:r>
            <a:endParaRPr lang="en-US" sz="1400" dirty="0">
              <a:solidFill>
                <a:schemeClr val="bg1"/>
              </a:solidFill>
            </a:endParaRPr>
          </a:p>
          <a:p>
            <a:pPr marL="171450" indent="-171450">
              <a:spcAft>
                <a:spcPts val="600"/>
              </a:spcAft>
              <a:buFont typeface="Arial" panose="020B0604020202020204" pitchFamily="34" charset="0"/>
              <a:buChar char="•"/>
            </a:pPr>
            <a:r>
              <a:rPr lang="en-US" sz="1400" dirty="0" smtClean="0">
                <a:solidFill>
                  <a:schemeClr val="bg1"/>
                </a:solidFill>
              </a:rPr>
              <a:t>Historically, FBNQuest has </a:t>
            </a:r>
            <a:r>
              <a:rPr lang="en-US" sz="1400" dirty="0">
                <a:solidFill>
                  <a:schemeClr val="bg1"/>
                </a:solidFill>
              </a:rPr>
              <a:t>offered </a:t>
            </a:r>
            <a:r>
              <a:rPr lang="en-US" sz="1400" dirty="0" smtClean="0">
                <a:solidFill>
                  <a:schemeClr val="bg1"/>
                </a:solidFill>
              </a:rPr>
              <a:t>personalized customer </a:t>
            </a:r>
            <a:r>
              <a:rPr lang="en-US" sz="1400" dirty="0">
                <a:solidFill>
                  <a:schemeClr val="bg1"/>
                </a:solidFill>
              </a:rPr>
              <a:t>engagement </a:t>
            </a:r>
            <a:r>
              <a:rPr lang="en-US" sz="1400" dirty="0" smtClean="0">
                <a:solidFill>
                  <a:schemeClr val="bg1"/>
                </a:solidFill>
              </a:rPr>
              <a:t>through Relationship Managers </a:t>
            </a:r>
            <a:r>
              <a:rPr lang="en-US" sz="1400" dirty="0">
                <a:solidFill>
                  <a:schemeClr val="bg1"/>
                </a:solidFill>
              </a:rPr>
              <a:t>rather than </a:t>
            </a:r>
            <a:r>
              <a:rPr lang="en-US" sz="1400" dirty="0" smtClean="0">
                <a:solidFill>
                  <a:schemeClr val="bg1"/>
                </a:solidFill>
              </a:rPr>
              <a:t>via electronic </a:t>
            </a:r>
            <a:r>
              <a:rPr lang="en-US" sz="1400" dirty="0">
                <a:solidFill>
                  <a:schemeClr val="bg1"/>
                </a:solidFill>
              </a:rPr>
              <a:t>channels</a:t>
            </a:r>
            <a:r>
              <a:rPr lang="en-US" sz="1400" dirty="0" smtClean="0">
                <a:solidFill>
                  <a:schemeClr val="bg1"/>
                </a:solidFill>
              </a:rPr>
              <a:t>.</a:t>
            </a:r>
          </a:p>
          <a:p>
            <a:pPr marL="171450" indent="-171450">
              <a:spcAft>
                <a:spcPts val="600"/>
              </a:spcAft>
              <a:buFont typeface="Arial" panose="020B0604020202020204" pitchFamily="34" charset="0"/>
              <a:buChar char="•"/>
            </a:pPr>
            <a:r>
              <a:rPr lang="en-US" sz="1400" dirty="0" smtClean="0">
                <a:solidFill>
                  <a:schemeClr val="bg1"/>
                </a:solidFill>
              </a:rPr>
              <a:t>The online and mobile platform were found to offer limited transactional or servicing capabilities. </a:t>
            </a:r>
          </a:p>
          <a:p>
            <a:pPr marL="171450" indent="-171450">
              <a:spcAft>
                <a:spcPts val="600"/>
              </a:spcAft>
              <a:buFont typeface="Arial" panose="020B0604020202020204" pitchFamily="34" charset="0"/>
              <a:buChar char="•"/>
            </a:pPr>
            <a:r>
              <a:rPr lang="en-US" sz="1400" dirty="0" smtClean="0">
                <a:solidFill>
                  <a:schemeClr val="bg1"/>
                </a:solidFill>
              </a:rPr>
              <a:t>Enabling segments of the business also rely on traditional methods, and will require significant changes to culture and processes to accommodate the digital transformation objectives.</a:t>
            </a:r>
          </a:p>
          <a:p>
            <a:pPr marL="171450" indent="-171450">
              <a:spcAft>
                <a:spcPts val="600"/>
              </a:spcAft>
              <a:buFont typeface="Arial" panose="020B0604020202020204" pitchFamily="34" charset="0"/>
              <a:buChar char="•"/>
            </a:pPr>
            <a:r>
              <a:rPr lang="en-US" sz="1400" dirty="0">
                <a:solidFill>
                  <a:schemeClr val="bg1"/>
                </a:solidFill>
              </a:rPr>
              <a:t>Overall </a:t>
            </a:r>
            <a:r>
              <a:rPr lang="en-US" sz="1400" dirty="0" err="1">
                <a:solidFill>
                  <a:schemeClr val="bg1"/>
                </a:solidFill>
              </a:rPr>
              <a:t>FBNQuest’s</a:t>
            </a:r>
            <a:r>
              <a:rPr lang="en-US" sz="1400" dirty="0">
                <a:solidFill>
                  <a:schemeClr val="bg1"/>
                </a:solidFill>
              </a:rPr>
              <a:t> digital maturity level was found to be lagging behind both local and global peers in the industry</a:t>
            </a:r>
            <a:r>
              <a:rPr lang="en-US" sz="1400" dirty="0" smtClean="0">
                <a:solidFill>
                  <a:schemeClr val="bg1"/>
                </a:solidFill>
              </a:rPr>
              <a:t>.</a:t>
            </a:r>
            <a:endParaRPr lang="en-US" sz="1400" dirty="0">
              <a:solidFill>
                <a:schemeClr val="bg1"/>
              </a:solidFill>
            </a:endParaRPr>
          </a:p>
        </p:txBody>
      </p:sp>
      <p:grpSp>
        <p:nvGrpSpPr>
          <p:cNvPr id="138" name="Group 137"/>
          <p:cNvGrpSpPr/>
          <p:nvPr/>
        </p:nvGrpSpPr>
        <p:grpSpPr>
          <a:xfrm>
            <a:off x="-95266" y="1458814"/>
            <a:ext cx="6329833" cy="4634092"/>
            <a:chOff x="-95266" y="1458814"/>
            <a:chExt cx="6329833" cy="4634092"/>
          </a:xfrm>
        </p:grpSpPr>
        <p:pic>
          <p:nvPicPr>
            <p:cNvPr id="162" name="Picture 161"/>
            <p:cNvPicPr>
              <a:picLocks noChangeAspect="1"/>
            </p:cNvPicPr>
            <p:nvPr/>
          </p:nvPicPr>
          <p:blipFill>
            <a:blip r:embed="rId4"/>
            <a:stretch>
              <a:fillRect/>
            </a:stretch>
          </p:blipFill>
          <p:spPr>
            <a:xfrm rot="19777793">
              <a:off x="260486" y="1688702"/>
              <a:ext cx="5493904" cy="4404204"/>
            </a:xfrm>
            <a:prstGeom prst="rect">
              <a:avLst/>
            </a:prstGeom>
          </p:spPr>
        </p:pic>
        <p:sp>
          <p:nvSpPr>
            <p:cNvPr id="163" name="TextBox 162"/>
            <p:cNvSpPr txBox="1"/>
            <p:nvPr/>
          </p:nvSpPr>
          <p:spPr>
            <a:xfrm>
              <a:off x="1798" y="1459945"/>
              <a:ext cx="1621285" cy="338554"/>
            </a:xfrm>
            <a:prstGeom prst="rect">
              <a:avLst/>
            </a:prstGeom>
            <a:noFill/>
          </p:spPr>
          <p:txBody>
            <a:bodyPr wrap="square" lIns="0" tIns="0" rIns="0" bIns="0" rtlCol="0">
              <a:spAutoFit/>
            </a:bodyPr>
            <a:lstStyle/>
            <a:p>
              <a:pPr algn="r"/>
              <a:r>
                <a:rPr lang="en-US" sz="1100" b="1" dirty="0" smtClean="0">
                  <a:solidFill>
                    <a:srgbClr val="00338D"/>
                  </a:solidFill>
                  <a:cs typeface="Arial" pitchFamily="34" charset="0"/>
                </a:rPr>
                <a:t>VALUE </a:t>
              </a:r>
            </a:p>
            <a:p>
              <a:pPr algn="r"/>
              <a:r>
                <a:rPr lang="en-US" sz="1100" b="1" dirty="0" smtClean="0">
                  <a:solidFill>
                    <a:srgbClr val="00338D"/>
                  </a:solidFill>
                  <a:cs typeface="Arial" pitchFamily="34" charset="0"/>
                </a:rPr>
                <a:t>MANAGEMENT</a:t>
              </a:r>
              <a:endParaRPr lang="en-US" sz="1100" b="1" dirty="0">
                <a:solidFill>
                  <a:srgbClr val="00338D"/>
                </a:solidFill>
                <a:cs typeface="Arial" pitchFamily="34" charset="0"/>
              </a:endParaRPr>
            </a:p>
          </p:txBody>
        </p:sp>
        <p:grpSp>
          <p:nvGrpSpPr>
            <p:cNvPr id="164" name="Group 163"/>
            <p:cNvGrpSpPr/>
            <p:nvPr/>
          </p:nvGrpSpPr>
          <p:grpSpPr>
            <a:xfrm>
              <a:off x="4056624" y="1806960"/>
              <a:ext cx="1204004" cy="275618"/>
              <a:chOff x="4830924" y="1285893"/>
              <a:chExt cx="1443794" cy="323986"/>
            </a:xfrm>
          </p:grpSpPr>
          <p:cxnSp>
            <p:nvCxnSpPr>
              <p:cNvPr id="219" name="Straight Connector 218"/>
              <p:cNvCxnSpPr/>
              <p:nvPr/>
            </p:nvCxnSpPr>
            <p:spPr>
              <a:xfrm flipV="1">
                <a:off x="4830924" y="1285893"/>
                <a:ext cx="274139" cy="323986"/>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5106061" y="1285893"/>
                <a:ext cx="1168657"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grpSp>
        <p:grpSp>
          <p:nvGrpSpPr>
            <p:cNvPr id="165" name="Group 164"/>
            <p:cNvGrpSpPr/>
            <p:nvPr/>
          </p:nvGrpSpPr>
          <p:grpSpPr>
            <a:xfrm flipH="1">
              <a:off x="742523" y="1808091"/>
              <a:ext cx="1204003" cy="275618"/>
              <a:chOff x="4901995" y="1366151"/>
              <a:chExt cx="1443793" cy="323986"/>
            </a:xfrm>
          </p:grpSpPr>
          <p:cxnSp>
            <p:nvCxnSpPr>
              <p:cNvPr id="217" name="Straight Connector 216"/>
              <p:cNvCxnSpPr/>
              <p:nvPr/>
            </p:nvCxnSpPr>
            <p:spPr>
              <a:xfrm flipV="1">
                <a:off x="4901995" y="1366151"/>
                <a:ext cx="274139" cy="323986"/>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5177131" y="1366151"/>
                <a:ext cx="1168657"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grpSp>
        <p:sp>
          <p:nvSpPr>
            <p:cNvPr id="166" name="TextBox 165"/>
            <p:cNvSpPr txBox="1"/>
            <p:nvPr/>
          </p:nvSpPr>
          <p:spPr>
            <a:xfrm>
              <a:off x="4330498" y="1458814"/>
              <a:ext cx="1621285" cy="338554"/>
            </a:xfrm>
            <a:prstGeom prst="rect">
              <a:avLst/>
            </a:prstGeom>
            <a:noFill/>
          </p:spPr>
          <p:txBody>
            <a:bodyPr wrap="square" lIns="0" tIns="0" rIns="0" bIns="0" rtlCol="0">
              <a:spAutoFit/>
            </a:bodyPr>
            <a:lstStyle/>
            <a:p>
              <a:r>
                <a:rPr lang="en-US" sz="1100" b="1" dirty="0" smtClean="0">
                  <a:solidFill>
                    <a:srgbClr val="00338D"/>
                  </a:solidFill>
                  <a:cs typeface="Arial" pitchFamily="34" charset="0"/>
                </a:rPr>
                <a:t>CUSTOMER </a:t>
              </a:r>
            </a:p>
            <a:p>
              <a:r>
                <a:rPr lang="en-US" sz="1100" b="1" dirty="0" smtClean="0">
                  <a:solidFill>
                    <a:srgbClr val="00338D"/>
                  </a:solidFill>
                  <a:cs typeface="Arial" pitchFamily="34" charset="0"/>
                </a:rPr>
                <a:t>EXPERIENCE MGT.</a:t>
              </a:r>
              <a:endParaRPr lang="en-US" sz="1100" b="1" dirty="0">
                <a:solidFill>
                  <a:srgbClr val="00338D"/>
                </a:solidFill>
                <a:cs typeface="Arial" pitchFamily="34" charset="0"/>
              </a:endParaRPr>
            </a:p>
          </p:txBody>
        </p:sp>
        <p:grpSp>
          <p:nvGrpSpPr>
            <p:cNvPr id="167" name="Group 166"/>
            <p:cNvGrpSpPr/>
            <p:nvPr/>
          </p:nvGrpSpPr>
          <p:grpSpPr>
            <a:xfrm flipH="1" flipV="1">
              <a:off x="626640" y="5427439"/>
              <a:ext cx="1204004" cy="275619"/>
              <a:chOff x="4876612" y="1465039"/>
              <a:chExt cx="1443794" cy="323986"/>
            </a:xfrm>
          </p:grpSpPr>
          <p:cxnSp>
            <p:nvCxnSpPr>
              <p:cNvPr id="215" name="Straight Connector 214"/>
              <p:cNvCxnSpPr/>
              <p:nvPr/>
            </p:nvCxnSpPr>
            <p:spPr>
              <a:xfrm flipV="1">
                <a:off x="4876612" y="1465039"/>
                <a:ext cx="274139" cy="323986"/>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a:off x="5151749" y="1465040"/>
                <a:ext cx="1168657"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grpSp>
        <p:sp>
          <p:nvSpPr>
            <p:cNvPr id="168" name="TextBox 167"/>
            <p:cNvSpPr txBox="1"/>
            <p:nvPr/>
          </p:nvSpPr>
          <p:spPr>
            <a:xfrm>
              <a:off x="4595250" y="5741622"/>
              <a:ext cx="1621285" cy="338554"/>
            </a:xfrm>
            <a:prstGeom prst="rect">
              <a:avLst/>
            </a:prstGeom>
            <a:noFill/>
          </p:spPr>
          <p:txBody>
            <a:bodyPr wrap="square" lIns="0" tIns="0" rIns="0" bIns="0" rtlCol="0">
              <a:spAutoFit/>
            </a:bodyPr>
            <a:lstStyle>
              <a:defPPr>
                <a:defRPr lang="en-US"/>
              </a:defPPr>
              <a:lvl1pPr>
                <a:defRPr sz="1100" b="1">
                  <a:solidFill>
                    <a:srgbClr val="00338D"/>
                  </a:solidFill>
                  <a:cs typeface="Arial" pitchFamily="34" charset="0"/>
                </a:defRPr>
              </a:lvl1pPr>
            </a:lstStyle>
            <a:p>
              <a:r>
                <a:rPr lang="en-US" dirty="0"/>
                <a:t>TECHNOLOGY </a:t>
              </a:r>
            </a:p>
            <a:p>
              <a:r>
                <a:rPr lang="en-US" dirty="0"/>
                <a:t>ENABLEMENT</a:t>
              </a:r>
            </a:p>
          </p:txBody>
        </p:sp>
        <p:grpSp>
          <p:nvGrpSpPr>
            <p:cNvPr id="169" name="Group 168"/>
            <p:cNvGrpSpPr/>
            <p:nvPr/>
          </p:nvGrpSpPr>
          <p:grpSpPr>
            <a:xfrm flipV="1">
              <a:off x="4213183" y="5398051"/>
              <a:ext cx="1204004" cy="275618"/>
              <a:chOff x="4922300" y="1476242"/>
              <a:chExt cx="1443794" cy="323986"/>
            </a:xfrm>
          </p:grpSpPr>
          <p:cxnSp>
            <p:nvCxnSpPr>
              <p:cNvPr id="213" name="Straight Connector 212"/>
              <p:cNvCxnSpPr/>
              <p:nvPr/>
            </p:nvCxnSpPr>
            <p:spPr>
              <a:xfrm flipV="1">
                <a:off x="4922300" y="1476242"/>
                <a:ext cx="274139" cy="323986"/>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5197437" y="1476242"/>
                <a:ext cx="1168657"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grpSp>
        <p:sp>
          <p:nvSpPr>
            <p:cNvPr id="170" name="TextBox 169"/>
            <p:cNvSpPr txBox="1"/>
            <p:nvPr/>
          </p:nvSpPr>
          <p:spPr>
            <a:xfrm>
              <a:off x="-95266" y="5747147"/>
              <a:ext cx="1621285" cy="338554"/>
            </a:xfrm>
            <a:prstGeom prst="rect">
              <a:avLst/>
            </a:prstGeom>
            <a:noFill/>
          </p:spPr>
          <p:txBody>
            <a:bodyPr wrap="square" lIns="0" tIns="0" rIns="0" bIns="0" rtlCol="0">
              <a:spAutoFit/>
            </a:bodyPr>
            <a:lstStyle>
              <a:defPPr>
                <a:defRPr lang="en-US"/>
              </a:defPPr>
              <a:lvl1pPr algn="r">
                <a:defRPr sz="1100" b="1">
                  <a:solidFill>
                    <a:srgbClr val="00338D"/>
                  </a:solidFill>
                  <a:cs typeface="Arial" pitchFamily="34" charset="0"/>
                </a:defRPr>
              </a:lvl1pPr>
            </a:lstStyle>
            <a:p>
              <a:r>
                <a:rPr lang="en-US" dirty="0"/>
                <a:t>CO-CREATION</a:t>
              </a:r>
            </a:p>
            <a:p>
              <a:r>
                <a:rPr lang="en-US" dirty="0"/>
                <a:t>MODEL</a:t>
              </a:r>
            </a:p>
          </p:txBody>
        </p:sp>
        <p:cxnSp>
          <p:nvCxnSpPr>
            <p:cNvPr id="180" name="Straight Connector 179"/>
            <p:cNvCxnSpPr/>
            <p:nvPr/>
          </p:nvCxnSpPr>
          <p:spPr>
            <a:xfrm>
              <a:off x="5087267" y="3879032"/>
              <a:ext cx="974562"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181" name="TextBox 180"/>
            <p:cNvSpPr txBox="1"/>
            <p:nvPr/>
          </p:nvSpPr>
          <p:spPr>
            <a:xfrm>
              <a:off x="5320167" y="3522591"/>
              <a:ext cx="914400" cy="338554"/>
            </a:xfrm>
            <a:prstGeom prst="rect">
              <a:avLst/>
            </a:prstGeom>
            <a:noFill/>
          </p:spPr>
          <p:txBody>
            <a:bodyPr wrap="square" lIns="0" tIns="0" rIns="0" bIns="0" rtlCol="0">
              <a:spAutoFit/>
            </a:bodyPr>
            <a:lstStyle>
              <a:defPPr>
                <a:defRPr lang="en-US"/>
              </a:defPPr>
              <a:lvl1pPr>
                <a:defRPr sz="1100" b="1">
                  <a:solidFill>
                    <a:srgbClr val="00338D"/>
                  </a:solidFill>
                  <a:cs typeface="Arial" pitchFamily="34" charset="0"/>
                </a:defRPr>
              </a:lvl1pPr>
            </a:lstStyle>
            <a:p>
              <a:r>
                <a:rPr lang="en-US" dirty="0"/>
                <a:t>OPERATING</a:t>
              </a:r>
            </a:p>
            <a:p>
              <a:r>
                <a:rPr lang="en-US" dirty="0"/>
                <a:t>MODEL</a:t>
              </a:r>
            </a:p>
          </p:txBody>
        </p:sp>
        <p:cxnSp>
          <p:nvCxnSpPr>
            <p:cNvPr id="183" name="Straight Connector 182"/>
            <p:cNvCxnSpPr/>
            <p:nvPr/>
          </p:nvCxnSpPr>
          <p:spPr>
            <a:xfrm>
              <a:off x="196236" y="3877680"/>
              <a:ext cx="731520"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184" name="TextBox 183"/>
            <p:cNvSpPr txBox="1"/>
            <p:nvPr/>
          </p:nvSpPr>
          <p:spPr>
            <a:xfrm>
              <a:off x="68724" y="3511903"/>
              <a:ext cx="633986" cy="338554"/>
            </a:xfrm>
            <a:prstGeom prst="rect">
              <a:avLst/>
            </a:prstGeom>
            <a:noFill/>
          </p:spPr>
          <p:txBody>
            <a:bodyPr wrap="square" lIns="0" tIns="0" rIns="0" bIns="0" rtlCol="0">
              <a:spAutoFit/>
            </a:bodyPr>
            <a:lstStyle>
              <a:defPPr>
                <a:defRPr lang="en-US"/>
              </a:defPPr>
              <a:lvl1pPr algn="r">
                <a:defRPr sz="1100" b="1">
                  <a:solidFill>
                    <a:srgbClr val="00338D"/>
                  </a:solidFill>
                  <a:cs typeface="Arial" pitchFamily="34" charset="0"/>
                </a:defRPr>
              </a:lvl1pPr>
            </a:lstStyle>
            <a:p>
              <a:r>
                <a:rPr lang="en-US" dirty="0"/>
                <a:t>RISK</a:t>
              </a:r>
            </a:p>
            <a:p>
              <a:r>
                <a:rPr lang="en-US" dirty="0"/>
                <a:t>MODEL</a:t>
              </a:r>
            </a:p>
          </p:txBody>
        </p:sp>
        <p:sp>
          <p:nvSpPr>
            <p:cNvPr id="197" name="TextBox 196"/>
            <p:cNvSpPr txBox="1"/>
            <p:nvPr/>
          </p:nvSpPr>
          <p:spPr>
            <a:xfrm>
              <a:off x="1171903" y="1756770"/>
              <a:ext cx="452498" cy="430887"/>
            </a:xfrm>
            <a:prstGeom prst="rect">
              <a:avLst/>
            </a:prstGeom>
            <a:noFill/>
          </p:spPr>
          <p:txBody>
            <a:bodyPr wrap="square" lIns="0" tIns="0" rIns="0" bIns="0" rtlCol="0">
              <a:spAutoFit/>
            </a:bodyPr>
            <a:lstStyle/>
            <a:p>
              <a:pPr algn="r"/>
              <a:r>
                <a:rPr lang="en-US" sz="2800" dirty="0" smtClean="0">
                  <a:solidFill>
                    <a:srgbClr val="00338D"/>
                  </a:solidFill>
                  <a:latin typeface="KPMG Extralight" panose="020B0303030202040204" pitchFamily="34" charset="0"/>
                  <a:cs typeface="Arial" pitchFamily="34" charset="0"/>
                </a:rPr>
                <a:t>10%*</a:t>
              </a:r>
              <a:endParaRPr lang="en-US" sz="2800" dirty="0">
                <a:solidFill>
                  <a:srgbClr val="00338D"/>
                </a:solidFill>
                <a:latin typeface="KPMG Extralight" panose="020B0303030202040204" pitchFamily="34" charset="0"/>
                <a:cs typeface="Arial" pitchFamily="34" charset="0"/>
              </a:endParaRPr>
            </a:p>
          </p:txBody>
        </p:sp>
        <p:sp>
          <p:nvSpPr>
            <p:cNvPr id="207" name="TextBox 206"/>
            <p:cNvSpPr txBox="1"/>
            <p:nvPr/>
          </p:nvSpPr>
          <p:spPr>
            <a:xfrm>
              <a:off x="4283583" y="1786134"/>
              <a:ext cx="537952" cy="430887"/>
            </a:xfrm>
            <a:prstGeom prst="rect">
              <a:avLst/>
            </a:prstGeom>
            <a:noFill/>
          </p:spPr>
          <p:txBody>
            <a:bodyPr wrap="square" lIns="0" tIns="0" rIns="0" bIns="0" rtlCol="0">
              <a:spAutoFit/>
            </a:bodyPr>
            <a:lstStyle/>
            <a:p>
              <a:pPr algn="ctr"/>
              <a:r>
                <a:rPr lang="en-US" sz="2800" dirty="0" smtClean="0">
                  <a:solidFill>
                    <a:srgbClr val="00338D"/>
                  </a:solidFill>
                  <a:latin typeface="KPMG Extralight" panose="020B0303030202040204" pitchFamily="34" charset="0"/>
                  <a:cs typeface="Arial" pitchFamily="34" charset="0"/>
                </a:rPr>
                <a:t>30%*</a:t>
              </a:r>
              <a:endParaRPr lang="en-US" sz="2800" dirty="0">
                <a:solidFill>
                  <a:srgbClr val="00338D"/>
                </a:solidFill>
                <a:latin typeface="KPMG Extralight" panose="020B0303030202040204" pitchFamily="34" charset="0"/>
                <a:cs typeface="Arial" pitchFamily="34" charset="0"/>
              </a:endParaRPr>
            </a:p>
          </p:txBody>
        </p:sp>
        <p:sp>
          <p:nvSpPr>
            <p:cNvPr id="208" name="TextBox 207"/>
            <p:cNvSpPr txBox="1"/>
            <p:nvPr/>
          </p:nvSpPr>
          <p:spPr>
            <a:xfrm>
              <a:off x="5263868" y="3787221"/>
              <a:ext cx="467812" cy="430887"/>
            </a:xfrm>
            <a:prstGeom prst="rect">
              <a:avLst/>
            </a:prstGeom>
            <a:noFill/>
          </p:spPr>
          <p:txBody>
            <a:bodyPr wrap="square" lIns="0" tIns="0" rIns="0" bIns="0" rtlCol="0">
              <a:spAutoFit/>
            </a:bodyPr>
            <a:lstStyle/>
            <a:p>
              <a:pPr algn="ctr"/>
              <a:r>
                <a:rPr lang="en-US" sz="2800" dirty="0" smtClean="0">
                  <a:solidFill>
                    <a:srgbClr val="00338D"/>
                  </a:solidFill>
                  <a:latin typeface="KPMG Extralight" panose="020B0303030202040204" pitchFamily="34" charset="0"/>
                  <a:cs typeface="Arial" pitchFamily="34" charset="0"/>
                </a:rPr>
                <a:t>10%*</a:t>
              </a:r>
              <a:endParaRPr lang="en-US" sz="2800" dirty="0">
                <a:solidFill>
                  <a:srgbClr val="00338D"/>
                </a:solidFill>
                <a:latin typeface="KPMG Extralight" panose="020B0303030202040204" pitchFamily="34" charset="0"/>
                <a:cs typeface="Arial" pitchFamily="34" charset="0"/>
              </a:endParaRPr>
            </a:p>
          </p:txBody>
        </p:sp>
        <p:sp>
          <p:nvSpPr>
            <p:cNvPr id="209" name="TextBox 208"/>
            <p:cNvSpPr txBox="1"/>
            <p:nvPr/>
          </p:nvSpPr>
          <p:spPr>
            <a:xfrm>
              <a:off x="4595250" y="5232731"/>
              <a:ext cx="517849" cy="430887"/>
            </a:xfrm>
            <a:prstGeom prst="rect">
              <a:avLst/>
            </a:prstGeom>
            <a:noFill/>
          </p:spPr>
          <p:txBody>
            <a:bodyPr wrap="square" lIns="0" tIns="0" rIns="0" bIns="0" rtlCol="0">
              <a:spAutoFit/>
            </a:bodyPr>
            <a:lstStyle/>
            <a:p>
              <a:pPr algn="ctr"/>
              <a:r>
                <a:rPr lang="en-US" sz="2800" dirty="0" smtClean="0">
                  <a:solidFill>
                    <a:srgbClr val="00338D"/>
                  </a:solidFill>
                  <a:latin typeface="KPMG Extralight" panose="020B0303030202040204" pitchFamily="34" charset="0"/>
                  <a:cs typeface="Arial" pitchFamily="34" charset="0"/>
                </a:rPr>
                <a:t>20%*</a:t>
              </a:r>
              <a:endParaRPr lang="en-US" sz="2800" dirty="0">
                <a:solidFill>
                  <a:srgbClr val="00338D"/>
                </a:solidFill>
                <a:latin typeface="KPMG Extralight" panose="020B0303030202040204" pitchFamily="34" charset="0"/>
                <a:cs typeface="Arial" pitchFamily="34" charset="0"/>
              </a:endParaRPr>
            </a:p>
          </p:txBody>
        </p:sp>
        <p:sp>
          <p:nvSpPr>
            <p:cNvPr id="210" name="TextBox 209"/>
            <p:cNvSpPr txBox="1"/>
            <p:nvPr/>
          </p:nvSpPr>
          <p:spPr>
            <a:xfrm>
              <a:off x="1014368" y="5279378"/>
              <a:ext cx="487316" cy="430887"/>
            </a:xfrm>
            <a:prstGeom prst="rect">
              <a:avLst/>
            </a:prstGeom>
            <a:noFill/>
          </p:spPr>
          <p:txBody>
            <a:bodyPr wrap="square" lIns="0" tIns="0" rIns="0" bIns="0" rtlCol="0">
              <a:spAutoFit/>
            </a:bodyPr>
            <a:lstStyle/>
            <a:p>
              <a:pPr algn="r"/>
              <a:r>
                <a:rPr lang="en-US" sz="2800" dirty="0" smtClean="0">
                  <a:solidFill>
                    <a:srgbClr val="00338D"/>
                  </a:solidFill>
                  <a:latin typeface="KPMG Extralight" panose="020B0303030202040204" pitchFamily="34" charset="0"/>
                  <a:cs typeface="Arial" pitchFamily="34" charset="0"/>
                </a:rPr>
                <a:t>20%*</a:t>
              </a:r>
              <a:endParaRPr lang="en-US" sz="2800" dirty="0">
                <a:solidFill>
                  <a:srgbClr val="00338D"/>
                </a:solidFill>
                <a:latin typeface="KPMG Extralight" panose="020B0303030202040204" pitchFamily="34" charset="0"/>
                <a:cs typeface="Arial" pitchFamily="34" charset="0"/>
              </a:endParaRPr>
            </a:p>
          </p:txBody>
        </p:sp>
        <p:sp>
          <p:nvSpPr>
            <p:cNvPr id="211" name="TextBox 210"/>
            <p:cNvSpPr txBox="1"/>
            <p:nvPr/>
          </p:nvSpPr>
          <p:spPr>
            <a:xfrm>
              <a:off x="324951" y="3793394"/>
              <a:ext cx="444564" cy="430887"/>
            </a:xfrm>
            <a:prstGeom prst="rect">
              <a:avLst/>
            </a:prstGeom>
            <a:noFill/>
          </p:spPr>
          <p:txBody>
            <a:bodyPr wrap="square" lIns="0" tIns="0" rIns="0" bIns="0" rtlCol="0">
              <a:spAutoFit/>
            </a:bodyPr>
            <a:lstStyle/>
            <a:p>
              <a:pPr algn="r"/>
              <a:r>
                <a:rPr lang="en-US" sz="2800" dirty="0" smtClean="0">
                  <a:solidFill>
                    <a:srgbClr val="00338D"/>
                  </a:solidFill>
                  <a:latin typeface="KPMG Extralight" panose="020B0303030202040204" pitchFamily="34" charset="0"/>
                  <a:cs typeface="Arial" pitchFamily="34" charset="0"/>
                </a:rPr>
                <a:t>10%*</a:t>
              </a:r>
              <a:endParaRPr lang="en-US" sz="2800" dirty="0">
                <a:solidFill>
                  <a:srgbClr val="00338D"/>
                </a:solidFill>
                <a:latin typeface="KPMG Extralight" panose="020B0303030202040204" pitchFamily="34" charset="0"/>
                <a:cs typeface="Arial" pitchFamily="34" charset="0"/>
              </a:endParaRPr>
            </a:p>
          </p:txBody>
        </p:sp>
        <p:sp>
          <p:nvSpPr>
            <p:cNvPr id="212" name="TextBox 211"/>
            <p:cNvSpPr txBox="1"/>
            <p:nvPr/>
          </p:nvSpPr>
          <p:spPr>
            <a:xfrm>
              <a:off x="2941972" y="1892955"/>
              <a:ext cx="178472" cy="2077492"/>
            </a:xfrm>
            <a:prstGeom prst="rect">
              <a:avLst/>
            </a:prstGeom>
            <a:noFill/>
          </p:spPr>
          <p:txBody>
            <a:bodyPr wrap="square" lIns="0" tIns="0" rIns="0" bIns="0" rtlCol="0">
              <a:spAutoFit/>
            </a:bodyPr>
            <a:lstStyle/>
            <a:p>
              <a:pPr>
                <a:lnSpc>
                  <a:spcPct val="250000"/>
                </a:lnSpc>
              </a:pPr>
              <a:r>
                <a:rPr lang="en-GB" sz="900" dirty="0" smtClean="0">
                  <a:latin typeface="+mj-lt"/>
                  <a:cs typeface="Arial" pitchFamily="34" charset="0"/>
                </a:rPr>
                <a:t>5</a:t>
              </a:r>
            </a:p>
            <a:p>
              <a:pPr>
                <a:lnSpc>
                  <a:spcPct val="250000"/>
                </a:lnSpc>
              </a:pPr>
              <a:r>
                <a:rPr lang="en-GB" sz="900" dirty="0" smtClean="0">
                  <a:latin typeface="+mj-lt"/>
                  <a:cs typeface="Arial" pitchFamily="34" charset="0"/>
                </a:rPr>
                <a:t>4</a:t>
              </a:r>
            </a:p>
            <a:p>
              <a:pPr>
                <a:lnSpc>
                  <a:spcPct val="250000"/>
                </a:lnSpc>
              </a:pPr>
              <a:r>
                <a:rPr lang="en-GB" sz="900" dirty="0" smtClean="0">
                  <a:latin typeface="+mj-lt"/>
                  <a:cs typeface="Arial" pitchFamily="34" charset="0"/>
                </a:rPr>
                <a:t>3</a:t>
              </a:r>
            </a:p>
            <a:p>
              <a:pPr>
                <a:lnSpc>
                  <a:spcPct val="250000"/>
                </a:lnSpc>
              </a:pPr>
              <a:r>
                <a:rPr lang="en-GB" sz="900" dirty="0" smtClean="0">
                  <a:latin typeface="+mj-lt"/>
                  <a:cs typeface="Arial" pitchFamily="34" charset="0"/>
                </a:rPr>
                <a:t>2</a:t>
              </a:r>
            </a:p>
            <a:p>
              <a:pPr>
                <a:lnSpc>
                  <a:spcPct val="250000"/>
                </a:lnSpc>
              </a:pPr>
              <a:r>
                <a:rPr lang="en-GB" sz="900" dirty="0" smtClean="0">
                  <a:latin typeface="+mj-lt"/>
                  <a:cs typeface="Arial" pitchFamily="34" charset="0"/>
                </a:rPr>
                <a:t>1</a:t>
              </a:r>
            </a:p>
            <a:p>
              <a:pPr>
                <a:lnSpc>
                  <a:spcPct val="250000"/>
                </a:lnSpc>
              </a:pPr>
              <a:r>
                <a:rPr lang="en-GB" sz="900" dirty="0" smtClean="0">
                  <a:latin typeface="+mj-lt"/>
                  <a:cs typeface="Arial" pitchFamily="34" charset="0"/>
                </a:rPr>
                <a:t>0</a:t>
              </a:r>
            </a:p>
          </p:txBody>
        </p:sp>
      </p:grpSp>
      <p:sp>
        <p:nvSpPr>
          <p:cNvPr id="76" name="Rectangle 75"/>
          <p:cNvSpPr/>
          <p:nvPr/>
        </p:nvSpPr>
        <p:spPr>
          <a:xfrm>
            <a:off x="6519369" y="6503205"/>
            <a:ext cx="5669280" cy="307777"/>
          </a:xfrm>
          <a:prstGeom prst="rect">
            <a:avLst/>
          </a:prstGeom>
        </p:spPr>
        <p:txBody>
          <a:bodyPr wrap="square">
            <a:spAutoFit/>
          </a:bodyPr>
          <a:lstStyle/>
          <a:p>
            <a:pPr lvl="0" defTabSz="890789">
              <a:spcAft>
                <a:spcPts val="100"/>
              </a:spcAft>
              <a:defRPr/>
            </a:pPr>
            <a:r>
              <a:rPr lang="en-US" sz="1400" i="1" dirty="0">
                <a:solidFill>
                  <a:schemeClr val="bg1"/>
                </a:solidFill>
                <a:hlinkClick r:id="" action="ppaction://noaction"/>
              </a:rPr>
              <a:t>Refer to </a:t>
            </a:r>
            <a:r>
              <a:rPr lang="en-US" sz="1400" i="1" dirty="0" smtClean="0">
                <a:solidFill>
                  <a:schemeClr val="bg1"/>
                </a:solidFill>
                <a:hlinkClick r:id="" action="ppaction://noaction"/>
              </a:rPr>
              <a:t>Appendix – Detailed weighting &amp; scoring approach for details</a:t>
            </a:r>
            <a:endParaRPr lang="en-US" sz="1400" i="1" dirty="0">
              <a:solidFill>
                <a:schemeClr val="bg1"/>
              </a:solidFill>
            </a:endParaRPr>
          </a:p>
        </p:txBody>
      </p:sp>
    </p:spTree>
    <p:extLst>
      <p:ext uri="{BB962C8B-B14F-4D97-AF65-F5344CB8AC3E}">
        <p14:creationId xmlns:p14="http://schemas.microsoft.com/office/powerpoint/2010/main" val="24265813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07"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86" name="TextBox 85"/>
          <p:cNvSpPr txBox="1"/>
          <p:nvPr/>
        </p:nvSpPr>
        <p:spPr>
          <a:xfrm>
            <a:off x="88798" y="211341"/>
            <a:ext cx="2893125" cy="615553"/>
          </a:xfrm>
          <a:prstGeom prst="rect">
            <a:avLst/>
          </a:prstGeom>
          <a:noFill/>
        </p:spPr>
        <p:txBody>
          <a:bodyPr wrap="square" lIns="0" tIns="0" rIns="0" bIns="0" rtlCol="0">
            <a:spAutoFit/>
          </a:bodyPr>
          <a:lstStyle/>
          <a:p>
            <a:r>
              <a:rPr lang="en-US" sz="4000" b="1" dirty="0" smtClean="0">
                <a:solidFill>
                  <a:srgbClr val="FFFFFF"/>
                </a:solidFill>
                <a:latin typeface="KPMG Extralight" panose="020B0303030202040204" pitchFamily="34" charset="0"/>
                <a:cs typeface="Arial" pitchFamily="34" charset="0"/>
              </a:rPr>
              <a:t>Value Management</a:t>
            </a:r>
            <a:endParaRPr lang="en-GB" sz="4000" b="1" dirty="0" smtClean="0">
              <a:solidFill>
                <a:srgbClr val="FFFFFF"/>
              </a:solidFill>
              <a:latin typeface="KPMG Extralight" panose="020B0303030202040204" pitchFamily="34" charset="0"/>
              <a:cs typeface="Arial" pitchFamily="34" charset="0"/>
            </a:endParaRPr>
          </a:p>
        </p:txBody>
      </p:sp>
      <p:sp>
        <p:nvSpPr>
          <p:cNvPr id="48" name="TextBox 47"/>
          <p:cNvSpPr txBox="1"/>
          <p:nvPr/>
        </p:nvSpPr>
        <p:spPr>
          <a:xfrm>
            <a:off x="101882" y="3302282"/>
            <a:ext cx="3165097" cy="184666"/>
          </a:xfrm>
          <a:prstGeom prst="rect">
            <a:avLst/>
          </a:prstGeom>
          <a:noFill/>
        </p:spPr>
        <p:txBody>
          <a:bodyPr wrap="none" lIns="0" tIns="0" rIns="0" bIns="0" rtlCol="0">
            <a:spAutoFit/>
          </a:bodyPr>
          <a:lstStyle/>
          <a:p>
            <a:r>
              <a:rPr lang="en-GB" sz="1200" b="1" dirty="0" smtClean="0">
                <a:solidFill>
                  <a:schemeClr val="bg1"/>
                </a:solidFill>
              </a:rPr>
              <a:t>Clarity </a:t>
            </a:r>
            <a:r>
              <a:rPr lang="en-GB" sz="1200" b="1" dirty="0">
                <a:solidFill>
                  <a:schemeClr val="bg1"/>
                </a:solidFill>
              </a:rPr>
              <a:t>and consistency of vision &amp; </a:t>
            </a:r>
            <a:r>
              <a:rPr lang="en-GB" sz="1200" b="1" dirty="0" smtClean="0">
                <a:solidFill>
                  <a:schemeClr val="bg1"/>
                </a:solidFill>
              </a:rPr>
              <a:t>strategy</a:t>
            </a:r>
            <a:endParaRPr lang="en-GB" sz="1200" b="1" dirty="0">
              <a:solidFill>
                <a:schemeClr val="bg1"/>
              </a:solidFill>
            </a:endParaRPr>
          </a:p>
        </p:txBody>
      </p:sp>
      <p:sp>
        <p:nvSpPr>
          <p:cNvPr id="49" name="TextBox 48"/>
          <p:cNvSpPr txBox="1"/>
          <p:nvPr/>
        </p:nvSpPr>
        <p:spPr>
          <a:xfrm>
            <a:off x="117763" y="4281152"/>
            <a:ext cx="3174580" cy="369332"/>
          </a:xfrm>
          <a:prstGeom prst="rect">
            <a:avLst/>
          </a:prstGeom>
          <a:noFill/>
        </p:spPr>
        <p:txBody>
          <a:bodyPr wrap="square" lIns="0" tIns="0" rIns="0" bIns="0" rtlCol="0">
            <a:spAutoFit/>
          </a:bodyPr>
          <a:lstStyle/>
          <a:p>
            <a:r>
              <a:rPr lang="en-US" sz="1200" b="1" dirty="0" err="1" smtClean="0">
                <a:solidFill>
                  <a:srgbClr val="FFFFFF"/>
                </a:solidFill>
                <a:cs typeface="Arial" pitchFamily="34" charset="0"/>
              </a:rPr>
              <a:t>Utilisation</a:t>
            </a:r>
            <a:r>
              <a:rPr lang="en-US" sz="1200" b="1" dirty="0" smtClean="0">
                <a:solidFill>
                  <a:srgbClr val="FFFFFF"/>
                </a:solidFill>
                <a:cs typeface="Arial" pitchFamily="34" charset="0"/>
              </a:rPr>
              <a:t> </a:t>
            </a:r>
            <a:r>
              <a:rPr lang="en-US" sz="1200" b="1" dirty="0">
                <a:solidFill>
                  <a:srgbClr val="FFFFFF"/>
                </a:solidFill>
                <a:cs typeface="Arial" pitchFamily="34" charset="0"/>
              </a:rPr>
              <a:t>of digital KPIs for value </a:t>
            </a:r>
            <a:r>
              <a:rPr lang="en-US" sz="1200" b="1" dirty="0" err="1" smtClean="0">
                <a:solidFill>
                  <a:srgbClr val="FFFFFF"/>
                </a:solidFill>
                <a:cs typeface="Arial" pitchFamily="34" charset="0"/>
              </a:rPr>
              <a:t>realisation</a:t>
            </a:r>
            <a:r>
              <a:rPr lang="en-US" sz="1200" b="1" dirty="0" smtClean="0">
                <a:solidFill>
                  <a:srgbClr val="FFFFFF"/>
                </a:solidFill>
                <a:cs typeface="Arial" pitchFamily="34" charset="0"/>
              </a:rPr>
              <a:t> &amp; monitoring</a:t>
            </a:r>
            <a:endParaRPr lang="en-US" sz="1200" b="1" dirty="0">
              <a:solidFill>
                <a:srgbClr val="FFFFFF"/>
              </a:solidFill>
              <a:cs typeface="Arial" pitchFamily="34" charset="0"/>
            </a:endParaRPr>
          </a:p>
        </p:txBody>
      </p:sp>
      <p:graphicFrame>
        <p:nvGraphicFramePr>
          <p:cNvPr id="31" name="Table 30"/>
          <p:cNvGraphicFramePr>
            <a:graphicFrameLocks noGrp="1"/>
          </p:cNvGraphicFramePr>
          <p:nvPr>
            <p:extLst>
              <p:ext uri="{D42A27DB-BD31-4B8C-83A1-F6EECF244321}">
                <p14:modId xmlns:p14="http://schemas.microsoft.com/office/powerpoint/2010/main" val="4141392875"/>
              </p:ext>
            </p:extLst>
          </p:nvPr>
        </p:nvGraphicFramePr>
        <p:xfrm>
          <a:off x="112335" y="2428068"/>
          <a:ext cx="3053407" cy="320040"/>
        </p:xfrm>
        <a:graphic>
          <a:graphicData uri="http://schemas.openxmlformats.org/drawingml/2006/table">
            <a:tbl>
              <a:tblPr bandRow="1">
                <a:tableStyleId>{5C22544A-7EE6-4342-B048-85BDC9FD1C3A}</a:tableStyleId>
              </a:tblPr>
              <a:tblGrid>
                <a:gridCol w="3053407"/>
              </a:tblGrid>
              <a:tr h="230385">
                <a:tc>
                  <a:txBody>
                    <a:bodyPr/>
                    <a:lstStyle/>
                    <a:p>
                      <a:endParaRPr lang="en-US" sz="1500" b="1" dirty="0"/>
                    </a:p>
                  </a:txBody>
                  <a:tcPr anchor="ctr">
                    <a:solidFill>
                      <a:srgbClr val="DBCDDB"/>
                    </a:solidFill>
                  </a:tcPr>
                </a:tc>
              </a:tr>
            </a:tbl>
          </a:graphicData>
        </a:graphic>
      </p:graphicFrame>
      <p:sp>
        <p:nvSpPr>
          <p:cNvPr id="32" name="TextBox 31"/>
          <p:cNvSpPr txBox="1"/>
          <p:nvPr/>
        </p:nvSpPr>
        <p:spPr>
          <a:xfrm>
            <a:off x="2795989" y="2536717"/>
            <a:ext cx="382639" cy="116869"/>
          </a:xfrm>
          <a:prstGeom prst="rect">
            <a:avLst/>
          </a:prstGeom>
          <a:noFill/>
        </p:spPr>
        <p:txBody>
          <a:bodyPr wrap="none" lIns="21772" tIns="21772" rIns="21772" bIns="21772" rtlCol="0" anchor="ctr" anchorCtr="0">
            <a:noAutofit/>
          </a:bodyPr>
          <a:lstStyle/>
          <a:p>
            <a:pPr algn="r"/>
            <a:r>
              <a:rPr lang="en-AU" sz="800" b="1" dirty="0">
                <a:solidFill>
                  <a:srgbClr val="000000"/>
                </a:solidFill>
                <a:cs typeface="Arial" panose="020B0604020202020204" pitchFamily="34" charset="0"/>
              </a:rPr>
              <a:t>Innovating</a:t>
            </a:r>
          </a:p>
        </p:txBody>
      </p:sp>
      <p:sp>
        <p:nvSpPr>
          <p:cNvPr id="33" name="TextBox 32"/>
          <p:cNvSpPr txBox="1"/>
          <p:nvPr/>
        </p:nvSpPr>
        <p:spPr>
          <a:xfrm>
            <a:off x="711797" y="2545032"/>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Basic</a:t>
            </a:r>
          </a:p>
        </p:txBody>
      </p:sp>
      <p:sp>
        <p:nvSpPr>
          <p:cNvPr id="34" name="TextBox 33"/>
          <p:cNvSpPr txBox="1"/>
          <p:nvPr/>
        </p:nvSpPr>
        <p:spPr>
          <a:xfrm>
            <a:off x="1970881" y="2545032"/>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Leading</a:t>
            </a:r>
          </a:p>
        </p:txBody>
      </p:sp>
      <p:sp>
        <p:nvSpPr>
          <p:cNvPr id="35" name="TextBox 34"/>
          <p:cNvSpPr txBox="1"/>
          <p:nvPr/>
        </p:nvSpPr>
        <p:spPr>
          <a:xfrm>
            <a:off x="112641" y="2545032"/>
            <a:ext cx="382639" cy="116869"/>
          </a:xfrm>
          <a:prstGeom prst="rect">
            <a:avLst/>
          </a:prstGeom>
          <a:noFill/>
        </p:spPr>
        <p:txBody>
          <a:bodyPr wrap="none" lIns="21772" tIns="21772" rIns="21772" bIns="21772" rtlCol="0" anchor="ctr" anchorCtr="0">
            <a:noAutofit/>
          </a:bodyPr>
          <a:lstStyle/>
          <a:p>
            <a:r>
              <a:rPr lang="en-AU" sz="800" b="1" dirty="0">
                <a:solidFill>
                  <a:srgbClr val="000000"/>
                </a:solidFill>
                <a:cs typeface="Arial" panose="020B0604020202020204" pitchFamily="34" charset="0"/>
              </a:rPr>
              <a:t>Lagging</a:t>
            </a:r>
          </a:p>
        </p:txBody>
      </p:sp>
      <p:sp>
        <p:nvSpPr>
          <p:cNvPr id="36" name="TextBox 35"/>
          <p:cNvSpPr txBox="1"/>
          <p:nvPr/>
        </p:nvSpPr>
        <p:spPr>
          <a:xfrm>
            <a:off x="1322592" y="2545032"/>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Progressed</a:t>
            </a:r>
          </a:p>
        </p:txBody>
      </p:sp>
      <p:sp>
        <p:nvSpPr>
          <p:cNvPr id="37" name="Rectangle 36"/>
          <p:cNvSpPr/>
          <p:nvPr/>
        </p:nvSpPr>
        <p:spPr>
          <a:xfrm>
            <a:off x="101012" y="3573405"/>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38" name="Isosceles Triangle 37"/>
          <p:cNvSpPr/>
          <p:nvPr/>
        </p:nvSpPr>
        <p:spPr>
          <a:xfrm>
            <a:off x="1452237" y="3673707"/>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39" name="Isosceles Triangle 38"/>
          <p:cNvSpPr/>
          <p:nvPr/>
        </p:nvSpPr>
        <p:spPr>
          <a:xfrm>
            <a:off x="479774" y="3673707"/>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 name="Rectangle 39"/>
          <p:cNvSpPr/>
          <p:nvPr/>
        </p:nvSpPr>
        <p:spPr>
          <a:xfrm>
            <a:off x="116775" y="4739480"/>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3" name="Rectangle 2"/>
          <p:cNvSpPr/>
          <p:nvPr/>
        </p:nvSpPr>
        <p:spPr>
          <a:xfrm>
            <a:off x="11798" y="964056"/>
            <a:ext cx="3064378" cy="692497"/>
          </a:xfrm>
          <a:prstGeom prst="rect">
            <a:avLst/>
          </a:prstGeom>
        </p:spPr>
        <p:txBody>
          <a:bodyPr wrap="square">
            <a:spAutoFit/>
          </a:bodyPr>
          <a:lstStyle/>
          <a:p>
            <a:r>
              <a:rPr lang="en-US" sz="1300" dirty="0" smtClean="0">
                <a:solidFill>
                  <a:srgbClr val="FFFFFF"/>
                </a:solidFill>
              </a:rPr>
              <a:t>Defining </a:t>
            </a:r>
            <a:r>
              <a:rPr lang="en-US" sz="1300" dirty="0">
                <a:solidFill>
                  <a:srgbClr val="FFFFFF"/>
                </a:solidFill>
              </a:rPr>
              <a:t>the ambition that set the agenda for digital with clearly articulated key performance indicators</a:t>
            </a:r>
            <a:r>
              <a:rPr lang="en-US" sz="1300" dirty="0" smtClean="0">
                <a:solidFill>
                  <a:srgbClr val="FFFFFF"/>
                </a:solidFill>
              </a:rPr>
              <a:t>.</a:t>
            </a:r>
            <a:endParaRPr lang="en-GB" sz="1300" dirty="0">
              <a:solidFill>
                <a:srgbClr val="FFFFFF"/>
              </a:solidFill>
            </a:endParaRPr>
          </a:p>
        </p:txBody>
      </p:sp>
      <p:sp>
        <p:nvSpPr>
          <p:cNvPr id="100" name="Rectangle 99"/>
          <p:cNvSpPr/>
          <p:nvPr/>
        </p:nvSpPr>
        <p:spPr>
          <a:xfrm>
            <a:off x="102170" y="2111812"/>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cxnSp>
        <p:nvCxnSpPr>
          <p:cNvPr id="102" name="Straight Connector 101"/>
          <p:cNvCxnSpPr/>
          <p:nvPr/>
        </p:nvCxnSpPr>
        <p:spPr>
          <a:xfrm>
            <a:off x="605465" y="2450310"/>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193805" y="2443217"/>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1821118" y="2450310"/>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2483889" y="2443217"/>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6" name="Isosceles Triangle 105"/>
          <p:cNvSpPr/>
          <p:nvPr/>
        </p:nvSpPr>
        <p:spPr>
          <a:xfrm>
            <a:off x="2843479" y="3673707"/>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07" name="Isosceles Triangle 106"/>
          <p:cNvSpPr/>
          <p:nvPr/>
        </p:nvSpPr>
        <p:spPr>
          <a:xfrm>
            <a:off x="2737998" y="3673706"/>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08" name="Isosceles Triangle 107"/>
          <p:cNvSpPr/>
          <p:nvPr/>
        </p:nvSpPr>
        <p:spPr>
          <a:xfrm>
            <a:off x="352791" y="4846992"/>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0" name="Isosceles Triangle 109"/>
          <p:cNvSpPr/>
          <p:nvPr/>
        </p:nvSpPr>
        <p:spPr>
          <a:xfrm>
            <a:off x="1556246" y="4846992"/>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1" name="Isosceles Triangle 110"/>
          <p:cNvSpPr/>
          <p:nvPr/>
        </p:nvSpPr>
        <p:spPr>
          <a:xfrm>
            <a:off x="2769401" y="4846992"/>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2" name="Isosceles Triangle 111"/>
          <p:cNvSpPr/>
          <p:nvPr/>
        </p:nvSpPr>
        <p:spPr>
          <a:xfrm>
            <a:off x="2663920" y="4846992"/>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5" name="Isosceles Triangle 114"/>
          <p:cNvSpPr/>
          <p:nvPr/>
        </p:nvSpPr>
        <p:spPr>
          <a:xfrm flipV="1">
            <a:off x="1510956" y="1945399"/>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6" name="Isosceles Triangle 115"/>
          <p:cNvSpPr/>
          <p:nvPr/>
        </p:nvSpPr>
        <p:spPr>
          <a:xfrm flipV="1">
            <a:off x="419958" y="1945399"/>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7" name="Isosceles Triangle 116"/>
          <p:cNvSpPr/>
          <p:nvPr/>
        </p:nvSpPr>
        <p:spPr>
          <a:xfrm flipV="1">
            <a:off x="2830723" y="1945399"/>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8" name="Isosceles Triangle 117"/>
          <p:cNvSpPr/>
          <p:nvPr/>
        </p:nvSpPr>
        <p:spPr>
          <a:xfrm flipV="1">
            <a:off x="2652781" y="1945399"/>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9" name="Title 2"/>
          <p:cNvSpPr txBox="1">
            <a:spLocks/>
          </p:cNvSpPr>
          <p:nvPr/>
        </p:nvSpPr>
        <p:spPr>
          <a:xfrm>
            <a:off x="3379898" y="56206"/>
            <a:ext cx="338328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Key </a:t>
            </a:r>
            <a:r>
              <a:rPr lang="en-US" sz="4400" b="0" kern="1200" dirty="0" smtClean="0">
                <a:latin typeface="KPMG Extralight" panose="020B0303030202040204" pitchFamily="34" charset="0"/>
                <a:cs typeface="+mj-cs"/>
              </a:rPr>
              <a:t>Findings &amp; Initiatives</a:t>
            </a:r>
            <a:endParaRPr lang="en-US" sz="4400" b="0" kern="1200" baseline="30000" dirty="0">
              <a:latin typeface="KPMG Extralight" panose="020B0303030202040204" pitchFamily="34" charset="0"/>
              <a:ea typeface="+mj-ea"/>
              <a:cs typeface="+mj-cs"/>
            </a:endParaRPr>
          </a:p>
        </p:txBody>
      </p:sp>
      <p:graphicFrame>
        <p:nvGraphicFramePr>
          <p:cNvPr id="6" name="Table 5"/>
          <p:cNvGraphicFramePr>
            <a:graphicFrameLocks noGrp="1"/>
          </p:cNvGraphicFramePr>
          <p:nvPr>
            <p:extLst>
              <p:ext uri="{D42A27DB-BD31-4B8C-83A1-F6EECF244321}">
                <p14:modId xmlns:p14="http://schemas.microsoft.com/office/powerpoint/2010/main" val="4029574643"/>
              </p:ext>
            </p:extLst>
          </p:nvPr>
        </p:nvGraphicFramePr>
        <p:xfrm>
          <a:off x="3793054" y="995656"/>
          <a:ext cx="8154904" cy="2499360"/>
        </p:xfrm>
        <a:graphic>
          <a:graphicData uri="http://schemas.openxmlformats.org/drawingml/2006/table">
            <a:tbl>
              <a:tblPr firstRow="1" bandRow="1">
                <a:tableStyleId>{00A15C55-8517-42AA-B614-E9B94910E393}</a:tableStyleId>
              </a:tblPr>
              <a:tblGrid>
                <a:gridCol w="1857375"/>
                <a:gridCol w="6297529"/>
              </a:tblGrid>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spc="-10" dirty="0" smtClean="0">
                          <a:solidFill>
                            <a:schemeClr val="bg1"/>
                          </a:solidFill>
                        </a:rPr>
                        <a:t>Leadership Support &amp; Executive Alignment</a:t>
                      </a:r>
                      <a:endParaRPr lang="en-US" sz="1400" b="0" dirty="0" smtClean="0">
                        <a:solidFill>
                          <a:schemeClr val="bg1"/>
                        </a:solidFill>
                        <a:latin typeface="+mn-lt"/>
                        <a:cs typeface="Univers for KPMG"/>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Ensure executive level ownership and accountability for digital strategy setting to better drive enterprise-wide acceptance and secure bold alignment at the top</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rPr>
                        <a:t>Digital Initiatives Orchestration</a:t>
                      </a:r>
                      <a:endParaRPr lang="en-US" sz="1400" b="0" kern="1200" spc="-10" dirty="0" smtClean="0">
                        <a:solidFill>
                          <a:schemeClr val="bg1"/>
                        </a:solidFill>
                        <a:latin typeface="Univers for KPMG"/>
                        <a:ea typeface="+mn-ea"/>
                        <a:cs typeface="Univers for KPMG"/>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kern="1200" dirty="0" smtClean="0">
                          <a:solidFill>
                            <a:srgbClr val="00338D"/>
                          </a:solidFill>
                          <a:latin typeface="+mn-lt"/>
                          <a:ea typeface="+mn-ea"/>
                          <a:cs typeface="+mn-cs"/>
                        </a:rPr>
                        <a:t>Establish a system that identifies the digital initiatives with the most potential to have enterprise-wide impact</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rPr>
                        <a:t>Goal </a:t>
                      </a:r>
                    </a:p>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rPr>
                        <a:t>Congruence</a:t>
                      </a:r>
                      <a:endParaRPr lang="en-US" sz="1400" b="0" kern="1200" spc="-10" dirty="0" smtClean="0">
                        <a:solidFill>
                          <a:schemeClr val="bg1"/>
                        </a:solidFill>
                        <a:latin typeface="Univers for KPMG"/>
                        <a:ea typeface="+mn-ea"/>
                        <a:cs typeface="Univers for KPMG"/>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kern="1200" dirty="0" smtClean="0">
                          <a:solidFill>
                            <a:srgbClr val="00338D"/>
                          </a:solidFill>
                          <a:latin typeface="+mn-lt"/>
                          <a:ea typeface="+mn-ea"/>
                          <a:cs typeface="+mn-cs"/>
                        </a:rPr>
                        <a:t>Approach digital ambition setting emphasizing  coordination at all levels of the corporation</a:t>
                      </a:r>
                      <a:r>
                        <a:rPr lang="en-US" sz="1400" kern="1200" baseline="0" dirty="0" smtClean="0">
                          <a:solidFill>
                            <a:srgbClr val="00338D"/>
                          </a:solidFill>
                          <a:latin typeface="+mn-lt"/>
                          <a:ea typeface="+mn-ea"/>
                          <a:cs typeface="+mn-cs"/>
                        </a:rPr>
                        <a:t> – </a:t>
                      </a:r>
                      <a:r>
                        <a:rPr lang="en-US" sz="1400" kern="1200" dirty="0" smtClean="0">
                          <a:solidFill>
                            <a:srgbClr val="00338D"/>
                          </a:solidFill>
                          <a:latin typeface="+mn-lt"/>
                          <a:ea typeface="+mn-ea"/>
                          <a:cs typeface="+mn-cs"/>
                        </a:rPr>
                        <a:t>alignment at the top, agility in the middle and mobilization at the front line</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rPr>
                        <a:t>Value </a:t>
                      </a:r>
                    </a:p>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rPr>
                        <a:t>Measurement</a:t>
                      </a:r>
                      <a:endParaRPr lang="en-US" sz="1400" b="0" kern="1200" spc="-10" dirty="0" smtClean="0">
                        <a:solidFill>
                          <a:schemeClr val="bg1"/>
                        </a:solidFill>
                        <a:latin typeface="Univers for KPMG"/>
                        <a:ea typeface="+mn-ea"/>
                        <a:cs typeface="Univers for KPMG"/>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kern="1200" dirty="0" smtClean="0">
                          <a:solidFill>
                            <a:srgbClr val="00338D"/>
                          </a:solidFill>
                          <a:latin typeface="+mn-lt"/>
                          <a:ea typeface="+mn-ea"/>
                          <a:cs typeface="+mn-cs"/>
                        </a:rPr>
                        <a:t>Develop a measurable framework of key performance indicators to monitor and report benefits from digital investment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bl>
          </a:graphicData>
        </a:graphic>
      </p:graphicFrame>
      <p:pic>
        <p:nvPicPr>
          <p:cNvPr id="449" name="Picture 44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1004736"/>
            <a:ext cx="405670" cy="405670"/>
          </a:xfrm>
          <a:prstGeom prst="rect">
            <a:avLst/>
          </a:prstGeom>
          <a:effectLst/>
        </p:spPr>
      </p:pic>
      <p:pic>
        <p:nvPicPr>
          <p:cNvPr id="450" name="Picture 44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1653351"/>
            <a:ext cx="405670" cy="405670"/>
          </a:xfrm>
          <a:prstGeom prst="rect">
            <a:avLst/>
          </a:prstGeom>
        </p:spPr>
      </p:pic>
      <p:pic>
        <p:nvPicPr>
          <p:cNvPr id="451" name="Picture 45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2157589"/>
            <a:ext cx="405670" cy="405670"/>
          </a:xfrm>
          <a:prstGeom prst="rect">
            <a:avLst/>
          </a:prstGeom>
        </p:spPr>
      </p:pic>
      <p:pic>
        <p:nvPicPr>
          <p:cNvPr id="452" name="Picture 45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2844706"/>
            <a:ext cx="405670" cy="405670"/>
          </a:xfrm>
          <a:prstGeom prst="rect">
            <a:avLst/>
          </a:prstGeom>
        </p:spPr>
      </p:pic>
      <p:sp>
        <p:nvSpPr>
          <p:cNvPr id="453" name="Rectangle 452"/>
          <p:cNvSpPr/>
          <p:nvPr/>
        </p:nvSpPr>
        <p:spPr>
          <a:xfrm>
            <a:off x="3323435" y="595736"/>
            <a:ext cx="8595360" cy="307777"/>
          </a:xfrm>
          <a:prstGeom prst="rect">
            <a:avLst/>
          </a:prstGeom>
        </p:spPr>
        <p:txBody>
          <a:bodyPr wrap="square">
            <a:spAutoFit/>
          </a:bodyPr>
          <a:lstStyle/>
          <a:p>
            <a:pPr defTabSz="713603">
              <a:defRPr/>
            </a:pPr>
            <a:r>
              <a:rPr lang="en-US" sz="1400" dirty="0" smtClean="0">
                <a:solidFill>
                  <a:srgbClr val="00338D"/>
                </a:solidFill>
              </a:rPr>
              <a:t>The following key initiatives have been identified for </a:t>
            </a:r>
            <a:r>
              <a:rPr lang="en-US" sz="1400" dirty="0" err="1" smtClean="0">
                <a:solidFill>
                  <a:srgbClr val="00338D"/>
                </a:solidFill>
              </a:rPr>
              <a:t>FBNQuest</a:t>
            </a:r>
            <a:r>
              <a:rPr lang="en-US" sz="1400" dirty="0" smtClean="0">
                <a:solidFill>
                  <a:srgbClr val="00338D"/>
                </a:solidFill>
              </a:rPr>
              <a:t> with respect to Value Management: </a:t>
            </a:r>
            <a:endParaRPr lang="en-US" sz="1400" dirty="0">
              <a:solidFill>
                <a:srgbClr val="00338D"/>
              </a:solidFill>
            </a:endParaRPr>
          </a:p>
        </p:txBody>
      </p:sp>
      <p:grpSp>
        <p:nvGrpSpPr>
          <p:cNvPr id="454" name="Group 453"/>
          <p:cNvGrpSpPr/>
          <p:nvPr/>
        </p:nvGrpSpPr>
        <p:grpSpPr>
          <a:xfrm>
            <a:off x="7347937" y="121697"/>
            <a:ext cx="4568864" cy="274320"/>
            <a:chOff x="7916790" y="356874"/>
            <a:chExt cx="4568864" cy="274320"/>
          </a:xfrm>
        </p:grpSpPr>
        <p:grpSp>
          <p:nvGrpSpPr>
            <p:cNvPr id="455" name="Group 454"/>
            <p:cNvGrpSpPr/>
            <p:nvPr/>
          </p:nvGrpSpPr>
          <p:grpSpPr>
            <a:xfrm>
              <a:off x="7916790" y="356874"/>
              <a:ext cx="2337497" cy="274320"/>
              <a:chOff x="3793151" y="6476333"/>
              <a:chExt cx="2337497" cy="274320"/>
            </a:xfrm>
          </p:grpSpPr>
          <p:sp>
            <p:nvSpPr>
              <p:cNvPr id="460" name="Isosceles Triangle 459"/>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61" name="TextBox 460"/>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62"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63"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4" name="Isosceles Triangle 463"/>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456" name="Isosceles Triangle 45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57" name="TextBox 45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58" name="Isosceles Triangle 45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59" name="TextBox 45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465" name="Picture 46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53248" y="20474"/>
            <a:ext cx="548640" cy="155207"/>
          </a:xfrm>
          <a:prstGeom prst="rect">
            <a:avLst/>
          </a:prstGeom>
          <a:solidFill>
            <a:srgbClr val="BFBFBF"/>
          </a:solidFill>
        </p:spPr>
      </p:pic>
      <p:sp>
        <p:nvSpPr>
          <p:cNvPr id="467" name="Snip Diagonal Corner Rectangle 466"/>
          <p:cNvSpPr/>
          <p:nvPr/>
        </p:nvSpPr>
        <p:spPr>
          <a:xfrm>
            <a:off x="6810046" y="4016169"/>
            <a:ext cx="5106756" cy="2384631"/>
          </a:xfrm>
          <a:prstGeom prst="snip2Diag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defTabSz="890789">
              <a:buFont typeface="Arial" panose="020B0604020202020204" pitchFamily="34" charset="0"/>
              <a:buChar char="•"/>
              <a:defRPr/>
            </a:pPr>
            <a:r>
              <a:rPr lang="en-US" sz="1400" b="1" dirty="0">
                <a:solidFill>
                  <a:schemeClr val="bg1"/>
                </a:solidFill>
              </a:rPr>
              <a:t>DBS</a:t>
            </a:r>
            <a:r>
              <a:rPr lang="en-US" sz="1400" dirty="0">
                <a:solidFill>
                  <a:schemeClr val="bg1"/>
                </a:solidFill>
              </a:rPr>
              <a:t> is the first bank to develop a methodology to measure digital value creation – this is done by delineating customers into two segments – digital and traditional, then, defining measurable KPI for the across digital customers across Customer Growth, Transaction Volumes, Value Creation, Customer Experience, Ecosystem Partnerships &amp; Footprint</a:t>
            </a:r>
            <a:r>
              <a:rPr lang="en-US" sz="1400" dirty="0" smtClean="0">
                <a:solidFill>
                  <a:schemeClr val="bg1"/>
                </a:solidFill>
              </a:rPr>
              <a:t>. </a:t>
            </a:r>
            <a:r>
              <a:rPr lang="en-US" sz="1400" i="1" dirty="0" smtClean="0">
                <a:solidFill>
                  <a:schemeClr val="bg1"/>
                </a:solidFill>
              </a:rPr>
              <a:t>Refer </a:t>
            </a:r>
            <a:r>
              <a:rPr lang="en-US" sz="1400" i="1" dirty="0">
                <a:solidFill>
                  <a:schemeClr val="bg1"/>
                </a:solidFill>
              </a:rPr>
              <a:t>to </a:t>
            </a:r>
            <a:r>
              <a:rPr lang="en-US" sz="1400" i="1" dirty="0" smtClean="0">
                <a:solidFill>
                  <a:schemeClr val="bg1"/>
                </a:solidFill>
              </a:rPr>
              <a:t>Detailed Assessment </a:t>
            </a:r>
            <a:r>
              <a:rPr lang="en-US" sz="1400" i="1" dirty="0">
                <a:solidFill>
                  <a:schemeClr val="bg1"/>
                </a:solidFill>
              </a:rPr>
              <a:t>– Value </a:t>
            </a:r>
            <a:r>
              <a:rPr lang="en-US" sz="1400" i="1" dirty="0" smtClean="0">
                <a:solidFill>
                  <a:schemeClr val="bg1"/>
                </a:solidFill>
              </a:rPr>
              <a:t>Management for details.</a:t>
            </a:r>
            <a:endParaRPr lang="en-US" sz="1400" i="1" dirty="0">
              <a:solidFill>
                <a:schemeClr val="bg1"/>
              </a:solidFill>
            </a:endParaRPr>
          </a:p>
        </p:txBody>
      </p:sp>
      <p:grpSp>
        <p:nvGrpSpPr>
          <p:cNvPr id="468" name="Group 467"/>
          <p:cNvGrpSpPr/>
          <p:nvPr/>
        </p:nvGrpSpPr>
        <p:grpSpPr>
          <a:xfrm>
            <a:off x="3814470" y="4026391"/>
            <a:ext cx="2940035" cy="2373244"/>
            <a:chOff x="3542201" y="3302599"/>
            <a:chExt cx="3684601" cy="3098199"/>
          </a:xfrm>
        </p:grpSpPr>
        <p:sp>
          <p:nvSpPr>
            <p:cNvPr id="469" name="Rectangle 468"/>
            <p:cNvSpPr/>
            <p:nvPr/>
          </p:nvSpPr>
          <p:spPr>
            <a:xfrm>
              <a:off x="3542201" y="3302599"/>
              <a:ext cx="3684601" cy="3098199"/>
            </a:xfrm>
            <a:prstGeom prst="rect">
              <a:avLst/>
            </a:prstGeom>
            <a:noFill/>
            <a:ln w="190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470" name="Freeform 28"/>
            <p:cNvSpPr>
              <a:spLocks/>
            </p:cNvSpPr>
            <p:nvPr/>
          </p:nvSpPr>
          <p:spPr bwMode="auto">
            <a:xfrm>
              <a:off x="3636441" y="3702411"/>
              <a:ext cx="924879" cy="732677"/>
            </a:xfrm>
            <a:custGeom>
              <a:avLst/>
              <a:gdLst>
                <a:gd name="T0" fmla="*/ 27 w 14387"/>
                <a:gd name="T1" fmla="*/ 10280 h 13637"/>
                <a:gd name="T2" fmla="*/ 47 w 14387"/>
                <a:gd name="T3" fmla="*/ 9679 h 13637"/>
                <a:gd name="T4" fmla="*/ 46 w 14387"/>
                <a:gd name="T5" fmla="*/ 9104 h 13637"/>
                <a:gd name="T6" fmla="*/ 85 w 14387"/>
                <a:gd name="T7" fmla="*/ 8599 h 13637"/>
                <a:gd name="T8" fmla="*/ 145 w 14387"/>
                <a:gd name="T9" fmla="*/ 7943 h 13637"/>
                <a:gd name="T10" fmla="*/ 173 w 14387"/>
                <a:gd name="T11" fmla="*/ 7168 h 13637"/>
                <a:gd name="T12" fmla="*/ 735 w 14387"/>
                <a:gd name="T13" fmla="*/ 6372 h 13637"/>
                <a:gd name="T14" fmla="*/ 1085 w 14387"/>
                <a:gd name="T15" fmla="*/ 5576 h 13637"/>
                <a:gd name="T16" fmla="*/ 1306 w 14387"/>
                <a:gd name="T17" fmla="*/ 5168 h 13637"/>
                <a:gd name="T18" fmla="*/ 1420 w 14387"/>
                <a:gd name="T19" fmla="*/ 4292 h 13637"/>
                <a:gd name="T20" fmla="*/ 1138 w 14387"/>
                <a:gd name="T21" fmla="*/ 3442 h 13637"/>
                <a:gd name="T22" fmla="*/ 1262 w 14387"/>
                <a:gd name="T23" fmla="*/ 2953 h 13637"/>
                <a:gd name="T24" fmla="*/ 1245 w 14387"/>
                <a:gd name="T25" fmla="*/ 2311 h 13637"/>
                <a:gd name="T26" fmla="*/ 1486 w 14387"/>
                <a:gd name="T27" fmla="*/ 1710 h 13637"/>
                <a:gd name="T28" fmla="*/ 1959 w 14387"/>
                <a:gd name="T29" fmla="*/ 1064 h 13637"/>
                <a:gd name="T30" fmla="*/ 1975 w 14387"/>
                <a:gd name="T31" fmla="*/ 561 h 13637"/>
                <a:gd name="T32" fmla="*/ 3297 w 14387"/>
                <a:gd name="T33" fmla="*/ 55 h 13637"/>
                <a:gd name="T34" fmla="*/ 4430 w 14387"/>
                <a:gd name="T35" fmla="*/ 360 h 13637"/>
                <a:gd name="T36" fmla="*/ 5116 w 14387"/>
                <a:gd name="T37" fmla="*/ 1009 h 13637"/>
                <a:gd name="T38" fmla="*/ 5881 w 14387"/>
                <a:gd name="T39" fmla="*/ 1050 h 13637"/>
                <a:gd name="T40" fmla="*/ 6805 w 14387"/>
                <a:gd name="T41" fmla="*/ 1048 h 13637"/>
                <a:gd name="T42" fmla="*/ 7701 w 14387"/>
                <a:gd name="T43" fmla="*/ 1563 h 13637"/>
                <a:gd name="T44" fmla="*/ 8779 w 14387"/>
                <a:gd name="T45" fmla="*/ 1265 h 13637"/>
                <a:gd name="T46" fmla="*/ 9583 w 14387"/>
                <a:gd name="T47" fmla="*/ 794 h 13637"/>
                <a:gd name="T48" fmla="*/ 10879 w 14387"/>
                <a:gd name="T49" fmla="*/ 894 h 13637"/>
                <a:gd name="T50" fmla="*/ 11840 w 14387"/>
                <a:gd name="T51" fmla="*/ 1014 h 13637"/>
                <a:gd name="T52" fmla="*/ 12680 w 14387"/>
                <a:gd name="T53" fmla="*/ 357 h 13637"/>
                <a:gd name="T54" fmla="*/ 13485 w 14387"/>
                <a:gd name="T55" fmla="*/ 718 h 13637"/>
                <a:gd name="T56" fmla="*/ 13812 w 14387"/>
                <a:gd name="T57" fmla="*/ 2019 h 13637"/>
                <a:gd name="T58" fmla="*/ 14343 w 14387"/>
                <a:gd name="T59" fmla="*/ 2628 h 13637"/>
                <a:gd name="T60" fmla="*/ 14087 w 14387"/>
                <a:gd name="T61" fmla="*/ 3450 h 13637"/>
                <a:gd name="T62" fmla="*/ 13437 w 14387"/>
                <a:gd name="T63" fmla="*/ 3985 h 13637"/>
                <a:gd name="T64" fmla="*/ 13139 w 14387"/>
                <a:gd name="T65" fmla="*/ 4887 h 13637"/>
                <a:gd name="T66" fmla="*/ 12755 w 14387"/>
                <a:gd name="T67" fmla="*/ 5747 h 13637"/>
                <a:gd name="T68" fmla="*/ 12420 w 14387"/>
                <a:gd name="T69" fmla="*/ 6297 h 13637"/>
                <a:gd name="T70" fmla="*/ 12098 w 14387"/>
                <a:gd name="T71" fmla="*/ 7371 h 13637"/>
                <a:gd name="T72" fmla="*/ 11472 w 14387"/>
                <a:gd name="T73" fmla="*/ 8095 h 13637"/>
                <a:gd name="T74" fmla="*/ 11249 w 14387"/>
                <a:gd name="T75" fmla="*/ 8865 h 13637"/>
                <a:gd name="T76" fmla="*/ 10986 w 14387"/>
                <a:gd name="T77" fmla="*/ 9595 h 13637"/>
                <a:gd name="T78" fmla="*/ 10450 w 14387"/>
                <a:gd name="T79" fmla="*/ 10430 h 13637"/>
                <a:gd name="T80" fmla="*/ 9601 w 14387"/>
                <a:gd name="T81" fmla="*/ 9618 h 13637"/>
                <a:gd name="T82" fmla="*/ 8897 w 14387"/>
                <a:gd name="T83" fmla="*/ 9834 h 13637"/>
                <a:gd name="T84" fmla="*/ 8187 w 14387"/>
                <a:gd name="T85" fmla="*/ 10571 h 13637"/>
                <a:gd name="T86" fmla="*/ 7519 w 14387"/>
                <a:gd name="T87" fmla="*/ 11196 h 13637"/>
                <a:gd name="T88" fmla="*/ 7414 w 14387"/>
                <a:gd name="T89" fmla="*/ 11917 h 13637"/>
                <a:gd name="T90" fmla="*/ 7130 w 14387"/>
                <a:gd name="T91" fmla="*/ 12682 h 13637"/>
                <a:gd name="T92" fmla="*/ 7039 w 14387"/>
                <a:gd name="T93" fmla="*/ 13363 h 13637"/>
                <a:gd name="T94" fmla="*/ 6654 w 14387"/>
                <a:gd name="T95" fmla="*/ 12729 h 13637"/>
                <a:gd name="T96" fmla="*/ 6463 w 14387"/>
                <a:gd name="T97" fmla="*/ 13222 h 13637"/>
                <a:gd name="T98" fmla="*/ 5535 w 14387"/>
                <a:gd name="T99" fmla="*/ 13389 h 13637"/>
                <a:gd name="T100" fmla="*/ 5020 w 14387"/>
                <a:gd name="T101" fmla="*/ 13460 h 13637"/>
                <a:gd name="T102" fmla="*/ 4437 w 14387"/>
                <a:gd name="T103" fmla="*/ 13515 h 13637"/>
                <a:gd name="T104" fmla="*/ 3751 w 14387"/>
                <a:gd name="T105" fmla="*/ 13365 h 13637"/>
                <a:gd name="T106" fmla="*/ 3432 w 14387"/>
                <a:gd name="T107" fmla="*/ 12710 h 13637"/>
                <a:gd name="T108" fmla="*/ 2988 w 14387"/>
                <a:gd name="T109" fmla="*/ 11804 h 13637"/>
                <a:gd name="T110" fmla="*/ 2684 w 14387"/>
                <a:gd name="T111" fmla="*/ 11216 h 13637"/>
                <a:gd name="T112" fmla="*/ 1929 w 14387"/>
                <a:gd name="T113" fmla="*/ 10569 h 13637"/>
                <a:gd name="T114" fmla="*/ 890 w 14387"/>
                <a:gd name="T115" fmla="*/ 10343 h 13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7" h="13637">
                  <a:moveTo>
                    <a:pt x="659" y="10386"/>
                  </a:moveTo>
                  <a:lnTo>
                    <a:pt x="561" y="10435"/>
                  </a:lnTo>
                  <a:lnTo>
                    <a:pt x="294" y="10452"/>
                  </a:lnTo>
                  <a:lnTo>
                    <a:pt x="159" y="10419"/>
                  </a:lnTo>
                  <a:lnTo>
                    <a:pt x="50" y="10435"/>
                  </a:lnTo>
                  <a:lnTo>
                    <a:pt x="0" y="10367"/>
                  </a:lnTo>
                  <a:lnTo>
                    <a:pt x="27" y="10280"/>
                  </a:lnTo>
                  <a:lnTo>
                    <a:pt x="43" y="10181"/>
                  </a:lnTo>
                  <a:lnTo>
                    <a:pt x="43" y="9929"/>
                  </a:lnTo>
                  <a:lnTo>
                    <a:pt x="29" y="9877"/>
                  </a:lnTo>
                  <a:lnTo>
                    <a:pt x="60" y="9839"/>
                  </a:lnTo>
                  <a:lnTo>
                    <a:pt x="40" y="9780"/>
                  </a:lnTo>
                  <a:lnTo>
                    <a:pt x="65" y="9730"/>
                  </a:lnTo>
                  <a:lnTo>
                    <a:pt x="47" y="9679"/>
                  </a:lnTo>
                  <a:lnTo>
                    <a:pt x="32" y="9584"/>
                  </a:lnTo>
                  <a:lnTo>
                    <a:pt x="35" y="9475"/>
                  </a:lnTo>
                  <a:lnTo>
                    <a:pt x="58" y="9374"/>
                  </a:lnTo>
                  <a:lnTo>
                    <a:pt x="62" y="9292"/>
                  </a:lnTo>
                  <a:lnTo>
                    <a:pt x="46" y="9222"/>
                  </a:lnTo>
                  <a:lnTo>
                    <a:pt x="57" y="9146"/>
                  </a:lnTo>
                  <a:lnTo>
                    <a:pt x="46" y="9104"/>
                  </a:lnTo>
                  <a:lnTo>
                    <a:pt x="35" y="9044"/>
                  </a:lnTo>
                  <a:lnTo>
                    <a:pt x="39" y="8985"/>
                  </a:lnTo>
                  <a:lnTo>
                    <a:pt x="50" y="8938"/>
                  </a:lnTo>
                  <a:lnTo>
                    <a:pt x="40" y="8837"/>
                  </a:lnTo>
                  <a:lnTo>
                    <a:pt x="57" y="8745"/>
                  </a:lnTo>
                  <a:lnTo>
                    <a:pt x="85" y="8641"/>
                  </a:lnTo>
                  <a:lnTo>
                    <a:pt x="85" y="8599"/>
                  </a:lnTo>
                  <a:lnTo>
                    <a:pt x="101" y="8492"/>
                  </a:lnTo>
                  <a:lnTo>
                    <a:pt x="104" y="8421"/>
                  </a:lnTo>
                  <a:lnTo>
                    <a:pt x="116" y="8354"/>
                  </a:lnTo>
                  <a:lnTo>
                    <a:pt x="138" y="8302"/>
                  </a:lnTo>
                  <a:lnTo>
                    <a:pt x="148" y="8190"/>
                  </a:lnTo>
                  <a:lnTo>
                    <a:pt x="132" y="8109"/>
                  </a:lnTo>
                  <a:lnTo>
                    <a:pt x="145" y="7943"/>
                  </a:lnTo>
                  <a:lnTo>
                    <a:pt x="140" y="7804"/>
                  </a:lnTo>
                  <a:lnTo>
                    <a:pt x="119" y="7704"/>
                  </a:lnTo>
                  <a:lnTo>
                    <a:pt x="140" y="7603"/>
                  </a:lnTo>
                  <a:lnTo>
                    <a:pt x="141" y="7413"/>
                  </a:lnTo>
                  <a:lnTo>
                    <a:pt x="181" y="7360"/>
                  </a:lnTo>
                  <a:lnTo>
                    <a:pt x="218" y="7214"/>
                  </a:lnTo>
                  <a:lnTo>
                    <a:pt x="173" y="7168"/>
                  </a:lnTo>
                  <a:lnTo>
                    <a:pt x="174" y="7018"/>
                  </a:lnTo>
                  <a:lnTo>
                    <a:pt x="217" y="6870"/>
                  </a:lnTo>
                  <a:lnTo>
                    <a:pt x="267" y="6797"/>
                  </a:lnTo>
                  <a:lnTo>
                    <a:pt x="333" y="6773"/>
                  </a:lnTo>
                  <a:lnTo>
                    <a:pt x="433" y="6772"/>
                  </a:lnTo>
                  <a:lnTo>
                    <a:pt x="688" y="6473"/>
                  </a:lnTo>
                  <a:lnTo>
                    <a:pt x="735" y="6372"/>
                  </a:lnTo>
                  <a:lnTo>
                    <a:pt x="730" y="6175"/>
                  </a:lnTo>
                  <a:lnTo>
                    <a:pt x="777" y="6078"/>
                  </a:lnTo>
                  <a:lnTo>
                    <a:pt x="804" y="5968"/>
                  </a:lnTo>
                  <a:lnTo>
                    <a:pt x="865" y="5927"/>
                  </a:lnTo>
                  <a:lnTo>
                    <a:pt x="912" y="5818"/>
                  </a:lnTo>
                  <a:lnTo>
                    <a:pt x="997" y="5681"/>
                  </a:lnTo>
                  <a:lnTo>
                    <a:pt x="1085" y="5576"/>
                  </a:lnTo>
                  <a:lnTo>
                    <a:pt x="1154" y="5538"/>
                  </a:lnTo>
                  <a:lnTo>
                    <a:pt x="1207" y="5488"/>
                  </a:lnTo>
                  <a:lnTo>
                    <a:pt x="1253" y="5436"/>
                  </a:lnTo>
                  <a:lnTo>
                    <a:pt x="1253" y="5338"/>
                  </a:lnTo>
                  <a:lnTo>
                    <a:pt x="1292" y="5240"/>
                  </a:lnTo>
                  <a:lnTo>
                    <a:pt x="1328" y="5211"/>
                  </a:lnTo>
                  <a:lnTo>
                    <a:pt x="1306" y="5168"/>
                  </a:lnTo>
                  <a:lnTo>
                    <a:pt x="1344" y="5116"/>
                  </a:lnTo>
                  <a:lnTo>
                    <a:pt x="1260" y="5070"/>
                  </a:lnTo>
                  <a:lnTo>
                    <a:pt x="1259" y="4871"/>
                  </a:lnTo>
                  <a:lnTo>
                    <a:pt x="1348" y="4819"/>
                  </a:lnTo>
                  <a:lnTo>
                    <a:pt x="1408" y="4743"/>
                  </a:lnTo>
                  <a:lnTo>
                    <a:pt x="1432" y="4625"/>
                  </a:lnTo>
                  <a:lnTo>
                    <a:pt x="1420" y="4292"/>
                  </a:lnTo>
                  <a:lnTo>
                    <a:pt x="1431" y="4175"/>
                  </a:lnTo>
                  <a:lnTo>
                    <a:pt x="1430" y="4062"/>
                  </a:lnTo>
                  <a:lnTo>
                    <a:pt x="1441" y="3970"/>
                  </a:lnTo>
                  <a:lnTo>
                    <a:pt x="1356" y="3842"/>
                  </a:lnTo>
                  <a:lnTo>
                    <a:pt x="1308" y="3738"/>
                  </a:lnTo>
                  <a:lnTo>
                    <a:pt x="1138" y="3543"/>
                  </a:lnTo>
                  <a:lnTo>
                    <a:pt x="1138" y="3442"/>
                  </a:lnTo>
                  <a:lnTo>
                    <a:pt x="1183" y="3342"/>
                  </a:lnTo>
                  <a:lnTo>
                    <a:pt x="1138" y="3296"/>
                  </a:lnTo>
                  <a:lnTo>
                    <a:pt x="1135" y="3197"/>
                  </a:lnTo>
                  <a:lnTo>
                    <a:pt x="1182" y="3146"/>
                  </a:lnTo>
                  <a:lnTo>
                    <a:pt x="1224" y="3045"/>
                  </a:lnTo>
                  <a:lnTo>
                    <a:pt x="1228" y="2996"/>
                  </a:lnTo>
                  <a:lnTo>
                    <a:pt x="1262" y="2953"/>
                  </a:lnTo>
                  <a:lnTo>
                    <a:pt x="1237" y="2850"/>
                  </a:lnTo>
                  <a:lnTo>
                    <a:pt x="1270" y="2797"/>
                  </a:lnTo>
                  <a:lnTo>
                    <a:pt x="1231" y="2752"/>
                  </a:lnTo>
                  <a:lnTo>
                    <a:pt x="1240" y="2615"/>
                  </a:lnTo>
                  <a:lnTo>
                    <a:pt x="1207" y="2515"/>
                  </a:lnTo>
                  <a:lnTo>
                    <a:pt x="1232" y="2412"/>
                  </a:lnTo>
                  <a:lnTo>
                    <a:pt x="1245" y="2311"/>
                  </a:lnTo>
                  <a:lnTo>
                    <a:pt x="1276" y="2201"/>
                  </a:lnTo>
                  <a:lnTo>
                    <a:pt x="1315" y="2107"/>
                  </a:lnTo>
                  <a:lnTo>
                    <a:pt x="1330" y="2008"/>
                  </a:lnTo>
                  <a:lnTo>
                    <a:pt x="1351" y="1925"/>
                  </a:lnTo>
                  <a:lnTo>
                    <a:pt x="1447" y="1810"/>
                  </a:lnTo>
                  <a:lnTo>
                    <a:pt x="1450" y="1755"/>
                  </a:lnTo>
                  <a:lnTo>
                    <a:pt x="1486" y="1710"/>
                  </a:lnTo>
                  <a:lnTo>
                    <a:pt x="1523" y="1616"/>
                  </a:lnTo>
                  <a:lnTo>
                    <a:pt x="1788" y="1464"/>
                  </a:lnTo>
                  <a:lnTo>
                    <a:pt x="1830" y="1359"/>
                  </a:lnTo>
                  <a:lnTo>
                    <a:pt x="1916" y="1268"/>
                  </a:lnTo>
                  <a:lnTo>
                    <a:pt x="1960" y="1165"/>
                  </a:lnTo>
                  <a:lnTo>
                    <a:pt x="2000" y="1116"/>
                  </a:lnTo>
                  <a:lnTo>
                    <a:pt x="1959" y="1064"/>
                  </a:lnTo>
                  <a:lnTo>
                    <a:pt x="1960" y="868"/>
                  </a:lnTo>
                  <a:lnTo>
                    <a:pt x="1998" y="819"/>
                  </a:lnTo>
                  <a:lnTo>
                    <a:pt x="1934" y="760"/>
                  </a:lnTo>
                  <a:lnTo>
                    <a:pt x="1975" y="708"/>
                  </a:lnTo>
                  <a:lnTo>
                    <a:pt x="1938" y="664"/>
                  </a:lnTo>
                  <a:lnTo>
                    <a:pt x="1975" y="612"/>
                  </a:lnTo>
                  <a:lnTo>
                    <a:pt x="1975" y="561"/>
                  </a:lnTo>
                  <a:lnTo>
                    <a:pt x="2025" y="507"/>
                  </a:lnTo>
                  <a:lnTo>
                    <a:pt x="2189" y="365"/>
                  </a:lnTo>
                  <a:lnTo>
                    <a:pt x="2318" y="316"/>
                  </a:lnTo>
                  <a:lnTo>
                    <a:pt x="2665" y="117"/>
                  </a:lnTo>
                  <a:lnTo>
                    <a:pt x="3101" y="118"/>
                  </a:lnTo>
                  <a:lnTo>
                    <a:pt x="3177" y="63"/>
                  </a:lnTo>
                  <a:lnTo>
                    <a:pt x="3297" y="55"/>
                  </a:lnTo>
                  <a:lnTo>
                    <a:pt x="3406" y="16"/>
                  </a:lnTo>
                  <a:lnTo>
                    <a:pt x="3528" y="15"/>
                  </a:lnTo>
                  <a:lnTo>
                    <a:pt x="3641" y="0"/>
                  </a:lnTo>
                  <a:lnTo>
                    <a:pt x="3748" y="19"/>
                  </a:lnTo>
                  <a:lnTo>
                    <a:pt x="3832" y="118"/>
                  </a:lnTo>
                  <a:lnTo>
                    <a:pt x="3925" y="170"/>
                  </a:lnTo>
                  <a:lnTo>
                    <a:pt x="4430" y="360"/>
                  </a:lnTo>
                  <a:lnTo>
                    <a:pt x="4708" y="474"/>
                  </a:lnTo>
                  <a:lnTo>
                    <a:pt x="4809" y="583"/>
                  </a:lnTo>
                  <a:lnTo>
                    <a:pt x="4813" y="730"/>
                  </a:lnTo>
                  <a:lnTo>
                    <a:pt x="4782" y="835"/>
                  </a:lnTo>
                  <a:lnTo>
                    <a:pt x="4906" y="907"/>
                  </a:lnTo>
                  <a:lnTo>
                    <a:pt x="5041" y="944"/>
                  </a:lnTo>
                  <a:lnTo>
                    <a:pt x="5116" y="1009"/>
                  </a:lnTo>
                  <a:lnTo>
                    <a:pt x="5292" y="1394"/>
                  </a:lnTo>
                  <a:lnTo>
                    <a:pt x="5350" y="1329"/>
                  </a:lnTo>
                  <a:lnTo>
                    <a:pt x="5440" y="1279"/>
                  </a:lnTo>
                  <a:lnTo>
                    <a:pt x="5529" y="1181"/>
                  </a:lnTo>
                  <a:lnTo>
                    <a:pt x="5662" y="1129"/>
                  </a:lnTo>
                  <a:lnTo>
                    <a:pt x="5791" y="1127"/>
                  </a:lnTo>
                  <a:lnTo>
                    <a:pt x="5881" y="1050"/>
                  </a:lnTo>
                  <a:lnTo>
                    <a:pt x="6001" y="933"/>
                  </a:lnTo>
                  <a:lnTo>
                    <a:pt x="6132" y="933"/>
                  </a:lnTo>
                  <a:lnTo>
                    <a:pt x="6394" y="833"/>
                  </a:lnTo>
                  <a:lnTo>
                    <a:pt x="6526" y="833"/>
                  </a:lnTo>
                  <a:lnTo>
                    <a:pt x="6698" y="885"/>
                  </a:lnTo>
                  <a:lnTo>
                    <a:pt x="6740" y="983"/>
                  </a:lnTo>
                  <a:lnTo>
                    <a:pt x="6805" y="1048"/>
                  </a:lnTo>
                  <a:lnTo>
                    <a:pt x="6866" y="1078"/>
                  </a:lnTo>
                  <a:lnTo>
                    <a:pt x="6974" y="1081"/>
                  </a:lnTo>
                  <a:lnTo>
                    <a:pt x="7142" y="1216"/>
                  </a:lnTo>
                  <a:lnTo>
                    <a:pt x="7431" y="1428"/>
                  </a:lnTo>
                  <a:lnTo>
                    <a:pt x="7560" y="1477"/>
                  </a:lnTo>
                  <a:lnTo>
                    <a:pt x="7646" y="1525"/>
                  </a:lnTo>
                  <a:lnTo>
                    <a:pt x="7701" y="1563"/>
                  </a:lnTo>
                  <a:lnTo>
                    <a:pt x="7880" y="1519"/>
                  </a:lnTo>
                  <a:lnTo>
                    <a:pt x="8012" y="1467"/>
                  </a:lnTo>
                  <a:lnTo>
                    <a:pt x="8147" y="1516"/>
                  </a:lnTo>
                  <a:lnTo>
                    <a:pt x="8322" y="1570"/>
                  </a:lnTo>
                  <a:lnTo>
                    <a:pt x="8577" y="1567"/>
                  </a:lnTo>
                  <a:lnTo>
                    <a:pt x="8631" y="1371"/>
                  </a:lnTo>
                  <a:lnTo>
                    <a:pt x="8779" y="1265"/>
                  </a:lnTo>
                  <a:lnTo>
                    <a:pt x="8818" y="1119"/>
                  </a:lnTo>
                  <a:lnTo>
                    <a:pt x="8908" y="1016"/>
                  </a:lnTo>
                  <a:lnTo>
                    <a:pt x="9083" y="915"/>
                  </a:lnTo>
                  <a:lnTo>
                    <a:pt x="9226" y="879"/>
                  </a:lnTo>
                  <a:lnTo>
                    <a:pt x="9346" y="838"/>
                  </a:lnTo>
                  <a:lnTo>
                    <a:pt x="9477" y="853"/>
                  </a:lnTo>
                  <a:lnTo>
                    <a:pt x="9583" y="794"/>
                  </a:lnTo>
                  <a:lnTo>
                    <a:pt x="9677" y="845"/>
                  </a:lnTo>
                  <a:lnTo>
                    <a:pt x="9901" y="791"/>
                  </a:lnTo>
                  <a:lnTo>
                    <a:pt x="10199" y="769"/>
                  </a:lnTo>
                  <a:lnTo>
                    <a:pt x="10370" y="740"/>
                  </a:lnTo>
                  <a:lnTo>
                    <a:pt x="10532" y="778"/>
                  </a:lnTo>
                  <a:lnTo>
                    <a:pt x="10693" y="827"/>
                  </a:lnTo>
                  <a:lnTo>
                    <a:pt x="10879" y="894"/>
                  </a:lnTo>
                  <a:lnTo>
                    <a:pt x="11030" y="996"/>
                  </a:lnTo>
                  <a:lnTo>
                    <a:pt x="11197" y="1065"/>
                  </a:lnTo>
                  <a:lnTo>
                    <a:pt x="11327" y="1165"/>
                  </a:lnTo>
                  <a:lnTo>
                    <a:pt x="11500" y="1117"/>
                  </a:lnTo>
                  <a:lnTo>
                    <a:pt x="11619" y="1092"/>
                  </a:lnTo>
                  <a:lnTo>
                    <a:pt x="11702" y="1108"/>
                  </a:lnTo>
                  <a:lnTo>
                    <a:pt x="11840" y="1014"/>
                  </a:lnTo>
                  <a:lnTo>
                    <a:pt x="11928" y="914"/>
                  </a:lnTo>
                  <a:lnTo>
                    <a:pt x="12061" y="863"/>
                  </a:lnTo>
                  <a:lnTo>
                    <a:pt x="12143" y="762"/>
                  </a:lnTo>
                  <a:lnTo>
                    <a:pt x="12224" y="613"/>
                  </a:lnTo>
                  <a:lnTo>
                    <a:pt x="12378" y="528"/>
                  </a:lnTo>
                  <a:lnTo>
                    <a:pt x="12621" y="473"/>
                  </a:lnTo>
                  <a:lnTo>
                    <a:pt x="12680" y="357"/>
                  </a:lnTo>
                  <a:lnTo>
                    <a:pt x="12755" y="252"/>
                  </a:lnTo>
                  <a:lnTo>
                    <a:pt x="12902" y="225"/>
                  </a:lnTo>
                  <a:lnTo>
                    <a:pt x="13121" y="223"/>
                  </a:lnTo>
                  <a:lnTo>
                    <a:pt x="13227" y="412"/>
                  </a:lnTo>
                  <a:lnTo>
                    <a:pt x="13351" y="568"/>
                  </a:lnTo>
                  <a:lnTo>
                    <a:pt x="13371" y="673"/>
                  </a:lnTo>
                  <a:lnTo>
                    <a:pt x="13485" y="718"/>
                  </a:lnTo>
                  <a:lnTo>
                    <a:pt x="13525" y="865"/>
                  </a:lnTo>
                  <a:lnTo>
                    <a:pt x="13602" y="980"/>
                  </a:lnTo>
                  <a:lnTo>
                    <a:pt x="13646" y="1077"/>
                  </a:lnTo>
                  <a:lnTo>
                    <a:pt x="13736" y="1482"/>
                  </a:lnTo>
                  <a:lnTo>
                    <a:pt x="13781" y="1631"/>
                  </a:lnTo>
                  <a:lnTo>
                    <a:pt x="13817" y="1888"/>
                  </a:lnTo>
                  <a:lnTo>
                    <a:pt x="13812" y="2019"/>
                  </a:lnTo>
                  <a:lnTo>
                    <a:pt x="13871" y="2102"/>
                  </a:lnTo>
                  <a:lnTo>
                    <a:pt x="14089" y="2106"/>
                  </a:lnTo>
                  <a:lnTo>
                    <a:pt x="14209" y="2171"/>
                  </a:lnTo>
                  <a:lnTo>
                    <a:pt x="14326" y="2291"/>
                  </a:lnTo>
                  <a:lnTo>
                    <a:pt x="14359" y="2360"/>
                  </a:lnTo>
                  <a:lnTo>
                    <a:pt x="14387" y="2500"/>
                  </a:lnTo>
                  <a:lnTo>
                    <a:pt x="14343" y="2628"/>
                  </a:lnTo>
                  <a:lnTo>
                    <a:pt x="14343" y="2752"/>
                  </a:lnTo>
                  <a:lnTo>
                    <a:pt x="14290" y="2893"/>
                  </a:lnTo>
                  <a:lnTo>
                    <a:pt x="14313" y="2984"/>
                  </a:lnTo>
                  <a:lnTo>
                    <a:pt x="14370" y="3096"/>
                  </a:lnTo>
                  <a:lnTo>
                    <a:pt x="14343" y="3247"/>
                  </a:lnTo>
                  <a:lnTo>
                    <a:pt x="14189" y="3388"/>
                  </a:lnTo>
                  <a:lnTo>
                    <a:pt x="14087" y="3450"/>
                  </a:lnTo>
                  <a:lnTo>
                    <a:pt x="14012" y="3519"/>
                  </a:lnTo>
                  <a:lnTo>
                    <a:pt x="13856" y="3633"/>
                  </a:lnTo>
                  <a:lnTo>
                    <a:pt x="13735" y="3631"/>
                  </a:lnTo>
                  <a:lnTo>
                    <a:pt x="13623" y="3579"/>
                  </a:lnTo>
                  <a:lnTo>
                    <a:pt x="13510" y="3757"/>
                  </a:lnTo>
                  <a:lnTo>
                    <a:pt x="13452" y="3885"/>
                  </a:lnTo>
                  <a:lnTo>
                    <a:pt x="13437" y="3985"/>
                  </a:lnTo>
                  <a:lnTo>
                    <a:pt x="13287" y="4113"/>
                  </a:lnTo>
                  <a:lnTo>
                    <a:pt x="13362" y="4161"/>
                  </a:lnTo>
                  <a:lnTo>
                    <a:pt x="13317" y="4321"/>
                  </a:lnTo>
                  <a:lnTo>
                    <a:pt x="13308" y="4425"/>
                  </a:lnTo>
                  <a:lnTo>
                    <a:pt x="13146" y="4608"/>
                  </a:lnTo>
                  <a:lnTo>
                    <a:pt x="13104" y="4756"/>
                  </a:lnTo>
                  <a:lnTo>
                    <a:pt x="13139" y="4887"/>
                  </a:lnTo>
                  <a:lnTo>
                    <a:pt x="13146" y="5052"/>
                  </a:lnTo>
                  <a:lnTo>
                    <a:pt x="13076" y="5127"/>
                  </a:lnTo>
                  <a:lnTo>
                    <a:pt x="12999" y="5311"/>
                  </a:lnTo>
                  <a:lnTo>
                    <a:pt x="12885" y="5403"/>
                  </a:lnTo>
                  <a:lnTo>
                    <a:pt x="12810" y="5484"/>
                  </a:lnTo>
                  <a:lnTo>
                    <a:pt x="12797" y="5607"/>
                  </a:lnTo>
                  <a:lnTo>
                    <a:pt x="12755" y="5747"/>
                  </a:lnTo>
                  <a:lnTo>
                    <a:pt x="12807" y="5857"/>
                  </a:lnTo>
                  <a:lnTo>
                    <a:pt x="12807" y="5997"/>
                  </a:lnTo>
                  <a:lnTo>
                    <a:pt x="12819" y="6076"/>
                  </a:lnTo>
                  <a:lnTo>
                    <a:pt x="12756" y="6181"/>
                  </a:lnTo>
                  <a:lnTo>
                    <a:pt x="12627" y="6193"/>
                  </a:lnTo>
                  <a:lnTo>
                    <a:pt x="12507" y="6219"/>
                  </a:lnTo>
                  <a:lnTo>
                    <a:pt x="12420" y="6297"/>
                  </a:lnTo>
                  <a:lnTo>
                    <a:pt x="12363" y="6444"/>
                  </a:lnTo>
                  <a:lnTo>
                    <a:pt x="12365" y="6585"/>
                  </a:lnTo>
                  <a:lnTo>
                    <a:pt x="12323" y="6789"/>
                  </a:lnTo>
                  <a:lnTo>
                    <a:pt x="12323" y="6931"/>
                  </a:lnTo>
                  <a:lnTo>
                    <a:pt x="12299" y="7071"/>
                  </a:lnTo>
                  <a:lnTo>
                    <a:pt x="12153" y="7335"/>
                  </a:lnTo>
                  <a:lnTo>
                    <a:pt x="12098" y="7371"/>
                  </a:lnTo>
                  <a:lnTo>
                    <a:pt x="12018" y="7378"/>
                  </a:lnTo>
                  <a:lnTo>
                    <a:pt x="11879" y="7480"/>
                  </a:lnTo>
                  <a:lnTo>
                    <a:pt x="11750" y="7585"/>
                  </a:lnTo>
                  <a:lnTo>
                    <a:pt x="11630" y="7627"/>
                  </a:lnTo>
                  <a:lnTo>
                    <a:pt x="11541" y="7777"/>
                  </a:lnTo>
                  <a:lnTo>
                    <a:pt x="11529" y="7917"/>
                  </a:lnTo>
                  <a:lnTo>
                    <a:pt x="11472" y="8095"/>
                  </a:lnTo>
                  <a:lnTo>
                    <a:pt x="11429" y="8245"/>
                  </a:lnTo>
                  <a:lnTo>
                    <a:pt x="11414" y="8362"/>
                  </a:lnTo>
                  <a:lnTo>
                    <a:pt x="11411" y="8467"/>
                  </a:lnTo>
                  <a:lnTo>
                    <a:pt x="11357" y="8575"/>
                  </a:lnTo>
                  <a:lnTo>
                    <a:pt x="11363" y="8709"/>
                  </a:lnTo>
                  <a:lnTo>
                    <a:pt x="11357" y="8824"/>
                  </a:lnTo>
                  <a:lnTo>
                    <a:pt x="11249" y="8865"/>
                  </a:lnTo>
                  <a:lnTo>
                    <a:pt x="11155" y="8947"/>
                  </a:lnTo>
                  <a:lnTo>
                    <a:pt x="10984" y="8990"/>
                  </a:lnTo>
                  <a:lnTo>
                    <a:pt x="10984" y="9132"/>
                  </a:lnTo>
                  <a:lnTo>
                    <a:pt x="10974" y="9253"/>
                  </a:lnTo>
                  <a:lnTo>
                    <a:pt x="10944" y="9391"/>
                  </a:lnTo>
                  <a:lnTo>
                    <a:pt x="10989" y="9532"/>
                  </a:lnTo>
                  <a:lnTo>
                    <a:pt x="10986" y="9595"/>
                  </a:lnTo>
                  <a:lnTo>
                    <a:pt x="10896" y="9788"/>
                  </a:lnTo>
                  <a:lnTo>
                    <a:pt x="10725" y="9983"/>
                  </a:lnTo>
                  <a:lnTo>
                    <a:pt x="10680" y="10078"/>
                  </a:lnTo>
                  <a:lnTo>
                    <a:pt x="10681" y="10128"/>
                  </a:lnTo>
                  <a:lnTo>
                    <a:pt x="10593" y="10226"/>
                  </a:lnTo>
                  <a:lnTo>
                    <a:pt x="10555" y="10324"/>
                  </a:lnTo>
                  <a:lnTo>
                    <a:pt x="10450" y="10430"/>
                  </a:lnTo>
                  <a:lnTo>
                    <a:pt x="10340" y="10475"/>
                  </a:lnTo>
                  <a:lnTo>
                    <a:pt x="10259" y="10452"/>
                  </a:lnTo>
                  <a:lnTo>
                    <a:pt x="10201" y="10419"/>
                  </a:lnTo>
                  <a:lnTo>
                    <a:pt x="10119" y="10176"/>
                  </a:lnTo>
                  <a:lnTo>
                    <a:pt x="9987" y="10016"/>
                  </a:lnTo>
                  <a:lnTo>
                    <a:pt x="9819" y="9787"/>
                  </a:lnTo>
                  <a:lnTo>
                    <a:pt x="9601" y="9618"/>
                  </a:lnTo>
                  <a:lnTo>
                    <a:pt x="9502" y="9627"/>
                  </a:lnTo>
                  <a:lnTo>
                    <a:pt x="9357" y="9744"/>
                  </a:lnTo>
                  <a:lnTo>
                    <a:pt x="9305" y="9833"/>
                  </a:lnTo>
                  <a:lnTo>
                    <a:pt x="9211" y="9883"/>
                  </a:lnTo>
                  <a:lnTo>
                    <a:pt x="9043" y="9869"/>
                  </a:lnTo>
                  <a:lnTo>
                    <a:pt x="8982" y="9834"/>
                  </a:lnTo>
                  <a:lnTo>
                    <a:pt x="8897" y="9834"/>
                  </a:lnTo>
                  <a:lnTo>
                    <a:pt x="8796" y="9891"/>
                  </a:lnTo>
                  <a:lnTo>
                    <a:pt x="8740" y="9967"/>
                  </a:lnTo>
                  <a:lnTo>
                    <a:pt x="8653" y="10030"/>
                  </a:lnTo>
                  <a:lnTo>
                    <a:pt x="8569" y="10131"/>
                  </a:lnTo>
                  <a:lnTo>
                    <a:pt x="8429" y="10141"/>
                  </a:lnTo>
                  <a:lnTo>
                    <a:pt x="8325" y="10337"/>
                  </a:lnTo>
                  <a:lnTo>
                    <a:pt x="8187" y="10571"/>
                  </a:lnTo>
                  <a:lnTo>
                    <a:pt x="8117" y="10571"/>
                  </a:lnTo>
                  <a:lnTo>
                    <a:pt x="8004" y="10610"/>
                  </a:lnTo>
                  <a:lnTo>
                    <a:pt x="7929" y="10721"/>
                  </a:lnTo>
                  <a:lnTo>
                    <a:pt x="7908" y="10901"/>
                  </a:lnTo>
                  <a:lnTo>
                    <a:pt x="7720" y="11112"/>
                  </a:lnTo>
                  <a:lnTo>
                    <a:pt x="7624" y="11205"/>
                  </a:lnTo>
                  <a:lnTo>
                    <a:pt x="7519" y="11196"/>
                  </a:lnTo>
                  <a:lnTo>
                    <a:pt x="7439" y="11221"/>
                  </a:lnTo>
                  <a:lnTo>
                    <a:pt x="7434" y="11289"/>
                  </a:lnTo>
                  <a:lnTo>
                    <a:pt x="7389" y="11490"/>
                  </a:lnTo>
                  <a:lnTo>
                    <a:pt x="7334" y="11562"/>
                  </a:lnTo>
                  <a:lnTo>
                    <a:pt x="7304" y="11641"/>
                  </a:lnTo>
                  <a:lnTo>
                    <a:pt x="7473" y="11842"/>
                  </a:lnTo>
                  <a:lnTo>
                    <a:pt x="7414" y="11917"/>
                  </a:lnTo>
                  <a:lnTo>
                    <a:pt x="7345" y="11988"/>
                  </a:lnTo>
                  <a:lnTo>
                    <a:pt x="7334" y="12075"/>
                  </a:lnTo>
                  <a:lnTo>
                    <a:pt x="7387" y="12211"/>
                  </a:lnTo>
                  <a:lnTo>
                    <a:pt x="7384" y="12321"/>
                  </a:lnTo>
                  <a:lnTo>
                    <a:pt x="7318" y="12473"/>
                  </a:lnTo>
                  <a:lnTo>
                    <a:pt x="7261" y="12581"/>
                  </a:lnTo>
                  <a:lnTo>
                    <a:pt x="7130" y="12682"/>
                  </a:lnTo>
                  <a:lnTo>
                    <a:pt x="7136" y="12785"/>
                  </a:lnTo>
                  <a:lnTo>
                    <a:pt x="7087" y="12878"/>
                  </a:lnTo>
                  <a:lnTo>
                    <a:pt x="7043" y="12989"/>
                  </a:lnTo>
                  <a:lnTo>
                    <a:pt x="7086" y="13093"/>
                  </a:lnTo>
                  <a:lnTo>
                    <a:pt x="7130" y="13218"/>
                  </a:lnTo>
                  <a:lnTo>
                    <a:pt x="7131" y="13321"/>
                  </a:lnTo>
                  <a:lnTo>
                    <a:pt x="7039" y="13363"/>
                  </a:lnTo>
                  <a:lnTo>
                    <a:pt x="6911" y="13143"/>
                  </a:lnTo>
                  <a:lnTo>
                    <a:pt x="6880" y="13039"/>
                  </a:lnTo>
                  <a:lnTo>
                    <a:pt x="6842" y="12954"/>
                  </a:lnTo>
                  <a:lnTo>
                    <a:pt x="6797" y="12878"/>
                  </a:lnTo>
                  <a:lnTo>
                    <a:pt x="6740" y="12830"/>
                  </a:lnTo>
                  <a:lnTo>
                    <a:pt x="6712" y="12773"/>
                  </a:lnTo>
                  <a:lnTo>
                    <a:pt x="6654" y="12729"/>
                  </a:lnTo>
                  <a:lnTo>
                    <a:pt x="6599" y="12625"/>
                  </a:lnTo>
                  <a:lnTo>
                    <a:pt x="6483" y="12579"/>
                  </a:lnTo>
                  <a:lnTo>
                    <a:pt x="6507" y="12664"/>
                  </a:lnTo>
                  <a:lnTo>
                    <a:pt x="6577" y="12829"/>
                  </a:lnTo>
                  <a:lnTo>
                    <a:pt x="6646" y="13026"/>
                  </a:lnTo>
                  <a:lnTo>
                    <a:pt x="6615" y="13148"/>
                  </a:lnTo>
                  <a:lnTo>
                    <a:pt x="6463" y="13222"/>
                  </a:lnTo>
                  <a:lnTo>
                    <a:pt x="6243" y="13222"/>
                  </a:lnTo>
                  <a:lnTo>
                    <a:pt x="6154" y="13273"/>
                  </a:lnTo>
                  <a:lnTo>
                    <a:pt x="6072" y="13370"/>
                  </a:lnTo>
                  <a:lnTo>
                    <a:pt x="5852" y="13371"/>
                  </a:lnTo>
                  <a:lnTo>
                    <a:pt x="5716" y="13281"/>
                  </a:lnTo>
                  <a:lnTo>
                    <a:pt x="5629" y="13330"/>
                  </a:lnTo>
                  <a:lnTo>
                    <a:pt x="5535" y="13389"/>
                  </a:lnTo>
                  <a:lnTo>
                    <a:pt x="5480" y="13521"/>
                  </a:lnTo>
                  <a:lnTo>
                    <a:pt x="5422" y="13605"/>
                  </a:lnTo>
                  <a:lnTo>
                    <a:pt x="5317" y="13575"/>
                  </a:lnTo>
                  <a:lnTo>
                    <a:pt x="5253" y="13510"/>
                  </a:lnTo>
                  <a:lnTo>
                    <a:pt x="5163" y="13457"/>
                  </a:lnTo>
                  <a:lnTo>
                    <a:pt x="5079" y="13433"/>
                  </a:lnTo>
                  <a:lnTo>
                    <a:pt x="5020" y="13460"/>
                  </a:lnTo>
                  <a:lnTo>
                    <a:pt x="4918" y="13499"/>
                  </a:lnTo>
                  <a:lnTo>
                    <a:pt x="4834" y="13515"/>
                  </a:lnTo>
                  <a:lnTo>
                    <a:pt x="4771" y="13507"/>
                  </a:lnTo>
                  <a:lnTo>
                    <a:pt x="4647" y="13556"/>
                  </a:lnTo>
                  <a:lnTo>
                    <a:pt x="4609" y="13543"/>
                  </a:lnTo>
                  <a:lnTo>
                    <a:pt x="4536" y="13447"/>
                  </a:lnTo>
                  <a:lnTo>
                    <a:pt x="4437" y="13515"/>
                  </a:lnTo>
                  <a:lnTo>
                    <a:pt x="4281" y="13578"/>
                  </a:lnTo>
                  <a:lnTo>
                    <a:pt x="4211" y="13637"/>
                  </a:lnTo>
                  <a:lnTo>
                    <a:pt x="4107" y="13630"/>
                  </a:lnTo>
                  <a:lnTo>
                    <a:pt x="4004" y="13562"/>
                  </a:lnTo>
                  <a:lnTo>
                    <a:pt x="3880" y="13564"/>
                  </a:lnTo>
                  <a:lnTo>
                    <a:pt x="3806" y="13496"/>
                  </a:lnTo>
                  <a:lnTo>
                    <a:pt x="3751" y="13365"/>
                  </a:lnTo>
                  <a:lnTo>
                    <a:pt x="3665" y="13414"/>
                  </a:lnTo>
                  <a:lnTo>
                    <a:pt x="3577" y="13368"/>
                  </a:lnTo>
                  <a:lnTo>
                    <a:pt x="3548" y="13308"/>
                  </a:lnTo>
                  <a:lnTo>
                    <a:pt x="3542" y="13192"/>
                  </a:lnTo>
                  <a:lnTo>
                    <a:pt x="3505" y="13067"/>
                  </a:lnTo>
                  <a:lnTo>
                    <a:pt x="3506" y="12968"/>
                  </a:lnTo>
                  <a:lnTo>
                    <a:pt x="3432" y="12710"/>
                  </a:lnTo>
                  <a:lnTo>
                    <a:pt x="3300" y="12451"/>
                  </a:lnTo>
                  <a:lnTo>
                    <a:pt x="3250" y="12402"/>
                  </a:lnTo>
                  <a:lnTo>
                    <a:pt x="3155" y="12249"/>
                  </a:lnTo>
                  <a:lnTo>
                    <a:pt x="3115" y="12141"/>
                  </a:lnTo>
                  <a:lnTo>
                    <a:pt x="3051" y="12035"/>
                  </a:lnTo>
                  <a:lnTo>
                    <a:pt x="3045" y="11939"/>
                  </a:lnTo>
                  <a:lnTo>
                    <a:pt x="2988" y="11804"/>
                  </a:lnTo>
                  <a:lnTo>
                    <a:pt x="2922" y="11692"/>
                  </a:lnTo>
                  <a:lnTo>
                    <a:pt x="2883" y="11545"/>
                  </a:lnTo>
                  <a:lnTo>
                    <a:pt x="2824" y="11482"/>
                  </a:lnTo>
                  <a:lnTo>
                    <a:pt x="2778" y="11392"/>
                  </a:lnTo>
                  <a:lnTo>
                    <a:pt x="2780" y="11302"/>
                  </a:lnTo>
                  <a:lnTo>
                    <a:pt x="2735" y="11290"/>
                  </a:lnTo>
                  <a:lnTo>
                    <a:pt x="2684" y="11216"/>
                  </a:lnTo>
                  <a:lnTo>
                    <a:pt x="2630" y="11136"/>
                  </a:lnTo>
                  <a:lnTo>
                    <a:pt x="2594" y="11063"/>
                  </a:lnTo>
                  <a:lnTo>
                    <a:pt x="2403" y="10864"/>
                  </a:lnTo>
                  <a:lnTo>
                    <a:pt x="2337" y="10769"/>
                  </a:lnTo>
                  <a:lnTo>
                    <a:pt x="2226" y="10656"/>
                  </a:lnTo>
                  <a:lnTo>
                    <a:pt x="2088" y="10588"/>
                  </a:lnTo>
                  <a:lnTo>
                    <a:pt x="1929" y="10569"/>
                  </a:lnTo>
                  <a:lnTo>
                    <a:pt x="1808" y="10516"/>
                  </a:lnTo>
                  <a:lnTo>
                    <a:pt x="1767" y="10467"/>
                  </a:lnTo>
                  <a:lnTo>
                    <a:pt x="1579" y="10444"/>
                  </a:lnTo>
                  <a:lnTo>
                    <a:pt x="1322" y="10444"/>
                  </a:lnTo>
                  <a:lnTo>
                    <a:pt x="1246" y="10388"/>
                  </a:lnTo>
                  <a:lnTo>
                    <a:pt x="1152" y="10394"/>
                  </a:lnTo>
                  <a:lnTo>
                    <a:pt x="890" y="10343"/>
                  </a:lnTo>
                  <a:lnTo>
                    <a:pt x="769" y="10395"/>
                  </a:lnTo>
                  <a:lnTo>
                    <a:pt x="659" y="10386"/>
                  </a:lnTo>
                  <a:close/>
                </a:path>
              </a:pathLst>
            </a:custGeom>
            <a:solidFill>
              <a:srgbClr val="B2D4EF"/>
            </a:solidFill>
            <a:ln w="19050" cmpd="sng">
              <a:noFill/>
              <a:prstDash val="solid"/>
              <a:round/>
              <a:headEnd/>
              <a:tailEnd/>
            </a:ln>
            <a:effectLst/>
          </p:spPr>
          <p:txBody>
            <a:bodyPr/>
            <a:lstStyle/>
            <a:p>
              <a:endParaRPr lang="zh-CN" altLang="en-US" kern="0">
                <a:solidFill>
                  <a:sysClr val="windowText" lastClr="000000"/>
                </a:solidFill>
              </a:endParaRPr>
            </a:p>
          </p:txBody>
        </p:sp>
        <p:grpSp>
          <p:nvGrpSpPr>
            <p:cNvPr id="471" name="Group 470"/>
            <p:cNvGrpSpPr/>
            <p:nvPr/>
          </p:nvGrpSpPr>
          <p:grpSpPr>
            <a:xfrm>
              <a:off x="3595082" y="5149682"/>
              <a:ext cx="1220199" cy="995340"/>
              <a:chOff x="473869" y="1392238"/>
              <a:chExt cx="8196263" cy="4073524"/>
            </a:xfrm>
            <a:solidFill>
              <a:srgbClr val="B2D4EF"/>
            </a:solidFill>
          </p:grpSpPr>
          <p:sp>
            <p:nvSpPr>
              <p:cNvPr id="480" name="Freeform 191"/>
              <p:cNvSpPr>
                <a:spLocks/>
              </p:cNvSpPr>
              <p:nvPr/>
            </p:nvSpPr>
            <p:spPr bwMode="auto">
              <a:xfrm>
                <a:off x="5295107" y="4305300"/>
                <a:ext cx="169863" cy="319087"/>
              </a:xfrm>
              <a:custGeom>
                <a:avLst/>
                <a:gdLst/>
                <a:ahLst/>
                <a:cxnLst>
                  <a:cxn ang="0">
                    <a:pos x="11" y="129"/>
                  </a:cxn>
                  <a:cxn ang="0">
                    <a:pos x="11" y="125"/>
                  </a:cxn>
                  <a:cxn ang="0">
                    <a:pos x="16" y="117"/>
                  </a:cxn>
                  <a:cxn ang="0">
                    <a:pos x="18" y="108"/>
                  </a:cxn>
                  <a:cxn ang="0">
                    <a:pos x="21" y="107"/>
                  </a:cxn>
                  <a:cxn ang="0">
                    <a:pos x="19" y="100"/>
                  </a:cxn>
                  <a:cxn ang="0">
                    <a:pos x="18" y="93"/>
                  </a:cxn>
                  <a:cxn ang="0">
                    <a:pos x="14" y="86"/>
                  </a:cxn>
                  <a:cxn ang="0">
                    <a:pos x="14" y="81"/>
                  </a:cxn>
                  <a:cxn ang="0">
                    <a:pos x="14" y="70"/>
                  </a:cxn>
                  <a:cxn ang="0">
                    <a:pos x="16" y="65"/>
                  </a:cxn>
                  <a:cxn ang="0">
                    <a:pos x="19" y="60"/>
                  </a:cxn>
                  <a:cxn ang="0">
                    <a:pos x="25" y="57"/>
                  </a:cxn>
                  <a:cxn ang="0">
                    <a:pos x="33" y="51"/>
                  </a:cxn>
                  <a:cxn ang="0">
                    <a:pos x="47" y="48"/>
                  </a:cxn>
                  <a:cxn ang="0">
                    <a:pos x="55" y="39"/>
                  </a:cxn>
                  <a:cxn ang="0">
                    <a:pos x="66" y="31"/>
                  </a:cxn>
                  <a:cxn ang="0">
                    <a:pos x="74" y="21"/>
                  </a:cxn>
                  <a:cxn ang="0">
                    <a:pos x="83" y="14"/>
                  </a:cxn>
                  <a:cxn ang="0">
                    <a:pos x="83" y="7"/>
                  </a:cxn>
                  <a:cxn ang="0">
                    <a:pos x="85" y="0"/>
                  </a:cxn>
                  <a:cxn ang="0">
                    <a:pos x="93" y="5"/>
                  </a:cxn>
                  <a:cxn ang="0">
                    <a:pos x="100" y="19"/>
                  </a:cxn>
                  <a:cxn ang="0">
                    <a:pos x="102" y="34"/>
                  </a:cxn>
                  <a:cxn ang="0">
                    <a:pos x="107" y="48"/>
                  </a:cxn>
                  <a:cxn ang="0">
                    <a:pos x="107" y="55"/>
                  </a:cxn>
                  <a:cxn ang="0">
                    <a:pos x="100" y="53"/>
                  </a:cxn>
                  <a:cxn ang="0">
                    <a:pos x="98" y="53"/>
                  </a:cxn>
                  <a:cxn ang="0">
                    <a:pos x="97" y="65"/>
                  </a:cxn>
                  <a:cxn ang="0">
                    <a:pos x="95" y="77"/>
                  </a:cxn>
                  <a:cxn ang="0">
                    <a:pos x="92" y="89"/>
                  </a:cxn>
                  <a:cxn ang="0">
                    <a:pos x="90" y="101"/>
                  </a:cxn>
                  <a:cxn ang="0">
                    <a:pos x="85" y="112"/>
                  </a:cxn>
                  <a:cxn ang="0">
                    <a:pos x="81" y="122"/>
                  </a:cxn>
                  <a:cxn ang="0">
                    <a:pos x="78" y="132"/>
                  </a:cxn>
                  <a:cxn ang="0">
                    <a:pos x="74" y="144"/>
                  </a:cxn>
                  <a:cxn ang="0">
                    <a:pos x="69" y="151"/>
                  </a:cxn>
                  <a:cxn ang="0">
                    <a:pos x="66" y="162"/>
                  </a:cxn>
                  <a:cxn ang="0">
                    <a:pos x="62" y="170"/>
                  </a:cxn>
                  <a:cxn ang="0">
                    <a:pos x="59" y="180"/>
                  </a:cxn>
                  <a:cxn ang="0">
                    <a:pos x="52" y="187"/>
                  </a:cxn>
                  <a:cxn ang="0">
                    <a:pos x="47" y="194"/>
                  </a:cxn>
                  <a:cxn ang="0">
                    <a:pos x="38" y="198"/>
                  </a:cxn>
                  <a:cxn ang="0">
                    <a:pos x="30" y="201"/>
                  </a:cxn>
                  <a:cxn ang="0">
                    <a:pos x="19" y="198"/>
                  </a:cxn>
                  <a:cxn ang="0">
                    <a:pos x="12" y="191"/>
                  </a:cxn>
                  <a:cxn ang="0">
                    <a:pos x="6" y="180"/>
                  </a:cxn>
                  <a:cxn ang="0">
                    <a:pos x="6" y="172"/>
                  </a:cxn>
                  <a:cxn ang="0">
                    <a:pos x="6" y="165"/>
                  </a:cxn>
                  <a:cxn ang="0">
                    <a:pos x="7" y="160"/>
                  </a:cxn>
                  <a:cxn ang="0">
                    <a:pos x="0" y="150"/>
                  </a:cxn>
                  <a:cxn ang="0">
                    <a:pos x="0" y="139"/>
                  </a:cxn>
                  <a:cxn ang="0">
                    <a:pos x="6" y="132"/>
                  </a:cxn>
                  <a:cxn ang="0">
                    <a:pos x="11" y="129"/>
                  </a:cxn>
                </a:cxnLst>
                <a:rect l="0" t="0" r="r" b="b"/>
                <a:pathLst>
                  <a:path w="107" h="201">
                    <a:moveTo>
                      <a:pt x="11" y="129"/>
                    </a:moveTo>
                    <a:lnTo>
                      <a:pt x="11" y="125"/>
                    </a:lnTo>
                    <a:lnTo>
                      <a:pt x="16" y="117"/>
                    </a:lnTo>
                    <a:lnTo>
                      <a:pt x="18" y="108"/>
                    </a:lnTo>
                    <a:lnTo>
                      <a:pt x="21" y="107"/>
                    </a:lnTo>
                    <a:lnTo>
                      <a:pt x="19" y="100"/>
                    </a:lnTo>
                    <a:lnTo>
                      <a:pt x="18" y="93"/>
                    </a:lnTo>
                    <a:lnTo>
                      <a:pt x="14" y="86"/>
                    </a:lnTo>
                    <a:lnTo>
                      <a:pt x="14" y="81"/>
                    </a:lnTo>
                    <a:lnTo>
                      <a:pt x="14" y="70"/>
                    </a:lnTo>
                    <a:lnTo>
                      <a:pt x="16" y="65"/>
                    </a:lnTo>
                    <a:lnTo>
                      <a:pt x="19" y="60"/>
                    </a:lnTo>
                    <a:lnTo>
                      <a:pt x="25" y="57"/>
                    </a:lnTo>
                    <a:lnTo>
                      <a:pt x="33" y="51"/>
                    </a:lnTo>
                    <a:lnTo>
                      <a:pt x="47" y="48"/>
                    </a:lnTo>
                    <a:lnTo>
                      <a:pt x="55" y="39"/>
                    </a:lnTo>
                    <a:lnTo>
                      <a:pt x="66" y="31"/>
                    </a:lnTo>
                    <a:lnTo>
                      <a:pt x="74" y="21"/>
                    </a:lnTo>
                    <a:lnTo>
                      <a:pt x="83" y="14"/>
                    </a:lnTo>
                    <a:lnTo>
                      <a:pt x="83" y="7"/>
                    </a:lnTo>
                    <a:lnTo>
                      <a:pt x="85" y="0"/>
                    </a:lnTo>
                    <a:lnTo>
                      <a:pt x="93" y="5"/>
                    </a:lnTo>
                    <a:lnTo>
                      <a:pt x="100" y="19"/>
                    </a:lnTo>
                    <a:lnTo>
                      <a:pt x="102" y="34"/>
                    </a:lnTo>
                    <a:lnTo>
                      <a:pt x="107" y="48"/>
                    </a:lnTo>
                    <a:lnTo>
                      <a:pt x="107" y="55"/>
                    </a:lnTo>
                    <a:lnTo>
                      <a:pt x="100" y="53"/>
                    </a:lnTo>
                    <a:lnTo>
                      <a:pt x="98" y="53"/>
                    </a:lnTo>
                    <a:lnTo>
                      <a:pt x="97" y="65"/>
                    </a:lnTo>
                    <a:lnTo>
                      <a:pt x="95" y="77"/>
                    </a:lnTo>
                    <a:lnTo>
                      <a:pt x="92" y="89"/>
                    </a:lnTo>
                    <a:lnTo>
                      <a:pt x="90" y="101"/>
                    </a:lnTo>
                    <a:lnTo>
                      <a:pt x="85" y="112"/>
                    </a:lnTo>
                    <a:lnTo>
                      <a:pt x="81" y="122"/>
                    </a:lnTo>
                    <a:lnTo>
                      <a:pt x="78" y="132"/>
                    </a:lnTo>
                    <a:lnTo>
                      <a:pt x="74" y="144"/>
                    </a:lnTo>
                    <a:lnTo>
                      <a:pt x="69" y="151"/>
                    </a:lnTo>
                    <a:lnTo>
                      <a:pt x="66" y="162"/>
                    </a:lnTo>
                    <a:lnTo>
                      <a:pt x="62" y="170"/>
                    </a:lnTo>
                    <a:lnTo>
                      <a:pt x="59" y="180"/>
                    </a:lnTo>
                    <a:lnTo>
                      <a:pt x="52" y="187"/>
                    </a:lnTo>
                    <a:lnTo>
                      <a:pt x="47" y="194"/>
                    </a:lnTo>
                    <a:lnTo>
                      <a:pt x="38" y="198"/>
                    </a:lnTo>
                    <a:lnTo>
                      <a:pt x="30" y="201"/>
                    </a:lnTo>
                    <a:lnTo>
                      <a:pt x="19" y="198"/>
                    </a:lnTo>
                    <a:lnTo>
                      <a:pt x="12" y="191"/>
                    </a:lnTo>
                    <a:lnTo>
                      <a:pt x="6" y="180"/>
                    </a:lnTo>
                    <a:lnTo>
                      <a:pt x="6" y="172"/>
                    </a:lnTo>
                    <a:lnTo>
                      <a:pt x="6" y="165"/>
                    </a:lnTo>
                    <a:lnTo>
                      <a:pt x="7" y="160"/>
                    </a:lnTo>
                    <a:lnTo>
                      <a:pt x="0" y="150"/>
                    </a:lnTo>
                    <a:lnTo>
                      <a:pt x="0" y="139"/>
                    </a:lnTo>
                    <a:lnTo>
                      <a:pt x="6" y="132"/>
                    </a:lnTo>
                    <a:lnTo>
                      <a:pt x="11" y="1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1" name="Freeform 192"/>
              <p:cNvSpPr>
                <a:spLocks/>
              </p:cNvSpPr>
              <p:nvPr/>
            </p:nvSpPr>
            <p:spPr bwMode="auto">
              <a:xfrm>
                <a:off x="3920332" y="3114675"/>
                <a:ext cx="1563688" cy="1747837"/>
              </a:xfrm>
              <a:custGeom>
                <a:avLst/>
                <a:gdLst/>
                <a:ahLst/>
                <a:cxnLst>
                  <a:cxn ang="0">
                    <a:pos x="607" y="93"/>
                  </a:cxn>
                  <a:cxn ang="0">
                    <a:pos x="681" y="102"/>
                  </a:cxn>
                  <a:cxn ang="0">
                    <a:pos x="741" y="102"/>
                  </a:cxn>
                  <a:cxn ang="0">
                    <a:pos x="741" y="157"/>
                  </a:cxn>
                  <a:cxn ang="0">
                    <a:pos x="762" y="217"/>
                  </a:cxn>
                  <a:cxn ang="0">
                    <a:pos x="784" y="289"/>
                  </a:cxn>
                  <a:cxn ang="0">
                    <a:pos x="811" y="332"/>
                  </a:cxn>
                  <a:cxn ang="0">
                    <a:pos x="856" y="380"/>
                  </a:cxn>
                  <a:cxn ang="0">
                    <a:pos x="884" y="418"/>
                  </a:cxn>
                  <a:cxn ang="0">
                    <a:pos x="939" y="408"/>
                  </a:cxn>
                  <a:cxn ang="0">
                    <a:pos x="983" y="415"/>
                  </a:cxn>
                  <a:cxn ang="0">
                    <a:pos x="954" y="480"/>
                  </a:cxn>
                  <a:cxn ang="0">
                    <a:pos x="896" y="549"/>
                  </a:cxn>
                  <a:cxn ang="0">
                    <a:pos x="830" y="604"/>
                  </a:cxn>
                  <a:cxn ang="0">
                    <a:pos x="810" y="660"/>
                  </a:cxn>
                  <a:cxn ang="0">
                    <a:pos x="829" y="716"/>
                  </a:cxn>
                  <a:cxn ang="0">
                    <a:pos x="827" y="759"/>
                  </a:cxn>
                  <a:cxn ang="0">
                    <a:pos x="820" y="808"/>
                  </a:cxn>
                  <a:cxn ang="0">
                    <a:pos x="760" y="857"/>
                  </a:cxn>
                  <a:cxn ang="0">
                    <a:pos x="758" y="905"/>
                  </a:cxn>
                  <a:cxn ang="0">
                    <a:pos x="739" y="937"/>
                  </a:cxn>
                  <a:cxn ang="0">
                    <a:pos x="712" y="991"/>
                  </a:cxn>
                  <a:cxn ang="0">
                    <a:pos x="663" y="1058"/>
                  </a:cxn>
                  <a:cxn ang="0">
                    <a:pos x="603" y="1090"/>
                  </a:cxn>
                  <a:cxn ang="0">
                    <a:pos x="536" y="1101"/>
                  </a:cxn>
                  <a:cxn ang="0">
                    <a:pos x="505" y="1066"/>
                  </a:cxn>
                  <a:cxn ang="0">
                    <a:pos x="495" y="1025"/>
                  </a:cxn>
                  <a:cxn ang="0">
                    <a:pos x="457" y="949"/>
                  </a:cxn>
                  <a:cxn ang="0">
                    <a:pos x="443" y="889"/>
                  </a:cxn>
                  <a:cxn ang="0">
                    <a:pos x="414" y="814"/>
                  </a:cxn>
                  <a:cxn ang="0">
                    <a:pos x="447" y="743"/>
                  </a:cxn>
                  <a:cxn ang="0">
                    <a:pos x="433" y="688"/>
                  </a:cxn>
                  <a:cxn ang="0">
                    <a:pos x="392" y="614"/>
                  </a:cxn>
                  <a:cxn ang="0">
                    <a:pos x="388" y="562"/>
                  </a:cxn>
                  <a:cxn ang="0">
                    <a:pos x="393" y="530"/>
                  </a:cxn>
                  <a:cxn ang="0">
                    <a:pos x="340" y="507"/>
                  </a:cxn>
                  <a:cxn ang="0">
                    <a:pos x="282" y="478"/>
                  </a:cxn>
                  <a:cxn ang="0">
                    <a:pos x="218" y="506"/>
                  </a:cxn>
                  <a:cxn ang="0">
                    <a:pos x="141" y="507"/>
                  </a:cxn>
                  <a:cxn ang="0">
                    <a:pos x="70" y="459"/>
                  </a:cxn>
                  <a:cxn ang="0">
                    <a:pos x="29" y="408"/>
                  </a:cxn>
                  <a:cxn ang="0">
                    <a:pos x="8" y="378"/>
                  </a:cxn>
                  <a:cxn ang="0">
                    <a:pos x="17" y="320"/>
                  </a:cxn>
                  <a:cxn ang="0">
                    <a:pos x="17" y="239"/>
                  </a:cxn>
                  <a:cxn ang="0">
                    <a:pos x="72" y="155"/>
                  </a:cxn>
                  <a:cxn ang="0">
                    <a:pos x="113" y="96"/>
                  </a:cxn>
                  <a:cxn ang="0">
                    <a:pos x="161" y="40"/>
                  </a:cxn>
                  <a:cxn ang="0">
                    <a:pos x="215" y="40"/>
                  </a:cxn>
                  <a:cxn ang="0">
                    <a:pos x="273" y="14"/>
                  </a:cxn>
                  <a:cxn ang="0">
                    <a:pos x="332" y="12"/>
                  </a:cxn>
                  <a:cxn ang="0">
                    <a:pos x="388" y="0"/>
                  </a:cxn>
                  <a:cxn ang="0">
                    <a:pos x="404" y="19"/>
                  </a:cxn>
                  <a:cxn ang="0">
                    <a:pos x="411" y="66"/>
                  </a:cxn>
                  <a:cxn ang="0">
                    <a:pos x="462" y="79"/>
                  </a:cxn>
                  <a:cxn ang="0">
                    <a:pos x="522" y="114"/>
                  </a:cxn>
                  <a:cxn ang="0">
                    <a:pos x="540" y="79"/>
                  </a:cxn>
                </a:cxnLst>
                <a:rect l="0" t="0" r="r" b="b"/>
                <a:pathLst>
                  <a:path w="985" h="1101">
                    <a:moveTo>
                      <a:pt x="562" y="76"/>
                    </a:moveTo>
                    <a:lnTo>
                      <a:pt x="574" y="76"/>
                    </a:lnTo>
                    <a:lnTo>
                      <a:pt x="576" y="83"/>
                    </a:lnTo>
                    <a:lnTo>
                      <a:pt x="581" y="88"/>
                    </a:lnTo>
                    <a:lnTo>
                      <a:pt x="591" y="90"/>
                    </a:lnTo>
                    <a:lnTo>
                      <a:pt x="607" y="93"/>
                    </a:lnTo>
                    <a:lnTo>
                      <a:pt x="619" y="96"/>
                    </a:lnTo>
                    <a:lnTo>
                      <a:pt x="633" y="102"/>
                    </a:lnTo>
                    <a:lnTo>
                      <a:pt x="648" y="103"/>
                    </a:lnTo>
                    <a:lnTo>
                      <a:pt x="663" y="107"/>
                    </a:lnTo>
                    <a:lnTo>
                      <a:pt x="672" y="103"/>
                    </a:lnTo>
                    <a:lnTo>
                      <a:pt x="681" y="102"/>
                    </a:lnTo>
                    <a:lnTo>
                      <a:pt x="688" y="98"/>
                    </a:lnTo>
                    <a:lnTo>
                      <a:pt x="700" y="98"/>
                    </a:lnTo>
                    <a:lnTo>
                      <a:pt x="712" y="102"/>
                    </a:lnTo>
                    <a:lnTo>
                      <a:pt x="727" y="105"/>
                    </a:lnTo>
                    <a:lnTo>
                      <a:pt x="734" y="103"/>
                    </a:lnTo>
                    <a:lnTo>
                      <a:pt x="741" y="102"/>
                    </a:lnTo>
                    <a:lnTo>
                      <a:pt x="746" y="114"/>
                    </a:lnTo>
                    <a:lnTo>
                      <a:pt x="751" y="126"/>
                    </a:lnTo>
                    <a:lnTo>
                      <a:pt x="748" y="131"/>
                    </a:lnTo>
                    <a:lnTo>
                      <a:pt x="746" y="139"/>
                    </a:lnTo>
                    <a:lnTo>
                      <a:pt x="743" y="148"/>
                    </a:lnTo>
                    <a:lnTo>
                      <a:pt x="741" y="157"/>
                    </a:lnTo>
                    <a:lnTo>
                      <a:pt x="732" y="152"/>
                    </a:lnTo>
                    <a:lnTo>
                      <a:pt x="725" y="141"/>
                    </a:lnTo>
                    <a:lnTo>
                      <a:pt x="719" y="131"/>
                    </a:lnTo>
                    <a:lnTo>
                      <a:pt x="713" y="122"/>
                    </a:lnTo>
                    <a:lnTo>
                      <a:pt x="713" y="133"/>
                    </a:lnTo>
                    <a:lnTo>
                      <a:pt x="762" y="217"/>
                    </a:lnTo>
                    <a:lnTo>
                      <a:pt x="762" y="225"/>
                    </a:lnTo>
                    <a:lnTo>
                      <a:pt x="767" y="237"/>
                    </a:lnTo>
                    <a:lnTo>
                      <a:pt x="774" y="248"/>
                    </a:lnTo>
                    <a:lnTo>
                      <a:pt x="780" y="256"/>
                    </a:lnTo>
                    <a:lnTo>
                      <a:pt x="780" y="282"/>
                    </a:lnTo>
                    <a:lnTo>
                      <a:pt x="784" y="289"/>
                    </a:lnTo>
                    <a:lnTo>
                      <a:pt x="791" y="294"/>
                    </a:lnTo>
                    <a:lnTo>
                      <a:pt x="796" y="299"/>
                    </a:lnTo>
                    <a:lnTo>
                      <a:pt x="805" y="306"/>
                    </a:lnTo>
                    <a:lnTo>
                      <a:pt x="808" y="315"/>
                    </a:lnTo>
                    <a:lnTo>
                      <a:pt x="810" y="323"/>
                    </a:lnTo>
                    <a:lnTo>
                      <a:pt x="811" y="332"/>
                    </a:lnTo>
                    <a:lnTo>
                      <a:pt x="817" y="341"/>
                    </a:lnTo>
                    <a:lnTo>
                      <a:pt x="827" y="348"/>
                    </a:lnTo>
                    <a:lnTo>
                      <a:pt x="839" y="356"/>
                    </a:lnTo>
                    <a:lnTo>
                      <a:pt x="844" y="363"/>
                    </a:lnTo>
                    <a:lnTo>
                      <a:pt x="851" y="372"/>
                    </a:lnTo>
                    <a:lnTo>
                      <a:pt x="856" y="380"/>
                    </a:lnTo>
                    <a:lnTo>
                      <a:pt x="868" y="384"/>
                    </a:lnTo>
                    <a:lnTo>
                      <a:pt x="870" y="392"/>
                    </a:lnTo>
                    <a:lnTo>
                      <a:pt x="868" y="399"/>
                    </a:lnTo>
                    <a:lnTo>
                      <a:pt x="873" y="403"/>
                    </a:lnTo>
                    <a:lnTo>
                      <a:pt x="878" y="411"/>
                    </a:lnTo>
                    <a:lnTo>
                      <a:pt x="884" y="418"/>
                    </a:lnTo>
                    <a:lnTo>
                      <a:pt x="891" y="421"/>
                    </a:lnTo>
                    <a:lnTo>
                      <a:pt x="897" y="416"/>
                    </a:lnTo>
                    <a:lnTo>
                      <a:pt x="906" y="411"/>
                    </a:lnTo>
                    <a:lnTo>
                      <a:pt x="915" y="411"/>
                    </a:lnTo>
                    <a:lnTo>
                      <a:pt x="925" y="411"/>
                    </a:lnTo>
                    <a:lnTo>
                      <a:pt x="939" y="408"/>
                    </a:lnTo>
                    <a:lnTo>
                      <a:pt x="952" y="404"/>
                    </a:lnTo>
                    <a:lnTo>
                      <a:pt x="966" y="399"/>
                    </a:lnTo>
                    <a:lnTo>
                      <a:pt x="982" y="397"/>
                    </a:lnTo>
                    <a:lnTo>
                      <a:pt x="983" y="401"/>
                    </a:lnTo>
                    <a:lnTo>
                      <a:pt x="985" y="404"/>
                    </a:lnTo>
                    <a:lnTo>
                      <a:pt x="983" y="415"/>
                    </a:lnTo>
                    <a:lnTo>
                      <a:pt x="980" y="427"/>
                    </a:lnTo>
                    <a:lnTo>
                      <a:pt x="975" y="437"/>
                    </a:lnTo>
                    <a:lnTo>
                      <a:pt x="971" y="451"/>
                    </a:lnTo>
                    <a:lnTo>
                      <a:pt x="964" y="461"/>
                    </a:lnTo>
                    <a:lnTo>
                      <a:pt x="959" y="471"/>
                    </a:lnTo>
                    <a:lnTo>
                      <a:pt x="954" y="480"/>
                    </a:lnTo>
                    <a:lnTo>
                      <a:pt x="949" y="489"/>
                    </a:lnTo>
                    <a:lnTo>
                      <a:pt x="937" y="502"/>
                    </a:lnTo>
                    <a:lnTo>
                      <a:pt x="930" y="516"/>
                    </a:lnTo>
                    <a:lnTo>
                      <a:pt x="920" y="528"/>
                    </a:lnTo>
                    <a:lnTo>
                      <a:pt x="909" y="542"/>
                    </a:lnTo>
                    <a:lnTo>
                      <a:pt x="896" y="549"/>
                    </a:lnTo>
                    <a:lnTo>
                      <a:pt x="882" y="557"/>
                    </a:lnTo>
                    <a:lnTo>
                      <a:pt x="870" y="564"/>
                    </a:lnTo>
                    <a:lnTo>
                      <a:pt x="860" y="573"/>
                    </a:lnTo>
                    <a:lnTo>
                      <a:pt x="848" y="581"/>
                    </a:lnTo>
                    <a:lnTo>
                      <a:pt x="839" y="592"/>
                    </a:lnTo>
                    <a:lnTo>
                      <a:pt x="830" y="604"/>
                    </a:lnTo>
                    <a:lnTo>
                      <a:pt x="827" y="621"/>
                    </a:lnTo>
                    <a:lnTo>
                      <a:pt x="822" y="628"/>
                    </a:lnTo>
                    <a:lnTo>
                      <a:pt x="817" y="635"/>
                    </a:lnTo>
                    <a:lnTo>
                      <a:pt x="811" y="640"/>
                    </a:lnTo>
                    <a:lnTo>
                      <a:pt x="810" y="652"/>
                    </a:lnTo>
                    <a:lnTo>
                      <a:pt x="810" y="660"/>
                    </a:lnTo>
                    <a:lnTo>
                      <a:pt x="811" y="671"/>
                    </a:lnTo>
                    <a:lnTo>
                      <a:pt x="811" y="678"/>
                    </a:lnTo>
                    <a:lnTo>
                      <a:pt x="813" y="690"/>
                    </a:lnTo>
                    <a:lnTo>
                      <a:pt x="815" y="700"/>
                    </a:lnTo>
                    <a:lnTo>
                      <a:pt x="822" y="709"/>
                    </a:lnTo>
                    <a:lnTo>
                      <a:pt x="829" y="716"/>
                    </a:lnTo>
                    <a:lnTo>
                      <a:pt x="832" y="724"/>
                    </a:lnTo>
                    <a:lnTo>
                      <a:pt x="830" y="728"/>
                    </a:lnTo>
                    <a:lnTo>
                      <a:pt x="829" y="733"/>
                    </a:lnTo>
                    <a:lnTo>
                      <a:pt x="829" y="745"/>
                    </a:lnTo>
                    <a:lnTo>
                      <a:pt x="827" y="750"/>
                    </a:lnTo>
                    <a:lnTo>
                      <a:pt x="827" y="759"/>
                    </a:lnTo>
                    <a:lnTo>
                      <a:pt x="827" y="767"/>
                    </a:lnTo>
                    <a:lnTo>
                      <a:pt x="827" y="777"/>
                    </a:lnTo>
                    <a:lnTo>
                      <a:pt x="830" y="781"/>
                    </a:lnTo>
                    <a:lnTo>
                      <a:pt x="832" y="788"/>
                    </a:lnTo>
                    <a:lnTo>
                      <a:pt x="829" y="798"/>
                    </a:lnTo>
                    <a:lnTo>
                      <a:pt x="820" y="808"/>
                    </a:lnTo>
                    <a:lnTo>
                      <a:pt x="810" y="815"/>
                    </a:lnTo>
                    <a:lnTo>
                      <a:pt x="798" y="824"/>
                    </a:lnTo>
                    <a:lnTo>
                      <a:pt x="784" y="829"/>
                    </a:lnTo>
                    <a:lnTo>
                      <a:pt x="772" y="836"/>
                    </a:lnTo>
                    <a:lnTo>
                      <a:pt x="763" y="844"/>
                    </a:lnTo>
                    <a:lnTo>
                      <a:pt x="760" y="857"/>
                    </a:lnTo>
                    <a:lnTo>
                      <a:pt x="748" y="860"/>
                    </a:lnTo>
                    <a:lnTo>
                      <a:pt x="744" y="870"/>
                    </a:lnTo>
                    <a:lnTo>
                      <a:pt x="746" y="877"/>
                    </a:lnTo>
                    <a:lnTo>
                      <a:pt x="751" y="886"/>
                    </a:lnTo>
                    <a:lnTo>
                      <a:pt x="755" y="893"/>
                    </a:lnTo>
                    <a:lnTo>
                      <a:pt x="758" y="905"/>
                    </a:lnTo>
                    <a:lnTo>
                      <a:pt x="756" y="912"/>
                    </a:lnTo>
                    <a:lnTo>
                      <a:pt x="756" y="920"/>
                    </a:lnTo>
                    <a:lnTo>
                      <a:pt x="755" y="929"/>
                    </a:lnTo>
                    <a:lnTo>
                      <a:pt x="755" y="934"/>
                    </a:lnTo>
                    <a:lnTo>
                      <a:pt x="746" y="936"/>
                    </a:lnTo>
                    <a:lnTo>
                      <a:pt x="739" y="937"/>
                    </a:lnTo>
                    <a:lnTo>
                      <a:pt x="724" y="946"/>
                    </a:lnTo>
                    <a:lnTo>
                      <a:pt x="713" y="961"/>
                    </a:lnTo>
                    <a:lnTo>
                      <a:pt x="719" y="967"/>
                    </a:lnTo>
                    <a:lnTo>
                      <a:pt x="720" y="972"/>
                    </a:lnTo>
                    <a:lnTo>
                      <a:pt x="717" y="980"/>
                    </a:lnTo>
                    <a:lnTo>
                      <a:pt x="712" y="991"/>
                    </a:lnTo>
                    <a:lnTo>
                      <a:pt x="705" y="998"/>
                    </a:lnTo>
                    <a:lnTo>
                      <a:pt x="701" y="1004"/>
                    </a:lnTo>
                    <a:lnTo>
                      <a:pt x="689" y="1020"/>
                    </a:lnTo>
                    <a:lnTo>
                      <a:pt x="681" y="1037"/>
                    </a:lnTo>
                    <a:lnTo>
                      <a:pt x="670" y="1047"/>
                    </a:lnTo>
                    <a:lnTo>
                      <a:pt x="663" y="1058"/>
                    </a:lnTo>
                    <a:lnTo>
                      <a:pt x="653" y="1066"/>
                    </a:lnTo>
                    <a:lnTo>
                      <a:pt x="641" y="1077"/>
                    </a:lnTo>
                    <a:lnTo>
                      <a:pt x="627" y="1078"/>
                    </a:lnTo>
                    <a:lnTo>
                      <a:pt x="619" y="1087"/>
                    </a:lnTo>
                    <a:lnTo>
                      <a:pt x="610" y="1089"/>
                    </a:lnTo>
                    <a:lnTo>
                      <a:pt x="603" y="1090"/>
                    </a:lnTo>
                    <a:lnTo>
                      <a:pt x="596" y="1087"/>
                    </a:lnTo>
                    <a:lnTo>
                      <a:pt x="590" y="1085"/>
                    </a:lnTo>
                    <a:lnTo>
                      <a:pt x="572" y="1087"/>
                    </a:lnTo>
                    <a:lnTo>
                      <a:pt x="560" y="1092"/>
                    </a:lnTo>
                    <a:lnTo>
                      <a:pt x="548" y="1097"/>
                    </a:lnTo>
                    <a:lnTo>
                      <a:pt x="536" y="1101"/>
                    </a:lnTo>
                    <a:lnTo>
                      <a:pt x="524" y="1097"/>
                    </a:lnTo>
                    <a:lnTo>
                      <a:pt x="519" y="1090"/>
                    </a:lnTo>
                    <a:lnTo>
                      <a:pt x="516" y="1090"/>
                    </a:lnTo>
                    <a:lnTo>
                      <a:pt x="514" y="1092"/>
                    </a:lnTo>
                    <a:lnTo>
                      <a:pt x="510" y="1077"/>
                    </a:lnTo>
                    <a:lnTo>
                      <a:pt x="505" y="1066"/>
                    </a:lnTo>
                    <a:lnTo>
                      <a:pt x="509" y="1059"/>
                    </a:lnTo>
                    <a:lnTo>
                      <a:pt x="512" y="1053"/>
                    </a:lnTo>
                    <a:lnTo>
                      <a:pt x="509" y="1044"/>
                    </a:lnTo>
                    <a:lnTo>
                      <a:pt x="504" y="1037"/>
                    </a:lnTo>
                    <a:lnTo>
                      <a:pt x="498" y="1028"/>
                    </a:lnTo>
                    <a:lnTo>
                      <a:pt x="495" y="1025"/>
                    </a:lnTo>
                    <a:lnTo>
                      <a:pt x="486" y="1013"/>
                    </a:lnTo>
                    <a:lnTo>
                      <a:pt x="481" y="1001"/>
                    </a:lnTo>
                    <a:lnTo>
                      <a:pt x="473" y="989"/>
                    </a:lnTo>
                    <a:lnTo>
                      <a:pt x="467" y="977"/>
                    </a:lnTo>
                    <a:lnTo>
                      <a:pt x="461" y="963"/>
                    </a:lnTo>
                    <a:lnTo>
                      <a:pt x="457" y="949"/>
                    </a:lnTo>
                    <a:lnTo>
                      <a:pt x="454" y="934"/>
                    </a:lnTo>
                    <a:lnTo>
                      <a:pt x="454" y="920"/>
                    </a:lnTo>
                    <a:lnTo>
                      <a:pt x="454" y="910"/>
                    </a:lnTo>
                    <a:lnTo>
                      <a:pt x="454" y="906"/>
                    </a:lnTo>
                    <a:lnTo>
                      <a:pt x="448" y="898"/>
                    </a:lnTo>
                    <a:lnTo>
                      <a:pt x="443" y="889"/>
                    </a:lnTo>
                    <a:lnTo>
                      <a:pt x="431" y="870"/>
                    </a:lnTo>
                    <a:lnTo>
                      <a:pt x="423" y="853"/>
                    </a:lnTo>
                    <a:lnTo>
                      <a:pt x="418" y="843"/>
                    </a:lnTo>
                    <a:lnTo>
                      <a:pt x="416" y="834"/>
                    </a:lnTo>
                    <a:lnTo>
                      <a:pt x="414" y="824"/>
                    </a:lnTo>
                    <a:lnTo>
                      <a:pt x="414" y="814"/>
                    </a:lnTo>
                    <a:lnTo>
                      <a:pt x="414" y="800"/>
                    </a:lnTo>
                    <a:lnTo>
                      <a:pt x="418" y="789"/>
                    </a:lnTo>
                    <a:lnTo>
                      <a:pt x="423" y="781"/>
                    </a:lnTo>
                    <a:lnTo>
                      <a:pt x="430" y="774"/>
                    </a:lnTo>
                    <a:lnTo>
                      <a:pt x="440" y="759"/>
                    </a:lnTo>
                    <a:lnTo>
                      <a:pt x="447" y="743"/>
                    </a:lnTo>
                    <a:lnTo>
                      <a:pt x="445" y="733"/>
                    </a:lnTo>
                    <a:lnTo>
                      <a:pt x="443" y="726"/>
                    </a:lnTo>
                    <a:lnTo>
                      <a:pt x="440" y="719"/>
                    </a:lnTo>
                    <a:lnTo>
                      <a:pt x="440" y="714"/>
                    </a:lnTo>
                    <a:lnTo>
                      <a:pt x="436" y="698"/>
                    </a:lnTo>
                    <a:lnTo>
                      <a:pt x="433" y="688"/>
                    </a:lnTo>
                    <a:lnTo>
                      <a:pt x="430" y="679"/>
                    </a:lnTo>
                    <a:lnTo>
                      <a:pt x="426" y="671"/>
                    </a:lnTo>
                    <a:lnTo>
                      <a:pt x="423" y="655"/>
                    </a:lnTo>
                    <a:lnTo>
                      <a:pt x="418" y="642"/>
                    </a:lnTo>
                    <a:lnTo>
                      <a:pt x="404" y="628"/>
                    </a:lnTo>
                    <a:lnTo>
                      <a:pt x="392" y="614"/>
                    </a:lnTo>
                    <a:lnTo>
                      <a:pt x="380" y="599"/>
                    </a:lnTo>
                    <a:lnTo>
                      <a:pt x="376" y="583"/>
                    </a:lnTo>
                    <a:lnTo>
                      <a:pt x="376" y="576"/>
                    </a:lnTo>
                    <a:lnTo>
                      <a:pt x="380" y="571"/>
                    </a:lnTo>
                    <a:lnTo>
                      <a:pt x="383" y="564"/>
                    </a:lnTo>
                    <a:lnTo>
                      <a:pt x="388" y="562"/>
                    </a:lnTo>
                    <a:lnTo>
                      <a:pt x="387" y="557"/>
                    </a:lnTo>
                    <a:lnTo>
                      <a:pt x="388" y="556"/>
                    </a:lnTo>
                    <a:lnTo>
                      <a:pt x="388" y="547"/>
                    </a:lnTo>
                    <a:lnTo>
                      <a:pt x="388" y="540"/>
                    </a:lnTo>
                    <a:lnTo>
                      <a:pt x="388" y="533"/>
                    </a:lnTo>
                    <a:lnTo>
                      <a:pt x="393" y="530"/>
                    </a:lnTo>
                    <a:lnTo>
                      <a:pt x="387" y="519"/>
                    </a:lnTo>
                    <a:lnTo>
                      <a:pt x="380" y="513"/>
                    </a:lnTo>
                    <a:lnTo>
                      <a:pt x="371" y="507"/>
                    </a:lnTo>
                    <a:lnTo>
                      <a:pt x="361" y="507"/>
                    </a:lnTo>
                    <a:lnTo>
                      <a:pt x="347" y="507"/>
                    </a:lnTo>
                    <a:lnTo>
                      <a:pt x="340" y="507"/>
                    </a:lnTo>
                    <a:lnTo>
                      <a:pt x="328" y="502"/>
                    </a:lnTo>
                    <a:lnTo>
                      <a:pt x="321" y="492"/>
                    </a:lnTo>
                    <a:lnTo>
                      <a:pt x="313" y="482"/>
                    </a:lnTo>
                    <a:lnTo>
                      <a:pt x="301" y="478"/>
                    </a:lnTo>
                    <a:lnTo>
                      <a:pt x="290" y="478"/>
                    </a:lnTo>
                    <a:lnTo>
                      <a:pt x="282" y="478"/>
                    </a:lnTo>
                    <a:lnTo>
                      <a:pt x="273" y="480"/>
                    </a:lnTo>
                    <a:lnTo>
                      <a:pt x="266" y="485"/>
                    </a:lnTo>
                    <a:lnTo>
                      <a:pt x="251" y="490"/>
                    </a:lnTo>
                    <a:lnTo>
                      <a:pt x="237" y="497"/>
                    </a:lnTo>
                    <a:lnTo>
                      <a:pt x="227" y="501"/>
                    </a:lnTo>
                    <a:lnTo>
                      <a:pt x="218" y="506"/>
                    </a:lnTo>
                    <a:lnTo>
                      <a:pt x="204" y="502"/>
                    </a:lnTo>
                    <a:lnTo>
                      <a:pt x="189" y="499"/>
                    </a:lnTo>
                    <a:lnTo>
                      <a:pt x="173" y="499"/>
                    </a:lnTo>
                    <a:lnTo>
                      <a:pt x="163" y="502"/>
                    </a:lnTo>
                    <a:lnTo>
                      <a:pt x="151" y="504"/>
                    </a:lnTo>
                    <a:lnTo>
                      <a:pt x="141" y="507"/>
                    </a:lnTo>
                    <a:lnTo>
                      <a:pt x="130" y="506"/>
                    </a:lnTo>
                    <a:lnTo>
                      <a:pt x="125" y="504"/>
                    </a:lnTo>
                    <a:lnTo>
                      <a:pt x="111" y="494"/>
                    </a:lnTo>
                    <a:lnTo>
                      <a:pt x="96" y="483"/>
                    </a:lnTo>
                    <a:lnTo>
                      <a:pt x="80" y="471"/>
                    </a:lnTo>
                    <a:lnTo>
                      <a:pt x="70" y="459"/>
                    </a:lnTo>
                    <a:lnTo>
                      <a:pt x="63" y="449"/>
                    </a:lnTo>
                    <a:lnTo>
                      <a:pt x="58" y="439"/>
                    </a:lnTo>
                    <a:lnTo>
                      <a:pt x="51" y="430"/>
                    </a:lnTo>
                    <a:lnTo>
                      <a:pt x="46" y="423"/>
                    </a:lnTo>
                    <a:lnTo>
                      <a:pt x="39" y="416"/>
                    </a:lnTo>
                    <a:lnTo>
                      <a:pt x="29" y="408"/>
                    </a:lnTo>
                    <a:lnTo>
                      <a:pt x="19" y="399"/>
                    </a:lnTo>
                    <a:lnTo>
                      <a:pt x="15" y="394"/>
                    </a:lnTo>
                    <a:lnTo>
                      <a:pt x="12" y="391"/>
                    </a:lnTo>
                    <a:lnTo>
                      <a:pt x="8" y="387"/>
                    </a:lnTo>
                    <a:lnTo>
                      <a:pt x="10" y="387"/>
                    </a:lnTo>
                    <a:lnTo>
                      <a:pt x="8" y="378"/>
                    </a:lnTo>
                    <a:lnTo>
                      <a:pt x="6" y="372"/>
                    </a:lnTo>
                    <a:lnTo>
                      <a:pt x="3" y="363"/>
                    </a:lnTo>
                    <a:lnTo>
                      <a:pt x="0" y="354"/>
                    </a:lnTo>
                    <a:lnTo>
                      <a:pt x="6" y="346"/>
                    </a:lnTo>
                    <a:lnTo>
                      <a:pt x="13" y="334"/>
                    </a:lnTo>
                    <a:lnTo>
                      <a:pt x="17" y="320"/>
                    </a:lnTo>
                    <a:lnTo>
                      <a:pt x="20" y="310"/>
                    </a:lnTo>
                    <a:lnTo>
                      <a:pt x="17" y="293"/>
                    </a:lnTo>
                    <a:lnTo>
                      <a:pt x="15" y="280"/>
                    </a:lnTo>
                    <a:lnTo>
                      <a:pt x="12" y="267"/>
                    </a:lnTo>
                    <a:lnTo>
                      <a:pt x="12" y="253"/>
                    </a:lnTo>
                    <a:lnTo>
                      <a:pt x="17" y="239"/>
                    </a:lnTo>
                    <a:lnTo>
                      <a:pt x="25" y="229"/>
                    </a:lnTo>
                    <a:lnTo>
                      <a:pt x="31" y="212"/>
                    </a:lnTo>
                    <a:lnTo>
                      <a:pt x="39" y="195"/>
                    </a:lnTo>
                    <a:lnTo>
                      <a:pt x="49" y="177"/>
                    </a:lnTo>
                    <a:lnTo>
                      <a:pt x="60" y="165"/>
                    </a:lnTo>
                    <a:lnTo>
                      <a:pt x="72" y="155"/>
                    </a:lnTo>
                    <a:lnTo>
                      <a:pt x="89" y="152"/>
                    </a:lnTo>
                    <a:lnTo>
                      <a:pt x="101" y="139"/>
                    </a:lnTo>
                    <a:lnTo>
                      <a:pt x="111" y="127"/>
                    </a:lnTo>
                    <a:lnTo>
                      <a:pt x="111" y="114"/>
                    </a:lnTo>
                    <a:lnTo>
                      <a:pt x="113" y="105"/>
                    </a:lnTo>
                    <a:lnTo>
                      <a:pt x="113" y="96"/>
                    </a:lnTo>
                    <a:lnTo>
                      <a:pt x="120" y="88"/>
                    </a:lnTo>
                    <a:lnTo>
                      <a:pt x="130" y="76"/>
                    </a:lnTo>
                    <a:lnTo>
                      <a:pt x="141" y="64"/>
                    </a:lnTo>
                    <a:lnTo>
                      <a:pt x="151" y="52"/>
                    </a:lnTo>
                    <a:lnTo>
                      <a:pt x="163" y="40"/>
                    </a:lnTo>
                    <a:lnTo>
                      <a:pt x="161" y="40"/>
                    </a:lnTo>
                    <a:lnTo>
                      <a:pt x="166" y="33"/>
                    </a:lnTo>
                    <a:lnTo>
                      <a:pt x="172" y="26"/>
                    </a:lnTo>
                    <a:lnTo>
                      <a:pt x="180" y="31"/>
                    </a:lnTo>
                    <a:lnTo>
                      <a:pt x="191" y="36"/>
                    </a:lnTo>
                    <a:lnTo>
                      <a:pt x="201" y="38"/>
                    </a:lnTo>
                    <a:lnTo>
                      <a:pt x="215" y="40"/>
                    </a:lnTo>
                    <a:lnTo>
                      <a:pt x="227" y="35"/>
                    </a:lnTo>
                    <a:lnTo>
                      <a:pt x="234" y="29"/>
                    </a:lnTo>
                    <a:lnTo>
                      <a:pt x="240" y="24"/>
                    </a:lnTo>
                    <a:lnTo>
                      <a:pt x="251" y="21"/>
                    </a:lnTo>
                    <a:lnTo>
                      <a:pt x="261" y="17"/>
                    </a:lnTo>
                    <a:lnTo>
                      <a:pt x="273" y="14"/>
                    </a:lnTo>
                    <a:lnTo>
                      <a:pt x="283" y="11"/>
                    </a:lnTo>
                    <a:lnTo>
                      <a:pt x="294" y="9"/>
                    </a:lnTo>
                    <a:lnTo>
                      <a:pt x="304" y="7"/>
                    </a:lnTo>
                    <a:lnTo>
                      <a:pt x="314" y="7"/>
                    </a:lnTo>
                    <a:lnTo>
                      <a:pt x="323" y="9"/>
                    </a:lnTo>
                    <a:lnTo>
                      <a:pt x="332" y="12"/>
                    </a:lnTo>
                    <a:lnTo>
                      <a:pt x="340" y="7"/>
                    </a:lnTo>
                    <a:lnTo>
                      <a:pt x="354" y="4"/>
                    </a:lnTo>
                    <a:lnTo>
                      <a:pt x="361" y="5"/>
                    </a:lnTo>
                    <a:lnTo>
                      <a:pt x="368" y="7"/>
                    </a:lnTo>
                    <a:lnTo>
                      <a:pt x="378" y="4"/>
                    </a:lnTo>
                    <a:lnTo>
                      <a:pt x="388" y="0"/>
                    </a:lnTo>
                    <a:lnTo>
                      <a:pt x="395" y="4"/>
                    </a:lnTo>
                    <a:lnTo>
                      <a:pt x="404" y="9"/>
                    </a:lnTo>
                    <a:lnTo>
                      <a:pt x="407" y="7"/>
                    </a:lnTo>
                    <a:lnTo>
                      <a:pt x="412" y="5"/>
                    </a:lnTo>
                    <a:lnTo>
                      <a:pt x="407" y="12"/>
                    </a:lnTo>
                    <a:lnTo>
                      <a:pt x="404" y="19"/>
                    </a:lnTo>
                    <a:lnTo>
                      <a:pt x="407" y="24"/>
                    </a:lnTo>
                    <a:lnTo>
                      <a:pt x="411" y="29"/>
                    </a:lnTo>
                    <a:lnTo>
                      <a:pt x="407" y="40"/>
                    </a:lnTo>
                    <a:lnTo>
                      <a:pt x="404" y="50"/>
                    </a:lnTo>
                    <a:lnTo>
                      <a:pt x="406" y="57"/>
                    </a:lnTo>
                    <a:lnTo>
                      <a:pt x="411" y="66"/>
                    </a:lnTo>
                    <a:lnTo>
                      <a:pt x="418" y="71"/>
                    </a:lnTo>
                    <a:lnTo>
                      <a:pt x="426" y="74"/>
                    </a:lnTo>
                    <a:lnTo>
                      <a:pt x="433" y="74"/>
                    </a:lnTo>
                    <a:lnTo>
                      <a:pt x="442" y="74"/>
                    </a:lnTo>
                    <a:lnTo>
                      <a:pt x="452" y="74"/>
                    </a:lnTo>
                    <a:lnTo>
                      <a:pt x="462" y="79"/>
                    </a:lnTo>
                    <a:lnTo>
                      <a:pt x="471" y="84"/>
                    </a:lnTo>
                    <a:lnTo>
                      <a:pt x="479" y="93"/>
                    </a:lnTo>
                    <a:lnTo>
                      <a:pt x="488" y="100"/>
                    </a:lnTo>
                    <a:lnTo>
                      <a:pt x="498" y="107"/>
                    </a:lnTo>
                    <a:lnTo>
                      <a:pt x="509" y="110"/>
                    </a:lnTo>
                    <a:lnTo>
                      <a:pt x="522" y="114"/>
                    </a:lnTo>
                    <a:lnTo>
                      <a:pt x="529" y="110"/>
                    </a:lnTo>
                    <a:lnTo>
                      <a:pt x="533" y="107"/>
                    </a:lnTo>
                    <a:lnTo>
                      <a:pt x="533" y="102"/>
                    </a:lnTo>
                    <a:lnTo>
                      <a:pt x="533" y="96"/>
                    </a:lnTo>
                    <a:lnTo>
                      <a:pt x="533" y="84"/>
                    </a:lnTo>
                    <a:lnTo>
                      <a:pt x="540" y="79"/>
                    </a:lnTo>
                    <a:lnTo>
                      <a:pt x="548" y="76"/>
                    </a:lnTo>
                    <a:lnTo>
                      <a:pt x="562" y="74"/>
                    </a:lnTo>
                    <a:lnTo>
                      <a:pt x="562" y="7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2" name="Freeform 193"/>
              <p:cNvSpPr>
                <a:spLocks/>
              </p:cNvSpPr>
              <p:nvPr/>
            </p:nvSpPr>
            <p:spPr bwMode="auto">
              <a:xfrm>
                <a:off x="4907757" y="2989263"/>
                <a:ext cx="852488" cy="739775"/>
              </a:xfrm>
              <a:custGeom>
                <a:avLst/>
                <a:gdLst/>
                <a:ahLst/>
                <a:cxnLst>
                  <a:cxn ang="0">
                    <a:pos x="126" y="157"/>
                  </a:cxn>
                  <a:cxn ang="0">
                    <a:pos x="140" y="98"/>
                  </a:cxn>
                  <a:cxn ang="0">
                    <a:pos x="134" y="93"/>
                  </a:cxn>
                  <a:cxn ang="0">
                    <a:pos x="107" y="100"/>
                  </a:cxn>
                  <a:cxn ang="0">
                    <a:pos x="55" y="102"/>
                  </a:cxn>
                  <a:cxn ang="0">
                    <a:pos x="26" y="91"/>
                  </a:cxn>
                  <a:cxn ang="0">
                    <a:pos x="16" y="76"/>
                  </a:cxn>
                  <a:cxn ang="0">
                    <a:pos x="11" y="50"/>
                  </a:cxn>
                  <a:cxn ang="0">
                    <a:pos x="7" y="31"/>
                  </a:cxn>
                  <a:cxn ang="0">
                    <a:pos x="43" y="17"/>
                  </a:cxn>
                  <a:cxn ang="0">
                    <a:pos x="81" y="10"/>
                  </a:cxn>
                  <a:cxn ang="0">
                    <a:pos x="122" y="0"/>
                  </a:cxn>
                  <a:cxn ang="0">
                    <a:pos x="148" y="10"/>
                  </a:cxn>
                  <a:cxn ang="0">
                    <a:pos x="189" y="17"/>
                  </a:cxn>
                  <a:cxn ang="0">
                    <a:pos x="224" y="5"/>
                  </a:cxn>
                  <a:cxn ang="0">
                    <a:pos x="256" y="24"/>
                  </a:cxn>
                  <a:cxn ang="0">
                    <a:pos x="284" y="48"/>
                  </a:cxn>
                  <a:cxn ang="0">
                    <a:pos x="320" y="38"/>
                  </a:cxn>
                  <a:cxn ang="0">
                    <a:pos x="325" y="53"/>
                  </a:cxn>
                  <a:cxn ang="0">
                    <a:pos x="346" y="79"/>
                  </a:cxn>
                  <a:cxn ang="0">
                    <a:pos x="391" y="90"/>
                  </a:cxn>
                  <a:cxn ang="0">
                    <a:pos x="413" y="72"/>
                  </a:cxn>
                  <a:cxn ang="0">
                    <a:pos x="459" y="64"/>
                  </a:cxn>
                  <a:cxn ang="0">
                    <a:pos x="506" y="84"/>
                  </a:cxn>
                  <a:cxn ang="0">
                    <a:pos x="506" y="114"/>
                  </a:cxn>
                  <a:cxn ang="0">
                    <a:pos x="499" y="138"/>
                  </a:cxn>
                  <a:cxn ang="0">
                    <a:pos x="504" y="170"/>
                  </a:cxn>
                  <a:cxn ang="0">
                    <a:pos x="508" y="201"/>
                  </a:cxn>
                  <a:cxn ang="0">
                    <a:pos x="537" y="248"/>
                  </a:cxn>
                  <a:cxn ang="0">
                    <a:pos x="516" y="272"/>
                  </a:cxn>
                  <a:cxn ang="0">
                    <a:pos x="494" y="274"/>
                  </a:cxn>
                  <a:cxn ang="0">
                    <a:pos x="453" y="265"/>
                  </a:cxn>
                  <a:cxn ang="0">
                    <a:pos x="435" y="246"/>
                  </a:cxn>
                  <a:cxn ang="0">
                    <a:pos x="382" y="239"/>
                  </a:cxn>
                  <a:cxn ang="0">
                    <a:pos x="353" y="212"/>
                  </a:cxn>
                  <a:cxn ang="0">
                    <a:pos x="320" y="210"/>
                  </a:cxn>
                  <a:cxn ang="0">
                    <a:pos x="339" y="253"/>
                  </a:cxn>
                  <a:cxn ang="0">
                    <a:pos x="363" y="261"/>
                  </a:cxn>
                  <a:cxn ang="0">
                    <a:pos x="361" y="286"/>
                  </a:cxn>
                  <a:cxn ang="0">
                    <a:pos x="399" y="291"/>
                  </a:cxn>
                  <a:cxn ang="0">
                    <a:pos x="435" y="277"/>
                  </a:cxn>
                  <a:cxn ang="0">
                    <a:pos x="471" y="304"/>
                  </a:cxn>
                  <a:cxn ang="0">
                    <a:pos x="484" y="325"/>
                  </a:cxn>
                  <a:cxn ang="0">
                    <a:pos x="458" y="356"/>
                  </a:cxn>
                  <a:cxn ang="0">
                    <a:pos x="437" y="382"/>
                  </a:cxn>
                  <a:cxn ang="0">
                    <a:pos x="392" y="406"/>
                  </a:cxn>
                  <a:cxn ang="0">
                    <a:pos x="367" y="425"/>
                  </a:cxn>
                  <a:cxn ang="0">
                    <a:pos x="320" y="444"/>
                  </a:cxn>
                  <a:cxn ang="0">
                    <a:pos x="269" y="464"/>
                  </a:cxn>
                  <a:cxn ang="0">
                    <a:pos x="250" y="454"/>
                  </a:cxn>
                  <a:cxn ang="0">
                    <a:pos x="236" y="399"/>
                  </a:cxn>
                  <a:cxn ang="0">
                    <a:pos x="208" y="356"/>
                  </a:cxn>
                  <a:cxn ang="0">
                    <a:pos x="181" y="310"/>
                  </a:cxn>
                  <a:cxn ang="0">
                    <a:pos x="160" y="289"/>
                  </a:cxn>
                  <a:cxn ang="0">
                    <a:pos x="141" y="249"/>
                  </a:cxn>
                  <a:cxn ang="0">
                    <a:pos x="129" y="201"/>
                  </a:cxn>
                </a:cxnLst>
                <a:rect l="0" t="0" r="r" b="b"/>
                <a:pathLst>
                  <a:path w="537" h="466">
                    <a:moveTo>
                      <a:pt x="129" y="205"/>
                    </a:moveTo>
                    <a:lnTo>
                      <a:pt x="117" y="177"/>
                    </a:lnTo>
                    <a:lnTo>
                      <a:pt x="119" y="174"/>
                    </a:lnTo>
                    <a:lnTo>
                      <a:pt x="122" y="172"/>
                    </a:lnTo>
                    <a:lnTo>
                      <a:pt x="126" y="157"/>
                    </a:lnTo>
                    <a:lnTo>
                      <a:pt x="129" y="145"/>
                    </a:lnTo>
                    <a:lnTo>
                      <a:pt x="136" y="133"/>
                    </a:lnTo>
                    <a:lnTo>
                      <a:pt x="143" y="120"/>
                    </a:lnTo>
                    <a:lnTo>
                      <a:pt x="141" y="108"/>
                    </a:lnTo>
                    <a:lnTo>
                      <a:pt x="140" y="98"/>
                    </a:lnTo>
                    <a:lnTo>
                      <a:pt x="141" y="95"/>
                    </a:lnTo>
                    <a:lnTo>
                      <a:pt x="143" y="93"/>
                    </a:lnTo>
                    <a:lnTo>
                      <a:pt x="143" y="88"/>
                    </a:lnTo>
                    <a:lnTo>
                      <a:pt x="138" y="90"/>
                    </a:lnTo>
                    <a:lnTo>
                      <a:pt x="134" y="93"/>
                    </a:lnTo>
                    <a:lnTo>
                      <a:pt x="127" y="91"/>
                    </a:lnTo>
                    <a:lnTo>
                      <a:pt x="124" y="90"/>
                    </a:lnTo>
                    <a:lnTo>
                      <a:pt x="117" y="93"/>
                    </a:lnTo>
                    <a:lnTo>
                      <a:pt x="114" y="96"/>
                    </a:lnTo>
                    <a:lnTo>
                      <a:pt x="107" y="100"/>
                    </a:lnTo>
                    <a:lnTo>
                      <a:pt x="98" y="102"/>
                    </a:lnTo>
                    <a:lnTo>
                      <a:pt x="86" y="95"/>
                    </a:lnTo>
                    <a:lnTo>
                      <a:pt x="74" y="90"/>
                    </a:lnTo>
                    <a:lnTo>
                      <a:pt x="62" y="95"/>
                    </a:lnTo>
                    <a:lnTo>
                      <a:pt x="55" y="102"/>
                    </a:lnTo>
                    <a:lnTo>
                      <a:pt x="48" y="98"/>
                    </a:lnTo>
                    <a:lnTo>
                      <a:pt x="43" y="95"/>
                    </a:lnTo>
                    <a:lnTo>
                      <a:pt x="36" y="90"/>
                    </a:lnTo>
                    <a:lnTo>
                      <a:pt x="31" y="91"/>
                    </a:lnTo>
                    <a:lnTo>
                      <a:pt x="26" y="91"/>
                    </a:lnTo>
                    <a:lnTo>
                      <a:pt x="28" y="90"/>
                    </a:lnTo>
                    <a:lnTo>
                      <a:pt x="29" y="88"/>
                    </a:lnTo>
                    <a:lnTo>
                      <a:pt x="24" y="84"/>
                    </a:lnTo>
                    <a:lnTo>
                      <a:pt x="19" y="81"/>
                    </a:lnTo>
                    <a:lnTo>
                      <a:pt x="16" y="76"/>
                    </a:lnTo>
                    <a:lnTo>
                      <a:pt x="17" y="72"/>
                    </a:lnTo>
                    <a:lnTo>
                      <a:pt x="9" y="65"/>
                    </a:lnTo>
                    <a:lnTo>
                      <a:pt x="0" y="64"/>
                    </a:lnTo>
                    <a:lnTo>
                      <a:pt x="7" y="57"/>
                    </a:lnTo>
                    <a:lnTo>
                      <a:pt x="11" y="50"/>
                    </a:lnTo>
                    <a:lnTo>
                      <a:pt x="9" y="47"/>
                    </a:lnTo>
                    <a:lnTo>
                      <a:pt x="11" y="43"/>
                    </a:lnTo>
                    <a:lnTo>
                      <a:pt x="4" y="41"/>
                    </a:lnTo>
                    <a:lnTo>
                      <a:pt x="2" y="41"/>
                    </a:lnTo>
                    <a:lnTo>
                      <a:pt x="7" y="31"/>
                    </a:lnTo>
                    <a:lnTo>
                      <a:pt x="21" y="28"/>
                    </a:lnTo>
                    <a:lnTo>
                      <a:pt x="35" y="26"/>
                    </a:lnTo>
                    <a:lnTo>
                      <a:pt x="47" y="24"/>
                    </a:lnTo>
                    <a:lnTo>
                      <a:pt x="45" y="19"/>
                    </a:lnTo>
                    <a:lnTo>
                      <a:pt x="43" y="17"/>
                    </a:lnTo>
                    <a:lnTo>
                      <a:pt x="48" y="14"/>
                    </a:lnTo>
                    <a:lnTo>
                      <a:pt x="55" y="16"/>
                    </a:lnTo>
                    <a:lnTo>
                      <a:pt x="66" y="16"/>
                    </a:lnTo>
                    <a:lnTo>
                      <a:pt x="71" y="16"/>
                    </a:lnTo>
                    <a:lnTo>
                      <a:pt x="81" y="10"/>
                    </a:lnTo>
                    <a:lnTo>
                      <a:pt x="91" y="5"/>
                    </a:lnTo>
                    <a:lnTo>
                      <a:pt x="97" y="0"/>
                    </a:lnTo>
                    <a:lnTo>
                      <a:pt x="105" y="0"/>
                    </a:lnTo>
                    <a:lnTo>
                      <a:pt x="114" y="0"/>
                    </a:lnTo>
                    <a:lnTo>
                      <a:pt x="122" y="0"/>
                    </a:lnTo>
                    <a:lnTo>
                      <a:pt x="129" y="0"/>
                    </a:lnTo>
                    <a:lnTo>
                      <a:pt x="134" y="4"/>
                    </a:lnTo>
                    <a:lnTo>
                      <a:pt x="138" y="5"/>
                    </a:lnTo>
                    <a:lnTo>
                      <a:pt x="146" y="9"/>
                    </a:lnTo>
                    <a:lnTo>
                      <a:pt x="148" y="10"/>
                    </a:lnTo>
                    <a:lnTo>
                      <a:pt x="157" y="14"/>
                    </a:lnTo>
                    <a:lnTo>
                      <a:pt x="164" y="16"/>
                    </a:lnTo>
                    <a:lnTo>
                      <a:pt x="172" y="17"/>
                    </a:lnTo>
                    <a:lnTo>
                      <a:pt x="181" y="17"/>
                    </a:lnTo>
                    <a:lnTo>
                      <a:pt x="189" y="17"/>
                    </a:lnTo>
                    <a:lnTo>
                      <a:pt x="195" y="17"/>
                    </a:lnTo>
                    <a:lnTo>
                      <a:pt x="201" y="17"/>
                    </a:lnTo>
                    <a:lnTo>
                      <a:pt x="208" y="14"/>
                    </a:lnTo>
                    <a:lnTo>
                      <a:pt x="217" y="10"/>
                    </a:lnTo>
                    <a:lnTo>
                      <a:pt x="224" y="5"/>
                    </a:lnTo>
                    <a:lnTo>
                      <a:pt x="236" y="4"/>
                    </a:lnTo>
                    <a:lnTo>
                      <a:pt x="244" y="4"/>
                    </a:lnTo>
                    <a:lnTo>
                      <a:pt x="250" y="9"/>
                    </a:lnTo>
                    <a:lnTo>
                      <a:pt x="253" y="16"/>
                    </a:lnTo>
                    <a:lnTo>
                      <a:pt x="256" y="24"/>
                    </a:lnTo>
                    <a:lnTo>
                      <a:pt x="262" y="28"/>
                    </a:lnTo>
                    <a:lnTo>
                      <a:pt x="269" y="33"/>
                    </a:lnTo>
                    <a:lnTo>
                      <a:pt x="274" y="36"/>
                    </a:lnTo>
                    <a:lnTo>
                      <a:pt x="279" y="43"/>
                    </a:lnTo>
                    <a:lnTo>
                      <a:pt x="284" y="48"/>
                    </a:lnTo>
                    <a:lnTo>
                      <a:pt x="294" y="52"/>
                    </a:lnTo>
                    <a:lnTo>
                      <a:pt x="303" y="45"/>
                    </a:lnTo>
                    <a:lnTo>
                      <a:pt x="312" y="40"/>
                    </a:lnTo>
                    <a:lnTo>
                      <a:pt x="315" y="38"/>
                    </a:lnTo>
                    <a:lnTo>
                      <a:pt x="320" y="38"/>
                    </a:lnTo>
                    <a:lnTo>
                      <a:pt x="320" y="41"/>
                    </a:lnTo>
                    <a:lnTo>
                      <a:pt x="324" y="47"/>
                    </a:lnTo>
                    <a:lnTo>
                      <a:pt x="322" y="48"/>
                    </a:lnTo>
                    <a:lnTo>
                      <a:pt x="324" y="50"/>
                    </a:lnTo>
                    <a:lnTo>
                      <a:pt x="325" y="53"/>
                    </a:lnTo>
                    <a:lnTo>
                      <a:pt x="329" y="59"/>
                    </a:lnTo>
                    <a:lnTo>
                      <a:pt x="330" y="65"/>
                    </a:lnTo>
                    <a:lnTo>
                      <a:pt x="332" y="74"/>
                    </a:lnTo>
                    <a:lnTo>
                      <a:pt x="337" y="77"/>
                    </a:lnTo>
                    <a:lnTo>
                      <a:pt x="346" y="79"/>
                    </a:lnTo>
                    <a:lnTo>
                      <a:pt x="351" y="81"/>
                    </a:lnTo>
                    <a:lnTo>
                      <a:pt x="355" y="88"/>
                    </a:lnTo>
                    <a:lnTo>
                      <a:pt x="365" y="90"/>
                    </a:lnTo>
                    <a:lnTo>
                      <a:pt x="379" y="91"/>
                    </a:lnTo>
                    <a:lnTo>
                      <a:pt x="391" y="90"/>
                    </a:lnTo>
                    <a:lnTo>
                      <a:pt x="403" y="88"/>
                    </a:lnTo>
                    <a:lnTo>
                      <a:pt x="403" y="83"/>
                    </a:lnTo>
                    <a:lnTo>
                      <a:pt x="403" y="79"/>
                    </a:lnTo>
                    <a:lnTo>
                      <a:pt x="404" y="74"/>
                    </a:lnTo>
                    <a:lnTo>
                      <a:pt x="413" y="72"/>
                    </a:lnTo>
                    <a:lnTo>
                      <a:pt x="418" y="69"/>
                    </a:lnTo>
                    <a:lnTo>
                      <a:pt x="423" y="65"/>
                    </a:lnTo>
                    <a:lnTo>
                      <a:pt x="434" y="62"/>
                    </a:lnTo>
                    <a:lnTo>
                      <a:pt x="446" y="59"/>
                    </a:lnTo>
                    <a:lnTo>
                      <a:pt x="459" y="64"/>
                    </a:lnTo>
                    <a:lnTo>
                      <a:pt x="475" y="71"/>
                    </a:lnTo>
                    <a:lnTo>
                      <a:pt x="482" y="74"/>
                    </a:lnTo>
                    <a:lnTo>
                      <a:pt x="489" y="77"/>
                    </a:lnTo>
                    <a:lnTo>
                      <a:pt x="494" y="81"/>
                    </a:lnTo>
                    <a:lnTo>
                      <a:pt x="506" y="84"/>
                    </a:lnTo>
                    <a:lnTo>
                      <a:pt x="508" y="88"/>
                    </a:lnTo>
                    <a:lnTo>
                      <a:pt x="509" y="91"/>
                    </a:lnTo>
                    <a:lnTo>
                      <a:pt x="509" y="102"/>
                    </a:lnTo>
                    <a:lnTo>
                      <a:pt x="511" y="110"/>
                    </a:lnTo>
                    <a:lnTo>
                      <a:pt x="506" y="114"/>
                    </a:lnTo>
                    <a:lnTo>
                      <a:pt x="502" y="120"/>
                    </a:lnTo>
                    <a:lnTo>
                      <a:pt x="499" y="127"/>
                    </a:lnTo>
                    <a:lnTo>
                      <a:pt x="499" y="133"/>
                    </a:lnTo>
                    <a:lnTo>
                      <a:pt x="499" y="134"/>
                    </a:lnTo>
                    <a:lnTo>
                      <a:pt x="499" y="138"/>
                    </a:lnTo>
                    <a:lnTo>
                      <a:pt x="501" y="139"/>
                    </a:lnTo>
                    <a:lnTo>
                      <a:pt x="502" y="143"/>
                    </a:lnTo>
                    <a:lnTo>
                      <a:pt x="502" y="158"/>
                    </a:lnTo>
                    <a:lnTo>
                      <a:pt x="502" y="163"/>
                    </a:lnTo>
                    <a:lnTo>
                      <a:pt x="504" y="170"/>
                    </a:lnTo>
                    <a:lnTo>
                      <a:pt x="509" y="172"/>
                    </a:lnTo>
                    <a:lnTo>
                      <a:pt x="516" y="181"/>
                    </a:lnTo>
                    <a:lnTo>
                      <a:pt x="511" y="189"/>
                    </a:lnTo>
                    <a:lnTo>
                      <a:pt x="506" y="198"/>
                    </a:lnTo>
                    <a:lnTo>
                      <a:pt x="508" y="201"/>
                    </a:lnTo>
                    <a:lnTo>
                      <a:pt x="511" y="206"/>
                    </a:lnTo>
                    <a:lnTo>
                      <a:pt x="518" y="215"/>
                    </a:lnTo>
                    <a:lnTo>
                      <a:pt x="527" y="224"/>
                    </a:lnTo>
                    <a:lnTo>
                      <a:pt x="533" y="232"/>
                    </a:lnTo>
                    <a:lnTo>
                      <a:pt x="537" y="248"/>
                    </a:lnTo>
                    <a:lnTo>
                      <a:pt x="527" y="249"/>
                    </a:lnTo>
                    <a:lnTo>
                      <a:pt x="521" y="253"/>
                    </a:lnTo>
                    <a:lnTo>
                      <a:pt x="516" y="256"/>
                    </a:lnTo>
                    <a:lnTo>
                      <a:pt x="516" y="267"/>
                    </a:lnTo>
                    <a:lnTo>
                      <a:pt x="516" y="272"/>
                    </a:lnTo>
                    <a:lnTo>
                      <a:pt x="518" y="277"/>
                    </a:lnTo>
                    <a:lnTo>
                      <a:pt x="516" y="277"/>
                    </a:lnTo>
                    <a:lnTo>
                      <a:pt x="514" y="277"/>
                    </a:lnTo>
                    <a:lnTo>
                      <a:pt x="504" y="275"/>
                    </a:lnTo>
                    <a:lnTo>
                      <a:pt x="494" y="274"/>
                    </a:lnTo>
                    <a:lnTo>
                      <a:pt x="480" y="270"/>
                    </a:lnTo>
                    <a:lnTo>
                      <a:pt x="470" y="270"/>
                    </a:lnTo>
                    <a:lnTo>
                      <a:pt x="465" y="268"/>
                    </a:lnTo>
                    <a:lnTo>
                      <a:pt x="459" y="267"/>
                    </a:lnTo>
                    <a:lnTo>
                      <a:pt x="453" y="265"/>
                    </a:lnTo>
                    <a:lnTo>
                      <a:pt x="451" y="265"/>
                    </a:lnTo>
                    <a:lnTo>
                      <a:pt x="447" y="258"/>
                    </a:lnTo>
                    <a:lnTo>
                      <a:pt x="446" y="253"/>
                    </a:lnTo>
                    <a:lnTo>
                      <a:pt x="441" y="248"/>
                    </a:lnTo>
                    <a:lnTo>
                      <a:pt x="435" y="246"/>
                    </a:lnTo>
                    <a:lnTo>
                      <a:pt x="428" y="248"/>
                    </a:lnTo>
                    <a:lnTo>
                      <a:pt x="425" y="253"/>
                    </a:lnTo>
                    <a:lnTo>
                      <a:pt x="399" y="253"/>
                    </a:lnTo>
                    <a:lnTo>
                      <a:pt x="389" y="246"/>
                    </a:lnTo>
                    <a:lnTo>
                      <a:pt x="382" y="239"/>
                    </a:lnTo>
                    <a:lnTo>
                      <a:pt x="372" y="234"/>
                    </a:lnTo>
                    <a:lnTo>
                      <a:pt x="363" y="231"/>
                    </a:lnTo>
                    <a:lnTo>
                      <a:pt x="360" y="225"/>
                    </a:lnTo>
                    <a:lnTo>
                      <a:pt x="360" y="220"/>
                    </a:lnTo>
                    <a:lnTo>
                      <a:pt x="353" y="212"/>
                    </a:lnTo>
                    <a:lnTo>
                      <a:pt x="348" y="203"/>
                    </a:lnTo>
                    <a:lnTo>
                      <a:pt x="337" y="196"/>
                    </a:lnTo>
                    <a:lnTo>
                      <a:pt x="329" y="194"/>
                    </a:lnTo>
                    <a:lnTo>
                      <a:pt x="322" y="200"/>
                    </a:lnTo>
                    <a:lnTo>
                      <a:pt x="320" y="210"/>
                    </a:lnTo>
                    <a:lnTo>
                      <a:pt x="320" y="215"/>
                    </a:lnTo>
                    <a:lnTo>
                      <a:pt x="320" y="222"/>
                    </a:lnTo>
                    <a:lnTo>
                      <a:pt x="324" y="231"/>
                    </a:lnTo>
                    <a:lnTo>
                      <a:pt x="330" y="243"/>
                    </a:lnTo>
                    <a:lnTo>
                      <a:pt x="339" y="253"/>
                    </a:lnTo>
                    <a:lnTo>
                      <a:pt x="349" y="258"/>
                    </a:lnTo>
                    <a:lnTo>
                      <a:pt x="351" y="263"/>
                    </a:lnTo>
                    <a:lnTo>
                      <a:pt x="353" y="270"/>
                    </a:lnTo>
                    <a:lnTo>
                      <a:pt x="358" y="265"/>
                    </a:lnTo>
                    <a:lnTo>
                      <a:pt x="363" y="261"/>
                    </a:lnTo>
                    <a:lnTo>
                      <a:pt x="363" y="263"/>
                    </a:lnTo>
                    <a:lnTo>
                      <a:pt x="363" y="267"/>
                    </a:lnTo>
                    <a:lnTo>
                      <a:pt x="361" y="274"/>
                    </a:lnTo>
                    <a:lnTo>
                      <a:pt x="360" y="282"/>
                    </a:lnTo>
                    <a:lnTo>
                      <a:pt x="361" y="286"/>
                    </a:lnTo>
                    <a:lnTo>
                      <a:pt x="367" y="291"/>
                    </a:lnTo>
                    <a:lnTo>
                      <a:pt x="373" y="292"/>
                    </a:lnTo>
                    <a:lnTo>
                      <a:pt x="380" y="294"/>
                    </a:lnTo>
                    <a:lnTo>
                      <a:pt x="391" y="292"/>
                    </a:lnTo>
                    <a:lnTo>
                      <a:pt x="399" y="291"/>
                    </a:lnTo>
                    <a:lnTo>
                      <a:pt x="406" y="286"/>
                    </a:lnTo>
                    <a:lnTo>
                      <a:pt x="413" y="282"/>
                    </a:lnTo>
                    <a:lnTo>
                      <a:pt x="422" y="270"/>
                    </a:lnTo>
                    <a:lnTo>
                      <a:pt x="435" y="260"/>
                    </a:lnTo>
                    <a:lnTo>
                      <a:pt x="435" y="277"/>
                    </a:lnTo>
                    <a:lnTo>
                      <a:pt x="441" y="286"/>
                    </a:lnTo>
                    <a:lnTo>
                      <a:pt x="447" y="291"/>
                    </a:lnTo>
                    <a:lnTo>
                      <a:pt x="456" y="294"/>
                    </a:lnTo>
                    <a:lnTo>
                      <a:pt x="466" y="299"/>
                    </a:lnTo>
                    <a:lnTo>
                      <a:pt x="471" y="304"/>
                    </a:lnTo>
                    <a:lnTo>
                      <a:pt x="477" y="311"/>
                    </a:lnTo>
                    <a:lnTo>
                      <a:pt x="477" y="311"/>
                    </a:lnTo>
                    <a:lnTo>
                      <a:pt x="482" y="315"/>
                    </a:lnTo>
                    <a:lnTo>
                      <a:pt x="487" y="320"/>
                    </a:lnTo>
                    <a:lnTo>
                      <a:pt x="484" y="325"/>
                    </a:lnTo>
                    <a:lnTo>
                      <a:pt x="478" y="332"/>
                    </a:lnTo>
                    <a:lnTo>
                      <a:pt x="473" y="339"/>
                    </a:lnTo>
                    <a:lnTo>
                      <a:pt x="471" y="347"/>
                    </a:lnTo>
                    <a:lnTo>
                      <a:pt x="461" y="349"/>
                    </a:lnTo>
                    <a:lnTo>
                      <a:pt x="458" y="356"/>
                    </a:lnTo>
                    <a:lnTo>
                      <a:pt x="454" y="365"/>
                    </a:lnTo>
                    <a:lnTo>
                      <a:pt x="449" y="370"/>
                    </a:lnTo>
                    <a:lnTo>
                      <a:pt x="444" y="372"/>
                    </a:lnTo>
                    <a:lnTo>
                      <a:pt x="441" y="377"/>
                    </a:lnTo>
                    <a:lnTo>
                      <a:pt x="437" y="382"/>
                    </a:lnTo>
                    <a:lnTo>
                      <a:pt x="434" y="385"/>
                    </a:lnTo>
                    <a:lnTo>
                      <a:pt x="425" y="389"/>
                    </a:lnTo>
                    <a:lnTo>
                      <a:pt x="420" y="399"/>
                    </a:lnTo>
                    <a:lnTo>
                      <a:pt x="406" y="401"/>
                    </a:lnTo>
                    <a:lnTo>
                      <a:pt x="392" y="406"/>
                    </a:lnTo>
                    <a:lnTo>
                      <a:pt x="379" y="409"/>
                    </a:lnTo>
                    <a:lnTo>
                      <a:pt x="375" y="418"/>
                    </a:lnTo>
                    <a:lnTo>
                      <a:pt x="375" y="420"/>
                    </a:lnTo>
                    <a:lnTo>
                      <a:pt x="377" y="423"/>
                    </a:lnTo>
                    <a:lnTo>
                      <a:pt x="367" y="425"/>
                    </a:lnTo>
                    <a:lnTo>
                      <a:pt x="358" y="428"/>
                    </a:lnTo>
                    <a:lnTo>
                      <a:pt x="348" y="432"/>
                    </a:lnTo>
                    <a:lnTo>
                      <a:pt x="337" y="435"/>
                    </a:lnTo>
                    <a:lnTo>
                      <a:pt x="329" y="437"/>
                    </a:lnTo>
                    <a:lnTo>
                      <a:pt x="320" y="444"/>
                    </a:lnTo>
                    <a:lnTo>
                      <a:pt x="312" y="449"/>
                    </a:lnTo>
                    <a:lnTo>
                      <a:pt x="305" y="454"/>
                    </a:lnTo>
                    <a:lnTo>
                      <a:pt x="289" y="454"/>
                    </a:lnTo>
                    <a:lnTo>
                      <a:pt x="279" y="461"/>
                    </a:lnTo>
                    <a:lnTo>
                      <a:pt x="269" y="464"/>
                    </a:lnTo>
                    <a:lnTo>
                      <a:pt x="265" y="466"/>
                    </a:lnTo>
                    <a:lnTo>
                      <a:pt x="256" y="463"/>
                    </a:lnTo>
                    <a:lnTo>
                      <a:pt x="250" y="459"/>
                    </a:lnTo>
                    <a:lnTo>
                      <a:pt x="250" y="457"/>
                    </a:lnTo>
                    <a:lnTo>
                      <a:pt x="250" y="454"/>
                    </a:lnTo>
                    <a:lnTo>
                      <a:pt x="241" y="440"/>
                    </a:lnTo>
                    <a:lnTo>
                      <a:pt x="239" y="428"/>
                    </a:lnTo>
                    <a:lnTo>
                      <a:pt x="236" y="421"/>
                    </a:lnTo>
                    <a:lnTo>
                      <a:pt x="239" y="413"/>
                    </a:lnTo>
                    <a:lnTo>
                      <a:pt x="236" y="399"/>
                    </a:lnTo>
                    <a:lnTo>
                      <a:pt x="227" y="392"/>
                    </a:lnTo>
                    <a:lnTo>
                      <a:pt x="220" y="384"/>
                    </a:lnTo>
                    <a:lnTo>
                      <a:pt x="215" y="375"/>
                    </a:lnTo>
                    <a:lnTo>
                      <a:pt x="210" y="365"/>
                    </a:lnTo>
                    <a:lnTo>
                      <a:pt x="208" y="356"/>
                    </a:lnTo>
                    <a:lnTo>
                      <a:pt x="196" y="351"/>
                    </a:lnTo>
                    <a:lnTo>
                      <a:pt x="189" y="344"/>
                    </a:lnTo>
                    <a:lnTo>
                      <a:pt x="186" y="334"/>
                    </a:lnTo>
                    <a:lnTo>
                      <a:pt x="186" y="322"/>
                    </a:lnTo>
                    <a:lnTo>
                      <a:pt x="181" y="310"/>
                    </a:lnTo>
                    <a:lnTo>
                      <a:pt x="177" y="298"/>
                    </a:lnTo>
                    <a:lnTo>
                      <a:pt x="172" y="294"/>
                    </a:lnTo>
                    <a:lnTo>
                      <a:pt x="170" y="292"/>
                    </a:lnTo>
                    <a:lnTo>
                      <a:pt x="165" y="291"/>
                    </a:lnTo>
                    <a:lnTo>
                      <a:pt x="160" y="289"/>
                    </a:lnTo>
                    <a:lnTo>
                      <a:pt x="157" y="282"/>
                    </a:lnTo>
                    <a:lnTo>
                      <a:pt x="157" y="275"/>
                    </a:lnTo>
                    <a:lnTo>
                      <a:pt x="153" y="268"/>
                    </a:lnTo>
                    <a:lnTo>
                      <a:pt x="150" y="263"/>
                    </a:lnTo>
                    <a:lnTo>
                      <a:pt x="141" y="249"/>
                    </a:lnTo>
                    <a:lnTo>
                      <a:pt x="134" y="237"/>
                    </a:lnTo>
                    <a:lnTo>
                      <a:pt x="129" y="231"/>
                    </a:lnTo>
                    <a:lnTo>
                      <a:pt x="126" y="225"/>
                    </a:lnTo>
                    <a:lnTo>
                      <a:pt x="127" y="213"/>
                    </a:lnTo>
                    <a:lnTo>
                      <a:pt x="129" y="201"/>
                    </a:lnTo>
                    <a:lnTo>
                      <a:pt x="129" y="20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3" name="Freeform 194"/>
              <p:cNvSpPr>
                <a:spLocks/>
              </p:cNvSpPr>
              <p:nvPr/>
            </p:nvSpPr>
            <p:spPr bwMode="auto">
              <a:xfrm>
                <a:off x="6136482" y="3794125"/>
                <a:ext cx="44450" cy="87312"/>
              </a:xfrm>
              <a:custGeom>
                <a:avLst/>
                <a:gdLst/>
                <a:ahLst/>
                <a:cxnLst>
                  <a:cxn ang="0">
                    <a:pos x="28" y="35"/>
                  </a:cxn>
                  <a:cxn ang="0">
                    <a:pos x="23" y="47"/>
                  </a:cxn>
                  <a:cxn ang="0">
                    <a:pos x="12" y="55"/>
                  </a:cxn>
                  <a:cxn ang="0">
                    <a:pos x="4" y="50"/>
                  </a:cxn>
                  <a:cxn ang="0">
                    <a:pos x="0" y="42"/>
                  </a:cxn>
                  <a:cxn ang="0">
                    <a:pos x="0" y="30"/>
                  </a:cxn>
                  <a:cxn ang="0">
                    <a:pos x="4" y="19"/>
                  </a:cxn>
                  <a:cxn ang="0">
                    <a:pos x="5" y="9"/>
                  </a:cxn>
                  <a:cxn ang="0">
                    <a:pos x="7" y="0"/>
                  </a:cxn>
                  <a:cxn ang="0">
                    <a:pos x="12" y="7"/>
                  </a:cxn>
                  <a:cxn ang="0">
                    <a:pos x="19" y="14"/>
                  </a:cxn>
                  <a:cxn ang="0">
                    <a:pos x="24" y="23"/>
                  </a:cxn>
                  <a:cxn ang="0">
                    <a:pos x="28" y="35"/>
                  </a:cxn>
                </a:cxnLst>
                <a:rect l="0" t="0" r="r" b="b"/>
                <a:pathLst>
                  <a:path w="28" h="55">
                    <a:moveTo>
                      <a:pt x="28" y="35"/>
                    </a:moveTo>
                    <a:lnTo>
                      <a:pt x="23" y="47"/>
                    </a:lnTo>
                    <a:lnTo>
                      <a:pt x="12" y="55"/>
                    </a:lnTo>
                    <a:lnTo>
                      <a:pt x="4" y="50"/>
                    </a:lnTo>
                    <a:lnTo>
                      <a:pt x="0" y="42"/>
                    </a:lnTo>
                    <a:lnTo>
                      <a:pt x="0" y="30"/>
                    </a:lnTo>
                    <a:lnTo>
                      <a:pt x="4" y="19"/>
                    </a:lnTo>
                    <a:lnTo>
                      <a:pt x="5" y="9"/>
                    </a:lnTo>
                    <a:lnTo>
                      <a:pt x="7" y="0"/>
                    </a:lnTo>
                    <a:lnTo>
                      <a:pt x="12" y="7"/>
                    </a:lnTo>
                    <a:lnTo>
                      <a:pt x="19" y="14"/>
                    </a:lnTo>
                    <a:lnTo>
                      <a:pt x="24" y="23"/>
                    </a:lnTo>
                    <a:lnTo>
                      <a:pt x="28" y="3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4" name="Freeform 195"/>
              <p:cNvSpPr>
                <a:spLocks/>
              </p:cNvSpPr>
              <p:nvPr/>
            </p:nvSpPr>
            <p:spPr bwMode="auto">
              <a:xfrm>
                <a:off x="5699919" y="3082925"/>
                <a:ext cx="930275" cy="747712"/>
              </a:xfrm>
              <a:custGeom>
                <a:avLst/>
                <a:gdLst/>
                <a:ahLst/>
                <a:cxnLst>
                  <a:cxn ang="0">
                    <a:pos x="174" y="325"/>
                  </a:cxn>
                  <a:cxn ang="0">
                    <a:pos x="196" y="374"/>
                  </a:cxn>
                  <a:cxn ang="0">
                    <a:pos x="212" y="417"/>
                  </a:cxn>
                  <a:cxn ang="0">
                    <a:pos x="236" y="466"/>
                  </a:cxn>
                  <a:cxn ang="0">
                    <a:pos x="253" y="457"/>
                  </a:cxn>
                  <a:cxn ang="0">
                    <a:pos x="270" y="438"/>
                  </a:cxn>
                  <a:cxn ang="0">
                    <a:pos x="277" y="407"/>
                  </a:cxn>
                  <a:cxn ang="0">
                    <a:pos x="298" y="354"/>
                  </a:cxn>
                  <a:cxn ang="0">
                    <a:pos x="344" y="306"/>
                  </a:cxn>
                  <a:cxn ang="0">
                    <a:pos x="377" y="276"/>
                  </a:cxn>
                  <a:cxn ang="0">
                    <a:pos x="413" y="266"/>
                  </a:cxn>
                  <a:cxn ang="0">
                    <a:pos x="451" y="263"/>
                  </a:cxn>
                  <a:cxn ang="0">
                    <a:pos x="480" y="309"/>
                  </a:cxn>
                  <a:cxn ang="0">
                    <a:pos x="487" y="347"/>
                  </a:cxn>
                  <a:cxn ang="0">
                    <a:pos x="516" y="342"/>
                  </a:cxn>
                  <a:cxn ang="0">
                    <a:pos x="533" y="347"/>
                  </a:cxn>
                  <a:cxn ang="0">
                    <a:pos x="537" y="380"/>
                  </a:cxn>
                  <a:cxn ang="0">
                    <a:pos x="549" y="441"/>
                  </a:cxn>
                  <a:cxn ang="0">
                    <a:pos x="562" y="404"/>
                  </a:cxn>
                  <a:cxn ang="0">
                    <a:pos x="543" y="368"/>
                  </a:cxn>
                  <a:cxn ang="0">
                    <a:pos x="549" y="354"/>
                  </a:cxn>
                  <a:cxn ang="0">
                    <a:pos x="537" y="304"/>
                  </a:cxn>
                  <a:cxn ang="0">
                    <a:pos x="571" y="280"/>
                  </a:cxn>
                  <a:cxn ang="0">
                    <a:pos x="566" y="257"/>
                  </a:cxn>
                  <a:cxn ang="0">
                    <a:pos x="552" y="230"/>
                  </a:cxn>
                  <a:cxn ang="0">
                    <a:pos x="540" y="213"/>
                  </a:cxn>
                  <a:cxn ang="0">
                    <a:pos x="540" y="165"/>
                  </a:cxn>
                  <a:cxn ang="0">
                    <a:pos x="509" y="144"/>
                  </a:cxn>
                  <a:cxn ang="0">
                    <a:pos x="483" y="156"/>
                  </a:cxn>
                  <a:cxn ang="0">
                    <a:pos x="444" y="168"/>
                  </a:cxn>
                  <a:cxn ang="0">
                    <a:pos x="404" y="166"/>
                  </a:cxn>
                  <a:cxn ang="0">
                    <a:pos x="358" y="165"/>
                  </a:cxn>
                  <a:cxn ang="0">
                    <a:pos x="335" y="146"/>
                  </a:cxn>
                  <a:cxn ang="0">
                    <a:pos x="282" y="127"/>
                  </a:cxn>
                  <a:cxn ang="0">
                    <a:pos x="261" y="103"/>
                  </a:cxn>
                  <a:cxn ang="0">
                    <a:pos x="265" y="79"/>
                  </a:cxn>
                  <a:cxn ang="0">
                    <a:pos x="277" y="44"/>
                  </a:cxn>
                  <a:cxn ang="0">
                    <a:pos x="224" y="39"/>
                  </a:cxn>
                  <a:cxn ang="0">
                    <a:pos x="198" y="17"/>
                  </a:cxn>
                  <a:cxn ang="0">
                    <a:pos x="157" y="12"/>
                  </a:cxn>
                  <a:cxn ang="0">
                    <a:pos x="132" y="12"/>
                  </a:cxn>
                  <a:cxn ang="0">
                    <a:pos x="91" y="20"/>
                  </a:cxn>
                  <a:cxn ang="0">
                    <a:pos x="62" y="22"/>
                  </a:cxn>
                  <a:cxn ang="0">
                    <a:pos x="34" y="49"/>
                  </a:cxn>
                  <a:cxn ang="0">
                    <a:pos x="12" y="51"/>
                  </a:cxn>
                  <a:cxn ang="0">
                    <a:pos x="0" y="75"/>
                  </a:cxn>
                  <a:cxn ang="0">
                    <a:pos x="3" y="104"/>
                  </a:cxn>
                  <a:cxn ang="0">
                    <a:pos x="7" y="139"/>
                  </a:cxn>
                  <a:cxn ang="0">
                    <a:pos x="34" y="173"/>
                  </a:cxn>
                  <a:cxn ang="0">
                    <a:pos x="17" y="208"/>
                  </a:cxn>
                  <a:cxn ang="0">
                    <a:pos x="41" y="213"/>
                  </a:cxn>
                  <a:cxn ang="0">
                    <a:pos x="83" y="213"/>
                  </a:cxn>
                  <a:cxn ang="0">
                    <a:pos x="115" y="247"/>
                  </a:cxn>
                  <a:cxn ang="0">
                    <a:pos x="131" y="259"/>
                  </a:cxn>
                  <a:cxn ang="0">
                    <a:pos x="136" y="282"/>
                  </a:cxn>
                  <a:cxn ang="0">
                    <a:pos x="167" y="261"/>
                  </a:cxn>
                  <a:cxn ang="0">
                    <a:pos x="174" y="288"/>
                  </a:cxn>
                </a:cxnLst>
                <a:rect l="0" t="0" r="r" b="b"/>
                <a:pathLst>
                  <a:path w="586" h="471">
                    <a:moveTo>
                      <a:pt x="174" y="304"/>
                    </a:moveTo>
                    <a:lnTo>
                      <a:pt x="170" y="302"/>
                    </a:lnTo>
                    <a:lnTo>
                      <a:pt x="170" y="306"/>
                    </a:lnTo>
                    <a:lnTo>
                      <a:pt x="172" y="311"/>
                    </a:lnTo>
                    <a:lnTo>
                      <a:pt x="174" y="325"/>
                    </a:lnTo>
                    <a:lnTo>
                      <a:pt x="181" y="338"/>
                    </a:lnTo>
                    <a:lnTo>
                      <a:pt x="182" y="347"/>
                    </a:lnTo>
                    <a:lnTo>
                      <a:pt x="187" y="357"/>
                    </a:lnTo>
                    <a:lnTo>
                      <a:pt x="191" y="366"/>
                    </a:lnTo>
                    <a:lnTo>
                      <a:pt x="196" y="374"/>
                    </a:lnTo>
                    <a:lnTo>
                      <a:pt x="198" y="383"/>
                    </a:lnTo>
                    <a:lnTo>
                      <a:pt x="201" y="392"/>
                    </a:lnTo>
                    <a:lnTo>
                      <a:pt x="203" y="400"/>
                    </a:lnTo>
                    <a:lnTo>
                      <a:pt x="206" y="412"/>
                    </a:lnTo>
                    <a:lnTo>
                      <a:pt x="212" y="417"/>
                    </a:lnTo>
                    <a:lnTo>
                      <a:pt x="218" y="428"/>
                    </a:lnTo>
                    <a:lnTo>
                      <a:pt x="224" y="443"/>
                    </a:lnTo>
                    <a:lnTo>
                      <a:pt x="232" y="460"/>
                    </a:lnTo>
                    <a:lnTo>
                      <a:pt x="232" y="462"/>
                    </a:lnTo>
                    <a:lnTo>
                      <a:pt x="236" y="466"/>
                    </a:lnTo>
                    <a:lnTo>
                      <a:pt x="237" y="469"/>
                    </a:lnTo>
                    <a:lnTo>
                      <a:pt x="244" y="471"/>
                    </a:lnTo>
                    <a:lnTo>
                      <a:pt x="246" y="467"/>
                    </a:lnTo>
                    <a:lnTo>
                      <a:pt x="249" y="460"/>
                    </a:lnTo>
                    <a:lnTo>
                      <a:pt x="253" y="457"/>
                    </a:lnTo>
                    <a:lnTo>
                      <a:pt x="260" y="455"/>
                    </a:lnTo>
                    <a:lnTo>
                      <a:pt x="261" y="450"/>
                    </a:lnTo>
                    <a:lnTo>
                      <a:pt x="263" y="447"/>
                    </a:lnTo>
                    <a:lnTo>
                      <a:pt x="265" y="440"/>
                    </a:lnTo>
                    <a:lnTo>
                      <a:pt x="270" y="438"/>
                    </a:lnTo>
                    <a:lnTo>
                      <a:pt x="272" y="436"/>
                    </a:lnTo>
                    <a:lnTo>
                      <a:pt x="275" y="436"/>
                    </a:lnTo>
                    <a:lnTo>
                      <a:pt x="277" y="435"/>
                    </a:lnTo>
                    <a:lnTo>
                      <a:pt x="275" y="423"/>
                    </a:lnTo>
                    <a:lnTo>
                      <a:pt x="277" y="407"/>
                    </a:lnTo>
                    <a:lnTo>
                      <a:pt x="280" y="392"/>
                    </a:lnTo>
                    <a:lnTo>
                      <a:pt x="279" y="380"/>
                    </a:lnTo>
                    <a:lnTo>
                      <a:pt x="277" y="369"/>
                    </a:lnTo>
                    <a:lnTo>
                      <a:pt x="282" y="359"/>
                    </a:lnTo>
                    <a:lnTo>
                      <a:pt x="298" y="354"/>
                    </a:lnTo>
                    <a:lnTo>
                      <a:pt x="303" y="349"/>
                    </a:lnTo>
                    <a:lnTo>
                      <a:pt x="310" y="343"/>
                    </a:lnTo>
                    <a:lnTo>
                      <a:pt x="323" y="328"/>
                    </a:lnTo>
                    <a:lnTo>
                      <a:pt x="339" y="313"/>
                    </a:lnTo>
                    <a:lnTo>
                      <a:pt x="344" y="306"/>
                    </a:lnTo>
                    <a:lnTo>
                      <a:pt x="354" y="302"/>
                    </a:lnTo>
                    <a:lnTo>
                      <a:pt x="363" y="297"/>
                    </a:lnTo>
                    <a:lnTo>
                      <a:pt x="371" y="294"/>
                    </a:lnTo>
                    <a:lnTo>
                      <a:pt x="373" y="285"/>
                    </a:lnTo>
                    <a:lnTo>
                      <a:pt x="377" y="276"/>
                    </a:lnTo>
                    <a:lnTo>
                      <a:pt x="384" y="270"/>
                    </a:lnTo>
                    <a:lnTo>
                      <a:pt x="392" y="263"/>
                    </a:lnTo>
                    <a:lnTo>
                      <a:pt x="397" y="266"/>
                    </a:lnTo>
                    <a:lnTo>
                      <a:pt x="404" y="268"/>
                    </a:lnTo>
                    <a:lnTo>
                      <a:pt x="413" y="266"/>
                    </a:lnTo>
                    <a:lnTo>
                      <a:pt x="423" y="264"/>
                    </a:lnTo>
                    <a:lnTo>
                      <a:pt x="428" y="259"/>
                    </a:lnTo>
                    <a:lnTo>
                      <a:pt x="432" y="251"/>
                    </a:lnTo>
                    <a:lnTo>
                      <a:pt x="444" y="254"/>
                    </a:lnTo>
                    <a:lnTo>
                      <a:pt x="451" y="263"/>
                    </a:lnTo>
                    <a:lnTo>
                      <a:pt x="452" y="271"/>
                    </a:lnTo>
                    <a:lnTo>
                      <a:pt x="456" y="282"/>
                    </a:lnTo>
                    <a:lnTo>
                      <a:pt x="463" y="290"/>
                    </a:lnTo>
                    <a:lnTo>
                      <a:pt x="473" y="299"/>
                    </a:lnTo>
                    <a:lnTo>
                      <a:pt x="480" y="309"/>
                    </a:lnTo>
                    <a:lnTo>
                      <a:pt x="487" y="325"/>
                    </a:lnTo>
                    <a:lnTo>
                      <a:pt x="488" y="328"/>
                    </a:lnTo>
                    <a:lnTo>
                      <a:pt x="490" y="331"/>
                    </a:lnTo>
                    <a:lnTo>
                      <a:pt x="488" y="338"/>
                    </a:lnTo>
                    <a:lnTo>
                      <a:pt x="487" y="347"/>
                    </a:lnTo>
                    <a:lnTo>
                      <a:pt x="488" y="356"/>
                    </a:lnTo>
                    <a:lnTo>
                      <a:pt x="495" y="359"/>
                    </a:lnTo>
                    <a:lnTo>
                      <a:pt x="502" y="356"/>
                    </a:lnTo>
                    <a:lnTo>
                      <a:pt x="511" y="350"/>
                    </a:lnTo>
                    <a:lnTo>
                      <a:pt x="516" y="342"/>
                    </a:lnTo>
                    <a:lnTo>
                      <a:pt x="521" y="337"/>
                    </a:lnTo>
                    <a:lnTo>
                      <a:pt x="523" y="340"/>
                    </a:lnTo>
                    <a:lnTo>
                      <a:pt x="526" y="345"/>
                    </a:lnTo>
                    <a:lnTo>
                      <a:pt x="530" y="345"/>
                    </a:lnTo>
                    <a:lnTo>
                      <a:pt x="533" y="347"/>
                    </a:lnTo>
                    <a:lnTo>
                      <a:pt x="533" y="352"/>
                    </a:lnTo>
                    <a:lnTo>
                      <a:pt x="533" y="361"/>
                    </a:lnTo>
                    <a:lnTo>
                      <a:pt x="533" y="366"/>
                    </a:lnTo>
                    <a:lnTo>
                      <a:pt x="537" y="369"/>
                    </a:lnTo>
                    <a:lnTo>
                      <a:pt x="537" y="380"/>
                    </a:lnTo>
                    <a:lnTo>
                      <a:pt x="542" y="392"/>
                    </a:lnTo>
                    <a:lnTo>
                      <a:pt x="545" y="404"/>
                    </a:lnTo>
                    <a:lnTo>
                      <a:pt x="549" y="421"/>
                    </a:lnTo>
                    <a:lnTo>
                      <a:pt x="547" y="431"/>
                    </a:lnTo>
                    <a:lnTo>
                      <a:pt x="549" y="441"/>
                    </a:lnTo>
                    <a:lnTo>
                      <a:pt x="554" y="428"/>
                    </a:lnTo>
                    <a:lnTo>
                      <a:pt x="559" y="417"/>
                    </a:lnTo>
                    <a:lnTo>
                      <a:pt x="561" y="414"/>
                    </a:lnTo>
                    <a:lnTo>
                      <a:pt x="564" y="411"/>
                    </a:lnTo>
                    <a:lnTo>
                      <a:pt x="562" y="404"/>
                    </a:lnTo>
                    <a:lnTo>
                      <a:pt x="559" y="395"/>
                    </a:lnTo>
                    <a:lnTo>
                      <a:pt x="556" y="385"/>
                    </a:lnTo>
                    <a:lnTo>
                      <a:pt x="554" y="380"/>
                    </a:lnTo>
                    <a:lnTo>
                      <a:pt x="545" y="374"/>
                    </a:lnTo>
                    <a:lnTo>
                      <a:pt x="543" y="368"/>
                    </a:lnTo>
                    <a:lnTo>
                      <a:pt x="543" y="366"/>
                    </a:lnTo>
                    <a:lnTo>
                      <a:pt x="545" y="364"/>
                    </a:lnTo>
                    <a:lnTo>
                      <a:pt x="545" y="364"/>
                    </a:lnTo>
                    <a:lnTo>
                      <a:pt x="547" y="359"/>
                    </a:lnTo>
                    <a:lnTo>
                      <a:pt x="549" y="354"/>
                    </a:lnTo>
                    <a:lnTo>
                      <a:pt x="547" y="342"/>
                    </a:lnTo>
                    <a:lnTo>
                      <a:pt x="545" y="331"/>
                    </a:lnTo>
                    <a:lnTo>
                      <a:pt x="538" y="325"/>
                    </a:lnTo>
                    <a:lnTo>
                      <a:pt x="535" y="318"/>
                    </a:lnTo>
                    <a:lnTo>
                      <a:pt x="537" y="304"/>
                    </a:lnTo>
                    <a:lnTo>
                      <a:pt x="543" y="297"/>
                    </a:lnTo>
                    <a:lnTo>
                      <a:pt x="549" y="294"/>
                    </a:lnTo>
                    <a:lnTo>
                      <a:pt x="557" y="292"/>
                    </a:lnTo>
                    <a:lnTo>
                      <a:pt x="564" y="285"/>
                    </a:lnTo>
                    <a:lnTo>
                      <a:pt x="571" y="280"/>
                    </a:lnTo>
                    <a:lnTo>
                      <a:pt x="578" y="273"/>
                    </a:lnTo>
                    <a:lnTo>
                      <a:pt x="586" y="264"/>
                    </a:lnTo>
                    <a:lnTo>
                      <a:pt x="581" y="264"/>
                    </a:lnTo>
                    <a:lnTo>
                      <a:pt x="578" y="266"/>
                    </a:lnTo>
                    <a:lnTo>
                      <a:pt x="566" y="257"/>
                    </a:lnTo>
                    <a:lnTo>
                      <a:pt x="562" y="244"/>
                    </a:lnTo>
                    <a:lnTo>
                      <a:pt x="557" y="240"/>
                    </a:lnTo>
                    <a:lnTo>
                      <a:pt x="556" y="237"/>
                    </a:lnTo>
                    <a:lnTo>
                      <a:pt x="554" y="232"/>
                    </a:lnTo>
                    <a:lnTo>
                      <a:pt x="552" y="230"/>
                    </a:lnTo>
                    <a:lnTo>
                      <a:pt x="545" y="230"/>
                    </a:lnTo>
                    <a:lnTo>
                      <a:pt x="540" y="232"/>
                    </a:lnTo>
                    <a:lnTo>
                      <a:pt x="538" y="228"/>
                    </a:lnTo>
                    <a:lnTo>
                      <a:pt x="538" y="227"/>
                    </a:lnTo>
                    <a:lnTo>
                      <a:pt x="540" y="213"/>
                    </a:lnTo>
                    <a:lnTo>
                      <a:pt x="545" y="206"/>
                    </a:lnTo>
                    <a:lnTo>
                      <a:pt x="549" y="199"/>
                    </a:lnTo>
                    <a:lnTo>
                      <a:pt x="552" y="187"/>
                    </a:lnTo>
                    <a:lnTo>
                      <a:pt x="547" y="175"/>
                    </a:lnTo>
                    <a:lnTo>
                      <a:pt x="540" y="165"/>
                    </a:lnTo>
                    <a:lnTo>
                      <a:pt x="530" y="159"/>
                    </a:lnTo>
                    <a:lnTo>
                      <a:pt x="523" y="158"/>
                    </a:lnTo>
                    <a:lnTo>
                      <a:pt x="516" y="151"/>
                    </a:lnTo>
                    <a:lnTo>
                      <a:pt x="513" y="144"/>
                    </a:lnTo>
                    <a:lnTo>
                      <a:pt x="509" y="144"/>
                    </a:lnTo>
                    <a:lnTo>
                      <a:pt x="506" y="149"/>
                    </a:lnTo>
                    <a:lnTo>
                      <a:pt x="495" y="147"/>
                    </a:lnTo>
                    <a:lnTo>
                      <a:pt x="488" y="149"/>
                    </a:lnTo>
                    <a:lnTo>
                      <a:pt x="485" y="151"/>
                    </a:lnTo>
                    <a:lnTo>
                      <a:pt x="483" y="156"/>
                    </a:lnTo>
                    <a:lnTo>
                      <a:pt x="476" y="158"/>
                    </a:lnTo>
                    <a:lnTo>
                      <a:pt x="470" y="163"/>
                    </a:lnTo>
                    <a:lnTo>
                      <a:pt x="461" y="168"/>
                    </a:lnTo>
                    <a:lnTo>
                      <a:pt x="456" y="172"/>
                    </a:lnTo>
                    <a:lnTo>
                      <a:pt x="444" y="168"/>
                    </a:lnTo>
                    <a:lnTo>
                      <a:pt x="430" y="165"/>
                    </a:lnTo>
                    <a:lnTo>
                      <a:pt x="416" y="170"/>
                    </a:lnTo>
                    <a:lnTo>
                      <a:pt x="408" y="178"/>
                    </a:lnTo>
                    <a:lnTo>
                      <a:pt x="406" y="170"/>
                    </a:lnTo>
                    <a:lnTo>
                      <a:pt x="404" y="166"/>
                    </a:lnTo>
                    <a:lnTo>
                      <a:pt x="399" y="168"/>
                    </a:lnTo>
                    <a:lnTo>
                      <a:pt x="394" y="170"/>
                    </a:lnTo>
                    <a:lnTo>
                      <a:pt x="384" y="170"/>
                    </a:lnTo>
                    <a:lnTo>
                      <a:pt x="373" y="170"/>
                    </a:lnTo>
                    <a:lnTo>
                      <a:pt x="358" y="165"/>
                    </a:lnTo>
                    <a:lnTo>
                      <a:pt x="349" y="156"/>
                    </a:lnTo>
                    <a:lnTo>
                      <a:pt x="344" y="156"/>
                    </a:lnTo>
                    <a:lnTo>
                      <a:pt x="341" y="156"/>
                    </a:lnTo>
                    <a:lnTo>
                      <a:pt x="337" y="149"/>
                    </a:lnTo>
                    <a:lnTo>
                      <a:pt x="335" y="146"/>
                    </a:lnTo>
                    <a:lnTo>
                      <a:pt x="323" y="142"/>
                    </a:lnTo>
                    <a:lnTo>
                      <a:pt x="316" y="139"/>
                    </a:lnTo>
                    <a:lnTo>
                      <a:pt x="306" y="134"/>
                    </a:lnTo>
                    <a:lnTo>
                      <a:pt x="294" y="134"/>
                    </a:lnTo>
                    <a:lnTo>
                      <a:pt x="282" y="127"/>
                    </a:lnTo>
                    <a:lnTo>
                      <a:pt x="272" y="122"/>
                    </a:lnTo>
                    <a:lnTo>
                      <a:pt x="267" y="120"/>
                    </a:lnTo>
                    <a:lnTo>
                      <a:pt x="265" y="118"/>
                    </a:lnTo>
                    <a:lnTo>
                      <a:pt x="263" y="110"/>
                    </a:lnTo>
                    <a:lnTo>
                      <a:pt x="261" y="103"/>
                    </a:lnTo>
                    <a:lnTo>
                      <a:pt x="261" y="98"/>
                    </a:lnTo>
                    <a:lnTo>
                      <a:pt x="268" y="96"/>
                    </a:lnTo>
                    <a:lnTo>
                      <a:pt x="273" y="92"/>
                    </a:lnTo>
                    <a:lnTo>
                      <a:pt x="268" y="86"/>
                    </a:lnTo>
                    <a:lnTo>
                      <a:pt x="265" y="79"/>
                    </a:lnTo>
                    <a:lnTo>
                      <a:pt x="267" y="70"/>
                    </a:lnTo>
                    <a:lnTo>
                      <a:pt x="273" y="67"/>
                    </a:lnTo>
                    <a:lnTo>
                      <a:pt x="280" y="61"/>
                    </a:lnTo>
                    <a:lnTo>
                      <a:pt x="284" y="55"/>
                    </a:lnTo>
                    <a:lnTo>
                      <a:pt x="277" y="44"/>
                    </a:lnTo>
                    <a:lnTo>
                      <a:pt x="268" y="41"/>
                    </a:lnTo>
                    <a:lnTo>
                      <a:pt x="258" y="44"/>
                    </a:lnTo>
                    <a:lnTo>
                      <a:pt x="248" y="49"/>
                    </a:lnTo>
                    <a:lnTo>
                      <a:pt x="234" y="44"/>
                    </a:lnTo>
                    <a:lnTo>
                      <a:pt x="224" y="39"/>
                    </a:lnTo>
                    <a:lnTo>
                      <a:pt x="222" y="32"/>
                    </a:lnTo>
                    <a:lnTo>
                      <a:pt x="218" y="27"/>
                    </a:lnTo>
                    <a:lnTo>
                      <a:pt x="208" y="25"/>
                    </a:lnTo>
                    <a:lnTo>
                      <a:pt x="206" y="18"/>
                    </a:lnTo>
                    <a:lnTo>
                      <a:pt x="198" y="17"/>
                    </a:lnTo>
                    <a:lnTo>
                      <a:pt x="189" y="17"/>
                    </a:lnTo>
                    <a:lnTo>
                      <a:pt x="175" y="20"/>
                    </a:lnTo>
                    <a:lnTo>
                      <a:pt x="163" y="25"/>
                    </a:lnTo>
                    <a:lnTo>
                      <a:pt x="157" y="20"/>
                    </a:lnTo>
                    <a:lnTo>
                      <a:pt x="157" y="12"/>
                    </a:lnTo>
                    <a:lnTo>
                      <a:pt x="155" y="3"/>
                    </a:lnTo>
                    <a:lnTo>
                      <a:pt x="151" y="0"/>
                    </a:lnTo>
                    <a:lnTo>
                      <a:pt x="139" y="5"/>
                    </a:lnTo>
                    <a:lnTo>
                      <a:pt x="134" y="12"/>
                    </a:lnTo>
                    <a:lnTo>
                      <a:pt x="132" y="12"/>
                    </a:lnTo>
                    <a:lnTo>
                      <a:pt x="122" y="20"/>
                    </a:lnTo>
                    <a:lnTo>
                      <a:pt x="110" y="24"/>
                    </a:lnTo>
                    <a:lnTo>
                      <a:pt x="105" y="20"/>
                    </a:lnTo>
                    <a:lnTo>
                      <a:pt x="100" y="18"/>
                    </a:lnTo>
                    <a:lnTo>
                      <a:pt x="91" y="20"/>
                    </a:lnTo>
                    <a:lnTo>
                      <a:pt x="84" y="17"/>
                    </a:lnTo>
                    <a:lnTo>
                      <a:pt x="79" y="15"/>
                    </a:lnTo>
                    <a:lnTo>
                      <a:pt x="76" y="15"/>
                    </a:lnTo>
                    <a:lnTo>
                      <a:pt x="67" y="17"/>
                    </a:lnTo>
                    <a:lnTo>
                      <a:pt x="62" y="22"/>
                    </a:lnTo>
                    <a:lnTo>
                      <a:pt x="57" y="29"/>
                    </a:lnTo>
                    <a:lnTo>
                      <a:pt x="53" y="37"/>
                    </a:lnTo>
                    <a:lnTo>
                      <a:pt x="46" y="41"/>
                    </a:lnTo>
                    <a:lnTo>
                      <a:pt x="40" y="44"/>
                    </a:lnTo>
                    <a:lnTo>
                      <a:pt x="34" y="49"/>
                    </a:lnTo>
                    <a:lnTo>
                      <a:pt x="28" y="53"/>
                    </a:lnTo>
                    <a:lnTo>
                      <a:pt x="21" y="51"/>
                    </a:lnTo>
                    <a:lnTo>
                      <a:pt x="15" y="49"/>
                    </a:lnTo>
                    <a:lnTo>
                      <a:pt x="14" y="49"/>
                    </a:lnTo>
                    <a:lnTo>
                      <a:pt x="12" y="51"/>
                    </a:lnTo>
                    <a:lnTo>
                      <a:pt x="7" y="55"/>
                    </a:lnTo>
                    <a:lnTo>
                      <a:pt x="3" y="61"/>
                    </a:lnTo>
                    <a:lnTo>
                      <a:pt x="0" y="68"/>
                    </a:lnTo>
                    <a:lnTo>
                      <a:pt x="0" y="74"/>
                    </a:lnTo>
                    <a:lnTo>
                      <a:pt x="0" y="75"/>
                    </a:lnTo>
                    <a:lnTo>
                      <a:pt x="0" y="79"/>
                    </a:lnTo>
                    <a:lnTo>
                      <a:pt x="2" y="80"/>
                    </a:lnTo>
                    <a:lnTo>
                      <a:pt x="3" y="84"/>
                    </a:lnTo>
                    <a:lnTo>
                      <a:pt x="3" y="99"/>
                    </a:lnTo>
                    <a:lnTo>
                      <a:pt x="3" y="104"/>
                    </a:lnTo>
                    <a:lnTo>
                      <a:pt x="5" y="111"/>
                    </a:lnTo>
                    <a:lnTo>
                      <a:pt x="10" y="113"/>
                    </a:lnTo>
                    <a:lnTo>
                      <a:pt x="17" y="122"/>
                    </a:lnTo>
                    <a:lnTo>
                      <a:pt x="12" y="130"/>
                    </a:lnTo>
                    <a:lnTo>
                      <a:pt x="7" y="139"/>
                    </a:lnTo>
                    <a:lnTo>
                      <a:pt x="9" y="142"/>
                    </a:lnTo>
                    <a:lnTo>
                      <a:pt x="12" y="147"/>
                    </a:lnTo>
                    <a:lnTo>
                      <a:pt x="19" y="156"/>
                    </a:lnTo>
                    <a:lnTo>
                      <a:pt x="28" y="165"/>
                    </a:lnTo>
                    <a:lnTo>
                      <a:pt x="34" y="173"/>
                    </a:lnTo>
                    <a:lnTo>
                      <a:pt x="38" y="189"/>
                    </a:lnTo>
                    <a:lnTo>
                      <a:pt x="28" y="190"/>
                    </a:lnTo>
                    <a:lnTo>
                      <a:pt x="22" y="194"/>
                    </a:lnTo>
                    <a:lnTo>
                      <a:pt x="17" y="197"/>
                    </a:lnTo>
                    <a:lnTo>
                      <a:pt x="17" y="208"/>
                    </a:lnTo>
                    <a:lnTo>
                      <a:pt x="17" y="213"/>
                    </a:lnTo>
                    <a:lnTo>
                      <a:pt x="19" y="218"/>
                    </a:lnTo>
                    <a:lnTo>
                      <a:pt x="36" y="216"/>
                    </a:lnTo>
                    <a:lnTo>
                      <a:pt x="38" y="215"/>
                    </a:lnTo>
                    <a:lnTo>
                      <a:pt x="41" y="213"/>
                    </a:lnTo>
                    <a:lnTo>
                      <a:pt x="55" y="216"/>
                    </a:lnTo>
                    <a:lnTo>
                      <a:pt x="58" y="215"/>
                    </a:lnTo>
                    <a:lnTo>
                      <a:pt x="67" y="213"/>
                    </a:lnTo>
                    <a:lnTo>
                      <a:pt x="74" y="211"/>
                    </a:lnTo>
                    <a:lnTo>
                      <a:pt x="83" y="213"/>
                    </a:lnTo>
                    <a:lnTo>
                      <a:pt x="88" y="220"/>
                    </a:lnTo>
                    <a:lnTo>
                      <a:pt x="95" y="233"/>
                    </a:lnTo>
                    <a:lnTo>
                      <a:pt x="98" y="239"/>
                    </a:lnTo>
                    <a:lnTo>
                      <a:pt x="107" y="244"/>
                    </a:lnTo>
                    <a:lnTo>
                      <a:pt x="115" y="247"/>
                    </a:lnTo>
                    <a:lnTo>
                      <a:pt x="126" y="251"/>
                    </a:lnTo>
                    <a:lnTo>
                      <a:pt x="131" y="251"/>
                    </a:lnTo>
                    <a:lnTo>
                      <a:pt x="138" y="252"/>
                    </a:lnTo>
                    <a:lnTo>
                      <a:pt x="134" y="256"/>
                    </a:lnTo>
                    <a:lnTo>
                      <a:pt x="131" y="259"/>
                    </a:lnTo>
                    <a:lnTo>
                      <a:pt x="124" y="259"/>
                    </a:lnTo>
                    <a:lnTo>
                      <a:pt x="117" y="261"/>
                    </a:lnTo>
                    <a:lnTo>
                      <a:pt x="122" y="268"/>
                    </a:lnTo>
                    <a:lnTo>
                      <a:pt x="129" y="275"/>
                    </a:lnTo>
                    <a:lnTo>
                      <a:pt x="136" y="282"/>
                    </a:lnTo>
                    <a:lnTo>
                      <a:pt x="148" y="285"/>
                    </a:lnTo>
                    <a:lnTo>
                      <a:pt x="153" y="282"/>
                    </a:lnTo>
                    <a:lnTo>
                      <a:pt x="158" y="275"/>
                    </a:lnTo>
                    <a:lnTo>
                      <a:pt x="162" y="266"/>
                    </a:lnTo>
                    <a:lnTo>
                      <a:pt x="167" y="261"/>
                    </a:lnTo>
                    <a:lnTo>
                      <a:pt x="172" y="261"/>
                    </a:lnTo>
                    <a:lnTo>
                      <a:pt x="170" y="264"/>
                    </a:lnTo>
                    <a:lnTo>
                      <a:pt x="169" y="268"/>
                    </a:lnTo>
                    <a:lnTo>
                      <a:pt x="170" y="276"/>
                    </a:lnTo>
                    <a:lnTo>
                      <a:pt x="174" y="288"/>
                    </a:lnTo>
                    <a:lnTo>
                      <a:pt x="172" y="295"/>
                    </a:lnTo>
                    <a:lnTo>
                      <a:pt x="170" y="304"/>
                    </a:lnTo>
                    <a:lnTo>
                      <a:pt x="174" y="3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5" name="Freeform 196"/>
              <p:cNvSpPr>
                <a:spLocks/>
              </p:cNvSpPr>
              <p:nvPr/>
            </p:nvSpPr>
            <p:spPr bwMode="auto">
              <a:xfrm>
                <a:off x="6493669" y="3887788"/>
                <a:ext cx="244475" cy="261937"/>
              </a:xfrm>
              <a:custGeom>
                <a:avLst/>
                <a:gdLst/>
                <a:ahLst/>
                <a:cxnLst>
                  <a:cxn ang="0">
                    <a:pos x="69" y="86"/>
                  </a:cxn>
                  <a:cxn ang="0">
                    <a:pos x="68" y="82"/>
                  </a:cxn>
                  <a:cxn ang="0">
                    <a:pos x="68" y="81"/>
                  </a:cxn>
                  <a:cxn ang="0">
                    <a:pos x="62" y="79"/>
                  </a:cxn>
                  <a:cxn ang="0">
                    <a:pos x="59" y="79"/>
                  </a:cxn>
                  <a:cxn ang="0">
                    <a:pos x="56" y="70"/>
                  </a:cxn>
                  <a:cxn ang="0">
                    <a:pos x="52" y="60"/>
                  </a:cxn>
                  <a:cxn ang="0">
                    <a:pos x="42" y="50"/>
                  </a:cxn>
                  <a:cxn ang="0">
                    <a:pos x="33" y="45"/>
                  </a:cxn>
                  <a:cxn ang="0">
                    <a:pos x="28" y="36"/>
                  </a:cxn>
                  <a:cxn ang="0">
                    <a:pos x="26" y="29"/>
                  </a:cxn>
                  <a:cxn ang="0">
                    <a:pos x="19" y="24"/>
                  </a:cxn>
                  <a:cxn ang="0">
                    <a:pos x="14" y="24"/>
                  </a:cxn>
                  <a:cxn ang="0">
                    <a:pos x="9" y="19"/>
                  </a:cxn>
                  <a:cxn ang="0">
                    <a:pos x="6" y="14"/>
                  </a:cxn>
                  <a:cxn ang="0">
                    <a:pos x="0" y="7"/>
                  </a:cxn>
                  <a:cxn ang="0">
                    <a:pos x="0" y="3"/>
                  </a:cxn>
                  <a:cxn ang="0">
                    <a:pos x="0" y="0"/>
                  </a:cxn>
                  <a:cxn ang="0">
                    <a:pos x="4" y="0"/>
                  </a:cxn>
                  <a:cxn ang="0">
                    <a:pos x="9" y="0"/>
                  </a:cxn>
                  <a:cxn ang="0">
                    <a:pos x="14" y="3"/>
                  </a:cxn>
                  <a:cxn ang="0">
                    <a:pos x="30" y="3"/>
                  </a:cxn>
                  <a:cxn ang="0">
                    <a:pos x="42" y="12"/>
                  </a:cxn>
                  <a:cxn ang="0">
                    <a:pos x="49" y="24"/>
                  </a:cxn>
                  <a:cxn ang="0">
                    <a:pos x="50" y="24"/>
                  </a:cxn>
                  <a:cxn ang="0">
                    <a:pos x="54" y="26"/>
                  </a:cxn>
                  <a:cxn ang="0">
                    <a:pos x="62" y="31"/>
                  </a:cxn>
                  <a:cxn ang="0">
                    <a:pos x="71" y="39"/>
                  </a:cxn>
                  <a:cxn ang="0">
                    <a:pos x="76" y="45"/>
                  </a:cxn>
                  <a:cxn ang="0">
                    <a:pos x="83" y="51"/>
                  </a:cxn>
                  <a:cxn ang="0">
                    <a:pos x="90" y="55"/>
                  </a:cxn>
                  <a:cxn ang="0">
                    <a:pos x="100" y="60"/>
                  </a:cxn>
                  <a:cxn ang="0">
                    <a:pos x="111" y="63"/>
                  </a:cxn>
                  <a:cxn ang="0">
                    <a:pos x="116" y="74"/>
                  </a:cxn>
                  <a:cxn ang="0">
                    <a:pos x="116" y="75"/>
                  </a:cxn>
                  <a:cxn ang="0">
                    <a:pos x="117" y="75"/>
                  </a:cxn>
                  <a:cxn ang="0">
                    <a:pos x="119" y="75"/>
                  </a:cxn>
                  <a:cxn ang="0">
                    <a:pos x="121" y="77"/>
                  </a:cxn>
                  <a:cxn ang="0">
                    <a:pos x="124" y="81"/>
                  </a:cxn>
                  <a:cxn ang="0">
                    <a:pos x="123" y="86"/>
                  </a:cxn>
                  <a:cxn ang="0">
                    <a:pos x="124" y="91"/>
                  </a:cxn>
                  <a:cxn ang="0">
                    <a:pos x="131" y="93"/>
                  </a:cxn>
                  <a:cxn ang="0">
                    <a:pos x="135" y="105"/>
                  </a:cxn>
                  <a:cxn ang="0">
                    <a:pos x="143" y="113"/>
                  </a:cxn>
                  <a:cxn ang="0">
                    <a:pos x="148" y="115"/>
                  </a:cxn>
                  <a:cxn ang="0">
                    <a:pos x="154" y="122"/>
                  </a:cxn>
                  <a:cxn ang="0">
                    <a:pos x="154" y="131"/>
                  </a:cxn>
                  <a:cxn ang="0">
                    <a:pos x="154" y="144"/>
                  </a:cxn>
                  <a:cxn ang="0">
                    <a:pos x="148" y="149"/>
                  </a:cxn>
                  <a:cxn ang="0">
                    <a:pos x="150" y="158"/>
                  </a:cxn>
                  <a:cxn ang="0">
                    <a:pos x="145" y="163"/>
                  </a:cxn>
                  <a:cxn ang="0">
                    <a:pos x="136" y="165"/>
                  </a:cxn>
                  <a:cxn ang="0">
                    <a:pos x="129" y="158"/>
                  </a:cxn>
                  <a:cxn ang="0">
                    <a:pos x="124" y="151"/>
                  </a:cxn>
                  <a:cxn ang="0">
                    <a:pos x="111" y="139"/>
                  </a:cxn>
                  <a:cxn ang="0">
                    <a:pos x="97" y="129"/>
                  </a:cxn>
                  <a:cxn ang="0">
                    <a:pos x="85" y="113"/>
                  </a:cxn>
                  <a:cxn ang="0">
                    <a:pos x="78" y="98"/>
                  </a:cxn>
                  <a:cxn ang="0">
                    <a:pos x="73" y="91"/>
                  </a:cxn>
                  <a:cxn ang="0">
                    <a:pos x="69" y="86"/>
                  </a:cxn>
                </a:cxnLst>
                <a:rect l="0" t="0" r="r" b="b"/>
                <a:pathLst>
                  <a:path w="154" h="165">
                    <a:moveTo>
                      <a:pt x="69" y="86"/>
                    </a:moveTo>
                    <a:lnTo>
                      <a:pt x="68" y="82"/>
                    </a:lnTo>
                    <a:lnTo>
                      <a:pt x="68" y="81"/>
                    </a:lnTo>
                    <a:lnTo>
                      <a:pt x="62" y="79"/>
                    </a:lnTo>
                    <a:lnTo>
                      <a:pt x="59" y="79"/>
                    </a:lnTo>
                    <a:lnTo>
                      <a:pt x="56" y="70"/>
                    </a:lnTo>
                    <a:lnTo>
                      <a:pt x="52" y="60"/>
                    </a:lnTo>
                    <a:lnTo>
                      <a:pt x="42" y="50"/>
                    </a:lnTo>
                    <a:lnTo>
                      <a:pt x="33" y="45"/>
                    </a:lnTo>
                    <a:lnTo>
                      <a:pt x="28" y="36"/>
                    </a:lnTo>
                    <a:lnTo>
                      <a:pt x="26" y="29"/>
                    </a:lnTo>
                    <a:lnTo>
                      <a:pt x="19" y="24"/>
                    </a:lnTo>
                    <a:lnTo>
                      <a:pt x="14" y="24"/>
                    </a:lnTo>
                    <a:lnTo>
                      <a:pt x="9" y="19"/>
                    </a:lnTo>
                    <a:lnTo>
                      <a:pt x="6" y="14"/>
                    </a:lnTo>
                    <a:lnTo>
                      <a:pt x="0" y="7"/>
                    </a:lnTo>
                    <a:lnTo>
                      <a:pt x="0" y="3"/>
                    </a:lnTo>
                    <a:lnTo>
                      <a:pt x="0" y="0"/>
                    </a:lnTo>
                    <a:lnTo>
                      <a:pt x="4" y="0"/>
                    </a:lnTo>
                    <a:lnTo>
                      <a:pt x="9" y="0"/>
                    </a:lnTo>
                    <a:lnTo>
                      <a:pt x="14" y="3"/>
                    </a:lnTo>
                    <a:lnTo>
                      <a:pt x="30" y="3"/>
                    </a:lnTo>
                    <a:lnTo>
                      <a:pt x="42" y="12"/>
                    </a:lnTo>
                    <a:lnTo>
                      <a:pt x="49" y="24"/>
                    </a:lnTo>
                    <a:lnTo>
                      <a:pt x="50" y="24"/>
                    </a:lnTo>
                    <a:lnTo>
                      <a:pt x="54" y="26"/>
                    </a:lnTo>
                    <a:lnTo>
                      <a:pt x="62" y="31"/>
                    </a:lnTo>
                    <a:lnTo>
                      <a:pt x="71" y="39"/>
                    </a:lnTo>
                    <a:lnTo>
                      <a:pt x="76" y="45"/>
                    </a:lnTo>
                    <a:lnTo>
                      <a:pt x="83" y="51"/>
                    </a:lnTo>
                    <a:lnTo>
                      <a:pt x="90" y="55"/>
                    </a:lnTo>
                    <a:lnTo>
                      <a:pt x="100" y="60"/>
                    </a:lnTo>
                    <a:lnTo>
                      <a:pt x="111" y="63"/>
                    </a:lnTo>
                    <a:lnTo>
                      <a:pt x="116" y="74"/>
                    </a:lnTo>
                    <a:lnTo>
                      <a:pt x="116" y="75"/>
                    </a:lnTo>
                    <a:lnTo>
                      <a:pt x="117" y="75"/>
                    </a:lnTo>
                    <a:lnTo>
                      <a:pt x="119" y="75"/>
                    </a:lnTo>
                    <a:lnTo>
                      <a:pt x="121" y="77"/>
                    </a:lnTo>
                    <a:lnTo>
                      <a:pt x="124" y="81"/>
                    </a:lnTo>
                    <a:lnTo>
                      <a:pt x="123" y="86"/>
                    </a:lnTo>
                    <a:lnTo>
                      <a:pt x="124" y="91"/>
                    </a:lnTo>
                    <a:lnTo>
                      <a:pt x="131" y="93"/>
                    </a:lnTo>
                    <a:lnTo>
                      <a:pt x="135" y="105"/>
                    </a:lnTo>
                    <a:lnTo>
                      <a:pt x="143" y="113"/>
                    </a:lnTo>
                    <a:lnTo>
                      <a:pt x="148" y="115"/>
                    </a:lnTo>
                    <a:lnTo>
                      <a:pt x="154" y="122"/>
                    </a:lnTo>
                    <a:lnTo>
                      <a:pt x="154" y="131"/>
                    </a:lnTo>
                    <a:lnTo>
                      <a:pt x="154" y="144"/>
                    </a:lnTo>
                    <a:lnTo>
                      <a:pt x="148" y="149"/>
                    </a:lnTo>
                    <a:lnTo>
                      <a:pt x="150" y="158"/>
                    </a:lnTo>
                    <a:lnTo>
                      <a:pt x="145" y="163"/>
                    </a:lnTo>
                    <a:lnTo>
                      <a:pt x="136" y="165"/>
                    </a:lnTo>
                    <a:lnTo>
                      <a:pt x="129" y="158"/>
                    </a:lnTo>
                    <a:lnTo>
                      <a:pt x="124" y="151"/>
                    </a:lnTo>
                    <a:lnTo>
                      <a:pt x="111" y="139"/>
                    </a:lnTo>
                    <a:lnTo>
                      <a:pt x="97" y="129"/>
                    </a:lnTo>
                    <a:lnTo>
                      <a:pt x="85" y="113"/>
                    </a:lnTo>
                    <a:lnTo>
                      <a:pt x="78" y="98"/>
                    </a:lnTo>
                    <a:lnTo>
                      <a:pt x="73" y="91"/>
                    </a:lnTo>
                    <a:lnTo>
                      <a:pt x="69" y="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6" name="Freeform 197"/>
              <p:cNvSpPr>
                <a:spLocks/>
              </p:cNvSpPr>
              <p:nvPr/>
            </p:nvSpPr>
            <p:spPr bwMode="auto">
              <a:xfrm>
                <a:off x="6807994" y="3854450"/>
                <a:ext cx="231775" cy="257175"/>
              </a:xfrm>
              <a:custGeom>
                <a:avLst/>
                <a:gdLst/>
                <a:ahLst/>
                <a:cxnLst>
                  <a:cxn ang="0">
                    <a:pos x="42" y="146"/>
                  </a:cxn>
                  <a:cxn ang="0">
                    <a:pos x="36" y="143"/>
                  </a:cxn>
                  <a:cxn ang="0">
                    <a:pos x="21" y="141"/>
                  </a:cxn>
                  <a:cxn ang="0">
                    <a:pos x="16" y="126"/>
                  </a:cxn>
                  <a:cxn ang="0">
                    <a:pos x="14" y="115"/>
                  </a:cxn>
                  <a:cxn ang="0">
                    <a:pos x="11" y="112"/>
                  </a:cxn>
                  <a:cxn ang="0">
                    <a:pos x="4" y="107"/>
                  </a:cxn>
                  <a:cxn ang="0">
                    <a:pos x="0" y="93"/>
                  </a:cxn>
                  <a:cxn ang="0">
                    <a:pos x="5" y="83"/>
                  </a:cxn>
                  <a:cxn ang="0">
                    <a:pos x="24" y="81"/>
                  </a:cxn>
                  <a:cxn ang="0">
                    <a:pos x="33" y="67"/>
                  </a:cxn>
                  <a:cxn ang="0">
                    <a:pos x="43" y="59"/>
                  </a:cxn>
                  <a:cxn ang="0">
                    <a:pos x="59" y="52"/>
                  </a:cxn>
                  <a:cxn ang="0">
                    <a:pos x="64" y="43"/>
                  </a:cxn>
                  <a:cxn ang="0">
                    <a:pos x="69" y="38"/>
                  </a:cxn>
                  <a:cxn ang="0">
                    <a:pos x="74" y="35"/>
                  </a:cxn>
                  <a:cxn ang="0">
                    <a:pos x="86" y="29"/>
                  </a:cxn>
                  <a:cxn ang="0">
                    <a:pos x="98" y="19"/>
                  </a:cxn>
                  <a:cxn ang="0">
                    <a:pos x="110" y="2"/>
                  </a:cxn>
                  <a:cxn ang="0">
                    <a:pos x="124" y="4"/>
                  </a:cxn>
                  <a:cxn ang="0">
                    <a:pos x="128" y="16"/>
                  </a:cxn>
                  <a:cxn ang="0">
                    <a:pos x="143" y="21"/>
                  </a:cxn>
                  <a:cxn ang="0">
                    <a:pos x="141" y="29"/>
                  </a:cxn>
                  <a:cxn ang="0">
                    <a:pos x="136" y="35"/>
                  </a:cxn>
                  <a:cxn ang="0">
                    <a:pos x="133" y="36"/>
                  </a:cxn>
                  <a:cxn ang="0">
                    <a:pos x="124" y="41"/>
                  </a:cxn>
                  <a:cxn ang="0">
                    <a:pos x="122" y="45"/>
                  </a:cxn>
                  <a:cxn ang="0">
                    <a:pos x="122" y="48"/>
                  </a:cxn>
                  <a:cxn ang="0">
                    <a:pos x="122" y="59"/>
                  </a:cxn>
                  <a:cxn ang="0">
                    <a:pos x="136" y="79"/>
                  </a:cxn>
                  <a:cxn ang="0">
                    <a:pos x="140" y="90"/>
                  </a:cxn>
                  <a:cxn ang="0">
                    <a:pos x="129" y="90"/>
                  </a:cxn>
                  <a:cxn ang="0">
                    <a:pos x="126" y="95"/>
                  </a:cxn>
                  <a:cxn ang="0">
                    <a:pos x="119" y="117"/>
                  </a:cxn>
                  <a:cxn ang="0">
                    <a:pos x="107" y="129"/>
                  </a:cxn>
                  <a:cxn ang="0">
                    <a:pos x="110" y="136"/>
                  </a:cxn>
                  <a:cxn ang="0">
                    <a:pos x="103" y="153"/>
                  </a:cxn>
                  <a:cxn ang="0">
                    <a:pos x="88" y="162"/>
                  </a:cxn>
                  <a:cxn ang="0">
                    <a:pos x="81" y="155"/>
                  </a:cxn>
                  <a:cxn ang="0">
                    <a:pos x="59" y="146"/>
                  </a:cxn>
                  <a:cxn ang="0">
                    <a:pos x="47" y="152"/>
                  </a:cxn>
                  <a:cxn ang="0">
                    <a:pos x="43" y="150"/>
                  </a:cxn>
                </a:cxnLst>
                <a:rect l="0" t="0" r="r" b="b"/>
                <a:pathLst>
                  <a:path w="146" h="162">
                    <a:moveTo>
                      <a:pt x="43" y="150"/>
                    </a:moveTo>
                    <a:lnTo>
                      <a:pt x="42" y="146"/>
                    </a:lnTo>
                    <a:lnTo>
                      <a:pt x="42" y="143"/>
                    </a:lnTo>
                    <a:lnTo>
                      <a:pt x="36" y="143"/>
                    </a:lnTo>
                    <a:lnTo>
                      <a:pt x="31" y="145"/>
                    </a:lnTo>
                    <a:lnTo>
                      <a:pt x="21" y="141"/>
                    </a:lnTo>
                    <a:lnTo>
                      <a:pt x="17" y="134"/>
                    </a:lnTo>
                    <a:lnTo>
                      <a:pt x="16" y="126"/>
                    </a:lnTo>
                    <a:lnTo>
                      <a:pt x="14" y="117"/>
                    </a:lnTo>
                    <a:lnTo>
                      <a:pt x="14" y="115"/>
                    </a:lnTo>
                    <a:lnTo>
                      <a:pt x="14" y="114"/>
                    </a:lnTo>
                    <a:lnTo>
                      <a:pt x="11" y="112"/>
                    </a:lnTo>
                    <a:lnTo>
                      <a:pt x="7" y="112"/>
                    </a:lnTo>
                    <a:lnTo>
                      <a:pt x="4" y="107"/>
                    </a:lnTo>
                    <a:lnTo>
                      <a:pt x="2" y="100"/>
                    </a:lnTo>
                    <a:lnTo>
                      <a:pt x="0" y="93"/>
                    </a:lnTo>
                    <a:lnTo>
                      <a:pt x="0" y="90"/>
                    </a:lnTo>
                    <a:lnTo>
                      <a:pt x="5" y="83"/>
                    </a:lnTo>
                    <a:lnTo>
                      <a:pt x="17" y="84"/>
                    </a:lnTo>
                    <a:lnTo>
                      <a:pt x="24" y="81"/>
                    </a:lnTo>
                    <a:lnTo>
                      <a:pt x="30" y="76"/>
                    </a:lnTo>
                    <a:lnTo>
                      <a:pt x="33" y="67"/>
                    </a:lnTo>
                    <a:lnTo>
                      <a:pt x="38" y="62"/>
                    </a:lnTo>
                    <a:lnTo>
                      <a:pt x="43" y="59"/>
                    </a:lnTo>
                    <a:lnTo>
                      <a:pt x="52" y="57"/>
                    </a:lnTo>
                    <a:lnTo>
                      <a:pt x="59" y="52"/>
                    </a:lnTo>
                    <a:lnTo>
                      <a:pt x="64" y="47"/>
                    </a:lnTo>
                    <a:lnTo>
                      <a:pt x="64" y="43"/>
                    </a:lnTo>
                    <a:lnTo>
                      <a:pt x="67" y="41"/>
                    </a:lnTo>
                    <a:lnTo>
                      <a:pt x="69" y="38"/>
                    </a:lnTo>
                    <a:lnTo>
                      <a:pt x="73" y="38"/>
                    </a:lnTo>
                    <a:lnTo>
                      <a:pt x="74" y="35"/>
                    </a:lnTo>
                    <a:lnTo>
                      <a:pt x="76" y="33"/>
                    </a:lnTo>
                    <a:lnTo>
                      <a:pt x="86" y="29"/>
                    </a:lnTo>
                    <a:lnTo>
                      <a:pt x="95" y="28"/>
                    </a:lnTo>
                    <a:lnTo>
                      <a:pt x="98" y="19"/>
                    </a:lnTo>
                    <a:lnTo>
                      <a:pt x="103" y="11"/>
                    </a:lnTo>
                    <a:lnTo>
                      <a:pt x="110" y="2"/>
                    </a:lnTo>
                    <a:lnTo>
                      <a:pt x="117" y="0"/>
                    </a:lnTo>
                    <a:lnTo>
                      <a:pt x="124" y="4"/>
                    </a:lnTo>
                    <a:lnTo>
                      <a:pt x="126" y="12"/>
                    </a:lnTo>
                    <a:lnTo>
                      <a:pt x="128" y="16"/>
                    </a:lnTo>
                    <a:lnTo>
                      <a:pt x="136" y="19"/>
                    </a:lnTo>
                    <a:lnTo>
                      <a:pt x="143" y="21"/>
                    </a:lnTo>
                    <a:lnTo>
                      <a:pt x="146" y="28"/>
                    </a:lnTo>
                    <a:lnTo>
                      <a:pt x="141" y="29"/>
                    </a:lnTo>
                    <a:lnTo>
                      <a:pt x="136" y="33"/>
                    </a:lnTo>
                    <a:lnTo>
                      <a:pt x="136" y="35"/>
                    </a:lnTo>
                    <a:lnTo>
                      <a:pt x="138" y="36"/>
                    </a:lnTo>
                    <a:lnTo>
                      <a:pt x="133" y="36"/>
                    </a:lnTo>
                    <a:lnTo>
                      <a:pt x="129" y="40"/>
                    </a:lnTo>
                    <a:lnTo>
                      <a:pt x="124" y="41"/>
                    </a:lnTo>
                    <a:lnTo>
                      <a:pt x="122" y="43"/>
                    </a:lnTo>
                    <a:lnTo>
                      <a:pt x="122" y="45"/>
                    </a:lnTo>
                    <a:lnTo>
                      <a:pt x="124" y="48"/>
                    </a:lnTo>
                    <a:lnTo>
                      <a:pt x="122" y="48"/>
                    </a:lnTo>
                    <a:lnTo>
                      <a:pt x="121" y="52"/>
                    </a:lnTo>
                    <a:lnTo>
                      <a:pt x="122" y="59"/>
                    </a:lnTo>
                    <a:lnTo>
                      <a:pt x="128" y="71"/>
                    </a:lnTo>
                    <a:lnTo>
                      <a:pt x="136" y="79"/>
                    </a:lnTo>
                    <a:lnTo>
                      <a:pt x="145" y="84"/>
                    </a:lnTo>
                    <a:lnTo>
                      <a:pt x="140" y="90"/>
                    </a:lnTo>
                    <a:lnTo>
                      <a:pt x="133" y="90"/>
                    </a:lnTo>
                    <a:lnTo>
                      <a:pt x="129" y="90"/>
                    </a:lnTo>
                    <a:lnTo>
                      <a:pt x="128" y="90"/>
                    </a:lnTo>
                    <a:lnTo>
                      <a:pt x="126" y="95"/>
                    </a:lnTo>
                    <a:lnTo>
                      <a:pt x="121" y="107"/>
                    </a:lnTo>
                    <a:lnTo>
                      <a:pt x="119" y="117"/>
                    </a:lnTo>
                    <a:lnTo>
                      <a:pt x="110" y="122"/>
                    </a:lnTo>
                    <a:lnTo>
                      <a:pt x="107" y="129"/>
                    </a:lnTo>
                    <a:lnTo>
                      <a:pt x="109" y="133"/>
                    </a:lnTo>
                    <a:lnTo>
                      <a:pt x="110" y="136"/>
                    </a:lnTo>
                    <a:lnTo>
                      <a:pt x="107" y="145"/>
                    </a:lnTo>
                    <a:lnTo>
                      <a:pt x="103" y="153"/>
                    </a:lnTo>
                    <a:lnTo>
                      <a:pt x="95" y="158"/>
                    </a:lnTo>
                    <a:lnTo>
                      <a:pt x="88" y="162"/>
                    </a:lnTo>
                    <a:lnTo>
                      <a:pt x="81" y="158"/>
                    </a:lnTo>
                    <a:lnTo>
                      <a:pt x="81" y="155"/>
                    </a:lnTo>
                    <a:lnTo>
                      <a:pt x="69" y="150"/>
                    </a:lnTo>
                    <a:lnTo>
                      <a:pt x="59" y="146"/>
                    </a:lnTo>
                    <a:lnTo>
                      <a:pt x="52" y="148"/>
                    </a:lnTo>
                    <a:lnTo>
                      <a:pt x="47" y="152"/>
                    </a:lnTo>
                    <a:lnTo>
                      <a:pt x="45" y="150"/>
                    </a:lnTo>
                    <a:lnTo>
                      <a:pt x="43" y="15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7" name="Freeform 198"/>
              <p:cNvSpPr>
                <a:spLocks/>
              </p:cNvSpPr>
              <p:nvPr/>
            </p:nvSpPr>
            <p:spPr bwMode="auto">
              <a:xfrm>
                <a:off x="7031832" y="3978275"/>
                <a:ext cx="147638" cy="168275"/>
              </a:xfrm>
              <a:custGeom>
                <a:avLst/>
                <a:gdLst/>
                <a:ahLst/>
                <a:cxnLst>
                  <a:cxn ang="0">
                    <a:pos x="33" y="41"/>
                  </a:cxn>
                  <a:cxn ang="0">
                    <a:pos x="23" y="36"/>
                  </a:cxn>
                  <a:cxn ang="0">
                    <a:pos x="26" y="18"/>
                  </a:cxn>
                  <a:cxn ang="0">
                    <a:pos x="47" y="17"/>
                  </a:cxn>
                  <a:cxn ang="0">
                    <a:pos x="66" y="18"/>
                  </a:cxn>
                  <a:cxn ang="0">
                    <a:pos x="85" y="13"/>
                  </a:cxn>
                  <a:cxn ang="0">
                    <a:pos x="91" y="1"/>
                  </a:cxn>
                  <a:cxn ang="0">
                    <a:pos x="90" y="0"/>
                  </a:cxn>
                  <a:cxn ang="0">
                    <a:pos x="73" y="12"/>
                  </a:cxn>
                  <a:cxn ang="0">
                    <a:pos x="33" y="5"/>
                  </a:cxn>
                  <a:cxn ang="0">
                    <a:pos x="18" y="13"/>
                  </a:cxn>
                  <a:cxn ang="0">
                    <a:pos x="14" y="34"/>
                  </a:cxn>
                  <a:cxn ang="0">
                    <a:pos x="11" y="41"/>
                  </a:cxn>
                  <a:cxn ang="0">
                    <a:pos x="0" y="68"/>
                  </a:cxn>
                  <a:cxn ang="0">
                    <a:pos x="11" y="75"/>
                  </a:cxn>
                  <a:cxn ang="0">
                    <a:pos x="11" y="99"/>
                  </a:cxn>
                  <a:cxn ang="0">
                    <a:pos x="19" y="106"/>
                  </a:cxn>
                  <a:cxn ang="0">
                    <a:pos x="24" y="96"/>
                  </a:cxn>
                  <a:cxn ang="0">
                    <a:pos x="26" y="86"/>
                  </a:cxn>
                  <a:cxn ang="0">
                    <a:pos x="23" y="70"/>
                  </a:cxn>
                  <a:cxn ang="0">
                    <a:pos x="30" y="63"/>
                  </a:cxn>
                  <a:cxn ang="0">
                    <a:pos x="33" y="63"/>
                  </a:cxn>
                  <a:cxn ang="0">
                    <a:pos x="35" y="80"/>
                  </a:cxn>
                  <a:cxn ang="0">
                    <a:pos x="40" y="91"/>
                  </a:cxn>
                  <a:cxn ang="0">
                    <a:pos x="47" y="94"/>
                  </a:cxn>
                  <a:cxn ang="0">
                    <a:pos x="57" y="84"/>
                  </a:cxn>
                  <a:cxn ang="0">
                    <a:pos x="50" y="74"/>
                  </a:cxn>
                  <a:cxn ang="0">
                    <a:pos x="52" y="72"/>
                  </a:cxn>
                  <a:cxn ang="0">
                    <a:pos x="43" y="60"/>
                  </a:cxn>
                  <a:cxn ang="0">
                    <a:pos x="40" y="49"/>
                  </a:cxn>
                  <a:cxn ang="0">
                    <a:pos x="54" y="43"/>
                  </a:cxn>
                  <a:cxn ang="0">
                    <a:pos x="67" y="36"/>
                  </a:cxn>
                  <a:cxn ang="0">
                    <a:pos x="61" y="31"/>
                  </a:cxn>
                  <a:cxn ang="0">
                    <a:pos x="40" y="37"/>
                  </a:cxn>
                  <a:cxn ang="0">
                    <a:pos x="36" y="39"/>
                  </a:cxn>
                </a:cxnLst>
                <a:rect l="0" t="0" r="r" b="b"/>
                <a:pathLst>
                  <a:path w="93" h="106">
                    <a:moveTo>
                      <a:pt x="36" y="39"/>
                    </a:moveTo>
                    <a:lnTo>
                      <a:pt x="33" y="41"/>
                    </a:lnTo>
                    <a:lnTo>
                      <a:pt x="31" y="43"/>
                    </a:lnTo>
                    <a:lnTo>
                      <a:pt x="23" y="36"/>
                    </a:lnTo>
                    <a:lnTo>
                      <a:pt x="21" y="25"/>
                    </a:lnTo>
                    <a:lnTo>
                      <a:pt x="26" y="18"/>
                    </a:lnTo>
                    <a:lnTo>
                      <a:pt x="38" y="18"/>
                    </a:lnTo>
                    <a:lnTo>
                      <a:pt x="47" y="17"/>
                    </a:lnTo>
                    <a:lnTo>
                      <a:pt x="57" y="17"/>
                    </a:lnTo>
                    <a:lnTo>
                      <a:pt x="66" y="18"/>
                    </a:lnTo>
                    <a:lnTo>
                      <a:pt x="74" y="20"/>
                    </a:lnTo>
                    <a:lnTo>
                      <a:pt x="85" y="13"/>
                    </a:lnTo>
                    <a:lnTo>
                      <a:pt x="90" y="3"/>
                    </a:lnTo>
                    <a:lnTo>
                      <a:pt x="91" y="1"/>
                    </a:lnTo>
                    <a:lnTo>
                      <a:pt x="93" y="0"/>
                    </a:lnTo>
                    <a:lnTo>
                      <a:pt x="90" y="0"/>
                    </a:lnTo>
                    <a:lnTo>
                      <a:pt x="79" y="5"/>
                    </a:lnTo>
                    <a:lnTo>
                      <a:pt x="73" y="12"/>
                    </a:lnTo>
                    <a:lnTo>
                      <a:pt x="69" y="12"/>
                    </a:lnTo>
                    <a:lnTo>
                      <a:pt x="33" y="5"/>
                    </a:lnTo>
                    <a:lnTo>
                      <a:pt x="23" y="6"/>
                    </a:lnTo>
                    <a:lnTo>
                      <a:pt x="18" y="13"/>
                    </a:lnTo>
                    <a:lnTo>
                      <a:pt x="14" y="24"/>
                    </a:lnTo>
                    <a:lnTo>
                      <a:pt x="14" y="34"/>
                    </a:lnTo>
                    <a:lnTo>
                      <a:pt x="12" y="37"/>
                    </a:lnTo>
                    <a:lnTo>
                      <a:pt x="11" y="41"/>
                    </a:lnTo>
                    <a:lnTo>
                      <a:pt x="2" y="55"/>
                    </a:lnTo>
                    <a:lnTo>
                      <a:pt x="0" y="68"/>
                    </a:lnTo>
                    <a:lnTo>
                      <a:pt x="4" y="74"/>
                    </a:lnTo>
                    <a:lnTo>
                      <a:pt x="11" y="75"/>
                    </a:lnTo>
                    <a:lnTo>
                      <a:pt x="11" y="87"/>
                    </a:lnTo>
                    <a:lnTo>
                      <a:pt x="11" y="99"/>
                    </a:lnTo>
                    <a:lnTo>
                      <a:pt x="12" y="103"/>
                    </a:lnTo>
                    <a:lnTo>
                      <a:pt x="19" y="106"/>
                    </a:lnTo>
                    <a:lnTo>
                      <a:pt x="21" y="103"/>
                    </a:lnTo>
                    <a:lnTo>
                      <a:pt x="24" y="96"/>
                    </a:lnTo>
                    <a:lnTo>
                      <a:pt x="24" y="89"/>
                    </a:lnTo>
                    <a:lnTo>
                      <a:pt x="26" y="86"/>
                    </a:lnTo>
                    <a:lnTo>
                      <a:pt x="24" y="77"/>
                    </a:lnTo>
                    <a:lnTo>
                      <a:pt x="23" y="70"/>
                    </a:lnTo>
                    <a:lnTo>
                      <a:pt x="24" y="65"/>
                    </a:lnTo>
                    <a:lnTo>
                      <a:pt x="30" y="63"/>
                    </a:lnTo>
                    <a:lnTo>
                      <a:pt x="31" y="63"/>
                    </a:lnTo>
                    <a:lnTo>
                      <a:pt x="33" y="63"/>
                    </a:lnTo>
                    <a:lnTo>
                      <a:pt x="31" y="74"/>
                    </a:lnTo>
                    <a:lnTo>
                      <a:pt x="35" y="80"/>
                    </a:lnTo>
                    <a:lnTo>
                      <a:pt x="40" y="89"/>
                    </a:lnTo>
                    <a:lnTo>
                      <a:pt x="40" y="91"/>
                    </a:lnTo>
                    <a:lnTo>
                      <a:pt x="40" y="94"/>
                    </a:lnTo>
                    <a:lnTo>
                      <a:pt x="47" y="94"/>
                    </a:lnTo>
                    <a:lnTo>
                      <a:pt x="52" y="89"/>
                    </a:lnTo>
                    <a:lnTo>
                      <a:pt x="57" y="84"/>
                    </a:lnTo>
                    <a:lnTo>
                      <a:pt x="52" y="79"/>
                    </a:lnTo>
                    <a:lnTo>
                      <a:pt x="50" y="74"/>
                    </a:lnTo>
                    <a:lnTo>
                      <a:pt x="50" y="72"/>
                    </a:lnTo>
                    <a:lnTo>
                      <a:pt x="52" y="72"/>
                    </a:lnTo>
                    <a:lnTo>
                      <a:pt x="47" y="67"/>
                    </a:lnTo>
                    <a:lnTo>
                      <a:pt x="43" y="60"/>
                    </a:lnTo>
                    <a:lnTo>
                      <a:pt x="40" y="51"/>
                    </a:lnTo>
                    <a:lnTo>
                      <a:pt x="40" y="49"/>
                    </a:lnTo>
                    <a:lnTo>
                      <a:pt x="47" y="46"/>
                    </a:lnTo>
                    <a:lnTo>
                      <a:pt x="54" y="43"/>
                    </a:lnTo>
                    <a:lnTo>
                      <a:pt x="59" y="39"/>
                    </a:lnTo>
                    <a:lnTo>
                      <a:pt x="67" y="36"/>
                    </a:lnTo>
                    <a:lnTo>
                      <a:pt x="67" y="31"/>
                    </a:lnTo>
                    <a:lnTo>
                      <a:pt x="61" y="31"/>
                    </a:lnTo>
                    <a:lnTo>
                      <a:pt x="50" y="34"/>
                    </a:lnTo>
                    <a:lnTo>
                      <a:pt x="40" y="37"/>
                    </a:lnTo>
                    <a:lnTo>
                      <a:pt x="36" y="41"/>
                    </a:lnTo>
                    <a:lnTo>
                      <a:pt x="36" y="3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8" name="Freeform 199"/>
              <p:cNvSpPr>
                <a:spLocks/>
              </p:cNvSpPr>
              <p:nvPr/>
            </p:nvSpPr>
            <p:spPr bwMode="auto">
              <a:xfrm>
                <a:off x="6728619" y="4149725"/>
                <a:ext cx="233363" cy="68262"/>
              </a:xfrm>
              <a:custGeom>
                <a:avLst/>
                <a:gdLst/>
                <a:ahLst/>
                <a:cxnLst>
                  <a:cxn ang="0">
                    <a:pos x="141" y="41"/>
                  </a:cxn>
                  <a:cxn ang="0">
                    <a:pos x="136" y="39"/>
                  </a:cxn>
                  <a:cxn ang="0">
                    <a:pos x="131" y="38"/>
                  </a:cxn>
                  <a:cxn ang="0">
                    <a:pos x="129" y="39"/>
                  </a:cxn>
                  <a:cxn ang="0">
                    <a:pos x="131" y="43"/>
                  </a:cxn>
                  <a:cxn ang="0">
                    <a:pos x="117" y="38"/>
                  </a:cxn>
                  <a:cxn ang="0">
                    <a:pos x="104" y="36"/>
                  </a:cxn>
                  <a:cxn ang="0">
                    <a:pos x="90" y="36"/>
                  </a:cxn>
                  <a:cxn ang="0">
                    <a:pos x="78" y="36"/>
                  </a:cxn>
                  <a:cxn ang="0">
                    <a:pos x="69" y="33"/>
                  </a:cxn>
                  <a:cxn ang="0">
                    <a:pos x="64" y="29"/>
                  </a:cxn>
                  <a:cxn ang="0">
                    <a:pos x="50" y="27"/>
                  </a:cxn>
                  <a:cxn ang="0">
                    <a:pos x="37" y="26"/>
                  </a:cxn>
                  <a:cxn ang="0">
                    <a:pos x="24" y="24"/>
                  </a:cxn>
                  <a:cxn ang="0">
                    <a:pos x="16" y="24"/>
                  </a:cxn>
                  <a:cxn ang="0">
                    <a:pos x="7" y="15"/>
                  </a:cxn>
                  <a:cxn ang="0">
                    <a:pos x="0" y="12"/>
                  </a:cxn>
                  <a:cxn ang="0">
                    <a:pos x="4" y="5"/>
                  </a:cxn>
                  <a:cxn ang="0">
                    <a:pos x="12" y="2"/>
                  </a:cxn>
                  <a:cxn ang="0">
                    <a:pos x="14" y="2"/>
                  </a:cxn>
                  <a:cxn ang="0">
                    <a:pos x="16" y="3"/>
                  </a:cxn>
                  <a:cxn ang="0">
                    <a:pos x="19" y="2"/>
                  </a:cxn>
                  <a:cxn ang="0">
                    <a:pos x="24" y="0"/>
                  </a:cxn>
                  <a:cxn ang="0">
                    <a:pos x="33" y="2"/>
                  </a:cxn>
                  <a:cxn ang="0">
                    <a:pos x="43" y="8"/>
                  </a:cxn>
                  <a:cxn ang="0">
                    <a:pos x="52" y="14"/>
                  </a:cxn>
                  <a:cxn ang="0">
                    <a:pos x="64" y="17"/>
                  </a:cxn>
                  <a:cxn ang="0">
                    <a:pos x="71" y="12"/>
                  </a:cxn>
                  <a:cxn ang="0">
                    <a:pos x="78" y="8"/>
                  </a:cxn>
                  <a:cxn ang="0">
                    <a:pos x="90" y="14"/>
                  </a:cxn>
                  <a:cxn ang="0">
                    <a:pos x="102" y="19"/>
                  </a:cxn>
                  <a:cxn ang="0">
                    <a:pos x="116" y="15"/>
                  </a:cxn>
                  <a:cxn ang="0">
                    <a:pos x="121" y="15"/>
                  </a:cxn>
                  <a:cxn ang="0">
                    <a:pos x="117" y="17"/>
                  </a:cxn>
                  <a:cxn ang="0">
                    <a:pos x="110" y="19"/>
                  </a:cxn>
                  <a:cxn ang="0">
                    <a:pos x="104" y="19"/>
                  </a:cxn>
                  <a:cxn ang="0">
                    <a:pos x="102" y="19"/>
                  </a:cxn>
                  <a:cxn ang="0">
                    <a:pos x="110" y="24"/>
                  </a:cxn>
                  <a:cxn ang="0">
                    <a:pos x="123" y="26"/>
                  </a:cxn>
                  <a:cxn ang="0">
                    <a:pos x="124" y="27"/>
                  </a:cxn>
                  <a:cxn ang="0">
                    <a:pos x="128" y="31"/>
                  </a:cxn>
                  <a:cxn ang="0">
                    <a:pos x="133" y="31"/>
                  </a:cxn>
                  <a:cxn ang="0">
                    <a:pos x="140" y="33"/>
                  </a:cxn>
                  <a:cxn ang="0">
                    <a:pos x="143" y="33"/>
                  </a:cxn>
                  <a:cxn ang="0">
                    <a:pos x="147" y="36"/>
                  </a:cxn>
                  <a:cxn ang="0">
                    <a:pos x="143" y="38"/>
                  </a:cxn>
                  <a:cxn ang="0">
                    <a:pos x="141" y="41"/>
                  </a:cxn>
                </a:cxnLst>
                <a:rect l="0" t="0" r="r" b="b"/>
                <a:pathLst>
                  <a:path w="147" h="43">
                    <a:moveTo>
                      <a:pt x="141" y="41"/>
                    </a:moveTo>
                    <a:lnTo>
                      <a:pt x="136" y="39"/>
                    </a:lnTo>
                    <a:lnTo>
                      <a:pt x="131" y="38"/>
                    </a:lnTo>
                    <a:lnTo>
                      <a:pt x="129" y="39"/>
                    </a:lnTo>
                    <a:lnTo>
                      <a:pt x="131" y="43"/>
                    </a:lnTo>
                    <a:lnTo>
                      <a:pt x="117" y="38"/>
                    </a:lnTo>
                    <a:lnTo>
                      <a:pt x="104" y="36"/>
                    </a:lnTo>
                    <a:lnTo>
                      <a:pt x="90" y="36"/>
                    </a:lnTo>
                    <a:lnTo>
                      <a:pt x="78" y="36"/>
                    </a:lnTo>
                    <a:lnTo>
                      <a:pt x="69" y="33"/>
                    </a:lnTo>
                    <a:lnTo>
                      <a:pt x="64" y="29"/>
                    </a:lnTo>
                    <a:lnTo>
                      <a:pt x="50" y="27"/>
                    </a:lnTo>
                    <a:lnTo>
                      <a:pt x="37" y="26"/>
                    </a:lnTo>
                    <a:lnTo>
                      <a:pt x="24" y="24"/>
                    </a:lnTo>
                    <a:lnTo>
                      <a:pt x="16" y="24"/>
                    </a:lnTo>
                    <a:lnTo>
                      <a:pt x="7" y="15"/>
                    </a:lnTo>
                    <a:lnTo>
                      <a:pt x="0" y="12"/>
                    </a:lnTo>
                    <a:lnTo>
                      <a:pt x="4" y="5"/>
                    </a:lnTo>
                    <a:lnTo>
                      <a:pt x="12" y="2"/>
                    </a:lnTo>
                    <a:lnTo>
                      <a:pt x="14" y="2"/>
                    </a:lnTo>
                    <a:lnTo>
                      <a:pt x="16" y="3"/>
                    </a:lnTo>
                    <a:lnTo>
                      <a:pt x="19" y="2"/>
                    </a:lnTo>
                    <a:lnTo>
                      <a:pt x="24" y="0"/>
                    </a:lnTo>
                    <a:lnTo>
                      <a:pt x="33" y="2"/>
                    </a:lnTo>
                    <a:lnTo>
                      <a:pt x="43" y="8"/>
                    </a:lnTo>
                    <a:lnTo>
                      <a:pt x="52" y="14"/>
                    </a:lnTo>
                    <a:lnTo>
                      <a:pt x="64" y="17"/>
                    </a:lnTo>
                    <a:lnTo>
                      <a:pt x="71" y="12"/>
                    </a:lnTo>
                    <a:lnTo>
                      <a:pt x="78" y="8"/>
                    </a:lnTo>
                    <a:lnTo>
                      <a:pt x="90" y="14"/>
                    </a:lnTo>
                    <a:lnTo>
                      <a:pt x="102" y="19"/>
                    </a:lnTo>
                    <a:lnTo>
                      <a:pt x="116" y="15"/>
                    </a:lnTo>
                    <a:lnTo>
                      <a:pt x="121" y="15"/>
                    </a:lnTo>
                    <a:lnTo>
                      <a:pt x="117" y="17"/>
                    </a:lnTo>
                    <a:lnTo>
                      <a:pt x="110" y="19"/>
                    </a:lnTo>
                    <a:lnTo>
                      <a:pt x="104" y="19"/>
                    </a:lnTo>
                    <a:lnTo>
                      <a:pt x="102" y="19"/>
                    </a:lnTo>
                    <a:lnTo>
                      <a:pt x="110" y="24"/>
                    </a:lnTo>
                    <a:lnTo>
                      <a:pt x="123" y="26"/>
                    </a:lnTo>
                    <a:lnTo>
                      <a:pt x="124" y="27"/>
                    </a:lnTo>
                    <a:lnTo>
                      <a:pt x="128" y="31"/>
                    </a:lnTo>
                    <a:lnTo>
                      <a:pt x="133" y="31"/>
                    </a:lnTo>
                    <a:lnTo>
                      <a:pt x="140" y="33"/>
                    </a:lnTo>
                    <a:lnTo>
                      <a:pt x="143" y="33"/>
                    </a:lnTo>
                    <a:lnTo>
                      <a:pt x="147" y="36"/>
                    </a:lnTo>
                    <a:lnTo>
                      <a:pt x="143" y="38"/>
                    </a:lnTo>
                    <a:lnTo>
                      <a:pt x="141"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9" name="Freeform 200"/>
              <p:cNvSpPr>
                <a:spLocks/>
              </p:cNvSpPr>
              <p:nvPr/>
            </p:nvSpPr>
            <p:spPr bwMode="auto">
              <a:xfrm>
                <a:off x="7060407" y="4203700"/>
                <a:ext cx="69850" cy="17462"/>
              </a:xfrm>
              <a:custGeom>
                <a:avLst/>
                <a:gdLst/>
                <a:ahLst/>
                <a:cxnLst>
                  <a:cxn ang="0">
                    <a:pos x="29" y="11"/>
                  </a:cxn>
                  <a:cxn ang="0">
                    <a:pos x="18" y="11"/>
                  </a:cxn>
                  <a:cxn ang="0">
                    <a:pos x="10" y="11"/>
                  </a:cxn>
                  <a:cxn ang="0">
                    <a:pos x="3" y="9"/>
                  </a:cxn>
                  <a:cxn ang="0">
                    <a:pos x="0" y="5"/>
                  </a:cxn>
                  <a:cxn ang="0">
                    <a:pos x="1" y="2"/>
                  </a:cxn>
                  <a:cxn ang="0">
                    <a:pos x="8" y="2"/>
                  </a:cxn>
                  <a:cxn ang="0">
                    <a:pos x="18" y="4"/>
                  </a:cxn>
                  <a:cxn ang="0">
                    <a:pos x="29" y="5"/>
                  </a:cxn>
                  <a:cxn ang="0">
                    <a:pos x="36" y="4"/>
                  </a:cxn>
                  <a:cxn ang="0">
                    <a:pos x="44" y="0"/>
                  </a:cxn>
                  <a:cxn ang="0">
                    <a:pos x="37" y="7"/>
                  </a:cxn>
                  <a:cxn ang="0">
                    <a:pos x="29" y="11"/>
                  </a:cxn>
                </a:cxnLst>
                <a:rect l="0" t="0" r="r" b="b"/>
                <a:pathLst>
                  <a:path w="44" h="11">
                    <a:moveTo>
                      <a:pt x="29" y="11"/>
                    </a:moveTo>
                    <a:lnTo>
                      <a:pt x="18" y="11"/>
                    </a:lnTo>
                    <a:lnTo>
                      <a:pt x="10" y="11"/>
                    </a:lnTo>
                    <a:lnTo>
                      <a:pt x="3" y="9"/>
                    </a:lnTo>
                    <a:lnTo>
                      <a:pt x="0" y="5"/>
                    </a:lnTo>
                    <a:lnTo>
                      <a:pt x="1" y="2"/>
                    </a:lnTo>
                    <a:lnTo>
                      <a:pt x="8" y="2"/>
                    </a:lnTo>
                    <a:lnTo>
                      <a:pt x="18" y="4"/>
                    </a:lnTo>
                    <a:lnTo>
                      <a:pt x="29" y="5"/>
                    </a:lnTo>
                    <a:lnTo>
                      <a:pt x="36" y="4"/>
                    </a:lnTo>
                    <a:lnTo>
                      <a:pt x="44" y="0"/>
                    </a:lnTo>
                    <a:lnTo>
                      <a:pt x="37" y="7"/>
                    </a:lnTo>
                    <a:lnTo>
                      <a:pt x="29"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0" name="Freeform 201"/>
              <p:cNvSpPr>
                <a:spLocks/>
              </p:cNvSpPr>
              <p:nvPr/>
            </p:nvSpPr>
            <p:spPr bwMode="auto">
              <a:xfrm>
                <a:off x="6988969" y="4210050"/>
                <a:ext cx="49213" cy="15875"/>
              </a:xfrm>
              <a:custGeom>
                <a:avLst/>
                <a:gdLst/>
                <a:ahLst/>
                <a:cxnLst>
                  <a:cxn ang="0">
                    <a:pos x="31" y="7"/>
                  </a:cxn>
                  <a:cxn ang="0">
                    <a:pos x="27" y="7"/>
                  </a:cxn>
                  <a:cxn ang="0">
                    <a:pos x="22" y="5"/>
                  </a:cxn>
                  <a:cxn ang="0">
                    <a:pos x="15" y="7"/>
                  </a:cxn>
                  <a:cxn ang="0">
                    <a:pos x="10" y="10"/>
                  </a:cxn>
                  <a:cxn ang="0">
                    <a:pos x="3" y="8"/>
                  </a:cxn>
                  <a:cxn ang="0">
                    <a:pos x="0" y="7"/>
                  </a:cxn>
                  <a:cxn ang="0">
                    <a:pos x="2" y="1"/>
                  </a:cxn>
                  <a:cxn ang="0">
                    <a:pos x="8" y="1"/>
                  </a:cxn>
                  <a:cxn ang="0">
                    <a:pos x="14" y="1"/>
                  </a:cxn>
                  <a:cxn ang="0">
                    <a:pos x="19" y="3"/>
                  </a:cxn>
                  <a:cxn ang="0">
                    <a:pos x="19" y="0"/>
                  </a:cxn>
                  <a:cxn ang="0">
                    <a:pos x="31" y="0"/>
                  </a:cxn>
                  <a:cxn ang="0">
                    <a:pos x="31" y="3"/>
                  </a:cxn>
                  <a:cxn ang="0">
                    <a:pos x="31" y="7"/>
                  </a:cxn>
                </a:cxnLst>
                <a:rect l="0" t="0" r="r" b="b"/>
                <a:pathLst>
                  <a:path w="31" h="10">
                    <a:moveTo>
                      <a:pt x="31" y="7"/>
                    </a:moveTo>
                    <a:lnTo>
                      <a:pt x="27" y="7"/>
                    </a:lnTo>
                    <a:lnTo>
                      <a:pt x="22" y="5"/>
                    </a:lnTo>
                    <a:lnTo>
                      <a:pt x="15" y="7"/>
                    </a:lnTo>
                    <a:lnTo>
                      <a:pt x="10" y="10"/>
                    </a:lnTo>
                    <a:lnTo>
                      <a:pt x="3" y="8"/>
                    </a:lnTo>
                    <a:lnTo>
                      <a:pt x="0" y="7"/>
                    </a:lnTo>
                    <a:lnTo>
                      <a:pt x="2" y="1"/>
                    </a:lnTo>
                    <a:lnTo>
                      <a:pt x="8" y="1"/>
                    </a:lnTo>
                    <a:lnTo>
                      <a:pt x="14" y="1"/>
                    </a:lnTo>
                    <a:lnTo>
                      <a:pt x="19" y="3"/>
                    </a:lnTo>
                    <a:lnTo>
                      <a:pt x="19" y="0"/>
                    </a:lnTo>
                    <a:lnTo>
                      <a:pt x="31" y="0"/>
                    </a:lnTo>
                    <a:lnTo>
                      <a:pt x="31" y="3"/>
                    </a:lnTo>
                    <a:lnTo>
                      <a:pt x="31"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1" name="Freeform 202"/>
              <p:cNvSpPr>
                <a:spLocks/>
              </p:cNvSpPr>
              <p:nvPr/>
            </p:nvSpPr>
            <p:spPr bwMode="auto">
              <a:xfrm>
                <a:off x="7039769" y="4229100"/>
                <a:ext cx="36513" cy="26987"/>
              </a:xfrm>
              <a:custGeom>
                <a:avLst/>
                <a:gdLst/>
                <a:ahLst/>
                <a:cxnLst>
                  <a:cxn ang="0">
                    <a:pos x="18" y="17"/>
                  </a:cxn>
                  <a:cxn ang="0">
                    <a:pos x="14" y="14"/>
                  </a:cxn>
                  <a:cxn ang="0">
                    <a:pos x="14" y="10"/>
                  </a:cxn>
                  <a:cxn ang="0">
                    <a:pos x="4" y="8"/>
                  </a:cxn>
                  <a:cxn ang="0">
                    <a:pos x="0" y="5"/>
                  </a:cxn>
                  <a:cxn ang="0">
                    <a:pos x="4" y="0"/>
                  </a:cxn>
                  <a:cxn ang="0">
                    <a:pos x="11" y="1"/>
                  </a:cxn>
                  <a:cxn ang="0">
                    <a:pos x="13" y="1"/>
                  </a:cxn>
                  <a:cxn ang="0">
                    <a:pos x="16" y="1"/>
                  </a:cxn>
                  <a:cxn ang="0">
                    <a:pos x="19" y="7"/>
                  </a:cxn>
                  <a:cxn ang="0">
                    <a:pos x="23" y="14"/>
                  </a:cxn>
                  <a:cxn ang="0">
                    <a:pos x="21" y="15"/>
                  </a:cxn>
                  <a:cxn ang="0">
                    <a:pos x="19" y="17"/>
                  </a:cxn>
                  <a:cxn ang="0">
                    <a:pos x="18" y="17"/>
                  </a:cxn>
                </a:cxnLst>
                <a:rect l="0" t="0" r="r" b="b"/>
                <a:pathLst>
                  <a:path w="23" h="17">
                    <a:moveTo>
                      <a:pt x="18" y="17"/>
                    </a:moveTo>
                    <a:lnTo>
                      <a:pt x="14" y="14"/>
                    </a:lnTo>
                    <a:lnTo>
                      <a:pt x="14" y="10"/>
                    </a:lnTo>
                    <a:lnTo>
                      <a:pt x="4" y="8"/>
                    </a:lnTo>
                    <a:lnTo>
                      <a:pt x="0" y="5"/>
                    </a:lnTo>
                    <a:lnTo>
                      <a:pt x="4" y="0"/>
                    </a:lnTo>
                    <a:lnTo>
                      <a:pt x="11" y="1"/>
                    </a:lnTo>
                    <a:lnTo>
                      <a:pt x="13" y="1"/>
                    </a:lnTo>
                    <a:lnTo>
                      <a:pt x="16" y="1"/>
                    </a:lnTo>
                    <a:lnTo>
                      <a:pt x="19" y="7"/>
                    </a:lnTo>
                    <a:lnTo>
                      <a:pt x="23" y="14"/>
                    </a:lnTo>
                    <a:lnTo>
                      <a:pt x="21" y="15"/>
                    </a:lnTo>
                    <a:lnTo>
                      <a:pt x="19" y="17"/>
                    </a:lnTo>
                    <a:lnTo>
                      <a:pt x="18"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2" name="Freeform 203"/>
              <p:cNvSpPr>
                <a:spLocks/>
              </p:cNvSpPr>
              <p:nvPr/>
            </p:nvSpPr>
            <p:spPr bwMode="auto">
              <a:xfrm>
                <a:off x="6971507" y="4206875"/>
                <a:ext cx="14288" cy="14287"/>
              </a:xfrm>
              <a:custGeom>
                <a:avLst/>
                <a:gdLst/>
                <a:ahLst/>
                <a:cxnLst>
                  <a:cxn ang="0">
                    <a:pos x="0" y="0"/>
                  </a:cxn>
                  <a:cxn ang="0">
                    <a:pos x="4" y="0"/>
                  </a:cxn>
                  <a:cxn ang="0">
                    <a:pos x="6" y="2"/>
                  </a:cxn>
                  <a:cxn ang="0">
                    <a:pos x="9" y="3"/>
                  </a:cxn>
                  <a:cxn ang="0">
                    <a:pos x="6" y="7"/>
                  </a:cxn>
                  <a:cxn ang="0">
                    <a:pos x="4" y="9"/>
                  </a:cxn>
                  <a:cxn ang="0">
                    <a:pos x="0" y="7"/>
                  </a:cxn>
                  <a:cxn ang="0">
                    <a:pos x="0" y="5"/>
                  </a:cxn>
                  <a:cxn ang="0">
                    <a:pos x="0" y="2"/>
                  </a:cxn>
                  <a:cxn ang="0">
                    <a:pos x="0" y="0"/>
                  </a:cxn>
                </a:cxnLst>
                <a:rect l="0" t="0" r="r" b="b"/>
                <a:pathLst>
                  <a:path w="9" h="9">
                    <a:moveTo>
                      <a:pt x="0" y="0"/>
                    </a:moveTo>
                    <a:lnTo>
                      <a:pt x="4" y="0"/>
                    </a:lnTo>
                    <a:lnTo>
                      <a:pt x="6" y="2"/>
                    </a:lnTo>
                    <a:lnTo>
                      <a:pt x="9" y="3"/>
                    </a:lnTo>
                    <a:lnTo>
                      <a:pt x="6" y="7"/>
                    </a:lnTo>
                    <a:lnTo>
                      <a:pt x="4" y="9"/>
                    </a:lnTo>
                    <a:lnTo>
                      <a:pt x="0" y="7"/>
                    </a:lnTo>
                    <a:lnTo>
                      <a:pt x="0" y="5"/>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3" name="Freeform 204"/>
              <p:cNvSpPr>
                <a:spLocks/>
              </p:cNvSpPr>
              <p:nvPr/>
            </p:nvSpPr>
            <p:spPr bwMode="auto">
              <a:xfrm>
                <a:off x="7141369" y="4210050"/>
                <a:ext cx="82550" cy="46037"/>
              </a:xfrm>
              <a:custGeom>
                <a:avLst/>
                <a:gdLst/>
                <a:ahLst/>
                <a:cxnLst>
                  <a:cxn ang="0">
                    <a:pos x="22" y="13"/>
                  </a:cxn>
                  <a:cxn ang="0">
                    <a:pos x="21" y="15"/>
                  </a:cxn>
                  <a:cxn ang="0">
                    <a:pos x="21" y="20"/>
                  </a:cxn>
                  <a:cxn ang="0">
                    <a:pos x="14" y="26"/>
                  </a:cxn>
                  <a:cxn ang="0">
                    <a:pos x="4" y="29"/>
                  </a:cxn>
                  <a:cxn ang="0">
                    <a:pos x="0" y="27"/>
                  </a:cxn>
                  <a:cxn ang="0">
                    <a:pos x="0" y="26"/>
                  </a:cxn>
                  <a:cxn ang="0">
                    <a:pos x="5" y="13"/>
                  </a:cxn>
                  <a:cxn ang="0">
                    <a:pos x="17" y="12"/>
                  </a:cxn>
                  <a:cxn ang="0">
                    <a:pos x="19" y="8"/>
                  </a:cxn>
                  <a:cxn ang="0">
                    <a:pos x="21" y="7"/>
                  </a:cxn>
                  <a:cxn ang="0">
                    <a:pos x="26" y="1"/>
                  </a:cxn>
                  <a:cxn ang="0">
                    <a:pos x="36" y="1"/>
                  </a:cxn>
                  <a:cxn ang="0">
                    <a:pos x="45" y="0"/>
                  </a:cxn>
                  <a:cxn ang="0">
                    <a:pos x="52" y="3"/>
                  </a:cxn>
                  <a:cxn ang="0">
                    <a:pos x="45" y="7"/>
                  </a:cxn>
                  <a:cxn ang="0">
                    <a:pos x="38" y="10"/>
                  </a:cxn>
                  <a:cxn ang="0">
                    <a:pos x="29" y="12"/>
                  </a:cxn>
                  <a:cxn ang="0">
                    <a:pos x="22" y="13"/>
                  </a:cxn>
                </a:cxnLst>
                <a:rect l="0" t="0" r="r" b="b"/>
                <a:pathLst>
                  <a:path w="52" h="29">
                    <a:moveTo>
                      <a:pt x="22" y="13"/>
                    </a:moveTo>
                    <a:lnTo>
                      <a:pt x="21" y="15"/>
                    </a:lnTo>
                    <a:lnTo>
                      <a:pt x="21" y="20"/>
                    </a:lnTo>
                    <a:lnTo>
                      <a:pt x="14" y="26"/>
                    </a:lnTo>
                    <a:lnTo>
                      <a:pt x="4" y="29"/>
                    </a:lnTo>
                    <a:lnTo>
                      <a:pt x="0" y="27"/>
                    </a:lnTo>
                    <a:lnTo>
                      <a:pt x="0" y="26"/>
                    </a:lnTo>
                    <a:lnTo>
                      <a:pt x="5" y="13"/>
                    </a:lnTo>
                    <a:lnTo>
                      <a:pt x="17" y="12"/>
                    </a:lnTo>
                    <a:lnTo>
                      <a:pt x="19" y="8"/>
                    </a:lnTo>
                    <a:lnTo>
                      <a:pt x="21" y="7"/>
                    </a:lnTo>
                    <a:lnTo>
                      <a:pt x="26" y="1"/>
                    </a:lnTo>
                    <a:lnTo>
                      <a:pt x="36" y="1"/>
                    </a:lnTo>
                    <a:lnTo>
                      <a:pt x="45" y="0"/>
                    </a:lnTo>
                    <a:lnTo>
                      <a:pt x="52" y="3"/>
                    </a:lnTo>
                    <a:lnTo>
                      <a:pt x="45" y="7"/>
                    </a:lnTo>
                    <a:lnTo>
                      <a:pt x="38" y="10"/>
                    </a:lnTo>
                    <a:lnTo>
                      <a:pt x="29" y="12"/>
                    </a:lnTo>
                    <a:lnTo>
                      <a:pt x="22"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4" name="Freeform 205"/>
              <p:cNvSpPr>
                <a:spLocks/>
              </p:cNvSpPr>
              <p:nvPr/>
            </p:nvSpPr>
            <p:spPr bwMode="auto">
              <a:xfrm>
                <a:off x="7384257" y="4143375"/>
                <a:ext cx="14288" cy="33337"/>
              </a:xfrm>
              <a:custGeom>
                <a:avLst/>
                <a:gdLst/>
                <a:ahLst/>
                <a:cxnLst>
                  <a:cxn ang="0">
                    <a:pos x="7" y="0"/>
                  </a:cxn>
                  <a:cxn ang="0">
                    <a:pos x="7" y="2"/>
                  </a:cxn>
                  <a:cxn ang="0">
                    <a:pos x="9" y="6"/>
                  </a:cxn>
                  <a:cxn ang="0">
                    <a:pos x="7" y="9"/>
                  </a:cxn>
                  <a:cxn ang="0">
                    <a:pos x="5" y="11"/>
                  </a:cxn>
                  <a:cxn ang="0">
                    <a:pos x="5" y="18"/>
                  </a:cxn>
                  <a:cxn ang="0">
                    <a:pos x="2" y="21"/>
                  </a:cxn>
                  <a:cxn ang="0">
                    <a:pos x="0" y="19"/>
                  </a:cxn>
                  <a:cxn ang="0">
                    <a:pos x="0" y="18"/>
                  </a:cxn>
                  <a:cxn ang="0">
                    <a:pos x="2" y="11"/>
                  </a:cxn>
                  <a:cxn ang="0">
                    <a:pos x="4" y="9"/>
                  </a:cxn>
                  <a:cxn ang="0">
                    <a:pos x="4" y="2"/>
                  </a:cxn>
                  <a:cxn ang="0">
                    <a:pos x="7" y="0"/>
                  </a:cxn>
                </a:cxnLst>
                <a:rect l="0" t="0" r="r" b="b"/>
                <a:pathLst>
                  <a:path w="9" h="21">
                    <a:moveTo>
                      <a:pt x="7" y="0"/>
                    </a:moveTo>
                    <a:lnTo>
                      <a:pt x="7" y="2"/>
                    </a:lnTo>
                    <a:lnTo>
                      <a:pt x="9" y="6"/>
                    </a:lnTo>
                    <a:lnTo>
                      <a:pt x="7" y="9"/>
                    </a:lnTo>
                    <a:lnTo>
                      <a:pt x="5" y="11"/>
                    </a:lnTo>
                    <a:lnTo>
                      <a:pt x="5" y="18"/>
                    </a:lnTo>
                    <a:lnTo>
                      <a:pt x="2" y="21"/>
                    </a:lnTo>
                    <a:lnTo>
                      <a:pt x="0" y="19"/>
                    </a:lnTo>
                    <a:lnTo>
                      <a:pt x="0" y="18"/>
                    </a:lnTo>
                    <a:lnTo>
                      <a:pt x="2" y="11"/>
                    </a:lnTo>
                    <a:lnTo>
                      <a:pt x="4" y="9"/>
                    </a:lnTo>
                    <a:lnTo>
                      <a:pt x="4" y="2"/>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5" name="Freeform 206"/>
              <p:cNvSpPr>
                <a:spLocks/>
              </p:cNvSpPr>
              <p:nvPr/>
            </p:nvSpPr>
            <p:spPr bwMode="auto">
              <a:xfrm>
                <a:off x="7201694" y="4084638"/>
                <a:ext cx="22225" cy="20637"/>
              </a:xfrm>
              <a:custGeom>
                <a:avLst/>
                <a:gdLst/>
                <a:ahLst/>
                <a:cxnLst>
                  <a:cxn ang="0">
                    <a:pos x="14" y="7"/>
                  </a:cxn>
                  <a:cxn ang="0">
                    <a:pos x="10" y="10"/>
                  </a:cxn>
                  <a:cxn ang="0">
                    <a:pos x="9" y="13"/>
                  </a:cxn>
                  <a:cxn ang="0">
                    <a:pos x="2" y="10"/>
                  </a:cxn>
                  <a:cxn ang="0">
                    <a:pos x="0" y="3"/>
                  </a:cxn>
                  <a:cxn ang="0">
                    <a:pos x="2" y="0"/>
                  </a:cxn>
                  <a:cxn ang="0">
                    <a:pos x="7" y="0"/>
                  </a:cxn>
                  <a:cxn ang="0">
                    <a:pos x="10" y="1"/>
                  </a:cxn>
                  <a:cxn ang="0">
                    <a:pos x="14" y="7"/>
                  </a:cxn>
                </a:cxnLst>
                <a:rect l="0" t="0" r="r" b="b"/>
                <a:pathLst>
                  <a:path w="14" h="13">
                    <a:moveTo>
                      <a:pt x="14" y="7"/>
                    </a:moveTo>
                    <a:lnTo>
                      <a:pt x="10" y="10"/>
                    </a:lnTo>
                    <a:lnTo>
                      <a:pt x="9" y="13"/>
                    </a:lnTo>
                    <a:lnTo>
                      <a:pt x="2" y="10"/>
                    </a:lnTo>
                    <a:lnTo>
                      <a:pt x="0" y="3"/>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6" name="Freeform 207"/>
              <p:cNvSpPr>
                <a:spLocks/>
              </p:cNvSpPr>
              <p:nvPr/>
            </p:nvSpPr>
            <p:spPr bwMode="auto">
              <a:xfrm>
                <a:off x="7242969" y="4084638"/>
                <a:ext cx="65088" cy="19050"/>
              </a:xfrm>
              <a:custGeom>
                <a:avLst/>
                <a:gdLst/>
                <a:ahLst/>
                <a:cxnLst>
                  <a:cxn ang="0">
                    <a:pos x="36" y="1"/>
                  </a:cxn>
                  <a:cxn ang="0">
                    <a:pos x="38" y="5"/>
                  </a:cxn>
                  <a:cxn ang="0">
                    <a:pos x="41" y="10"/>
                  </a:cxn>
                  <a:cxn ang="0">
                    <a:pos x="39" y="10"/>
                  </a:cxn>
                  <a:cxn ang="0">
                    <a:pos x="38" y="12"/>
                  </a:cxn>
                  <a:cxn ang="0">
                    <a:pos x="29" y="8"/>
                  </a:cxn>
                  <a:cxn ang="0">
                    <a:pos x="20" y="7"/>
                  </a:cxn>
                  <a:cxn ang="0">
                    <a:pos x="14" y="7"/>
                  </a:cxn>
                  <a:cxn ang="0">
                    <a:pos x="8" y="7"/>
                  </a:cxn>
                  <a:cxn ang="0">
                    <a:pos x="3" y="5"/>
                  </a:cxn>
                  <a:cxn ang="0">
                    <a:pos x="0" y="3"/>
                  </a:cxn>
                  <a:cxn ang="0">
                    <a:pos x="0" y="0"/>
                  </a:cxn>
                  <a:cxn ang="0">
                    <a:pos x="3" y="0"/>
                  </a:cxn>
                  <a:cxn ang="0">
                    <a:pos x="26" y="0"/>
                  </a:cxn>
                  <a:cxn ang="0">
                    <a:pos x="29" y="1"/>
                  </a:cxn>
                  <a:cxn ang="0">
                    <a:pos x="34" y="1"/>
                  </a:cxn>
                  <a:cxn ang="0">
                    <a:pos x="36" y="1"/>
                  </a:cxn>
                </a:cxnLst>
                <a:rect l="0" t="0" r="r" b="b"/>
                <a:pathLst>
                  <a:path w="41" h="12">
                    <a:moveTo>
                      <a:pt x="36" y="1"/>
                    </a:moveTo>
                    <a:lnTo>
                      <a:pt x="38" y="5"/>
                    </a:lnTo>
                    <a:lnTo>
                      <a:pt x="41" y="10"/>
                    </a:lnTo>
                    <a:lnTo>
                      <a:pt x="39" y="10"/>
                    </a:lnTo>
                    <a:lnTo>
                      <a:pt x="38" y="12"/>
                    </a:lnTo>
                    <a:lnTo>
                      <a:pt x="29" y="8"/>
                    </a:lnTo>
                    <a:lnTo>
                      <a:pt x="20" y="7"/>
                    </a:lnTo>
                    <a:lnTo>
                      <a:pt x="14" y="7"/>
                    </a:lnTo>
                    <a:lnTo>
                      <a:pt x="8" y="7"/>
                    </a:lnTo>
                    <a:lnTo>
                      <a:pt x="3" y="5"/>
                    </a:lnTo>
                    <a:lnTo>
                      <a:pt x="0" y="3"/>
                    </a:lnTo>
                    <a:lnTo>
                      <a:pt x="0" y="0"/>
                    </a:lnTo>
                    <a:lnTo>
                      <a:pt x="3" y="0"/>
                    </a:lnTo>
                    <a:lnTo>
                      <a:pt x="26" y="0"/>
                    </a:lnTo>
                    <a:lnTo>
                      <a:pt x="29" y="1"/>
                    </a:lnTo>
                    <a:lnTo>
                      <a:pt x="34" y="1"/>
                    </a:lnTo>
                    <a:lnTo>
                      <a:pt x="36"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7" name="Freeform 208"/>
              <p:cNvSpPr>
                <a:spLocks/>
              </p:cNvSpPr>
              <p:nvPr/>
            </p:nvSpPr>
            <p:spPr bwMode="auto">
              <a:xfrm>
                <a:off x="7231857" y="3963988"/>
                <a:ext cx="26988" cy="63500"/>
              </a:xfrm>
              <a:custGeom>
                <a:avLst/>
                <a:gdLst/>
                <a:ahLst/>
                <a:cxnLst>
                  <a:cxn ang="0">
                    <a:pos x="5" y="31"/>
                  </a:cxn>
                  <a:cxn ang="0">
                    <a:pos x="5" y="27"/>
                  </a:cxn>
                  <a:cxn ang="0">
                    <a:pos x="10" y="27"/>
                  </a:cxn>
                  <a:cxn ang="0">
                    <a:pos x="17" y="27"/>
                  </a:cxn>
                  <a:cxn ang="0">
                    <a:pos x="14" y="22"/>
                  </a:cxn>
                  <a:cxn ang="0">
                    <a:pos x="12" y="19"/>
                  </a:cxn>
                  <a:cxn ang="0">
                    <a:pos x="14" y="15"/>
                  </a:cxn>
                  <a:cxn ang="0">
                    <a:pos x="17" y="12"/>
                  </a:cxn>
                  <a:cxn ang="0">
                    <a:pos x="7" y="7"/>
                  </a:cxn>
                  <a:cxn ang="0">
                    <a:pos x="5" y="0"/>
                  </a:cxn>
                  <a:cxn ang="0">
                    <a:pos x="0" y="3"/>
                  </a:cxn>
                  <a:cxn ang="0">
                    <a:pos x="0" y="10"/>
                  </a:cxn>
                  <a:cxn ang="0">
                    <a:pos x="2" y="15"/>
                  </a:cxn>
                  <a:cxn ang="0">
                    <a:pos x="3" y="24"/>
                  </a:cxn>
                  <a:cxn ang="0">
                    <a:pos x="3" y="27"/>
                  </a:cxn>
                  <a:cxn ang="0">
                    <a:pos x="3" y="31"/>
                  </a:cxn>
                  <a:cxn ang="0">
                    <a:pos x="3" y="34"/>
                  </a:cxn>
                  <a:cxn ang="0">
                    <a:pos x="10" y="40"/>
                  </a:cxn>
                  <a:cxn ang="0">
                    <a:pos x="7" y="34"/>
                  </a:cxn>
                  <a:cxn ang="0">
                    <a:pos x="5" y="31"/>
                  </a:cxn>
                </a:cxnLst>
                <a:rect l="0" t="0" r="r" b="b"/>
                <a:pathLst>
                  <a:path w="17" h="40">
                    <a:moveTo>
                      <a:pt x="5" y="31"/>
                    </a:moveTo>
                    <a:lnTo>
                      <a:pt x="5" y="27"/>
                    </a:lnTo>
                    <a:lnTo>
                      <a:pt x="10" y="27"/>
                    </a:lnTo>
                    <a:lnTo>
                      <a:pt x="17" y="27"/>
                    </a:lnTo>
                    <a:lnTo>
                      <a:pt x="14" y="22"/>
                    </a:lnTo>
                    <a:lnTo>
                      <a:pt x="12" y="19"/>
                    </a:lnTo>
                    <a:lnTo>
                      <a:pt x="14" y="15"/>
                    </a:lnTo>
                    <a:lnTo>
                      <a:pt x="17" y="12"/>
                    </a:lnTo>
                    <a:lnTo>
                      <a:pt x="7" y="7"/>
                    </a:lnTo>
                    <a:lnTo>
                      <a:pt x="5" y="0"/>
                    </a:lnTo>
                    <a:lnTo>
                      <a:pt x="0" y="3"/>
                    </a:lnTo>
                    <a:lnTo>
                      <a:pt x="0" y="10"/>
                    </a:lnTo>
                    <a:lnTo>
                      <a:pt x="2" y="15"/>
                    </a:lnTo>
                    <a:lnTo>
                      <a:pt x="3" y="24"/>
                    </a:lnTo>
                    <a:lnTo>
                      <a:pt x="3" y="27"/>
                    </a:lnTo>
                    <a:lnTo>
                      <a:pt x="3" y="31"/>
                    </a:lnTo>
                    <a:lnTo>
                      <a:pt x="3" y="34"/>
                    </a:lnTo>
                    <a:lnTo>
                      <a:pt x="10" y="40"/>
                    </a:lnTo>
                    <a:lnTo>
                      <a:pt x="7" y="34"/>
                    </a:lnTo>
                    <a:lnTo>
                      <a:pt x="5"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8" name="Freeform 209"/>
              <p:cNvSpPr>
                <a:spLocks/>
              </p:cNvSpPr>
              <p:nvPr/>
            </p:nvSpPr>
            <p:spPr bwMode="auto">
              <a:xfrm>
                <a:off x="7717632" y="4111625"/>
                <a:ext cx="90488" cy="50800"/>
              </a:xfrm>
              <a:custGeom>
                <a:avLst/>
                <a:gdLst/>
                <a:ahLst/>
                <a:cxnLst>
                  <a:cxn ang="0">
                    <a:pos x="16" y="31"/>
                  </a:cxn>
                  <a:cxn ang="0">
                    <a:pos x="5" y="26"/>
                  </a:cxn>
                  <a:cxn ang="0">
                    <a:pos x="0" y="20"/>
                  </a:cxn>
                  <a:cxn ang="0">
                    <a:pos x="16" y="20"/>
                  </a:cxn>
                  <a:cxn ang="0">
                    <a:pos x="17" y="19"/>
                  </a:cxn>
                  <a:cxn ang="0">
                    <a:pos x="21" y="19"/>
                  </a:cxn>
                  <a:cxn ang="0">
                    <a:pos x="31" y="15"/>
                  </a:cxn>
                  <a:cxn ang="0">
                    <a:pos x="41" y="14"/>
                  </a:cxn>
                  <a:cxn ang="0">
                    <a:pos x="46" y="5"/>
                  </a:cxn>
                  <a:cxn ang="0">
                    <a:pos x="52" y="0"/>
                  </a:cxn>
                  <a:cxn ang="0">
                    <a:pos x="55" y="2"/>
                  </a:cxn>
                  <a:cxn ang="0">
                    <a:pos x="57" y="7"/>
                  </a:cxn>
                  <a:cxn ang="0">
                    <a:pos x="52" y="15"/>
                  </a:cxn>
                  <a:cxn ang="0">
                    <a:pos x="46" y="26"/>
                  </a:cxn>
                  <a:cxn ang="0">
                    <a:pos x="34" y="29"/>
                  </a:cxn>
                  <a:cxn ang="0">
                    <a:pos x="22" y="32"/>
                  </a:cxn>
                  <a:cxn ang="0">
                    <a:pos x="16" y="29"/>
                  </a:cxn>
                  <a:cxn ang="0">
                    <a:pos x="12" y="27"/>
                  </a:cxn>
                  <a:cxn ang="0">
                    <a:pos x="16" y="31"/>
                  </a:cxn>
                </a:cxnLst>
                <a:rect l="0" t="0" r="r" b="b"/>
                <a:pathLst>
                  <a:path w="57" h="32">
                    <a:moveTo>
                      <a:pt x="16" y="31"/>
                    </a:moveTo>
                    <a:lnTo>
                      <a:pt x="5" y="26"/>
                    </a:lnTo>
                    <a:lnTo>
                      <a:pt x="0" y="20"/>
                    </a:lnTo>
                    <a:lnTo>
                      <a:pt x="16" y="20"/>
                    </a:lnTo>
                    <a:lnTo>
                      <a:pt x="17" y="19"/>
                    </a:lnTo>
                    <a:lnTo>
                      <a:pt x="21" y="19"/>
                    </a:lnTo>
                    <a:lnTo>
                      <a:pt x="31" y="15"/>
                    </a:lnTo>
                    <a:lnTo>
                      <a:pt x="41" y="14"/>
                    </a:lnTo>
                    <a:lnTo>
                      <a:pt x="46" y="5"/>
                    </a:lnTo>
                    <a:lnTo>
                      <a:pt x="52" y="0"/>
                    </a:lnTo>
                    <a:lnTo>
                      <a:pt x="55" y="2"/>
                    </a:lnTo>
                    <a:lnTo>
                      <a:pt x="57" y="7"/>
                    </a:lnTo>
                    <a:lnTo>
                      <a:pt x="52" y="15"/>
                    </a:lnTo>
                    <a:lnTo>
                      <a:pt x="46" y="26"/>
                    </a:lnTo>
                    <a:lnTo>
                      <a:pt x="34" y="29"/>
                    </a:lnTo>
                    <a:lnTo>
                      <a:pt x="22" y="32"/>
                    </a:lnTo>
                    <a:lnTo>
                      <a:pt x="16" y="29"/>
                    </a:lnTo>
                    <a:lnTo>
                      <a:pt x="12" y="27"/>
                    </a:lnTo>
                    <a:lnTo>
                      <a:pt x="1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9" name="Freeform 210"/>
              <p:cNvSpPr>
                <a:spLocks/>
              </p:cNvSpPr>
              <p:nvPr/>
            </p:nvSpPr>
            <p:spPr bwMode="auto">
              <a:xfrm>
                <a:off x="7308057" y="4021138"/>
                <a:ext cx="466725" cy="242887"/>
              </a:xfrm>
              <a:custGeom>
                <a:avLst/>
                <a:gdLst/>
                <a:ahLst/>
                <a:cxnLst>
                  <a:cxn ang="0">
                    <a:pos x="162" y="40"/>
                  </a:cxn>
                  <a:cxn ang="0">
                    <a:pos x="191" y="48"/>
                  </a:cxn>
                  <a:cxn ang="0">
                    <a:pos x="205" y="57"/>
                  </a:cxn>
                  <a:cxn ang="0">
                    <a:pos x="225" y="74"/>
                  </a:cxn>
                  <a:cxn ang="0">
                    <a:pos x="249" y="89"/>
                  </a:cxn>
                  <a:cxn ang="0">
                    <a:pos x="243" y="103"/>
                  </a:cxn>
                  <a:cxn ang="0">
                    <a:pos x="256" y="124"/>
                  </a:cxn>
                  <a:cxn ang="0">
                    <a:pos x="270" y="131"/>
                  </a:cxn>
                  <a:cxn ang="0">
                    <a:pos x="279" y="136"/>
                  </a:cxn>
                  <a:cxn ang="0">
                    <a:pos x="287" y="143"/>
                  </a:cxn>
                  <a:cxn ang="0">
                    <a:pos x="287" y="153"/>
                  </a:cxn>
                  <a:cxn ang="0">
                    <a:pos x="279" y="150"/>
                  </a:cxn>
                  <a:cxn ang="0">
                    <a:pos x="248" y="141"/>
                  </a:cxn>
                  <a:cxn ang="0">
                    <a:pos x="237" y="129"/>
                  </a:cxn>
                  <a:cxn ang="0">
                    <a:pos x="210" y="107"/>
                  </a:cxn>
                  <a:cxn ang="0">
                    <a:pos x="189" y="108"/>
                  </a:cxn>
                  <a:cxn ang="0">
                    <a:pos x="181" y="124"/>
                  </a:cxn>
                  <a:cxn ang="0">
                    <a:pos x="160" y="131"/>
                  </a:cxn>
                  <a:cxn ang="0">
                    <a:pos x="138" y="115"/>
                  </a:cxn>
                  <a:cxn ang="0">
                    <a:pos x="122" y="117"/>
                  </a:cxn>
                  <a:cxn ang="0">
                    <a:pos x="103" y="114"/>
                  </a:cxn>
                  <a:cxn ang="0">
                    <a:pos x="110" y="91"/>
                  </a:cxn>
                  <a:cxn ang="0">
                    <a:pos x="100" y="72"/>
                  </a:cxn>
                  <a:cxn ang="0">
                    <a:pos x="81" y="64"/>
                  </a:cxn>
                  <a:cxn ang="0">
                    <a:pos x="62" y="62"/>
                  </a:cxn>
                  <a:cxn ang="0">
                    <a:pos x="46" y="50"/>
                  </a:cxn>
                  <a:cxn ang="0">
                    <a:pos x="38" y="53"/>
                  </a:cxn>
                  <a:cxn ang="0">
                    <a:pos x="29" y="55"/>
                  </a:cxn>
                  <a:cxn ang="0">
                    <a:pos x="21" y="40"/>
                  </a:cxn>
                  <a:cxn ang="0">
                    <a:pos x="31" y="33"/>
                  </a:cxn>
                  <a:cxn ang="0">
                    <a:pos x="40" y="29"/>
                  </a:cxn>
                  <a:cxn ang="0">
                    <a:pos x="21" y="29"/>
                  </a:cxn>
                  <a:cxn ang="0">
                    <a:pos x="16" y="24"/>
                  </a:cxn>
                  <a:cxn ang="0">
                    <a:pos x="2" y="9"/>
                  </a:cxn>
                  <a:cxn ang="0">
                    <a:pos x="26" y="0"/>
                  </a:cxn>
                  <a:cxn ang="0">
                    <a:pos x="50" y="19"/>
                  </a:cxn>
                  <a:cxn ang="0">
                    <a:pos x="57" y="33"/>
                  </a:cxn>
                  <a:cxn ang="0">
                    <a:pos x="72" y="38"/>
                  </a:cxn>
                  <a:cxn ang="0">
                    <a:pos x="89" y="28"/>
                  </a:cxn>
                  <a:cxn ang="0">
                    <a:pos x="108" y="17"/>
                  </a:cxn>
                  <a:cxn ang="0">
                    <a:pos x="126" y="29"/>
                  </a:cxn>
                  <a:cxn ang="0">
                    <a:pos x="148" y="33"/>
                  </a:cxn>
                </a:cxnLst>
                <a:rect l="0" t="0" r="r" b="b"/>
                <a:pathLst>
                  <a:path w="294" h="153">
                    <a:moveTo>
                      <a:pt x="146" y="31"/>
                    </a:moveTo>
                    <a:lnTo>
                      <a:pt x="151" y="34"/>
                    </a:lnTo>
                    <a:lnTo>
                      <a:pt x="162" y="40"/>
                    </a:lnTo>
                    <a:lnTo>
                      <a:pt x="172" y="43"/>
                    </a:lnTo>
                    <a:lnTo>
                      <a:pt x="184" y="45"/>
                    </a:lnTo>
                    <a:lnTo>
                      <a:pt x="191" y="48"/>
                    </a:lnTo>
                    <a:lnTo>
                      <a:pt x="198" y="52"/>
                    </a:lnTo>
                    <a:lnTo>
                      <a:pt x="200" y="55"/>
                    </a:lnTo>
                    <a:lnTo>
                      <a:pt x="205" y="57"/>
                    </a:lnTo>
                    <a:lnTo>
                      <a:pt x="213" y="60"/>
                    </a:lnTo>
                    <a:lnTo>
                      <a:pt x="220" y="69"/>
                    </a:lnTo>
                    <a:lnTo>
                      <a:pt x="225" y="74"/>
                    </a:lnTo>
                    <a:lnTo>
                      <a:pt x="234" y="81"/>
                    </a:lnTo>
                    <a:lnTo>
                      <a:pt x="243" y="81"/>
                    </a:lnTo>
                    <a:lnTo>
                      <a:pt x="249" y="89"/>
                    </a:lnTo>
                    <a:lnTo>
                      <a:pt x="244" y="93"/>
                    </a:lnTo>
                    <a:lnTo>
                      <a:pt x="239" y="98"/>
                    </a:lnTo>
                    <a:lnTo>
                      <a:pt x="243" y="103"/>
                    </a:lnTo>
                    <a:lnTo>
                      <a:pt x="249" y="110"/>
                    </a:lnTo>
                    <a:lnTo>
                      <a:pt x="253" y="117"/>
                    </a:lnTo>
                    <a:lnTo>
                      <a:pt x="256" y="124"/>
                    </a:lnTo>
                    <a:lnTo>
                      <a:pt x="261" y="127"/>
                    </a:lnTo>
                    <a:lnTo>
                      <a:pt x="268" y="129"/>
                    </a:lnTo>
                    <a:lnTo>
                      <a:pt x="270" y="131"/>
                    </a:lnTo>
                    <a:lnTo>
                      <a:pt x="272" y="136"/>
                    </a:lnTo>
                    <a:lnTo>
                      <a:pt x="275" y="136"/>
                    </a:lnTo>
                    <a:lnTo>
                      <a:pt x="279" y="136"/>
                    </a:lnTo>
                    <a:lnTo>
                      <a:pt x="280" y="138"/>
                    </a:lnTo>
                    <a:lnTo>
                      <a:pt x="284" y="143"/>
                    </a:lnTo>
                    <a:lnTo>
                      <a:pt x="287" y="143"/>
                    </a:lnTo>
                    <a:lnTo>
                      <a:pt x="294" y="145"/>
                    </a:lnTo>
                    <a:lnTo>
                      <a:pt x="289" y="146"/>
                    </a:lnTo>
                    <a:lnTo>
                      <a:pt x="287" y="153"/>
                    </a:lnTo>
                    <a:lnTo>
                      <a:pt x="286" y="153"/>
                    </a:lnTo>
                    <a:lnTo>
                      <a:pt x="284" y="153"/>
                    </a:lnTo>
                    <a:lnTo>
                      <a:pt x="279" y="150"/>
                    </a:lnTo>
                    <a:lnTo>
                      <a:pt x="274" y="146"/>
                    </a:lnTo>
                    <a:lnTo>
                      <a:pt x="261" y="146"/>
                    </a:lnTo>
                    <a:lnTo>
                      <a:pt x="248" y="141"/>
                    </a:lnTo>
                    <a:lnTo>
                      <a:pt x="241" y="134"/>
                    </a:lnTo>
                    <a:lnTo>
                      <a:pt x="239" y="131"/>
                    </a:lnTo>
                    <a:lnTo>
                      <a:pt x="237" y="129"/>
                    </a:lnTo>
                    <a:lnTo>
                      <a:pt x="229" y="120"/>
                    </a:lnTo>
                    <a:lnTo>
                      <a:pt x="220" y="112"/>
                    </a:lnTo>
                    <a:lnTo>
                      <a:pt x="210" y="107"/>
                    </a:lnTo>
                    <a:lnTo>
                      <a:pt x="201" y="105"/>
                    </a:lnTo>
                    <a:lnTo>
                      <a:pt x="193" y="105"/>
                    </a:lnTo>
                    <a:lnTo>
                      <a:pt x="189" y="108"/>
                    </a:lnTo>
                    <a:lnTo>
                      <a:pt x="186" y="114"/>
                    </a:lnTo>
                    <a:lnTo>
                      <a:pt x="182" y="119"/>
                    </a:lnTo>
                    <a:lnTo>
                      <a:pt x="181" y="124"/>
                    </a:lnTo>
                    <a:lnTo>
                      <a:pt x="179" y="131"/>
                    </a:lnTo>
                    <a:lnTo>
                      <a:pt x="167" y="131"/>
                    </a:lnTo>
                    <a:lnTo>
                      <a:pt x="160" y="131"/>
                    </a:lnTo>
                    <a:lnTo>
                      <a:pt x="150" y="127"/>
                    </a:lnTo>
                    <a:lnTo>
                      <a:pt x="145" y="122"/>
                    </a:lnTo>
                    <a:lnTo>
                      <a:pt x="138" y="115"/>
                    </a:lnTo>
                    <a:lnTo>
                      <a:pt x="131" y="114"/>
                    </a:lnTo>
                    <a:lnTo>
                      <a:pt x="124" y="114"/>
                    </a:lnTo>
                    <a:lnTo>
                      <a:pt x="122" y="117"/>
                    </a:lnTo>
                    <a:lnTo>
                      <a:pt x="112" y="117"/>
                    </a:lnTo>
                    <a:lnTo>
                      <a:pt x="105" y="115"/>
                    </a:lnTo>
                    <a:lnTo>
                      <a:pt x="103" y="114"/>
                    </a:lnTo>
                    <a:lnTo>
                      <a:pt x="108" y="105"/>
                    </a:lnTo>
                    <a:lnTo>
                      <a:pt x="117" y="103"/>
                    </a:lnTo>
                    <a:lnTo>
                      <a:pt x="110" y="91"/>
                    </a:lnTo>
                    <a:lnTo>
                      <a:pt x="110" y="81"/>
                    </a:lnTo>
                    <a:lnTo>
                      <a:pt x="105" y="76"/>
                    </a:lnTo>
                    <a:lnTo>
                      <a:pt x="100" y="72"/>
                    </a:lnTo>
                    <a:lnTo>
                      <a:pt x="91" y="69"/>
                    </a:lnTo>
                    <a:lnTo>
                      <a:pt x="88" y="67"/>
                    </a:lnTo>
                    <a:lnTo>
                      <a:pt x="81" y="64"/>
                    </a:lnTo>
                    <a:lnTo>
                      <a:pt x="74" y="64"/>
                    </a:lnTo>
                    <a:lnTo>
                      <a:pt x="67" y="62"/>
                    </a:lnTo>
                    <a:lnTo>
                      <a:pt x="62" y="62"/>
                    </a:lnTo>
                    <a:lnTo>
                      <a:pt x="55" y="59"/>
                    </a:lnTo>
                    <a:lnTo>
                      <a:pt x="52" y="55"/>
                    </a:lnTo>
                    <a:lnTo>
                      <a:pt x="46" y="50"/>
                    </a:lnTo>
                    <a:lnTo>
                      <a:pt x="43" y="52"/>
                    </a:lnTo>
                    <a:lnTo>
                      <a:pt x="43" y="47"/>
                    </a:lnTo>
                    <a:lnTo>
                      <a:pt x="38" y="53"/>
                    </a:lnTo>
                    <a:lnTo>
                      <a:pt x="34" y="57"/>
                    </a:lnTo>
                    <a:lnTo>
                      <a:pt x="31" y="55"/>
                    </a:lnTo>
                    <a:lnTo>
                      <a:pt x="29" y="55"/>
                    </a:lnTo>
                    <a:lnTo>
                      <a:pt x="28" y="48"/>
                    </a:lnTo>
                    <a:lnTo>
                      <a:pt x="28" y="43"/>
                    </a:lnTo>
                    <a:lnTo>
                      <a:pt x="21" y="40"/>
                    </a:lnTo>
                    <a:lnTo>
                      <a:pt x="17" y="38"/>
                    </a:lnTo>
                    <a:lnTo>
                      <a:pt x="22" y="34"/>
                    </a:lnTo>
                    <a:lnTo>
                      <a:pt x="31" y="33"/>
                    </a:lnTo>
                    <a:lnTo>
                      <a:pt x="38" y="31"/>
                    </a:lnTo>
                    <a:lnTo>
                      <a:pt x="43" y="29"/>
                    </a:lnTo>
                    <a:lnTo>
                      <a:pt x="40" y="29"/>
                    </a:lnTo>
                    <a:lnTo>
                      <a:pt x="33" y="29"/>
                    </a:lnTo>
                    <a:lnTo>
                      <a:pt x="26" y="31"/>
                    </a:lnTo>
                    <a:lnTo>
                      <a:pt x="21" y="29"/>
                    </a:lnTo>
                    <a:lnTo>
                      <a:pt x="19" y="29"/>
                    </a:lnTo>
                    <a:lnTo>
                      <a:pt x="16" y="26"/>
                    </a:lnTo>
                    <a:lnTo>
                      <a:pt x="16" y="24"/>
                    </a:lnTo>
                    <a:lnTo>
                      <a:pt x="5" y="19"/>
                    </a:lnTo>
                    <a:lnTo>
                      <a:pt x="0" y="14"/>
                    </a:lnTo>
                    <a:lnTo>
                      <a:pt x="2" y="9"/>
                    </a:lnTo>
                    <a:lnTo>
                      <a:pt x="7" y="9"/>
                    </a:lnTo>
                    <a:lnTo>
                      <a:pt x="14" y="4"/>
                    </a:lnTo>
                    <a:lnTo>
                      <a:pt x="26" y="0"/>
                    </a:lnTo>
                    <a:lnTo>
                      <a:pt x="38" y="4"/>
                    </a:lnTo>
                    <a:lnTo>
                      <a:pt x="50" y="10"/>
                    </a:lnTo>
                    <a:lnTo>
                      <a:pt x="50" y="19"/>
                    </a:lnTo>
                    <a:lnTo>
                      <a:pt x="50" y="29"/>
                    </a:lnTo>
                    <a:lnTo>
                      <a:pt x="52" y="31"/>
                    </a:lnTo>
                    <a:lnTo>
                      <a:pt x="57" y="33"/>
                    </a:lnTo>
                    <a:lnTo>
                      <a:pt x="60" y="38"/>
                    </a:lnTo>
                    <a:lnTo>
                      <a:pt x="67" y="43"/>
                    </a:lnTo>
                    <a:lnTo>
                      <a:pt x="72" y="38"/>
                    </a:lnTo>
                    <a:lnTo>
                      <a:pt x="77" y="34"/>
                    </a:lnTo>
                    <a:lnTo>
                      <a:pt x="81" y="29"/>
                    </a:lnTo>
                    <a:lnTo>
                      <a:pt x="89" y="28"/>
                    </a:lnTo>
                    <a:lnTo>
                      <a:pt x="96" y="21"/>
                    </a:lnTo>
                    <a:lnTo>
                      <a:pt x="105" y="16"/>
                    </a:lnTo>
                    <a:lnTo>
                      <a:pt x="108" y="17"/>
                    </a:lnTo>
                    <a:lnTo>
                      <a:pt x="112" y="19"/>
                    </a:lnTo>
                    <a:lnTo>
                      <a:pt x="119" y="24"/>
                    </a:lnTo>
                    <a:lnTo>
                      <a:pt x="126" y="29"/>
                    </a:lnTo>
                    <a:lnTo>
                      <a:pt x="139" y="29"/>
                    </a:lnTo>
                    <a:lnTo>
                      <a:pt x="143" y="31"/>
                    </a:lnTo>
                    <a:lnTo>
                      <a:pt x="148" y="33"/>
                    </a:lnTo>
                    <a:lnTo>
                      <a:pt x="148" y="34"/>
                    </a:lnTo>
                    <a:lnTo>
                      <a:pt x="14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0" name="Freeform 211"/>
              <p:cNvSpPr>
                <a:spLocks/>
              </p:cNvSpPr>
              <p:nvPr/>
            </p:nvSpPr>
            <p:spPr bwMode="auto">
              <a:xfrm>
                <a:off x="7781132" y="4075113"/>
                <a:ext cx="46038" cy="44450"/>
              </a:xfrm>
              <a:custGeom>
                <a:avLst/>
                <a:gdLst/>
                <a:ahLst/>
                <a:cxnLst>
                  <a:cxn ang="0">
                    <a:pos x="27" y="28"/>
                  </a:cxn>
                  <a:cxn ang="0">
                    <a:pos x="20" y="23"/>
                  </a:cxn>
                  <a:cxn ang="0">
                    <a:pos x="22" y="18"/>
                  </a:cxn>
                  <a:cxn ang="0">
                    <a:pos x="15" y="11"/>
                  </a:cxn>
                  <a:cxn ang="0">
                    <a:pos x="10" y="6"/>
                  </a:cxn>
                  <a:cxn ang="0">
                    <a:pos x="3" y="2"/>
                  </a:cxn>
                  <a:cxn ang="0">
                    <a:pos x="0" y="0"/>
                  </a:cxn>
                  <a:cxn ang="0">
                    <a:pos x="12" y="6"/>
                  </a:cxn>
                  <a:cxn ang="0">
                    <a:pos x="20" y="14"/>
                  </a:cxn>
                  <a:cxn ang="0">
                    <a:pos x="25" y="18"/>
                  </a:cxn>
                  <a:cxn ang="0">
                    <a:pos x="29" y="25"/>
                  </a:cxn>
                  <a:cxn ang="0">
                    <a:pos x="29" y="26"/>
                  </a:cxn>
                  <a:cxn ang="0">
                    <a:pos x="29" y="28"/>
                  </a:cxn>
                  <a:cxn ang="0">
                    <a:pos x="27" y="28"/>
                  </a:cxn>
                </a:cxnLst>
                <a:rect l="0" t="0" r="r" b="b"/>
                <a:pathLst>
                  <a:path w="29" h="28">
                    <a:moveTo>
                      <a:pt x="27" y="28"/>
                    </a:moveTo>
                    <a:lnTo>
                      <a:pt x="20" y="23"/>
                    </a:lnTo>
                    <a:lnTo>
                      <a:pt x="22" y="18"/>
                    </a:lnTo>
                    <a:lnTo>
                      <a:pt x="15" y="11"/>
                    </a:lnTo>
                    <a:lnTo>
                      <a:pt x="10" y="6"/>
                    </a:lnTo>
                    <a:lnTo>
                      <a:pt x="3" y="2"/>
                    </a:lnTo>
                    <a:lnTo>
                      <a:pt x="0" y="0"/>
                    </a:lnTo>
                    <a:lnTo>
                      <a:pt x="12" y="6"/>
                    </a:lnTo>
                    <a:lnTo>
                      <a:pt x="20" y="14"/>
                    </a:lnTo>
                    <a:lnTo>
                      <a:pt x="25" y="18"/>
                    </a:lnTo>
                    <a:lnTo>
                      <a:pt x="29" y="25"/>
                    </a:lnTo>
                    <a:lnTo>
                      <a:pt x="29" y="26"/>
                    </a:lnTo>
                    <a:lnTo>
                      <a:pt x="29" y="28"/>
                    </a:lnTo>
                    <a:lnTo>
                      <a:pt x="27"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1" name="Freeform 212"/>
              <p:cNvSpPr>
                <a:spLocks/>
              </p:cNvSpPr>
              <p:nvPr/>
            </p:nvSpPr>
            <p:spPr bwMode="auto">
              <a:xfrm>
                <a:off x="7865269" y="4141788"/>
                <a:ext cx="22225" cy="30162"/>
              </a:xfrm>
              <a:custGeom>
                <a:avLst/>
                <a:gdLst/>
                <a:ahLst/>
                <a:cxnLst>
                  <a:cxn ang="0">
                    <a:pos x="7" y="10"/>
                  </a:cxn>
                  <a:cxn ang="0">
                    <a:pos x="0" y="7"/>
                  </a:cxn>
                  <a:cxn ang="0">
                    <a:pos x="0" y="0"/>
                  </a:cxn>
                  <a:cxn ang="0">
                    <a:pos x="7" y="7"/>
                  </a:cxn>
                  <a:cxn ang="0">
                    <a:pos x="14" y="13"/>
                  </a:cxn>
                  <a:cxn ang="0">
                    <a:pos x="12" y="15"/>
                  </a:cxn>
                  <a:cxn ang="0">
                    <a:pos x="10" y="19"/>
                  </a:cxn>
                  <a:cxn ang="0">
                    <a:pos x="7" y="17"/>
                  </a:cxn>
                  <a:cxn ang="0">
                    <a:pos x="7" y="15"/>
                  </a:cxn>
                  <a:cxn ang="0">
                    <a:pos x="7" y="12"/>
                  </a:cxn>
                  <a:cxn ang="0">
                    <a:pos x="7" y="10"/>
                  </a:cxn>
                </a:cxnLst>
                <a:rect l="0" t="0" r="r" b="b"/>
                <a:pathLst>
                  <a:path w="14" h="19">
                    <a:moveTo>
                      <a:pt x="7" y="10"/>
                    </a:moveTo>
                    <a:lnTo>
                      <a:pt x="0" y="7"/>
                    </a:lnTo>
                    <a:lnTo>
                      <a:pt x="0" y="0"/>
                    </a:lnTo>
                    <a:lnTo>
                      <a:pt x="7" y="7"/>
                    </a:lnTo>
                    <a:lnTo>
                      <a:pt x="14" y="13"/>
                    </a:lnTo>
                    <a:lnTo>
                      <a:pt x="12" y="15"/>
                    </a:lnTo>
                    <a:lnTo>
                      <a:pt x="10" y="19"/>
                    </a:lnTo>
                    <a:lnTo>
                      <a:pt x="7" y="17"/>
                    </a:lnTo>
                    <a:lnTo>
                      <a:pt x="7" y="15"/>
                    </a:lnTo>
                    <a:lnTo>
                      <a:pt x="7" y="12"/>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2" name="Freeform 213"/>
              <p:cNvSpPr>
                <a:spLocks/>
              </p:cNvSpPr>
              <p:nvPr/>
            </p:nvSpPr>
            <p:spPr bwMode="auto">
              <a:xfrm>
                <a:off x="8020844" y="4248150"/>
                <a:ext cx="14288" cy="15875"/>
              </a:xfrm>
              <a:custGeom>
                <a:avLst/>
                <a:gdLst/>
                <a:ahLst/>
                <a:cxnLst>
                  <a:cxn ang="0">
                    <a:pos x="9" y="8"/>
                  </a:cxn>
                  <a:cxn ang="0">
                    <a:pos x="7" y="8"/>
                  </a:cxn>
                  <a:cxn ang="0">
                    <a:pos x="9" y="10"/>
                  </a:cxn>
                  <a:cxn ang="0">
                    <a:pos x="2" y="5"/>
                  </a:cxn>
                  <a:cxn ang="0">
                    <a:pos x="0" y="0"/>
                  </a:cxn>
                  <a:cxn ang="0">
                    <a:pos x="5" y="3"/>
                  </a:cxn>
                  <a:cxn ang="0">
                    <a:pos x="9" y="8"/>
                  </a:cxn>
                </a:cxnLst>
                <a:rect l="0" t="0" r="r" b="b"/>
                <a:pathLst>
                  <a:path w="9" h="10">
                    <a:moveTo>
                      <a:pt x="9" y="8"/>
                    </a:moveTo>
                    <a:lnTo>
                      <a:pt x="7" y="8"/>
                    </a:lnTo>
                    <a:lnTo>
                      <a:pt x="9" y="10"/>
                    </a:lnTo>
                    <a:lnTo>
                      <a:pt x="2" y="5"/>
                    </a:lnTo>
                    <a:lnTo>
                      <a:pt x="0" y="0"/>
                    </a:lnTo>
                    <a:lnTo>
                      <a:pt x="5" y="3"/>
                    </a:lnTo>
                    <a:lnTo>
                      <a:pt x="9" y="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3" name="Freeform 214"/>
              <p:cNvSpPr>
                <a:spLocks/>
              </p:cNvSpPr>
              <p:nvPr/>
            </p:nvSpPr>
            <p:spPr bwMode="auto">
              <a:xfrm>
                <a:off x="7985919" y="4237038"/>
                <a:ext cx="26988" cy="11112"/>
              </a:xfrm>
              <a:custGeom>
                <a:avLst/>
                <a:gdLst/>
                <a:ahLst/>
                <a:cxnLst>
                  <a:cxn ang="0">
                    <a:pos x="17" y="7"/>
                  </a:cxn>
                  <a:cxn ang="0">
                    <a:pos x="13" y="7"/>
                  </a:cxn>
                  <a:cxn ang="0">
                    <a:pos x="3" y="5"/>
                  </a:cxn>
                  <a:cxn ang="0">
                    <a:pos x="0" y="0"/>
                  </a:cxn>
                  <a:cxn ang="0">
                    <a:pos x="10" y="0"/>
                  </a:cxn>
                  <a:cxn ang="0">
                    <a:pos x="17" y="7"/>
                  </a:cxn>
                </a:cxnLst>
                <a:rect l="0" t="0" r="r" b="b"/>
                <a:pathLst>
                  <a:path w="17" h="7">
                    <a:moveTo>
                      <a:pt x="17" y="7"/>
                    </a:moveTo>
                    <a:lnTo>
                      <a:pt x="13" y="7"/>
                    </a:lnTo>
                    <a:lnTo>
                      <a:pt x="3" y="5"/>
                    </a:lnTo>
                    <a:lnTo>
                      <a:pt x="0" y="0"/>
                    </a:lnTo>
                    <a:lnTo>
                      <a:pt x="10" y="0"/>
                    </a:lnTo>
                    <a:lnTo>
                      <a:pt x="1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4" name="Freeform 215"/>
              <p:cNvSpPr>
                <a:spLocks/>
              </p:cNvSpPr>
              <p:nvPr/>
            </p:nvSpPr>
            <p:spPr bwMode="auto">
              <a:xfrm>
                <a:off x="7987507" y="4203700"/>
                <a:ext cx="25400" cy="25400"/>
              </a:xfrm>
              <a:custGeom>
                <a:avLst/>
                <a:gdLst/>
                <a:ahLst/>
                <a:cxnLst>
                  <a:cxn ang="0">
                    <a:pos x="16" y="16"/>
                  </a:cxn>
                  <a:cxn ang="0">
                    <a:pos x="5" y="9"/>
                  </a:cxn>
                  <a:cxn ang="0">
                    <a:pos x="0" y="0"/>
                  </a:cxn>
                  <a:cxn ang="0">
                    <a:pos x="9" y="5"/>
                  </a:cxn>
                  <a:cxn ang="0">
                    <a:pos x="16" y="16"/>
                  </a:cxn>
                </a:cxnLst>
                <a:rect l="0" t="0" r="r" b="b"/>
                <a:pathLst>
                  <a:path w="16" h="16">
                    <a:moveTo>
                      <a:pt x="16" y="16"/>
                    </a:moveTo>
                    <a:lnTo>
                      <a:pt x="5" y="9"/>
                    </a:lnTo>
                    <a:lnTo>
                      <a:pt x="0" y="0"/>
                    </a:lnTo>
                    <a:lnTo>
                      <a:pt x="9" y="5"/>
                    </a:lnTo>
                    <a:lnTo>
                      <a:pt x="16"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5" name="Freeform 216"/>
              <p:cNvSpPr>
                <a:spLocks/>
              </p:cNvSpPr>
              <p:nvPr/>
            </p:nvSpPr>
            <p:spPr bwMode="auto">
              <a:xfrm>
                <a:off x="7938294" y="4184650"/>
                <a:ext cx="33338" cy="17462"/>
              </a:xfrm>
              <a:custGeom>
                <a:avLst/>
                <a:gdLst/>
                <a:ahLst/>
                <a:cxnLst>
                  <a:cxn ang="0">
                    <a:pos x="4" y="0"/>
                  </a:cxn>
                  <a:cxn ang="0">
                    <a:pos x="12" y="4"/>
                  </a:cxn>
                  <a:cxn ang="0">
                    <a:pos x="21" y="11"/>
                  </a:cxn>
                  <a:cxn ang="0">
                    <a:pos x="18" y="11"/>
                  </a:cxn>
                  <a:cxn ang="0">
                    <a:pos x="5" y="7"/>
                  </a:cxn>
                  <a:cxn ang="0">
                    <a:pos x="0" y="2"/>
                  </a:cxn>
                  <a:cxn ang="0">
                    <a:pos x="2" y="2"/>
                  </a:cxn>
                  <a:cxn ang="0">
                    <a:pos x="4" y="0"/>
                  </a:cxn>
                </a:cxnLst>
                <a:rect l="0" t="0" r="r" b="b"/>
                <a:pathLst>
                  <a:path w="21" h="11">
                    <a:moveTo>
                      <a:pt x="4" y="0"/>
                    </a:moveTo>
                    <a:lnTo>
                      <a:pt x="12" y="4"/>
                    </a:lnTo>
                    <a:lnTo>
                      <a:pt x="21" y="11"/>
                    </a:lnTo>
                    <a:lnTo>
                      <a:pt x="18" y="11"/>
                    </a:lnTo>
                    <a:lnTo>
                      <a:pt x="5" y="7"/>
                    </a:lnTo>
                    <a:lnTo>
                      <a:pt x="0" y="2"/>
                    </a:lnTo>
                    <a:lnTo>
                      <a:pt x="2"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6" name="Freeform 217"/>
              <p:cNvSpPr>
                <a:spLocks/>
              </p:cNvSpPr>
              <p:nvPr/>
            </p:nvSpPr>
            <p:spPr bwMode="auto">
              <a:xfrm>
                <a:off x="7903369" y="4165600"/>
                <a:ext cx="19050" cy="11112"/>
              </a:xfrm>
              <a:custGeom>
                <a:avLst/>
                <a:gdLst/>
                <a:ahLst/>
                <a:cxnLst>
                  <a:cxn ang="0">
                    <a:pos x="0" y="0"/>
                  </a:cxn>
                  <a:cxn ang="0">
                    <a:pos x="5" y="2"/>
                  </a:cxn>
                  <a:cxn ang="0">
                    <a:pos x="12" y="7"/>
                  </a:cxn>
                  <a:cxn ang="0">
                    <a:pos x="9" y="7"/>
                  </a:cxn>
                  <a:cxn ang="0">
                    <a:pos x="0" y="2"/>
                  </a:cxn>
                  <a:cxn ang="0">
                    <a:pos x="2" y="0"/>
                  </a:cxn>
                  <a:cxn ang="0">
                    <a:pos x="3" y="0"/>
                  </a:cxn>
                  <a:cxn ang="0">
                    <a:pos x="0" y="0"/>
                  </a:cxn>
                </a:cxnLst>
                <a:rect l="0" t="0" r="r" b="b"/>
                <a:pathLst>
                  <a:path w="12" h="7">
                    <a:moveTo>
                      <a:pt x="0" y="0"/>
                    </a:moveTo>
                    <a:lnTo>
                      <a:pt x="5" y="2"/>
                    </a:lnTo>
                    <a:lnTo>
                      <a:pt x="12" y="7"/>
                    </a:lnTo>
                    <a:lnTo>
                      <a:pt x="9" y="7"/>
                    </a:lnTo>
                    <a:lnTo>
                      <a:pt x="0" y="2"/>
                    </a:lnTo>
                    <a:lnTo>
                      <a:pt x="2" y="0"/>
                    </a:lnTo>
                    <a:lnTo>
                      <a:pt x="3"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7" name="Freeform 218"/>
              <p:cNvSpPr>
                <a:spLocks/>
              </p:cNvSpPr>
              <p:nvPr/>
            </p:nvSpPr>
            <p:spPr bwMode="auto">
              <a:xfrm>
                <a:off x="7627144" y="5006975"/>
                <a:ext cx="87313" cy="84137"/>
              </a:xfrm>
              <a:custGeom>
                <a:avLst/>
                <a:gdLst/>
                <a:ahLst/>
                <a:cxnLst>
                  <a:cxn ang="0">
                    <a:pos x="28" y="5"/>
                  </a:cxn>
                  <a:cxn ang="0">
                    <a:pos x="38" y="2"/>
                  </a:cxn>
                  <a:cxn ang="0">
                    <a:pos x="50" y="0"/>
                  </a:cxn>
                  <a:cxn ang="0">
                    <a:pos x="52" y="7"/>
                  </a:cxn>
                  <a:cxn ang="0">
                    <a:pos x="55" y="15"/>
                  </a:cxn>
                  <a:cxn ang="0">
                    <a:pos x="52" y="24"/>
                  </a:cxn>
                  <a:cxn ang="0">
                    <a:pos x="47" y="38"/>
                  </a:cxn>
                  <a:cxn ang="0">
                    <a:pos x="38" y="48"/>
                  </a:cxn>
                  <a:cxn ang="0">
                    <a:pos x="31" y="53"/>
                  </a:cxn>
                  <a:cxn ang="0">
                    <a:pos x="19" y="46"/>
                  </a:cxn>
                  <a:cxn ang="0">
                    <a:pos x="9" y="32"/>
                  </a:cxn>
                  <a:cxn ang="0">
                    <a:pos x="2" y="15"/>
                  </a:cxn>
                  <a:cxn ang="0">
                    <a:pos x="0" y="5"/>
                  </a:cxn>
                  <a:cxn ang="0">
                    <a:pos x="4" y="0"/>
                  </a:cxn>
                  <a:cxn ang="0">
                    <a:pos x="12" y="2"/>
                  </a:cxn>
                  <a:cxn ang="0">
                    <a:pos x="21" y="3"/>
                  </a:cxn>
                  <a:cxn ang="0">
                    <a:pos x="28" y="5"/>
                  </a:cxn>
                </a:cxnLst>
                <a:rect l="0" t="0" r="r" b="b"/>
                <a:pathLst>
                  <a:path w="55" h="53">
                    <a:moveTo>
                      <a:pt x="28" y="5"/>
                    </a:moveTo>
                    <a:lnTo>
                      <a:pt x="38" y="2"/>
                    </a:lnTo>
                    <a:lnTo>
                      <a:pt x="50" y="0"/>
                    </a:lnTo>
                    <a:lnTo>
                      <a:pt x="52" y="7"/>
                    </a:lnTo>
                    <a:lnTo>
                      <a:pt x="55" y="15"/>
                    </a:lnTo>
                    <a:lnTo>
                      <a:pt x="52" y="24"/>
                    </a:lnTo>
                    <a:lnTo>
                      <a:pt x="47" y="38"/>
                    </a:lnTo>
                    <a:lnTo>
                      <a:pt x="38" y="48"/>
                    </a:lnTo>
                    <a:lnTo>
                      <a:pt x="31" y="53"/>
                    </a:lnTo>
                    <a:lnTo>
                      <a:pt x="19" y="46"/>
                    </a:lnTo>
                    <a:lnTo>
                      <a:pt x="9" y="32"/>
                    </a:lnTo>
                    <a:lnTo>
                      <a:pt x="2" y="15"/>
                    </a:lnTo>
                    <a:lnTo>
                      <a:pt x="0" y="5"/>
                    </a:lnTo>
                    <a:lnTo>
                      <a:pt x="4" y="0"/>
                    </a:lnTo>
                    <a:lnTo>
                      <a:pt x="12" y="2"/>
                    </a:lnTo>
                    <a:lnTo>
                      <a:pt x="21" y="3"/>
                    </a:lnTo>
                    <a:lnTo>
                      <a:pt x="2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8" name="Freeform 219"/>
              <p:cNvSpPr>
                <a:spLocks/>
              </p:cNvSpPr>
              <p:nvPr/>
            </p:nvSpPr>
            <p:spPr bwMode="auto">
              <a:xfrm>
                <a:off x="7703344" y="4984750"/>
                <a:ext cx="9525" cy="14287"/>
              </a:xfrm>
              <a:custGeom>
                <a:avLst/>
                <a:gdLst/>
                <a:ahLst/>
                <a:cxnLst>
                  <a:cxn ang="0">
                    <a:pos x="6" y="0"/>
                  </a:cxn>
                  <a:cxn ang="0">
                    <a:pos x="6" y="4"/>
                  </a:cxn>
                  <a:cxn ang="0">
                    <a:pos x="6" y="9"/>
                  </a:cxn>
                  <a:cxn ang="0">
                    <a:pos x="0" y="4"/>
                  </a:cxn>
                  <a:cxn ang="0">
                    <a:pos x="0" y="0"/>
                  </a:cxn>
                  <a:cxn ang="0">
                    <a:pos x="2" y="0"/>
                  </a:cxn>
                  <a:cxn ang="0">
                    <a:pos x="6" y="0"/>
                  </a:cxn>
                </a:cxnLst>
                <a:rect l="0" t="0" r="r" b="b"/>
                <a:pathLst>
                  <a:path w="6" h="9">
                    <a:moveTo>
                      <a:pt x="6" y="0"/>
                    </a:moveTo>
                    <a:lnTo>
                      <a:pt x="6" y="4"/>
                    </a:lnTo>
                    <a:lnTo>
                      <a:pt x="6" y="9"/>
                    </a:lnTo>
                    <a:lnTo>
                      <a:pt x="0" y="4"/>
                    </a:lnTo>
                    <a:lnTo>
                      <a:pt x="0" y="0"/>
                    </a:lnTo>
                    <a:lnTo>
                      <a:pt x="2" y="0"/>
                    </a:lnTo>
                    <a:lnTo>
                      <a:pt x="6"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9" name="Freeform 220"/>
              <p:cNvSpPr>
                <a:spLocks/>
              </p:cNvSpPr>
              <p:nvPr/>
            </p:nvSpPr>
            <p:spPr bwMode="auto">
              <a:xfrm>
                <a:off x="7441407" y="4873625"/>
                <a:ext cx="28575" cy="7937"/>
              </a:xfrm>
              <a:custGeom>
                <a:avLst/>
                <a:gdLst/>
                <a:ahLst/>
                <a:cxnLst>
                  <a:cxn ang="0">
                    <a:pos x="18" y="3"/>
                  </a:cxn>
                  <a:cxn ang="0">
                    <a:pos x="7" y="5"/>
                  </a:cxn>
                  <a:cxn ang="0">
                    <a:pos x="0" y="3"/>
                  </a:cxn>
                  <a:cxn ang="0">
                    <a:pos x="9" y="0"/>
                  </a:cxn>
                  <a:cxn ang="0">
                    <a:pos x="18" y="3"/>
                  </a:cxn>
                </a:cxnLst>
                <a:rect l="0" t="0" r="r" b="b"/>
                <a:pathLst>
                  <a:path w="18" h="5">
                    <a:moveTo>
                      <a:pt x="18" y="3"/>
                    </a:moveTo>
                    <a:lnTo>
                      <a:pt x="7" y="5"/>
                    </a:lnTo>
                    <a:lnTo>
                      <a:pt x="0" y="3"/>
                    </a:lnTo>
                    <a:lnTo>
                      <a:pt x="9" y="0"/>
                    </a:lnTo>
                    <a:lnTo>
                      <a:pt x="18"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0" name="Freeform 221"/>
              <p:cNvSpPr>
                <a:spLocks/>
              </p:cNvSpPr>
              <p:nvPr/>
            </p:nvSpPr>
            <p:spPr bwMode="auto">
              <a:xfrm>
                <a:off x="7292182" y="4278313"/>
                <a:ext cx="30163" cy="11112"/>
              </a:xfrm>
              <a:custGeom>
                <a:avLst/>
                <a:gdLst/>
                <a:ahLst/>
                <a:cxnLst>
                  <a:cxn ang="0">
                    <a:pos x="19" y="0"/>
                  </a:cxn>
                  <a:cxn ang="0">
                    <a:pos x="19" y="7"/>
                  </a:cxn>
                  <a:cxn ang="0">
                    <a:pos x="15" y="7"/>
                  </a:cxn>
                  <a:cxn ang="0">
                    <a:pos x="13" y="7"/>
                  </a:cxn>
                  <a:cxn ang="0">
                    <a:pos x="5" y="5"/>
                  </a:cxn>
                  <a:cxn ang="0">
                    <a:pos x="0" y="1"/>
                  </a:cxn>
                  <a:cxn ang="0">
                    <a:pos x="8" y="0"/>
                  </a:cxn>
                  <a:cxn ang="0">
                    <a:pos x="19" y="0"/>
                  </a:cxn>
                </a:cxnLst>
                <a:rect l="0" t="0" r="r" b="b"/>
                <a:pathLst>
                  <a:path w="19" h="7">
                    <a:moveTo>
                      <a:pt x="19" y="0"/>
                    </a:moveTo>
                    <a:lnTo>
                      <a:pt x="19" y="7"/>
                    </a:lnTo>
                    <a:lnTo>
                      <a:pt x="15" y="7"/>
                    </a:lnTo>
                    <a:lnTo>
                      <a:pt x="13" y="7"/>
                    </a:lnTo>
                    <a:lnTo>
                      <a:pt x="5" y="5"/>
                    </a:lnTo>
                    <a:lnTo>
                      <a:pt x="0" y="1"/>
                    </a:lnTo>
                    <a:lnTo>
                      <a:pt x="8"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1" name="Freeform 222"/>
              <p:cNvSpPr>
                <a:spLocks/>
              </p:cNvSpPr>
              <p:nvPr/>
            </p:nvSpPr>
            <p:spPr bwMode="auto">
              <a:xfrm>
                <a:off x="6909594" y="4264025"/>
                <a:ext cx="922338" cy="698500"/>
              </a:xfrm>
              <a:custGeom>
                <a:avLst/>
                <a:gdLst/>
                <a:ahLst/>
                <a:cxnLst>
                  <a:cxn ang="0">
                    <a:pos x="580" y="253"/>
                  </a:cxn>
                  <a:cxn ang="0">
                    <a:pos x="576" y="292"/>
                  </a:cxn>
                  <a:cxn ang="0">
                    <a:pos x="571" y="323"/>
                  </a:cxn>
                  <a:cxn ang="0">
                    <a:pos x="547" y="359"/>
                  </a:cxn>
                  <a:cxn ang="0">
                    <a:pos x="533" y="404"/>
                  </a:cxn>
                  <a:cxn ang="0">
                    <a:pos x="488" y="427"/>
                  </a:cxn>
                  <a:cxn ang="0">
                    <a:pos x="457" y="428"/>
                  </a:cxn>
                  <a:cxn ang="0">
                    <a:pos x="418" y="433"/>
                  </a:cxn>
                  <a:cxn ang="0">
                    <a:pos x="380" y="392"/>
                  </a:cxn>
                  <a:cxn ang="0">
                    <a:pos x="365" y="384"/>
                  </a:cxn>
                  <a:cxn ang="0">
                    <a:pos x="359" y="365"/>
                  </a:cxn>
                  <a:cxn ang="0">
                    <a:pos x="351" y="373"/>
                  </a:cxn>
                  <a:cxn ang="0">
                    <a:pos x="344" y="366"/>
                  </a:cxn>
                  <a:cxn ang="0">
                    <a:pos x="346" y="344"/>
                  </a:cxn>
                  <a:cxn ang="0">
                    <a:pos x="316" y="368"/>
                  </a:cxn>
                  <a:cxn ang="0">
                    <a:pos x="303" y="339"/>
                  </a:cxn>
                  <a:cxn ang="0">
                    <a:pos x="256" y="318"/>
                  </a:cxn>
                  <a:cxn ang="0">
                    <a:pos x="217" y="325"/>
                  </a:cxn>
                  <a:cxn ang="0">
                    <a:pos x="179" y="334"/>
                  </a:cxn>
                  <a:cxn ang="0">
                    <a:pos x="151" y="344"/>
                  </a:cxn>
                  <a:cxn ang="0">
                    <a:pos x="110" y="356"/>
                  </a:cxn>
                  <a:cxn ang="0">
                    <a:pos x="69" y="372"/>
                  </a:cxn>
                  <a:cxn ang="0">
                    <a:pos x="26" y="363"/>
                  </a:cxn>
                  <a:cxn ang="0">
                    <a:pos x="33" y="323"/>
                  </a:cxn>
                  <a:cxn ang="0">
                    <a:pos x="19" y="287"/>
                  </a:cxn>
                  <a:cxn ang="0">
                    <a:pos x="3" y="244"/>
                  </a:cxn>
                  <a:cxn ang="0">
                    <a:pos x="5" y="232"/>
                  </a:cxn>
                  <a:cxn ang="0">
                    <a:pos x="5" y="217"/>
                  </a:cxn>
                  <a:cxn ang="0">
                    <a:pos x="2" y="179"/>
                  </a:cxn>
                  <a:cxn ang="0">
                    <a:pos x="7" y="169"/>
                  </a:cxn>
                  <a:cxn ang="0">
                    <a:pos x="39" y="148"/>
                  </a:cxn>
                  <a:cxn ang="0">
                    <a:pos x="76" y="141"/>
                  </a:cxn>
                  <a:cxn ang="0">
                    <a:pos x="113" y="126"/>
                  </a:cxn>
                  <a:cxn ang="0">
                    <a:pos x="129" y="105"/>
                  </a:cxn>
                  <a:cxn ang="0">
                    <a:pos x="139" y="93"/>
                  </a:cxn>
                  <a:cxn ang="0">
                    <a:pos x="153" y="84"/>
                  </a:cxn>
                  <a:cxn ang="0">
                    <a:pos x="167" y="64"/>
                  </a:cxn>
                  <a:cxn ang="0">
                    <a:pos x="189" y="48"/>
                  </a:cxn>
                  <a:cxn ang="0">
                    <a:pos x="217" y="62"/>
                  </a:cxn>
                  <a:cxn ang="0">
                    <a:pos x="232" y="59"/>
                  </a:cxn>
                  <a:cxn ang="0">
                    <a:pos x="242" y="29"/>
                  </a:cxn>
                  <a:cxn ang="0">
                    <a:pos x="273" y="22"/>
                  </a:cxn>
                  <a:cxn ang="0">
                    <a:pos x="279" y="12"/>
                  </a:cxn>
                  <a:cxn ang="0">
                    <a:pos x="322" y="21"/>
                  </a:cxn>
                  <a:cxn ang="0">
                    <a:pos x="334" y="33"/>
                  </a:cxn>
                  <a:cxn ang="0">
                    <a:pos x="332" y="69"/>
                  </a:cxn>
                  <a:cxn ang="0">
                    <a:pos x="353" y="84"/>
                  </a:cxn>
                  <a:cxn ang="0">
                    <a:pos x="390" y="105"/>
                  </a:cxn>
                  <a:cxn ang="0">
                    <a:pos x="411" y="64"/>
                  </a:cxn>
                  <a:cxn ang="0">
                    <a:pos x="425" y="9"/>
                  </a:cxn>
                  <a:cxn ang="0">
                    <a:pos x="437" y="43"/>
                  </a:cxn>
                  <a:cxn ang="0">
                    <a:pos x="461" y="62"/>
                  </a:cxn>
                  <a:cxn ang="0">
                    <a:pos x="468" y="95"/>
                  </a:cxn>
                  <a:cxn ang="0">
                    <a:pos x="483" y="126"/>
                  </a:cxn>
                  <a:cxn ang="0">
                    <a:pos x="519" y="157"/>
                  </a:cxn>
                  <a:cxn ang="0">
                    <a:pos x="542" y="186"/>
                  </a:cxn>
                  <a:cxn ang="0">
                    <a:pos x="568" y="215"/>
                  </a:cxn>
                </a:cxnLst>
                <a:rect l="0" t="0" r="r" b="b"/>
                <a:pathLst>
                  <a:path w="581" h="440">
                    <a:moveTo>
                      <a:pt x="568" y="215"/>
                    </a:moveTo>
                    <a:lnTo>
                      <a:pt x="571" y="224"/>
                    </a:lnTo>
                    <a:lnTo>
                      <a:pt x="576" y="239"/>
                    </a:lnTo>
                    <a:lnTo>
                      <a:pt x="580" y="253"/>
                    </a:lnTo>
                    <a:lnTo>
                      <a:pt x="581" y="268"/>
                    </a:lnTo>
                    <a:lnTo>
                      <a:pt x="580" y="275"/>
                    </a:lnTo>
                    <a:lnTo>
                      <a:pt x="578" y="286"/>
                    </a:lnTo>
                    <a:lnTo>
                      <a:pt x="576" y="292"/>
                    </a:lnTo>
                    <a:lnTo>
                      <a:pt x="574" y="299"/>
                    </a:lnTo>
                    <a:lnTo>
                      <a:pt x="574" y="313"/>
                    </a:lnTo>
                    <a:lnTo>
                      <a:pt x="571" y="318"/>
                    </a:lnTo>
                    <a:lnTo>
                      <a:pt x="571" y="323"/>
                    </a:lnTo>
                    <a:lnTo>
                      <a:pt x="562" y="332"/>
                    </a:lnTo>
                    <a:lnTo>
                      <a:pt x="555" y="341"/>
                    </a:lnTo>
                    <a:lnTo>
                      <a:pt x="550" y="347"/>
                    </a:lnTo>
                    <a:lnTo>
                      <a:pt x="547" y="359"/>
                    </a:lnTo>
                    <a:lnTo>
                      <a:pt x="542" y="368"/>
                    </a:lnTo>
                    <a:lnTo>
                      <a:pt x="538" y="378"/>
                    </a:lnTo>
                    <a:lnTo>
                      <a:pt x="533" y="390"/>
                    </a:lnTo>
                    <a:lnTo>
                      <a:pt x="533" y="404"/>
                    </a:lnTo>
                    <a:lnTo>
                      <a:pt x="533" y="404"/>
                    </a:lnTo>
                    <a:lnTo>
                      <a:pt x="521" y="415"/>
                    </a:lnTo>
                    <a:lnTo>
                      <a:pt x="506" y="421"/>
                    </a:lnTo>
                    <a:lnTo>
                      <a:pt x="488" y="427"/>
                    </a:lnTo>
                    <a:lnTo>
                      <a:pt x="482" y="440"/>
                    </a:lnTo>
                    <a:lnTo>
                      <a:pt x="473" y="437"/>
                    </a:lnTo>
                    <a:lnTo>
                      <a:pt x="466" y="433"/>
                    </a:lnTo>
                    <a:lnTo>
                      <a:pt x="457" y="428"/>
                    </a:lnTo>
                    <a:lnTo>
                      <a:pt x="456" y="425"/>
                    </a:lnTo>
                    <a:lnTo>
                      <a:pt x="445" y="430"/>
                    </a:lnTo>
                    <a:lnTo>
                      <a:pt x="435" y="437"/>
                    </a:lnTo>
                    <a:lnTo>
                      <a:pt x="418" y="433"/>
                    </a:lnTo>
                    <a:lnTo>
                      <a:pt x="401" y="427"/>
                    </a:lnTo>
                    <a:lnTo>
                      <a:pt x="387" y="416"/>
                    </a:lnTo>
                    <a:lnTo>
                      <a:pt x="383" y="402"/>
                    </a:lnTo>
                    <a:lnTo>
                      <a:pt x="380" y="392"/>
                    </a:lnTo>
                    <a:lnTo>
                      <a:pt x="377" y="382"/>
                    </a:lnTo>
                    <a:lnTo>
                      <a:pt x="375" y="380"/>
                    </a:lnTo>
                    <a:lnTo>
                      <a:pt x="370" y="382"/>
                    </a:lnTo>
                    <a:lnTo>
                      <a:pt x="365" y="384"/>
                    </a:lnTo>
                    <a:lnTo>
                      <a:pt x="359" y="384"/>
                    </a:lnTo>
                    <a:lnTo>
                      <a:pt x="361" y="378"/>
                    </a:lnTo>
                    <a:lnTo>
                      <a:pt x="363" y="373"/>
                    </a:lnTo>
                    <a:lnTo>
                      <a:pt x="359" y="365"/>
                    </a:lnTo>
                    <a:lnTo>
                      <a:pt x="358" y="363"/>
                    </a:lnTo>
                    <a:lnTo>
                      <a:pt x="356" y="365"/>
                    </a:lnTo>
                    <a:lnTo>
                      <a:pt x="356" y="368"/>
                    </a:lnTo>
                    <a:lnTo>
                      <a:pt x="351" y="373"/>
                    </a:lnTo>
                    <a:lnTo>
                      <a:pt x="344" y="378"/>
                    </a:lnTo>
                    <a:lnTo>
                      <a:pt x="340" y="377"/>
                    </a:lnTo>
                    <a:lnTo>
                      <a:pt x="339" y="373"/>
                    </a:lnTo>
                    <a:lnTo>
                      <a:pt x="344" y="366"/>
                    </a:lnTo>
                    <a:lnTo>
                      <a:pt x="351" y="356"/>
                    </a:lnTo>
                    <a:lnTo>
                      <a:pt x="353" y="344"/>
                    </a:lnTo>
                    <a:lnTo>
                      <a:pt x="354" y="337"/>
                    </a:lnTo>
                    <a:lnTo>
                      <a:pt x="346" y="344"/>
                    </a:lnTo>
                    <a:lnTo>
                      <a:pt x="337" y="358"/>
                    </a:lnTo>
                    <a:lnTo>
                      <a:pt x="328" y="368"/>
                    </a:lnTo>
                    <a:lnTo>
                      <a:pt x="322" y="373"/>
                    </a:lnTo>
                    <a:lnTo>
                      <a:pt x="316" y="368"/>
                    </a:lnTo>
                    <a:lnTo>
                      <a:pt x="316" y="363"/>
                    </a:lnTo>
                    <a:lnTo>
                      <a:pt x="311" y="358"/>
                    </a:lnTo>
                    <a:lnTo>
                      <a:pt x="308" y="349"/>
                    </a:lnTo>
                    <a:lnTo>
                      <a:pt x="303" y="339"/>
                    </a:lnTo>
                    <a:lnTo>
                      <a:pt x="299" y="334"/>
                    </a:lnTo>
                    <a:lnTo>
                      <a:pt x="287" y="325"/>
                    </a:lnTo>
                    <a:lnTo>
                      <a:pt x="273" y="322"/>
                    </a:lnTo>
                    <a:lnTo>
                      <a:pt x="256" y="318"/>
                    </a:lnTo>
                    <a:lnTo>
                      <a:pt x="244" y="318"/>
                    </a:lnTo>
                    <a:lnTo>
                      <a:pt x="230" y="318"/>
                    </a:lnTo>
                    <a:lnTo>
                      <a:pt x="224" y="322"/>
                    </a:lnTo>
                    <a:lnTo>
                      <a:pt x="217" y="325"/>
                    </a:lnTo>
                    <a:lnTo>
                      <a:pt x="210" y="329"/>
                    </a:lnTo>
                    <a:lnTo>
                      <a:pt x="199" y="330"/>
                    </a:lnTo>
                    <a:lnTo>
                      <a:pt x="189" y="332"/>
                    </a:lnTo>
                    <a:lnTo>
                      <a:pt x="179" y="334"/>
                    </a:lnTo>
                    <a:lnTo>
                      <a:pt x="170" y="335"/>
                    </a:lnTo>
                    <a:lnTo>
                      <a:pt x="162" y="335"/>
                    </a:lnTo>
                    <a:lnTo>
                      <a:pt x="156" y="339"/>
                    </a:lnTo>
                    <a:lnTo>
                      <a:pt x="151" y="344"/>
                    </a:lnTo>
                    <a:lnTo>
                      <a:pt x="150" y="354"/>
                    </a:lnTo>
                    <a:lnTo>
                      <a:pt x="132" y="356"/>
                    </a:lnTo>
                    <a:lnTo>
                      <a:pt x="119" y="358"/>
                    </a:lnTo>
                    <a:lnTo>
                      <a:pt x="110" y="356"/>
                    </a:lnTo>
                    <a:lnTo>
                      <a:pt x="105" y="358"/>
                    </a:lnTo>
                    <a:lnTo>
                      <a:pt x="91" y="359"/>
                    </a:lnTo>
                    <a:lnTo>
                      <a:pt x="81" y="366"/>
                    </a:lnTo>
                    <a:lnTo>
                      <a:pt x="69" y="372"/>
                    </a:lnTo>
                    <a:lnTo>
                      <a:pt x="57" y="375"/>
                    </a:lnTo>
                    <a:lnTo>
                      <a:pt x="46" y="372"/>
                    </a:lnTo>
                    <a:lnTo>
                      <a:pt x="34" y="368"/>
                    </a:lnTo>
                    <a:lnTo>
                      <a:pt x="26" y="363"/>
                    </a:lnTo>
                    <a:lnTo>
                      <a:pt x="22" y="358"/>
                    </a:lnTo>
                    <a:lnTo>
                      <a:pt x="27" y="346"/>
                    </a:lnTo>
                    <a:lnTo>
                      <a:pt x="34" y="334"/>
                    </a:lnTo>
                    <a:lnTo>
                      <a:pt x="33" y="323"/>
                    </a:lnTo>
                    <a:lnTo>
                      <a:pt x="29" y="315"/>
                    </a:lnTo>
                    <a:lnTo>
                      <a:pt x="26" y="308"/>
                    </a:lnTo>
                    <a:lnTo>
                      <a:pt x="24" y="303"/>
                    </a:lnTo>
                    <a:lnTo>
                      <a:pt x="19" y="287"/>
                    </a:lnTo>
                    <a:lnTo>
                      <a:pt x="17" y="277"/>
                    </a:lnTo>
                    <a:lnTo>
                      <a:pt x="14" y="265"/>
                    </a:lnTo>
                    <a:lnTo>
                      <a:pt x="10" y="253"/>
                    </a:lnTo>
                    <a:lnTo>
                      <a:pt x="3" y="244"/>
                    </a:lnTo>
                    <a:lnTo>
                      <a:pt x="0" y="236"/>
                    </a:lnTo>
                    <a:lnTo>
                      <a:pt x="2" y="232"/>
                    </a:lnTo>
                    <a:lnTo>
                      <a:pt x="3" y="229"/>
                    </a:lnTo>
                    <a:lnTo>
                      <a:pt x="5" y="232"/>
                    </a:lnTo>
                    <a:lnTo>
                      <a:pt x="9" y="236"/>
                    </a:lnTo>
                    <a:lnTo>
                      <a:pt x="9" y="232"/>
                    </a:lnTo>
                    <a:lnTo>
                      <a:pt x="9" y="229"/>
                    </a:lnTo>
                    <a:lnTo>
                      <a:pt x="5" y="217"/>
                    </a:lnTo>
                    <a:lnTo>
                      <a:pt x="2" y="203"/>
                    </a:lnTo>
                    <a:lnTo>
                      <a:pt x="2" y="193"/>
                    </a:lnTo>
                    <a:lnTo>
                      <a:pt x="2" y="186"/>
                    </a:lnTo>
                    <a:lnTo>
                      <a:pt x="2" y="179"/>
                    </a:lnTo>
                    <a:lnTo>
                      <a:pt x="2" y="174"/>
                    </a:lnTo>
                    <a:lnTo>
                      <a:pt x="3" y="169"/>
                    </a:lnTo>
                    <a:lnTo>
                      <a:pt x="7" y="167"/>
                    </a:lnTo>
                    <a:lnTo>
                      <a:pt x="7" y="169"/>
                    </a:lnTo>
                    <a:lnTo>
                      <a:pt x="9" y="172"/>
                    </a:lnTo>
                    <a:lnTo>
                      <a:pt x="22" y="163"/>
                    </a:lnTo>
                    <a:lnTo>
                      <a:pt x="34" y="153"/>
                    </a:lnTo>
                    <a:lnTo>
                      <a:pt x="39" y="148"/>
                    </a:lnTo>
                    <a:lnTo>
                      <a:pt x="50" y="146"/>
                    </a:lnTo>
                    <a:lnTo>
                      <a:pt x="58" y="145"/>
                    </a:lnTo>
                    <a:lnTo>
                      <a:pt x="69" y="145"/>
                    </a:lnTo>
                    <a:lnTo>
                      <a:pt x="76" y="141"/>
                    </a:lnTo>
                    <a:lnTo>
                      <a:pt x="84" y="139"/>
                    </a:lnTo>
                    <a:lnTo>
                      <a:pt x="95" y="136"/>
                    </a:lnTo>
                    <a:lnTo>
                      <a:pt x="105" y="133"/>
                    </a:lnTo>
                    <a:lnTo>
                      <a:pt x="113" y="126"/>
                    </a:lnTo>
                    <a:lnTo>
                      <a:pt x="122" y="120"/>
                    </a:lnTo>
                    <a:lnTo>
                      <a:pt x="125" y="115"/>
                    </a:lnTo>
                    <a:lnTo>
                      <a:pt x="129" y="110"/>
                    </a:lnTo>
                    <a:lnTo>
                      <a:pt x="129" y="105"/>
                    </a:lnTo>
                    <a:lnTo>
                      <a:pt x="129" y="102"/>
                    </a:lnTo>
                    <a:lnTo>
                      <a:pt x="129" y="93"/>
                    </a:lnTo>
                    <a:lnTo>
                      <a:pt x="136" y="88"/>
                    </a:lnTo>
                    <a:lnTo>
                      <a:pt x="139" y="93"/>
                    </a:lnTo>
                    <a:lnTo>
                      <a:pt x="143" y="98"/>
                    </a:lnTo>
                    <a:lnTo>
                      <a:pt x="146" y="90"/>
                    </a:lnTo>
                    <a:lnTo>
                      <a:pt x="148" y="83"/>
                    </a:lnTo>
                    <a:lnTo>
                      <a:pt x="153" y="84"/>
                    </a:lnTo>
                    <a:lnTo>
                      <a:pt x="158" y="86"/>
                    </a:lnTo>
                    <a:lnTo>
                      <a:pt x="158" y="76"/>
                    </a:lnTo>
                    <a:lnTo>
                      <a:pt x="163" y="71"/>
                    </a:lnTo>
                    <a:lnTo>
                      <a:pt x="167" y="64"/>
                    </a:lnTo>
                    <a:lnTo>
                      <a:pt x="170" y="59"/>
                    </a:lnTo>
                    <a:lnTo>
                      <a:pt x="177" y="55"/>
                    </a:lnTo>
                    <a:lnTo>
                      <a:pt x="184" y="53"/>
                    </a:lnTo>
                    <a:lnTo>
                      <a:pt x="189" y="48"/>
                    </a:lnTo>
                    <a:lnTo>
                      <a:pt x="198" y="48"/>
                    </a:lnTo>
                    <a:lnTo>
                      <a:pt x="206" y="53"/>
                    </a:lnTo>
                    <a:lnTo>
                      <a:pt x="211" y="67"/>
                    </a:lnTo>
                    <a:lnTo>
                      <a:pt x="217" y="62"/>
                    </a:lnTo>
                    <a:lnTo>
                      <a:pt x="224" y="62"/>
                    </a:lnTo>
                    <a:lnTo>
                      <a:pt x="227" y="64"/>
                    </a:lnTo>
                    <a:lnTo>
                      <a:pt x="230" y="65"/>
                    </a:lnTo>
                    <a:lnTo>
                      <a:pt x="232" y="59"/>
                    </a:lnTo>
                    <a:lnTo>
                      <a:pt x="232" y="53"/>
                    </a:lnTo>
                    <a:lnTo>
                      <a:pt x="236" y="43"/>
                    </a:lnTo>
                    <a:lnTo>
                      <a:pt x="241" y="35"/>
                    </a:lnTo>
                    <a:lnTo>
                      <a:pt x="242" y="29"/>
                    </a:lnTo>
                    <a:lnTo>
                      <a:pt x="251" y="26"/>
                    </a:lnTo>
                    <a:lnTo>
                      <a:pt x="260" y="24"/>
                    </a:lnTo>
                    <a:lnTo>
                      <a:pt x="268" y="24"/>
                    </a:lnTo>
                    <a:lnTo>
                      <a:pt x="273" y="22"/>
                    </a:lnTo>
                    <a:lnTo>
                      <a:pt x="279" y="21"/>
                    </a:lnTo>
                    <a:lnTo>
                      <a:pt x="272" y="14"/>
                    </a:lnTo>
                    <a:lnTo>
                      <a:pt x="268" y="9"/>
                    </a:lnTo>
                    <a:lnTo>
                      <a:pt x="279" y="12"/>
                    </a:lnTo>
                    <a:lnTo>
                      <a:pt x="291" y="17"/>
                    </a:lnTo>
                    <a:lnTo>
                      <a:pt x="301" y="21"/>
                    </a:lnTo>
                    <a:lnTo>
                      <a:pt x="315" y="22"/>
                    </a:lnTo>
                    <a:lnTo>
                      <a:pt x="322" y="21"/>
                    </a:lnTo>
                    <a:lnTo>
                      <a:pt x="328" y="19"/>
                    </a:lnTo>
                    <a:lnTo>
                      <a:pt x="334" y="21"/>
                    </a:lnTo>
                    <a:lnTo>
                      <a:pt x="339" y="28"/>
                    </a:lnTo>
                    <a:lnTo>
                      <a:pt x="334" y="33"/>
                    </a:lnTo>
                    <a:lnTo>
                      <a:pt x="327" y="38"/>
                    </a:lnTo>
                    <a:lnTo>
                      <a:pt x="322" y="64"/>
                    </a:lnTo>
                    <a:lnTo>
                      <a:pt x="325" y="65"/>
                    </a:lnTo>
                    <a:lnTo>
                      <a:pt x="332" y="69"/>
                    </a:lnTo>
                    <a:lnTo>
                      <a:pt x="334" y="74"/>
                    </a:lnTo>
                    <a:lnTo>
                      <a:pt x="337" y="79"/>
                    </a:lnTo>
                    <a:lnTo>
                      <a:pt x="346" y="81"/>
                    </a:lnTo>
                    <a:lnTo>
                      <a:pt x="353" y="84"/>
                    </a:lnTo>
                    <a:lnTo>
                      <a:pt x="359" y="86"/>
                    </a:lnTo>
                    <a:lnTo>
                      <a:pt x="370" y="91"/>
                    </a:lnTo>
                    <a:lnTo>
                      <a:pt x="378" y="98"/>
                    </a:lnTo>
                    <a:lnTo>
                      <a:pt x="390" y="105"/>
                    </a:lnTo>
                    <a:lnTo>
                      <a:pt x="399" y="98"/>
                    </a:lnTo>
                    <a:lnTo>
                      <a:pt x="406" y="88"/>
                    </a:lnTo>
                    <a:lnTo>
                      <a:pt x="408" y="74"/>
                    </a:lnTo>
                    <a:lnTo>
                      <a:pt x="411" y="64"/>
                    </a:lnTo>
                    <a:lnTo>
                      <a:pt x="411" y="17"/>
                    </a:lnTo>
                    <a:lnTo>
                      <a:pt x="418" y="9"/>
                    </a:lnTo>
                    <a:lnTo>
                      <a:pt x="425" y="0"/>
                    </a:lnTo>
                    <a:lnTo>
                      <a:pt x="425" y="9"/>
                    </a:lnTo>
                    <a:lnTo>
                      <a:pt x="430" y="17"/>
                    </a:lnTo>
                    <a:lnTo>
                      <a:pt x="433" y="24"/>
                    </a:lnTo>
                    <a:lnTo>
                      <a:pt x="437" y="33"/>
                    </a:lnTo>
                    <a:lnTo>
                      <a:pt x="437" y="43"/>
                    </a:lnTo>
                    <a:lnTo>
                      <a:pt x="442" y="53"/>
                    </a:lnTo>
                    <a:lnTo>
                      <a:pt x="451" y="55"/>
                    </a:lnTo>
                    <a:lnTo>
                      <a:pt x="457" y="59"/>
                    </a:lnTo>
                    <a:lnTo>
                      <a:pt x="461" y="62"/>
                    </a:lnTo>
                    <a:lnTo>
                      <a:pt x="463" y="71"/>
                    </a:lnTo>
                    <a:lnTo>
                      <a:pt x="464" y="79"/>
                    </a:lnTo>
                    <a:lnTo>
                      <a:pt x="466" y="88"/>
                    </a:lnTo>
                    <a:lnTo>
                      <a:pt x="468" y="95"/>
                    </a:lnTo>
                    <a:lnTo>
                      <a:pt x="473" y="103"/>
                    </a:lnTo>
                    <a:lnTo>
                      <a:pt x="475" y="110"/>
                    </a:lnTo>
                    <a:lnTo>
                      <a:pt x="480" y="120"/>
                    </a:lnTo>
                    <a:lnTo>
                      <a:pt x="483" y="126"/>
                    </a:lnTo>
                    <a:lnTo>
                      <a:pt x="494" y="133"/>
                    </a:lnTo>
                    <a:lnTo>
                      <a:pt x="504" y="138"/>
                    </a:lnTo>
                    <a:lnTo>
                      <a:pt x="514" y="145"/>
                    </a:lnTo>
                    <a:lnTo>
                      <a:pt x="519" y="157"/>
                    </a:lnTo>
                    <a:lnTo>
                      <a:pt x="523" y="169"/>
                    </a:lnTo>
                    <a:lnTo>
                      <a:pt x="528" y="174"/>
                    </a:lnTo>
                    <a:lnTo>
                      <a:pt x="540" y="176"/>
                    </a:lnTo>
                    <a:lnTo>
                      <a:pt x="542" y="186"/>
                    </a:lnTo>
                    <a:lnTo>
                      <a:pt x="550" y="196"/>
                    </a:lnTo>
                    <a:lnTo>
                      <a:pt x="559" y="205"/>
                    </a:lnTo>
                    <a:lnTo>
                      <a:pt x="569" y="213"/>
                    </a:lnTo>
                    <a:lnTo>
                      <a:pt x="568" y="2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2" name="Freeform 223"/>
              <p:cNvSpPr>
                <a:spLocks/>
              </p:cNvSpPr>
              <p:nvPr/>
            </p:nvSpPr>
            <p:spPr bwMode="auto">
              <a:xfrm>
                <a:off x="8149432" y="5181600"/>
                <a:ext cx="15875" cy="12700"/>
              </a:xfrm>
              <a:custGeom>
                <a:avLst/>
                <a:gdLst/>
                <a:ahLst/>
                <a:cxnLst>
                  <a:cxn ang="0">
                    <a:pos x="10" y="0"/>
                  </a:cxn>
                  <a:cxn ang="0">
                    <a:pos x="5" y="5"/>
                  </a:cxn>
                  <a:cxn ang="0">
                    <a:pos x="0" y="8"/>
                  </a:cxn>
                  <a:cxn ang="0">
                    <a:pos x="0" y="3"/>
                  </a:cxn>
                  <a:cxn ang="0">
                    <a:pos x="0" y="0"/>
                  </a:cxn>
                  <a:cxn ang="0">
                    <a:pos x="10" y="0"/>
                  </a:cxn>
                </a:cxnLst>
                <a:rect l="0" t="0" r="r" b="b"/>
                <a:pathLst>
                  <a:path w="10" h="8">
                    <a:moveTo>
                      <a:pt x="10" y="0"/>
                    </a:moveTo>
                    <a:lnTo>
                      <a:pt x="5" y="5"/>
                    </a:lnTo>
                    <a:lnTo>
                      <a:pt x="0" y="8"/>
                    </a:lnTo>
                    <a:lnTo>
                      <a:pt x="0" y="3"/>
                    </a:lnTo>
                    <a:lnTo>
                      <a:pt x="0"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3" name="Freeform 224"/>
              <p:cNvSpPr>
                <a:spLocks/>
              </p:cNvSpPr>
              <p:nvPr/>
            </p:nvSpPr>
            <p:spPr bwMode="auto">
              <a:xfrm>
                <a:off x="8127207" y="5006975"/>
                <a:ext cx="174625" cy="171450"/>
              </a:xfrm>
              <a:custGeom>
                <a:avLst/>
                <a:gdLst/>
                <a:ahLst/>
                <a:cxnLst>
                  <a:cxn ang="0">
                    <a:pos x="67" y="29"/>
                  </a:cxn>
                  <a:cxn ang="0">
                    <a:pos x="67" y="26"/>
                  </a:cxn>
                  <a:cxn ang="0">
                    <a:pos x="67" y="24"/>
                  </a:cxn>
                  <a:cxn ang="0">
                    <a:pos x="71" y="19"/>
                  </a:cxn>
                  <a:cxn ang="0">
                    <a:pos x="77" y="19"/>
                  </a:cxn>
                  <a:cxn ang="0">
                    <a:pos x="77" y="17"/>
                  </a:cxn>
                  <a:cxn ang="0">
                    <a:pos x="77" y="15"/>
                  </a:cxn>
                  <a:cxn ang="0">
                    <a:pos x="81" y="5"/>
                  </a:cxn>
                  <a:cxn ang="0">
                    <a:pos x="89" y="0"/>
                  </a:cxn>
                  <a:cxn ang="0">
                    <a:pos x="89" y="3"/>
                  </a:cxn>
                  <a:cxn ang="0">
                    <a:pos x="93" y="5"/>
                  </a:cxn>
                  <a:cxn ang="0">
                    <a:pos x="93" y="8"/>
                  </a:cxn>
                  <a:cxn ang="0">
                    <a:pos x="96" y="12"/>
                  </a:cxn>
                  <a:cxn ang="0">
                    <a:pos x="100" y="8"/>
                  </a:cxn>
                  <a:cxn ang="0">
                    <a:pos x="105" y="7"/>
                  </a:cxn>
                  <a:cxn ang="0">
                    <a:pos x="108" y="8"/>
                  </a:cxn>
                  <a:cxn ang="0">
                    <a:pos x="108" y="14"/>
                  </a:cxn>
                  <a:cxn ang="0">
                    <a:pos x="110" y="17"/>
                  </a:cxn>
                  <a:cxn ang="0">
                    <a:pos x="107" y="22"/>
                  </a:cxn>
                  <a:cxn ang="0">
                    <a:pos x="103" y="31"/>
                  </a:cxn>
                  <a:cxn ang="0">
                    <a:pos x="96" y="39"/>
                  </a:cxn>
                  <a:cxn ang="0">
                    <a:pos x="91" y="43"/>
                  </a:cxn>
                  <a:cxn ang="0">
                    <a:pos x="89" y="50"/>
                  </a:cxn>
                  <a:cxn ang="0">
                    <a:pos x="91" y="58"/>
                  </a:cxn>
                  <a:cxn ang="0">
                    <a:pos x="81" y="58"/>
                  </a:cxn>
                  <a:cxn ang="0">
                    <a:pos x="72" y="60"/>
                  </a:cxn>
                  <a:cxn ang="0">
                    <a:pos x="67" y="67"/>
                  </a:cxn>
                  <a:cxn ang="0">
                    <a:pos x="64" y="81"/>
                  </a:cxn>
                  <a:cxn ang="0">
                    <a:pos x="58" y="91"/>
                  </a:cxn>
                  <a:cxn ang="0">
                    <a:pos x="57" y="96"/>
                  </a:cxn>
                  <a:cxn ang="0">
                    <a:pos x="46" y="103"/>
                  </a:cxn>
                  <a:cxn ang="0">
                    <a:pos x="38" y="108"/>
                  </a:cxn>
                  <a:cxn ang="0">
                    <a:pos x="31" y="106"/>
                  </a:cxn>
                  <a:cxn ang="0">
                    <a:pos x="26" y="105"/>
                  </a:cxn>
                  <a:cxn ang="0">
                    <a:pos x="19" y="103"/>
                  </a:cxn>
                  <a:cxn ang="0">
                    <a:pos x="12" y="100"/>
                  </a:cxn>
                  <a:cxn ang="0">
                    <a:pos x="5" y="96"/>
                  </a:cxn>
                  <a:cxn ang="0">
                    <a:pos x="3" y="94"/>
                  </a:cxn>
                  <a:cxn ang="0">
                    <a:pos x="0" y="93"/>
                  </a:cxn>
                  <a:cxn ang="0">
                    <a:pos x="2" y="82"/>
                  </a:cxn>
                  <a:cxn ang="0">
                    <a:pos x="7" y="75"/>
                  </a:cxn>
                  <a:cxn ang="0">
                    <a:pos x="14" y="70"/>
                  </a:cxn>
                  <a:cxn ang="0">
                    <a:pos x="21" y="65"/>
                  </a:cxn>
                  <a:cxn ang="0">
                    <a:pos x="24" y="60"/>
                  </a:cxn>
                  <a:cxn ang="0">
                    <a:pos x="29" y="58"/>
                  </a:cxn>
                  <a:cxn ang="0">
                    <a:pos x="43" y="51"/>
                  </a:cxn>
                  <a:cxn ang="0">
                    <a:pos x="57" y="43"/>
                  </a:cxn>
                  <a:cxn ang="0">
                    <a:pos x="62" y="34"/>
                  </a:cxn>
                  <a:cxn ang="0">
                    <a:pos x="67" y="29"/>
                  </a:cxn>
                </a:cxnLst>
                <a:rect l="0" t="0" r="r" b="b"/>
                <a:pathLst>
                  <a:path w="110" h="108">
                    <a:moveTo>
                      <a:pt x="67" y="29"/>
                    </a:moveTo>
                    <a:lnTo>
                      <a:pt x="67" y="26"/>
                    </a:lnTo>
                    <a:lnTo>
                      <a:pt x="67" y="24"/>
                    </a:lnTo>
                    <a:lnTo>
                      <a:pt x="71" y="19"/>
                    </a:lnTo>
                    <a:lnTo>
                      <a:pt x="77" y="19"/>
                    </a:lnTo>
                    <a:lnTo>
                      <a:pt x="77" y="17"/>
                    </a:lnTo>
                    <a:lnTo>
                      <a:pt x="77" y="15"/>
                    </a:lnTo>
                    <a:lnTo>
                      <a:pt x="81" y="5"/>
                    </a:lnTo>
                    <a:lnTo>
                      <a:pt x="89" y="0"/>
                    </a:lnTo>
                    <a:lnTo>
                      <a:pt x="89" y="3"/>
                    </a:lnTo>
                    <a:lnTo>
                      <a:pt x="93" y="5"/>
                    </a:lnTo>
                    <a:lnTo>
                      <a:pt x="93" y="8"/>
                    </a:lnTo>
                    <a:lnTo>
                      <a:pt x="96" y="12"/>
                    </a:lnTo>
                    <a:lnTo>
                      <a:pt x="100" y="8"/>
                    </a:lnTo>
                    <a:lnTo>
                      <a:pt x="105" y="7"/>
                    </a:lnTo>
                    <a:lnTo>
                      <a:pt x="108" y="8"/>
                    </a:lnTo>
                    <a:lnTo>
                      <a:pt x="108" y="14"/>
                    </a:lnTo>
                    <a:lnTo>
                      <a:pt x="110" y="17"/>
                    </a:lnTo>
                    <a:lnTo>
                      <a:pt x="107" y="22"/>
                    </a:lnTo>
                    <a:lnTo>
                      <a:pt x="103" y="31"/>
                    </a:lnTo>
                    <a:lnTo>
                      <a:pt x="96" y="39"/>
                    </a:lnTo>
                    <a:lnTo>
                      <a:pt x="91" y="43"/>
                    </a:lnTo>
                    <a:lnTo>
                      <a:pt x="89" y="50"/>
                    </a:lnTo>
                    <a:lnTo>
                      <a:pt x="91" y="58"/>
                    </a:lnTo>
                    <a:lnTo>
                      <a:pt x="81" y="58"/>
                    </a:lnTo>
                    <a:lnTo>
                      <a:pt x="72" y="60"/>
                    </a:lnTo>
                    <a:lnTo>
                      <a:pt x="67" y="67"/>
                    </a:lnTo>
                    <a:lnTo>
                      <a:pt x="64" y="81"/>
                    </a:lnTo>
                    <a:lnTo>
                      <a:pt x="58" y="91"/>
                    </a:lnTo>
                    <a:lnTo>
                      <a:pt x="57" y="96"/>
                    </a:lnTo>
                    <a:lnTo>
                      <a:pt x="46" y="103"/>
                    </a:lnTo>
                    <a:lnTo>
                      <a:pt x="38" y="108"/>
                    </a:lnTo>
                    <a:lnTo>
                      <a:pt x="31" y="106"/>
                    </a:lnTo>
                    <a:lnTo>
                      <a:pt x="26" y="105"/>
                    </a:lnTo>
                    <a:lnTo>
                      <a:pt x="19" y="103"/>
                    </a:lnTo>
                    <a:lnTo>
                      <a:pt x="12" y="100"/>
                    </a:lnTo>
                    <a:lnTo>
                      <a:pt x="5" y="96"/>
                    </a:lnTo>
                    <a:lnTo>
                      <a:pt x="3" y="94"/>
                    </a:lnTo>
                    <a:lnTo>
                      <a:pt x="0" y="93"/>
                    </a:lnTo>
                    <a:lnTo>
                      <a:pt x="2" y="82"/>
                    </a:lnTo>
                    <a:lnTo>
                      <a:pt x="7" y="75"/>
                    </a:lnTo>
                    <a:lnTo>
                      <a:pt x="14" y="70"/>
                    </a:lnTo>
                    <a:lnTo>
                      <a:pt x="21" y="65"/>
                    </a:lnTo>
                    <a:lnTo>
                      <a:pt x="24" y="60"/>
                    </a:lnTo>
                    <a:lnTo>
                      <a:pt x="29" y="58"/>
                    </a:lnTo>
                    <a:lnTo>
                      <a:pt x="43" y="51"/>
                    </a:lnTo>
                    <a:lnTo>
                      <a:pt x="57" y="43"/>
                    </a:lnTo>
                    <a:lnTo>
                      <a:pt x="62" y="34"/>
                    </a:lnTo>
                    <a:lnTo>
                      <a:pt x="67"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4" name="Freeform 225"/>
              <p:cNvSpPr>
                <a:spLocks/>
              </p:cNvSpPr>
              <p:nvPr/>
            </p:nvSpPr>
            <p:spPr bwMode="auto">
              <a:xfrm>
                <a:off x="8271669" y="4840288"/>
                <a:ext cx="131763" cy="190500"/>
              </a:xfrm>
              <a:custGeom>
                <a:avLst/>
                <a:gdLst/>
                <a:ahLst/>
                <a:cxnLst>
                  <a:cxn ang="0">
                    <a:pos x="26" y="45"/>
                  </a:cxn>
                  <a:cxn ang="0">
                    <a:pos x="21" y="39"/>
                  </a:cxn>
                  <a:cxn ang="0">
                    <a:pos x="19" y="36"/>
                  </a:cxn>
                  <a:cxn ang="0">
                    <a:pos x="19" y="33"/>
                  </a:cxn>
                  <a:cxn ang="0">
                    <a:pos x="21" y="31"/>
                  </a:cxn>
                  <a:cxn ang="0">
                    <a:pos x="12" y="26"/>
                  </a:cxn>
                  <a:cxn ang="0">
                    <a:pos x="7" y="19"/>
                  </a:cxn>
                  <a:cxn ang="0">
                    <a:pos x="2" y="9"/>
                  </a:cxn>
                  <a:cxn ang="0">
                    <a:pos x="0" y="0"/>
                  </a:cxn>
                  <a:cxn ang="0">
                    <a:pos x="9" y="7"/>
                  </a:cxn>
                  <a:cxn ang="0">
                    <a:pos x="19" y="14"/>
                  </a:cxn>
                  <a:cxn ang="0">
                    <a:pos x="21" y="17"/>
                  </a:cxn>
                  <a:cxn ang="0">
                    <a:pos x="24" y="22"/>
                  </a:cxn>
                  <a:cxn ang="0">
                    <a:pos x="23" y="24"/>
                  </a:cxn>
                  <a:cxn ang="0">
                    <a:pos x="23" y="26"/>
                  </a:cxn>
                  <a:cxn ang="0">
                    <a:pos x="26" y="33"/>
                  </a:cxn>
                  <a:cxn ang="0">
                    <a:pos x="31" y="41"/>
                  </a:cxn>
                  <a:cxn ang="0">
                    <a:pos x="35" y="41"/>
                  </a:cxn>
                  <a:cxn ang="0">
                    <a:pos x="35" y="38"/>
                  </a:cxn>
                  <a:cxn ang="0">
                    <a:pos x="40" y="38"/>
                  </a:cxn>
                  <a:cxn ang="0">
                    <a:pos x="41" y="38"/>
                  </a:cxn>
                  <a:cxn ang="0">
                    <a:pos x="45" y="52"/>
                  </a:cxn>
                  <a:cxn ang="0">
                    <a:pos x="60" y="58"/>
                  </a:cxn>
                  <a:cxn ang="0">
                    <a:pos x="69" y="55"/>
                  </a:cxn>
                  <a:cxn ang="0">
                    <a:pos x="78" y="53"/>
                  </a:cxn>
                  <a:cxn ang="0">
                    <a:pos x="79" y="53"/>
                  </a:cxn>
                  <a:cxn ang="0">
                    <a:pos x="83" y="55"/>
                  </a:cxn>
                  <a:cxn ang="0">
                    <a:pos x="76" y="67"/>
                  </a:cxn>
                  <a:cxn ang="0">
                    <a:pos x="72" y="81"/>
                  </a:cxn>
                  <a:cxn ang="0">
                    <a:pos x="71" y="79"/>
                  </a:cxn>
                  <a:cxn ang="0">
                    <a:pos x="69" y="79"/>
                  </a:cxn>
                  <a:cxn ang="0">
                    <a:pos x="60" y="81"/>
                  </a:cxn>
                  <a:cxn ang="0">
                    <a:pos x="59" y="86"/>
                  </a:cxn>
                  <a:cxn ang="0">
                    <a:pos x="59" y="88"/>
                  </a:cxn>
                  <a:cxn ang="0">
                    <a:pos x="60" y="91"/>
                  </a:cxn>
                  <a:cxn ang="0">
                    <a:pos x="57" y="96"/>
                  </a:cxn>
                  <a:cxn ang="0">
                    <a:pos x="53" y="101"/>
                  </a:cxn>
                  <a:cxn ang="0">
                    <a:pos x="45" y="113"/>
                  </a:cxn>
                  <a:cxn ang="0">
                    <a:pos x="35" y="120"/>
                  </a:cxn>
                  <a:cxn ang="0">
                    <a:pos x="28" y="117"/>
                  </a:cxn>
                  <a:cxn ang="0">
                    <a:pos x="28" y="113"/>
                  </a:cxn>
                  <a:cxn ang="0">
                    <a:pos x="29" y="105"/>
                  </a:cxn>
                  <a:cxn ang="0">
                    <a:pos x="33" y="98"/>
                  </a:cxn>
                  <a:cxn ang="0">
                    <a:pos x="29" y="91"/>
                  </a:cxn>
                  <a:cxn ang="0">
                    <a:pos x="23" y="89"/>
                  </a:cxn>
                  <a:cxn ang="0">
                    <a:pos x="16" y="86"/>
                  </a:cxn>
                  <a:cxn ang="0">
                    <a:pos x="14" y="82"/>
                  </a:cxn>
                  <a:cxn ang="0">
                    <a:pos x="16" y="77"/>
                  </a:cxn>
                  <a:cxn ang="0">
                    <a:pos x="21" y="76"/>
                  </a:cxn>
                  <a:cxn ang="0">
                    <a:pos x="26" y="65"/>
                  </a:cxn>
                  <a:cxn ang="0">
                    <a:pos x="28" y="55"/>
                  </a:cxn>
                  <a:cxn ang="0">
                    <a:pos x="26" y="48"/>
                  </a:cxn>
                  <a:cxn ang="0">
                    <a:pos x="24" y="43"/>
                  </a:cxn>
                  <a:cxn ang="0">
                    <a:pos x="26" y="43"/>
                  </a:cxn>
                  <a:cxn ang="0">
                    <a:pos x="26" y="45"/>
                  </a:cxn>
                </a:cxnLst>
                <a:rect l="0" t="0" r="r" b="b"/>
                <a:pathLst>
                  <a:path w="83" h="120">
                    <a:moveTo>
                      <a:pt x="26" y="45"/>
                    </a:moveTo>
                    <a:lnTo>
                      <a:pt x="21" y="39"/>
                    </a:lnTo>
                    <a:lnTo>
                      <a:pt x="19" y="36"/>
                    </a:lnTo>
                    <a:lnTo>
                      <a:pt x="19" y="33"/>
                    </a:lnTo>
                    <a:lnTo>
                      <a:pt x="21" y="31"/>
                    </a:lnTo>
                    <a:lnTo>
                      <a:pt x="12" y="26"/>
                    </a:lnTo>
                    <a:lnTo>
                      <a:pt x="7" y="19"/>
                    </a:lnTo>
                    <a:lnTo>
                      <a:pt x="2" y="9"/>
                    </a:lnTo>
                    <a:lnTo>
                      <a:pt x="0" y="0"/>
                    </a:lnTo>
                    <a:lnTo>
                      <a:pt x="9" y="7"/>
                    </a:lnTo>
                    <a:lnTo>
                      <a:pt x="19" y="14"/>
                    </a:lnTo>
                    <a:lnTo>
                      <a:pt x="21" y="17"/>
                    </a:lnTo>
                    <a:lnTo>
                      <a:pt x="24" y="22"/>
                    </a:lnTo>
                    <a:lnTo>
                      <a:pt x="23" y="24"/>
                    </a:lnTo>
                    <a:lnTo>
                      <a:pt x="23" y="26"/>
                    </a:lnTo>
                    <a:lnTo>
                      <a:pt x="26" y="33"/>
                    </a:lnTo>
                    <a:lnTo>
                      <a:pt x="31" y="41"/>
                    </a:lnTo>
                    <a:lnTo>
                      <a:pt x="35" y="41"/>
                    </a:lnTo>
                    <a:lnTo>
                      <a:pt x="35" y="38"/>
                    </a:lnTo>
                    <a:lnTo>
                      <a:pt x="40" y="38"/>
                    </a:lnTo>
                    <a:lnTo>
                      <a:pt x="41" y="38"/>
                    </a:lnTo>
                    <a:lnTo>
                      <a:pt x="45" y="52"/>
                    </a:lnTo>
                    <a:lnTo>
                      <a:pt x="60" y="58"/>
                    </a:lnTo>
                    <a:lnTo>
                      <a:pt x="69" y="55"/>
                    </a:lnTo>
                    <a:lnTo>
                      <a:pt x="78" y="53"/>
                    </a:lnTo>
                    <a:lnTo>
                      <a:pt x="79" y="53"/>
                    </a:lnTo>
                    <a:lnTo>
                      <a:pt x="83" y="55"/>
                    </a:lnTo>
                    <a:lnTo>
                      <a:pt x="76" y="67"/>
                    </a:lnTo>
                    <a:lnTo>
                      <a:pt x="72" y="81"/>
                    </a:lnTo>
                    <a:lnTo>
                      <a:pt x="71" y="79"/>
                    </a:lnTo>
                    <a:lnTo>
                      <a:pt x="69" y="79"/>
                    </a:lnTo>
                    <a:lnTo>
                      <a:pt x="60" y="81"/>
                    </a:lnTo>
                    <a:lnTo>
                      <a:pt x="59" y="86"/>
                    </a:lnTo>
                    <a:lnTo>
                      <a:pt x="59" y="88"/>
                    </a:lnTo>
                    <a:lnTo>
                      <a:pt x="60" y="91"/>
                    </a:lnTo>
                    <a:lnTo>
                      <a:pt x="57" y="96"/>
                    </a:lnTo>
                    <a:lnTo>
                      <a:pt x="53" y="101"/>
                    </a:lnTo>
                    <a:lnTo>
                      <a:pt x="45" y="113"/>
                    </a:lnTo>
                    <a:lnTo>
                      <a:pt x="35" y="120"/>
                    </a:lnTo>
                    <a:lnTo>
                      <a:pt x="28" y="117"/>
                    </a:lnTo>
                    <a:lnTo>
                      <a:pt x="28" y="113"/>
                    </a:lnTo>
                    <a:lnTo>
                      <a:pt x="29" y="105"/>
                    </a:lnTo>
                    <a:lnTo>
                      <a:pt x="33" y="98"/>
                    </a:lnTo>
                    <a:lnTo>
                      <a:pt x="29" y="91"/>
                    </a:lnTo>
                    <a:lnTo>
                      <a:pt x="23" y="89"/>
                    </a:lnTo>
                    <a:lnTo>
                      <a:pt x="16" y="86"/>
                    </a:lnTo>
                    <a:lnTo>
                      <a:pt x="14" y="82"/>
                    </a:lnTo>
                    <a:lnTo>
                      <a:pt x="16" y="77"/>
                    </a:lnTo>
                    <a:lnTo>
                      <a:pt x="21" y="76"/>
                    </a:lnTo>
                    <a:lnTo>
                      <a:pt x="26" y="65"/>
                    </a:lnTo>
                    <a:lnTo>
                      <a:pt x="28" y="55"/>
                    </a:lnTo>
                    <a:lnTo>
                      <a:pt x="26" y="48"/>
                    </a:lnTo>
                    <a:lnTo>
                      <a:pt x="24" y="43"/>
                    </a:lnTo>
                    <a:lnTo>
                      <a:pt x="26" y="43"/>
                    </a:lnTo>
                    <a:lnTo>
                      <a:pt x="2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5" name="Freeform 226"/>
              <p:cNvSpPr>
                <a:spLocks/>
              </p:cNvSpPr>
              <p:nvPr/>
            </p:nvSpPr>
            <p:spPr bwMode="auto">
              <a:xfrm>
                <a:off x="8370094" y="4416425"/>
                <a:ext cx="26988" cy="22225"/>
              </a:xfrm>
              <a:custGeom>
                <a:avLst/>
                <a:gdLst/>
                <a:ahLst/>
                <a:cxnLst>
                  <a:cxn ang="0">
                    <a:pos x="12" y="0"/>
                  </a:cxn>
                  <a:cxn ang="0">
                    <a:pos x="14" y="4"/>
                  </a:cxn>
                  <a:cxn ang="0">
                    <a:pos x="17" y="6"/>
                  </a:cxn>
                  <a:cxn ang="0">
                    <a:pos x="17" y="11"/>
                  </a:cxn>
                  <a:cxn ang="0">
                    <a:pos x="14" y="12"/>
                  </a:cxn>
                  <a:cxn ang="0">
                    <a:pos x="10" y="14"/>
                  </a:cxn>
                  <a:cxn ang="0">
                    <a:pos x="4" y="12"/>
                  </a:cxn>
                  <a:cxn ang="0">
                    <a:pos x="0" y="11"/>
                  </a:cxn>
                  <a:cxn ang="0">
                    <a:pos x="4" y="2"/>
                  </a:cxn>
                  <a:cxn ang="0">
                    <a:pos x="12" y="0"/>
                  </a:cxn>
                </a:cxnLst>
                <a:rect l="0" t="0" r="r" b="b"/>
                <a:pathLst>
                  <a:path w="17" h="14">
                    <a:moveTo>
                      <a:pt x="12" y="0"/>
                    </a:moveTo>
                    <a:lnTo>
                      <a:pt x="14" y="4"/>
                    </a:lnTo>
                    <a:lnTo>
                      <a:pt x="17" y="6"/>
                    </a:lnTo>
                    <a:lnTo>
                      <a:pt x="17" y="11"/>
                    </a:lnTo>
                    <a:lnTo>
                      <a:pt x="14" y="12"/>
                    </a:lnTo>
                    <a:lnTo>
                      <a:pt x="10" y="14"/>
                    </a:lnTo>
                    <a:lnTo>
                      <a:pt x="4" y="12"/>
                    </a:lnTo>
                    <a:lnTo>
                      <a:pt x="0" y="11"/>
                    </a:lnTo>
                    <a:lnTo>
                      <a:pt x="4" y="2"/>
                    </a:lnTo>
                    <a:lnTo>
                      <a:pt x="1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6" name="Freeform 227"/>
              <p:cNvSpPr>
                <a:spLocks/>
              </p:cNvSpPr>
              <p:nvPr/>
            </p:nvSpPr>
            <p:spPr bwMode="auto">
              <a:xfrm>
                <a:off x="8403432" y="4395788"/>
                <a:ext cx="23813" cy="15875"/>
              </a:xfrm>
              <a:custGeom>
                <a:avLst/>
                <a:gdLst/>
                <a:ahLst/>
                <a:cxnLst>
                  <a:cxn ang="0">
                    <a:pos x="15" y="0"/>
                  </a:cxn>
                  <a:cxn ang="0">
                    <a:pos x="15" y="3"/>
                  </a:cxn>
                  <a:cxn ang="0">
                    <a:pos x="7" y="7"/>
                  </a:cxn>
                  <a:cxn ang="0">
                    <a:pos x="1" y="10"/>
                  </a:cxn>
                  <a:cxn ang="0">
                    <a:pos x="0" y="7"/>
                  </a:cxn>
                  <a:cxn ang="0">
                    <a:pos x="0" y="5"/>
                  </a:cxn>
                  <a:cxn ang="0">
                    <a:pos x="5" y="0"/>
                  </a:cxn>
                  <a:cxn ang="0">
                    <a:pos x="15" y="0"/>
                  </a:cxn>
                </a:cxnLst>
                <a:rect l="0" t="0" r="r" b="b"/>
                <a:pathLst>
                  <a:path w="15" h="10">
                    <a:moveTo>
                      <a:pt x="15" y="0"/>
                    </a:moveTo>
                    <a:lnTo>
                      <a:pt x="15" y="3"/>
                    </a:lnTo>
                    <a:lnTo>
                      <a:pt x="7" y="7"/>
                    </a:lnTo>
                    <a:lnTo>
                      <a:pt x="1" y="10"/>
                    </a:lnTo>
                    <a:lnTo>
                      <a:pt x="0" y="7"/>
                    </a:lnTo>
                    <a:lnTo>
                      <a:pt x="0" y="5"/>
                    </a:lnTo>
                    <a:lnTo>
                      <a:pt x="5"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7" name="Freeform 228"/>
              <p:cNvSpPr>
                <a:spLocks/>
              </p:cNvSpPr>
              <p:nvPr/>
            </p:nvSpPr>
            <p:spPr bwMode="auto">
              <a:xfrm>
                <a:off x="7114382" y="3789363"/>
                <a:ext cx="101600" cy="98425"/>
              </a:xfrm>
              <a:custGeom>
                <a:avLst/>
                <a:gdLst/>
                <a:ahLst/>
                <a:cxnLst>
                  <a:cxn ang="0">
                    <a:pos x="53" y="43"/>
                  </a:cxn>
                  <a:cxn ang="0">
                    <a:pos x="52" y="41"/>
                  </a:cxn>
                  <a:cxn ang="0">
                    <a:pos x="50" y="39"/>
                  </a:cxn>
                  <a:cxn ang="0">
                    <a:pos x="46" y="43"/>
                  </a:cxn>
                  <a:cxn ang="0">
                    <a:pos x="46" y="46"/>
                  </a:cxn>
                  <a:cxn ang="0">
                    <a:pos x="48" y="48"/>
                  </a:cxn>
                  <a:cxn ang="0">
                    <a:pos x="52" y="55"/>
                  </a:cxn>
                  <a:cxn ang="0">
                    <a:pos x="50" y="58"/>
                  </a:cxn>
                  <a:cxn ang="0">
                    <a:pos x="46" y="62"/>
                  </a:cxn>
                  <a:cxn ang="0">
                    <a:pos x="43" y="60"/>
                  </a:cxn>
                  <a:cxn ang="0">
                    <a:pos x="43" y="58"/>
                  </a:cxn>
                  <a:cxn ang="0">
                    <a:pos x="41" y="58"/>
                  </a:cxn>
                  <a:cxn ang="0">
                    <a:pos x="39" y="58"/>
                  </a:cxn>
                  <a:cxn ang="0">
                    <a:pos x="31" y="53"/>
                  </a:cxn>
                  <a:cxn ang="0">
                    <a:pos x="27" y="43"/>
                  </a:cxn>
                  <a:cxn ang="0">
                    <a:pos x="27" y="38"/>
                  </a:cxn>
                  <a:cxn ang="0">
                    <a:pos x="29" y="38"/>
                  </a:cxn>
                  <a:cxn ang="0">
                    <a:pos x="27" y="34"/>
                  </a:cxn>
                  <a:cxn ang="0">
                    <a:pos x="27" y="33"/>
                  </a:cxn>
                  <a:cxn ang="0">
                    <a:pos x="21" y="33"/>
                  </a:cxn>
                  <a:cxn ang="0">
                    <a:pos x="21" y="34"/>
                  </a:cxn>
                  <a:cxn ang="0">
                    <a:pos x="21" y="36"/>
                  </a:cxn>
                  <a:cxn ang="0">
                    <a:pos x="17" y="34"/>
                  </a:cxn>
                  <a:cxn ang="0">
                    <a:pos x="15" y="34"/>
                  </a:cxn>
                  <a:cxn ang="0">
                    <a:pos x="15" y="36"/>
                  </a:cxn>
                  <a:cxn ang="0">
                    <a:pos x="12" y="34"/>
                  </a:cxn>
                  <a:cxn ang="0">
                    <a:pos x="10" y="33"/>
                  </a:cxn>
                  <a:cxn ang="0">
                    <a:pos x="7" y="36"/>
                  </a:cxn>
                  <a:cxn ang="0">
                    <a:pos x="5" y="43"/>
                  </a:cxn>
                  <a:cxn ang="0">
                    <a:pos x="3" y="48"/>
                  </a:cxn>
                  <a:cxn ang="0">
                    <a:pos x="2" y="52"/>
                  </a:cxn>
                  <a:cxn ang="0">
                    <a:pos x="0" y="46"/>
                  </a:cxn>
                  <a:cxn ang="0">
                    <a:pos x="2" y="41"/>
                  </a:cxn>
                  <a:cxn ang="0">
                    <a:pos x="0" y="38"/>
                  </a:cxn>
                  <a:cxn ang="0">
                    <a:pos x="0" y="36"/>
                  </a:cxn>
                  <a:cxn ang="0">
                    <a:pos x="0" y="31"/>
                  </a:cxn>
                  <a:cxn ang="0">
                    <a:pos x="3" y="26"/>
                  </a:cxn>
                  <a:cxn ang="0">
                    <a:pos x="10" y="21"/>
                  </a:cxn>
                  <a:cxn ang="0">
                    <a:pos x="19" y="15"/>
                  </a:cxn>
                  <a:cxn ang="0">
                    <a:pos x="24" y="19"/>
                  </a:cxn>
                  <a:cxn ang="0">
                    <a:pos x="27" y="22"/>
                  </a:cxn>
                  <a:cxn ang="0">
                    <a:pos x="31" y="22"/>
                  </a:cxn>
                  <a:cxn ang="0">
                    <a:pos x="31" y="19"/>
                  </a:cxn>
                  <a:cxn ang="0">
                    <a:pos x="34" y="17"/>
                  </a:cxn>
                  <a:cxn ang="0">
                    <a:pos x="38" y="12"/>
                  </a:cxn>
                  <a:cxn ang="0">
                    <a:pos x="45" y="10"/>
                  </a:cxn>
                  <a:cxn ang="0">
                    <a:pos x="45" y="3"/>
                  </a:cxn>
                  <a:cxn ang="0">
                    <a:pos x="46" y="0"/>
                  </a:cxn>
                  <a:cxn ang="0">
                    <a:pos x="50" y="0"/>
                  </a:cxn>
                  <a:cxn ang="0">
                    <a:pos x="53" y="3"/>
                  </a:cxn>
                  <a:cxn ang="0">
                    <a:pos x="55" y="9"/>
                  </a:cxn>
                  <a:cxn ang="0">
                    <a:pos x="58" y="21"/>
                  </a:cxn>
                  <a:cxn ang="0">
                    <a:pos x="62" y="31"/>
                  </a:cxn>
                  <a:cxn ang="0">
                    <a:pos x="64" y="38"/>
                  </a:cxn>
                  <a:cxn ang="0">
                    <a:pos x="60" y="43"/>
                  </a:cxn>
                  <a:cxn ang="0">
                    <a:pos x="58" y="53"/>
                  </a:cxn>
                  <a:cxn ang="0">
                    <a:pos x="53" y="46"/>
                  </a:cxn>
                  <a:cxn ang="0">
                    <a:pos x="52" y="41"/>
                  </a:cxn>
                  <a:cxn ang="0">
                    <a:pos x="53" y="43"/>
                  </a:cxn>
                </a:cxnLst>
                <a:rect l="0" t="0" r="r" b="b"/>
                <a:pathLst>
                  <a:path w="64" h="62">
                    <a:moveTo>
                      <a:pt x="53" y="43"/>
                    </a:moveTo>
                    <a:lnTo>
                      <a:pt x="52" y="41"/>
                    </a:lnTo>
                    <a:lnTo>
                      <a:pt x="50" y="39"/>
                    </a:lnTo>
                    <a:lnTo>
                      <a:pt x="46" y="43"/>
                    </a:lnTo>
                    <a:lnTo>
                      <a:pt x="46" y="46"/>
                    </a:lnTo>
                    <a:lnTo>
                      <a:pt x="48" y="48"/>
                    </a:lnTo>
                    <a:lnTo>
                      <a:pt x="52" y="55"/>
                    </a:lnTo>
                    <a:lnTo>
                      <a:pt x="50" y="58"/>
                    </a:lnTo>
                    <a:lnTo>
                      <a:pt x="46" y="62"/>
                    </a:lnTo>
                    <a:lnTo>
                      <a:pt x="43" y="60"/>
                    </a:lnTo>
                    <a:lnTo>
                      <a:pt x="43" y="58"/>
                    </a:lnTo>
                    <a:lnTo>
                      <a:pt x="41" y="58"/>
                    </a:lnTo>
                    <a:lnTo>
                      <a:pt x="39" y="58"/>
                    </a:lnTo>
                    <a:lnTo>
                      <a:pt x="31" y="53"/>
                    </a:lnTo>
                    <a:lnTo>
                      <a:pt x="27" y="43"/>
                    </a:lnTo>
                    <a:lnTo>
                      <a:pt x="27" y="38"/>
                    </a:lnTo>
                    <a:lnTo>
                      <a:pt x="29" y="38"/>
                    </a:lnTo>
                    <a:lnTo>
                      <a:pt x="27" y="34"/>
                    </a:lnTo>
                    <a:lnTo>
                      <a:pt x="27" y="33"/>
                    </a:lnTo>
                    <a:lnTo>
                      <a:pt x="21" y="33"/>
                    </a:lnTo>
                    <a:lnTo>
                      <a:pt x="21" y="34"/>
                    </a:lnTo>
                    <a:lnTo>
                      <a:pt x="21" y="36"/>
                    </a:lnTo>
                    <a:lnTo>
                      <a:pt x="17" y="34"/>
                    </a:lnTo>
                    <a:lnTo>
                      <a:pt x="15" y="34"/>
                    </a:lnTo>
                    <a:lnTo>
                      <a:pt x="15" y="36"/>
                    </a:lnTo>
                    <a:lnTo>
                      <a:pt x="12" y="34"/>
                    </a:lnTo>
                    <a:lnTo>
                      <a:pt x="10" y="33"/>
                    </a:lnTo>
                    <a:lnTo>
                      <a:pt x="7" y="36"/>
                    </a:lnTo>
                    <a:lnTo>
                      <a:pt x="5" y="43"/>
                    </a:lnTo>
                    <a:lnTo>
                      <a:pt x="3" y="48"/>
                    </a:lnTo>
                    <a:lnTo>
                      <a:pt x="2" y="52"/>
                    </a:lnTo>
                    <a:lnTo>
                      <a:pt x="0" y="46"/>
                    </a:lnTo>
                    <a:lnTo>
                      <a:pt x="2" y="41"/>
                    </a:lnTo>
                    <a:lnTo>
                      <a:pt x="0" y="38"/>
                    </a:lnTo>
                    <a:lnTo>
                      <a:pt x="0" y="36"/>
                    </a:lnTo>
                    <a:lnTo>
                      <a:pt x="0" y="31"/>
                    </a:lnTo>
                    <a:lnTo>
                      <a:pt x="3" y="26"/>
                    </a:lnTo>
                    <a:lnTo>
                      <a:pt x="10" y="21"/>
                    </a:lnTo>
                    <a:lnTo>
                      <a:pt x="19" y="15"/>
                    </a:lnTo>
                    <a:lnTo>
                      <a:pt x="24" y="19"/>
                    </a:lnTo>
                    <a:lnTo>
                      <a:pt x="27" y="22"/>
                    </a:lnTo>
                    <a:lnTo>
                      <a:pt x="31" y="22"/>
                    </a:lnTo>
                    <a:lnTo>
                      <a:pt x="31" y="19"/>
                    </a:lnTo>
                    <a:lnTo>
                      <a:pt x="34" y="17"/>
                    </a:lnTo>
                    <a:lnTo>
                      <a:pt x="38" y="12"/>
                    </a:lnTo>
                    <a:lnTo>
                      <a:pt x="45" y="10"/>
                    </a:lnTo>
                    <a:lnTo>
                      <a:pt x="45" y="3"/>
                    </a:lnTo>
                    <a:lnTo>
                      <a:pt x="46" y="0"/>
                    </a:lnTo>
                    <a:lnTo>
                      <a:pt x="50" y="0"/>
                    </a:lnTo>
                    <a:lnTo>
                      <a:pt x="53" y="3"/>
                    </a:lnTo>
                    <a:lnTo>
                      <a:pt x="55" y="9"/>
                    </a:lnTo>
                    <a:lnTo>
                      <a:pt x="58" y="21"/>
                    </a:lnTo>
                    <a:lnTo>
                      <a:pt x="62" y="31"/>
                    </a:lnTo>
                    <a:lnTo>
                      <a:pt x="64" y="38"/>
                    </a:lnTo>
                    <a:lnTo>
                      <a:pt x="60" y="43"/>
                    </a:lnTo>
                    <a:lnTo>
                      <a:pt x="58" y="53"/>
                    </a:lnTo>
                    <a:lnTo>
                      <a:pt x="53" y="46"/>
                    </a:lnTo>
                    <a:lnTo>
                      <a:pt x="52" y="41"/>
                    </a:lnTo>
                    <a:lnTo>
                      <a:pt x="53"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8" name="Freeform 229"/>
              <p:cNvSpPr>
                <a:spLocks/>
              </p:cNvSpPr>
              <p:nvPr/>
            </p:nvSpPr>
            <p:spPr bwMode="auto">
              <a:xfrm>
                <a:off x="7015957" y="3763963"/>
                <a:ext cx="52388" cy="52387"/>
              </a:xfrm>
              <a:custGeom>
                <a:avLst/>
                <a:gdLst/>
                <a:ahLst/>
                <a:cxnLst>
                  <a:cxn ang="0">
                    <a:pos x="3" y="33"/>
                  </a:cxn>
                  <a:cxn ang="0">
                    <a:pos x="0" y="33"/>
                  </a:cxn>
                  <a:cxn ang="0">
                    <a:pos x="3" y="23"/>
                  </a:cxn>
                  <a:cxn ang="0">
                    <a:pos x="12" y="18"/>
                  </a:cxn>
                  <a:cxn ang="0">
                    <a:pos x="19" y="11"/>
                  </a:cxn>
                  <a:cxn ang="0">
                    <a:pos x="26" y="6"/>
                  </a:cxn>
                  <a:cxn ang="0">
                    <a:pos x="26" y="2"/>
                  </a:cxn>
                  <a:cxn ang="0">
                    <a:pos x="28" y="0"/>
                  </a:cxn>
                  <a:cxn ang="0">
                    <a:pos x="29" y="4"/>
                  </a:cxn>
                  <a:cxn ang="0">
                    <a:pos x="33" y="7"/>
                  </a:cxn>
                  <a:cxn ang="0">
                    <a:pos x="29" y="7"/>
                  </a:cxn>
                  <a:cxn ang="0">
                    <a:pos x="28" y="9"/>
                  </a:cxn>
                  <a:cxn ang="0">
                    <a:pos x="22" y="12"/>
                  </a:cxn>
                  <a:cxn ang="0">
                    <a:pos x="19" y="14"/>
                  </a:cxn>
                  <a:cxn ang="0">
                    <a:pos x="12" y="26"/>
                  </a:cxn>
                  <a:cxn ang="0">
                    <a:pos x="3" y="33"/>
                  </a:cxn>
                </a:cxnLst>
                <a:rect l="0" t="0" r="r" b="b"/>
                <a:pathLst>
                  <a:path w="33" h="33">
                    <a:moveTo>
                      <a:pt x="3" y="33"/>
                    </a:moveTo>
                    <a:lnTo>
                      <a:pt x="0" y="33"/>
                    </a:lnTo>
                    <a:lnTo>
                      <a:pt x="3" y="23"/>
                    </a:lnTo>
                    <a:lnTo>
                      <a:pt x="12" y="18"/>
                    </a:lnTo>
                    <a:lnTo>
                      <a:pt x="19" y="11"/>
                    </a:lnTo>
                    <a:lnTo>
                      <a:pt x="26" y="6"/>
                    </a:lnTo>
                    <a:lnTo>
                      <a:pt x="26" y="2"/>
                    </a:lnTo>
                    <a:lnTo>
                      <a:pt x="28" y="0"/>
                    </a:lnTo>
                    <a:lnTo>
                      <a:pt x="29" y="4"/>
                    </a:lnTo>
                    <a:lnTo>
                      <a:pt x="33" y="7"/>
                    </a:lnTo>
                    <a:lnTo>
                      <a:pt x="29" y="7"/>
                    </a:lnTo>
                    <a:lnTo>
                      <a:pt x="28" y="9"/>
                    </a:lnTo>
                    <a:lnTo>
                      <a:pt x="22" y="12"/>
                    </a:lnTo>
                    <a:lnTo>
                      <a:pt x="19" y="14"/>
                    </a:lnTo>
                    <a:lnTo>
                      <a:pt x="12" y="26"/>
                    </a:lnTo>
                    <a:lnTo>
                      <a:pt x="3"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9" name="Freeform 230"/>
              <p:cNvSpPr>
                <a:spLocks/>
              </p:cNvSpPr>
              <p:nvPr/>
            </p:nvSpPr>
            <p:spPr bwMode="auto">
              <a:xfrm>
                <a:off x="7054057" y="3587750"/>
                <a:ext cx="98425" cy="138112"/>
              </a:xfrm>
              <a:custGeom>
                <a:avLst/>
                <a:gdLst/>
                <a:ahLst/>
                <a:cxnLst>
                  <a:cxn ang="0">
                    <a:pos x="4" y="36"/>
                  </a:cxn>
                  <a:cxn ang="0">
                    <a:pos x="5" y="29"/>
                  </a:cxn>
                  <a:cxn ang="0">
                    <a:pos x="7" y="24"/>
                  </a:cxn>
                  <a:cxn ang="0">
                    <a:pos x="5" y="15"/>
                  </a:cxn>
                  <a:cxn ang="0">
                    <a:pos x="5" y="8"/>
                  </a:cxn>
                  <a:cxn ang="0">
                    <a:pos x="5" y="1"/>
                  </a:cxn>
                  <a:cxn ang="0">
                    <a:pos x="10" y="0"/>
                  </a:cxn>
                  <a:cxn ang="0">
                    <a:pos x="14" y="3"/>
                  </a:cxn>
                  <a:cxn ang="0">
                    <a:pos x="17" y="8"/>
                  </a:cxn>
                  <a:cxn ang="0">
                    <a:pos x="21" y="5"/>
                  </a:cxn>
                  <a:cxn ang="0">
                    <a:pos x="24" y="3"/>
                  </a:cxn>
                  <a:cxn ang="0">
                    <a:pos x="24" y="5"/>
                  </a:cxn>
                  <a:cxn ang="0">
                    <a:pos x="26" y="7"/>
                  </a:cxn>
                  <a:cxn ang="0">
                    <a:pos x="26" y="8"/>
                  </a:cxn>
                  <a:cxn ang="0">
                    <a:pos x="28" y="19"/>
                  </a:cxn>
                  <a:cxn ang="0">
                    <a:pos x="31" y="29"/>
                  </a:cxn>
                  <a:cxn ang="0">
                    <a:pos x="26" y="38"/>
                  </a:cxn>
                  <a:cxn ang="0">
                    <a:pos x="22" y="48"/>
                  </a:cxn>
                  <a:cxn ang="0">
                    <a:pos x="26" y="60"/>
                  </a:cxn>
                  <a:cxn ang="0">
                    <a:pos x="34" y="68"/>
                  </a:cxn>
                  <a:cxn ang="0">
                    <a:pos x="34" y="67"/>
                  </a:cxn>
                  <a:cxn ang="0">
                    <a:pos x="34" y="63"/>
                  </a:cxn>
                  <a:cxn ang="0">
                    <a:pos x="40" y="63"/>
                  </a:cxn>
                  <a:cxn ang="0">
                    <a:pos x="45" y="68"/>
                  </a:cxn>
                  <a:cxn ang="0">
                    <a:pos x="48" y="74"/>
                  </a:cxn>
                  <a:cxn ang="0">
                    <a:pos x="50" y="72"/>
                  </a:cxn>
                  <a:cxn ang="0">
                    <a:pos x="53" y="70"/>
                  </a:cxn>
                  <a:cxn ang="0">
                    <a:pos x="55" y="72"/>
                  </a:cxn>
                  <a:cxn ang="0">
                    <a:pos x="53" y="74"/>
                  </a:cxn>
                  <a:cxn ang="0">
                    <a:pos x="53" y="77"/>
                  </a:cxn>
                  <a:cxn ang="0">
                    <a:pos x="57" y="77"/>
                  </a:cxn>
                  <a:cxn ang="0">
                    <a:pos x="57" y="80"/>
                  </a:cxn>
                  <a:cxn ang="0">
                    <a:pos x="62" y="82"/>
                  </a:cxn>
                  <a:cxn ang="0">
                    <a:pos x="62" y="84"/>
                  </a:cxn>
                  <a:cxn ang="0">
                    <a:pos x="62" y="86"/>
                  </a:cxn>
                  <a:cxn ang="0">
                    <a:pos x="60" y="86"/>
                  </a:cxn>
                  <a:cxn ang="0">
                    <a:pos x="60" y="87"/>
                  </a:cxn>
                  <a:cxn ang="0">
                    <a:pos x="59" y="86"/>
                  </a:cxn>
                  <a:cxn ang="0">
                    <a:pos x="59" y="84"/>
                  </a:cxn>
                  <a:cxn ang="0">
                    <a:pos x="50" y="77"/>
                  </a:cxn>
                  <a:cxn ang="0">
                    <a:pos x="41" y="72"/>
                  </a:cxn>
                  <a:cxn ang="0">
                    <a:pos x="40" y="74"/>
                  </a:cxn>
                  <a:cxn ang="0">
                    <a:pos x="41" y="79"/>
                  </a:cxn>
                  <a:cxn ang="0">
                    <a:pos x="34" y="74"/>
                  </a:cxn>
                  <a:cxn ang="0">
                    <a:pos x="29" y="70"/>
                  </a:cxn>
                  <a:cxn ang="0">
                    <a:pos x="24" y="70"/>
                  </a:cxn>
                  <a:cxn ang="0">
                    <a:pos x="21" y="72"/>
                  </a:cxn>
                  <a:cxn ang="0">
                    <a:pos x="16" y="68"/>
                  </a:cxn>
                  <a:cxn ang="0">
                    <a:pos x="14" y="65"/>
                  </a:cxn>
                  <a:cxn ang="0">
                    <a:pos x="14" y="62"/>
                  </a:cxn>
                  <a:cxn ang="0">
                    <a:pos x="17" y="62"/>
                  </a:cxn>
                  <a:cxn ang="0">
                    <a:pos x="17" y="56"/>
                  </a:cxn>
                  <a:cxn ang="0">
                    <a:pos x="14" y="56"/>
                  </a:cxn>
                  <a:cxn ang="0">
                    <a:pos x="12" y="58"/>
                  </a:cxn>
                  <a:cxn ang="0">
                    <a:pos x="10" y="60"/>
                  </a:cxn>
                  <a:cxn ang="0">
                    <a:pos x="5" y="56"/>
                  </a:cxn>
                  <a:cxn ang="0">
                    <a:pos x="2" y="51"/>
                  </a:cxn>
                  <a:cxn ang="0">
                    <a:pos x="0" y="41"/>
                  </a:cxn>
                  <a:cxn ang="0">
                    <a:pos x="4" y="36"/>
                  </a:cxn>
                </a:cxnLst>
                <a:rect l="0" t="0" r="r" b="b"/>
                <a:pathLst>
                  <a:path w="62" h="87">
                    <a:moveTo>
                      <a:pt x="4" y="36"/>
                    </a:moveTo>
                    <a:lnTo>
                      <a:pt x="5" y="29"/>
                    </a:lnTo>
                    <a:lnTo>
                      <a:pt x="7" y="24"/>
                    </a:lnTo>
                    <a:lnTo>
                      <a:pt x="5" y="15"/>
                    </a:lnTo>
                    <a:lnTo>
                      <a:pt x="5" y="8"/>
                    </a:lnTo>
                    <a:lnTo>
                      <a:pt x="5" y="1"/>
                    </a:lnTo>
                    <a:lnTo>
                      <a:pt x="10" y="0"/>
                    </a:lnTo>
                    <a:lnTo>
                      <a:pt x="14" y="3"/>
                    </a:lnTo>
                    <a:lnTo>
                      <a:pt x="17" y="8"/>
                    </a:lnTo>
                    <a:lnTo>
                      <a:pt x="21" y="5"/>
                    </a:lnTo>
                    <a:lnTo>
                      <a:pt x="24" y="3"/>
                    </a:lnTo>
                    <a:lnTo>
                      <a:pt x="24" y="5"/>
                    </a:lnTo>
                    <a:lnTo>
                      <a:pt x="26" y="7"/>
                    </a:lnTo>
                    <a:lnTo>
                      <a:pt x="26" y="8"/>
                    </a:lnTo>
                    <a:lnTo>
                      <a:pt x="28" y="19"/>
                    </a:lnTo>
                    <a:lnTo>
                      <a:pt x="31" y="29"/>
                    </a:lnTo>
                    <a:lnTo>
                      <a:pt x="26" y="38"/>
                    </a:lnTo>
                    <a:lnTo>
                      <a:pt x="22" y="48"/>
                    </a:lnTo>
                    <a:lnTo>
                      <a:pt x="26" y="60"/>
                    </a:lnTo>
                    <a:lnTo>
                      <a:pt x="34" y="68"/>
                    </a:lnTo>
                    <a:lnTo>
                      <a:pt x="34" y="67"/>
                    </a:lnTo>
                    <a:lnTo>
                      <a:pt x="34" y="63"/>
                    </a:lnTo>
                    <a:lnTo>
                      <a:pt x="40" y="63"/>
                    </a:lnTo>
                    <a:lnTo>
                      <a:pt x="45" y="68"/>
                    </a:lnTo>
                    <a:lnTo>
                      <a:pt x="48" y="74"/>
                    </a:lnTo>
                    <a:lnTo>
                      <a:pt x="50" y="72"/>
                    </a:lnTo>
                    <a:lnTo>
                      <a:pt x="53" y="70"/>
                    </a:lnTo>
                    <a:lnTo>
                      <a:pt x="55" y="72"/>
                    </a:lnTo>
                    <a:lnTo>
                      <a:pt x="53" y="74"/>
                    </a:lnTo>
                    <a:lnTo>
                      <a:pt x="53" y="77"/>
                    </a:lnTo>
                    <a:lnTo>
                      <a:pt x="57" y="77"/>
                    </a:lnTo>
                    <a:lnTo>
                      <a:pt x="57" y="80"/>
                    </a:lnTo>
                    <a:lnTo>
                      <a:pt x="62" y="82"/>
                    </a:lnTo>
                    <a:lnTo>
                      <a:pt x="62" y="84"/>
                    </a:lnTo>
                    <a:lnTo>
                      <a:pt x="62" y="86"/>
                    </a:lnTo>
                    <a:lnTo>
                      <a:pt x="60" y="86"/>
                    </a:lnTo>
                    <a:lnTo>
                      <a:pt x="60" y="87"/>
                    </a:lnTo>
                    <a:lnTo>
                      <a:pt x="59" y="86"/>
                    </a:lnTo>
                    <a:lnTo>
                      <a:pt x="59" y="84"/>
                    </a:lnTo>
                    <a:lnTo>
                      <a:pt x="50" y="77"/>
                    </a:lnTo>
                    <a:lnTo>
                      <a:pt x="41" y="72"/>
                    </a:lnTo>
                    <a:lnTo>
                      <a:pt x="40" y="74"/>
                    </a:lnTo>
                    <a:lnTo>
                      <a:pt x="41" y="79"/>
                    </a:lnTo>
                    <a:lnTo>
                      <a:pt x="34" y="74"/>
                    </a:lnTo>
                    <a:lnTo>
                      <a:pt x="29" y="70"/>
                    </a:lnTo>
                    <a:lnTo>
                      <a:pt x="24" y="70"/>
                    </a:lnTo>
                    <a:lnTo>
                      <a:pt x="21" y="72"/>
                    </a:lnTo>
                    <a:lnTo>
                      <a:pt x="16" y="68"/>
                    </a:lnTo>
                    <a:lnTo>
                      <a:pt x="14" y="65"/>
                    </a:lnTo>
                    <a:lnTo>
                      <a:pt x="14" y="62"/>
                    </a:lnTo>
                    <a:lnTo>
                      <a:pt x="17" y="62"/>
                    </a:lnTo>
                    <a:lnTo>
                      <a:pt x="17" y="56"/>
                    </a:lnTo>
                    <a:lnTo>
                      <a:pt x="14" y="56"/>
                    </a:lnTo>
                    <a:lnTo>
                      <a:pt x="12" y="58"/>
                    </a:lnTo>
                    <a:lnTo>
                      <a:pt x="10" y="60"/>
                    </a:lnTo>
                    <a:lnTo>
                      <a:pt x="5" y="56"/>
                    </a:lnTo>
                    <a:lnTo>
                      <a:pt x="2" y="51"/>
                    </a:lnTo>
                    <a:lnTo>
                      <a:pt x="0" y="41"/>
                    </a:lnTo>
                    <a:lnTo>
                      <a:pt x="4"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0" name="Freeform 231"/>
              <p:cNvSpPr>
                <a:spLocks/>
              </p:cNvSpPr>
              <p:nvPr/>
            </p:nvSpPr>
            <p:spPr bwMode="auto">
              <a:xfrm>
                <a:off x="7155657" y="3729038"/>
                <a:ext cx="31750" cy="53975"/>
              </a:xfrm>
              <a:custGeom>
                <a:avLst/>
                <a:gdLst/>
                <a:ahLst/>
                <a:cxnLst>
                  <a:cxn ang="0">
                    <a:pos x="19" y="22"/>
                  </a:cxn>
                  <a:cxn ang="0">
                    <a:pos x="12" y="22"/>
                  </a:cxn>
                  <a:cxn ang="0">
                    <a:pos x="12" y="28"/>
                  </a:cxn>
                  <a:cxn ang="0">
                    <a:pos x="15" y="33"/>
                  </a:cxn>
                  <a:cxn ang="0">
                    <a:pos x="15" y="34"/>
                  </a:cxn>
                  <a:cxn ang="0">
                    <a:pos x="13" y="34"/>
                  </a:cxn>
                  <a:cxn ang="0">
                    <a:pos x="12" y="34"/>
                  </a:cxn>
                  <a:cxn ang="0">
                    <a:pos x="8" y="31"/>
                  </a:cxn>
                  <a:cxn ang="0">
                    <a:pos x="10" y="29"/>
                  </a:cxn>
                  <a:cxn ang="0">
                    <a:pos x="10" y="26"/>
                  </a:cxn>
                  <a:cxn ang="0">
                    <a:pos x="5" y="22"/>
                  </a:cxn>
                  <a:cxn ang="0">
                    <a:pos x="3" y="21"/>
                  </a:cxn>
                  <a:cxn ang="0">
                    <a:pos x="3" y="17"/>
                  </a:cxn>
                  <a:cxn ang="0">
                    <a:pos x="5" y="17"/>
                  </a:cxn>
                  <a:cxn ang="0">
                    <a:pos x="8" y="17"/>
                  </a:cxn>
                  <a:cxn ang="0">
                    <a:pos x="10" y="16"/>
                  </a:cxn>
                  <a:cxn ang="0">
                    <a:pos x="12" y="16"/>
                  </a:cxn>
                  <a:cxn ang="0">
                    <a:pos x="5" y="7"/>
                  </a:cxn>
                  <a:cxn ang="0">
                    <a:pos x="0" y="2"/>
                  </a:cxn>
                  <a:cxn ang="0">
                    <a:pos x="1" y="0"/>
                  </a:cxn>
                  <a:cxn ang="0">
                    <a:pos x="5" y="0"/>
                  </a:cxn>
                  <a:cxn ang="0">
                    <a:pos x="10" y="0"/>
                  </a:cxn>
                  <a:cxn ang="0">
                    <a:pos x="15" y="2"/>
                  </a:cxn>
                  <a:cxn ang="0">
                    <a:pos x="15" y="4"/>
                  </a:cxn>
                  <a:cxn ang="0">
                    <a:pos x="15" y="7"/>
                  </a:cxn>
                  <a:cxn ang="0">
                    <a:pos x="17" y="7"/>
                  </a:cxn>
                  <a:cxn ang="0">
                    <a:pos x="17" y="10"/>
                  </a:cxn>
                  <a:cxn ang="0">
                    <a:pos x="17" y="14"/>
                  </a:cxn>
                  <a:cxn ang="0">
                    <a:pos x="19" y="16"/>
                  </a:cxn>
                  <a:cxn ang="0">
                    <a:pos x="20" y="17"/>
                  </a:cxn>
                  <a:cxn ang="0">
                    <a:pos x="19" y="19"/>
                  </a:cxn>
                  <a:cxn ang="0">
                    <a:pos x="19" y="22"/>
                  </a:cxn>
                </a:cxnLst>
                <a:rect l="0" t="0" r="r" b="b"/>
                <a:pathLst>
                  <a:path w="20" h="34">
                    <a:moveTo>
                      <a:pt x="19" y="22"/>
                    </a:moveTo>
                    <a:lnTo>
                      <a:pt x="12" y="22"/>
                    </a:lnTo>
                    <a:lnTo>
                      <a:pt x="12" y="28"/>
                    </a:lnTo>
                    <a:lnTo>
                      <a:pt x="15" y="33"/>
                    </a:lnTo>
                    <a:lnTo>
                      <a:pt x="15" y="34"/>
                    </a:lnTo>
                    <a:lnTo>
                      <a:pt x="13" y="34"/>
                    </a:lnTo>
                    <a:lnTo>
                      <a:pt x="12" y="34"/>
                    </a:lnTo>
                    <a:lnTo>
                      <a:pt x="8" y="31"/>
                    </a:lnTo>
                    <a:lnTo>
                      <a:pt x="10" y="29"/>
                    </a:lnTo>
                    <a:lnTo>
                      <a:pt x="10" y="26"/>
                    </a:lnTo>
                    <a:lnTo>
                      <a:pt x="5" y="22"/>
                    </a:lnTo>
                    <a:lnTo>
                      <a:pt x="3" y="21"/>
                    </a:lnTo>
                    <a:lnTo>
                      <a:pt x="3" y="17"/>
                    </a:lnTo>
                    <a:lnTo>
                      <a:pt x="5" y="17"/>
                    </a:lnTo>
                    <a:lnTo>
                      <a:pt x="8" y="17"/>
                    </a:lnTo>
                    <a:lnTo>
                      <a:pt x="10" y="16"/>
                    </a:lnTo>
                    <a:lnTo>
                      <a:pt x="12" y="16"/>
                    </a:lnTo>
                    <a:lnTo>
                      <a:pt x="5" y="7"/>
                    </a:lnTo>
                    <a:lnTo>
                      <a:pt x="0" y="2"/>
                    </a:lnTo>
                    <a:lnTo>
                      <a:pt x="1" y="0"/>
                    </a:lnTo>
                    <a:lnTo>
                      <a:pt x="5" y="0"/>
                    </a:lnTo>
                    <a:lnTo>
                      <a:pt x="10" y="0"/>
                    </a:lnTo>
                    <a:lnTo>
                      <a:pt x="15" y="2"/>
                    </a:lnTo>
                    <a:lnTo>
                      <a:pt x="15" y="4"/>
                    </a:lnTo>
                    <a:lnTo>
                      <a:pt x="15" y="7"/>
                    </a:lnTo>
                    <a:lnTo>
                      <a:pt x="17" y="7"/>
                    </a:lnTo>
                    <a:lnTo>
                      <a:pt x="17" y="10"/>
                    </a:lnTo>
                    <a:lnTo>
                      <a:pt x="17" y="14"/>
                    </a:lnTo>
                    <a:lnTo>
                      <a:pt x="19" y="16"/>
                    </a:lnTo>
                    <a:lnTo>
                      <a:pt x="20" y="17"/>
                    </a:lnTo>
                    <a:lnTo>
                      <a:pt x="19" y="19"/>
                    </a:lnTo>
                    <a:lnTo>
                      <a:pt x="19"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1" name="Freeform 232"/>
              <p:cNvSpPr>
                <a:spLocks/>
              </p:cNvSpPr>
              <p:nvPr/>
            </p:nvSpPr>
            <p:spPr bwMode="auto">
              <a:xfrm>
                <a:off x="7108032" y="3743325"/>
                <a:ext cx="25400" cy="34925"/>
              </a:xfrm>
              <a:custGeom>
                <a:avLst/>
                <a:gdLst/>
                <a:ahLst/>
                <a:cxnLst>
                  <a:cxn ang="0">
                    <a:pos x="4" y="1"/>
                  </a:cxn>
                  <a:cxn ang="0">
                    <a:pos x="9" y="3"/>
                  </a:cxn>
                  <a:cxn ang="0">
                    <a:pos x="16" y="8"/>
                  </a:cxn>
                  <a:cxn ang="0">
                    <a:pos x="9" y="17"/>
                  </a:cxn>
                  <a:cxn ang="0">
                    <a:pos x="2" y="22"/>
                  </a:cxn>
                  <a:cxn ang="0">
                    <a:pos x="0" y="10"/>
                  </a:cxn>
                  <a:cxn ang="0">
                    <a:pos x="0" y="3"/>
                  </a:cxn>
                  <a:cxn ang="0">
                    <a:pos x="0" y="0"/>
                  </a:cxn>
                  <a:cxn ang="0">
                    <a:pos x="2" y="0"/>
                  </a:cxn>
                  <a:cxn ang="0">
                    <a:pos x="4" y="0"/>
                  </a:cxn>
                  <a:cxn ang="0">
                    <a:pos x="6" y="3"/>
                  </a:cxn>
                  <a:cxn ang="0">
                    <a:pos x="4" y="1"/>
                  </a:cxn>
                </a:cxnLst>
                <a:rect l="0" t="0" r="r" b="b"/>
                <a:pathLst>
                  <a:path w="16" h="22">
                    <a:moveTo>
                      <a:pt x="4" y="1"/>
                    </a:moveTo>
                    <a:lnTo>
                      <a:pt x="9" y="3"/>
                    </a:lnTo>
                    <a:lnTo>
                      <a:pt x="16" y="8"/>
                    </a:lnTo>
                    <a:lnTo>
                      <a:pt x="9" y="17"/>
                    </a:lnTo>
                    <a:lnTo>
                      <a:pt x="2" y="22"/>
                    </a:lnTo>
                    <a:lnTo>
                      <a:pt x="0" y="10"/>
                    </a:lnTo>
                    <a:lnTo>
                      <a:pt x="0" y="3"/>
                    </a:lnTo>
                    <a:lnTo>
                      <a:pt x="0" y="0"/>
                    </a:lnTo>
                    <a:lnTo>
                      <a:pt x="2" y="0"/>
                    </a:lnTo>
                    <a:lnTo>
                      <a:pt x="4" y="0"/>
                    </a:lnTo>
                    <a:lnTo>
                      <a:pt x="6" y="3"/>
                    </a:lnTo>
                    <a:lnTo>
                      <a:pt x="4"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2" name="Freeform 233"/>
              <p:cNvSpPr>
                <a:spLocks/>
              </p:cNvSpPr>
              <p:nvPr/>
            </p:nvSpPr>
            <p:spPr bwMode="auto">
              <a:xfrm>
                <a:off x="7122319" y="3767138"/>
                <a:ext cx="26988" cy="41275"/>
              </a:xfrm>
              <a:custGeom>
                <a:avLst/>
                <a:gdLst/>
                <a:ahLst/>
                <a:cxnLst>
                  <a:cxn ang="0">
                    <a:pos x="17" y="5"/>
                  </a:cxn>
                  <a:cxn ang="0">
                    <a:pos x="14" y="12"/>
                  </a:cxn>
                  <a:cxn ang="0">
                    <a:pos x="12" y="19"/>
                  </a:cxn>
                  <a:cxn ang="0">
                    <a:pos x="12" y="21"/>
                  </a:cxn>
                  <a:cxn ang="0">
                    <a:pos x="14" y="24"/>
                  </a:cxn>
                  <a:cxn ang="0">
                    <a:pos x="12" y="24"/>
                  </a:cxn>
                  <a:cxn ang="0">
                    <a:pos x="10" y="26"/>
                  </a:cxn>
                  <a:cxn ang="0">
                    <a:pos x="4" y="21"/>
                  </a:cxn>
                  <a:cxn ang="0">
                    <a:pos x="0" y="16"/>
                  </a:cxn>
                  <a:cxn ang="0">
                    <a:pos x="2" y="12"/>
                  </a:cxn>
                  <a:cxn ang="0">
                    <a:pos x="5" y="12"/>
                  </a:cxn>
                  <a:cxn ang="0">
                    <a:pos x="5" y="5"/>
                  </a:cxn>
                  <a:cxn ang="0">
                    <a:pos x="10" y="0"/>
                  </a:cxn>
                  <a:cxn ang="0">
                    <a:pos x="14" y="0"/>
                  </a:cxn>
                  <a:cxn ang="0">
                    <a:pos x="17" y="5"/>
                  </a:cxn>
                </a:cxnLst>
                <a:rect l="0" t="0" r="r" b="b"/>
                <a:pathLst>
                  <a:path w="17" h="26">
                    <a:moveTo>
                      <a:pt x="17" y="5"/>
                    </a:moveTo>
                    <a:lnTo>
                      <a:pt x="14" y="12"/>
                    </a:lnTo>
                    <a:lnTo>
                      <a:pt x="12" y="19"/>
                    </a:lnTo>
                    <a:lnTo>
                      <a:pt x="12" y="21"/>
                    </a:lnTo>
                    <a:lnTo>
                      <a:pt x="14" y="24"/>
                    </a:lnTo>
                    <a:lnTo>
                      <a:pt x="12" y="24"/>
                    </a:lnTo>
                    <a:lnTo>
                      <a:pt x="10" y="26"/>
                    </a:lnTo>
                    <a:lnTo>
                      <a:pt x="4" y="21"/>
                    </a:lnTo>
                    <a:lnTo>
                      <a:pt x="0" y="16"/>
                    </a:lnTo>
                    <a:lnTo>
                      <a:pt x="2" y="12"/>
                    </a:lnTo>
                    <a:lnTo>
                      <a:pt x="5" y="12"/>
                    </a:lnTo>
                    <a:lnTo>
                      <a:pt x="5" y="5"/>
                    </a:lnTo>
                    <a:lnTo>
                      <a:pt x="10" y="0"/>
                    </a:lnTo>
                    <a:lnTo>
                      <a:pt x="14" y="0"/>
                    </a:lnTo>
                    <a:lnTo>
                      <a:pt x="1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3" name="Freeform 234"/>
              <p:cNvSpPr>
                <a:spLocks/>
              </p:cNvSpPr>
              <p:nvPr/>
            </p:nvSpPr>
            <p:spPr bwMode="auto">
              <a:xfrm>
                <a:off x="7144544" y="3767138"/>
                <a:ext cx="12700" cy="26987"/>
              </a:xfrm>
              <a:custGeom>
                <a:avLst/>
                <a:gdLst/>
                <a:ahLst/>
                <a:cxnLst>
                  <a:cxn ang="0">
                    <a:pos x="8" y="0"/>
                  </a:cxn>
                  <a:cxn ang="0">
                    <a:pos x="5" y="9"/>
                  </a:cxn>
                  <a:cxn ang="0">
                    <a:pos x="3" y="17"/>
                  </a:cxn>
                  <a:cxn ang="0">
                    <a:pos x="0" y="17"/>
                  </a:cxn>
                  <a:cxn ang="0">
                    <a:pos x="2" y="9"/>
                  </a:cxn>
                  <a:cxn ang="0">
                    <a:pos x="5" y="0"/>
                  </a:cxn>
                  <a:cxn ang="0">
                    <a:pos x="7" y="0"/>
                  </a:cxn>
                  <a:cxn ang="0">
                    <a:pos x="8" y="0"/>
                  </a:cxn>
                </a:cxnLst>
                <a:rect l="0" t="0" r="r" b="b"/>
                <a:pathLst>
                  <a:path w="8" h="17">
                    <a:moveTo>
                      <a:pt x="8" y="0"/>
                    </a:moveTo>
                    <a:lnTo>
                      <a:pt x="5" y="9"/>
                    </a:lnTo>
                    <a:lnTo>
                      <a:pt x="3" y="17"/>
                    </a:lnTo>
                    <a:lnTo>
                      <a:pt x="0" y="17"/>
                    </a:lnTo>
                    <a:lnTo>
                      <a:pt x="2" y="9"/>
                    </a:lnTo>
                    <a:lnTo>
                      <a:pt x="5" y="0"/>
                    </a:lnTo>
                    <a:lnTo>
                      <a:pt x="7" y="0"/>
                    </a:lnTo>
                    <a:lnTo>
                      <a:pt x="8"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4" name="Freeform 235"/>
              <p:cNvSpPr>
                <a:spLocks/>
              </p:cNvSpPr>
              <p:nvPr/>
            </p:nvSpPr>
            <p:spPr bwMode="auto">
              <a:xfrm>
                <a:off x="7152482" y="3786188"/>
                <a:ext cx="15875" cy="14287"/>
              </a:xfrm>
              <a:custGeom>
                <a:avLst/>
                <a:gdLst/>
                <a:ahLst/>
                <a:cxnLst>
                  <a:cxn ang="0">
                    <a:pos x="10" y="0"/>
                  </a:cxn>
                  <a:cxn ang="0">
                    <a:pos x="7" y="5"/>
                  </a:cxn>
                  <a:cxn ang="0">
                    <a:pos x="2" y="9"/>
                  </a:cxn>
                  <a:cxn ang="0">
                    <a:pos x="0" y="7"/>
                  </a:cxn>
                  <a:cxn ang="0">
                    <a:pos x="0" y="5"/>
                  </a:cxn>
                  <a:cxn ang="0">
                    <a:pos x="0" y="2"/>
                  </a:cxn>
                  <a:cxn ang="0">
                    <a:pos x="3" y="0"/>
                  </a:cxn>
                  <a:cxn ang="0">
                    <a:pos x="7" y="0"/>
                  </a:cxn>
                  <a:cxn ang="0">
                    <a:pos x="10" y="0"/>
                  </a:cxn>
                </a:cxnLst>
                <a:rect l="0" t="0" r="r" b="b"/>
                <a:pathLst>
                  <a:path w="10" h="9">
                    <a:moveTo>
                      <a:pt x="10" y="0"/>
                    </a:moveTo>
                    <a:lnTo>
                      <a:pt x="7" y="5"/>
                    </a:lnTo>
                    <a:lnTo>
                      <a:pt x="2" y="9"/>
                    </a:lnTo>
                    <a:lnTo>
                      <a:pt x="0" y="7"/>
                    </a:lnTo>
                    <a:lnTo>
                      <a:pt x="0" y="5"/>
                    </a:lnTo>
                    <a:lnTo>
                      <a:pt x="0" y="2"/>
                    </a:lnTo>
                    <a:lnTo>
                      <a:pt x="3" y="0"/>
                    </a:lnTo>
                    <a:lnTo>
                      <a:pt x="7"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5" name="Freeform 236"/>
              <p:cNvSpPr>
                <a:spLocks/>
              </p:cNvSpPr>
              <p:nvPr/>
            </p:nvSpPr>
            <p:spPr bwMode="auto">
              <a:xfrm>
                <a:off x="7133432" y="3729038"/>
                <a:ext cx="19050" cy="15875"/>
              </a:xfrm>
              <a:custGeom>
                <a:avLst/>
                <a:gdLst/>
                <a:ahLst/>
                <a:cxnLst>
                  <a:cxn ang="0">
                    <a:pos x="0" y="7"/>
                  </a:cxn>
                  <a:cxn ang="0">
                    <a:pos x="0" y="2"/>
                  </a:cxn>
                  <a:cxn ang="0">
                    <a:pos x="0" y="0"/>
                  </a:cxn>
                  <a:cxn ang="0">
                    <a:pos x="5" y="0"/>
                  </a:cxn>
                  <a:cxn ang="0">
                    <a:pos x="9" y="4"/>
                  </a:cxn>
                  <a:cxn ang="0">
                    <a:pos x="12" y="10"/>
                  </a:cxn>
                  <a:cxn ang="0">
                    <a:pos x="9" y="10"/>
                  </a:cxn>
                  <a:cxn ang="0">
                    <a:pos x="7" y="7"/>
                  </a:cxn>
                  <a:cxn ang="0">
                    <a:pos x="3" y="5"/>
                  </a:cxn>
                  <a:cxn ang="0">
                    <a:pos x="0" y="7"/>
                  </a:cxn>
                </a:cxnLst>
                <a:rect l="0" t="0" r="r" b="b"/>
                <a:pathLst>
                  <a:path w="12" h="10">
                    <a:moveTo>
                      <a:pt x="0" y="7"/>
                    </a:moveTo>
                    <a:lnTo>
                      <a:pt x="0" y="2"/>
                    </a:lnTo>
                    <a:lnTo>
                      <a:pt x="0" y="0"/>
                    </a:lnTo>
                    <a:lnTo>
                      <a:pt x="5" y="0"/>
                    </a:lnTo>
                    <a:lnTo>
                      <a:pt x="9" y="4"/>
                    </a:lnTo>
                    <a:lnTo>
                      <a:pt x="12" y="10"/>
                    </a:lnTo>
                    <a:lnTo>
                      <a:pt x="9" y="10"/>
                    </a:lnTo>
                    <a:lnTo>
                      <a:pt x="7" y="7"/>
                    </a:lnTo>
                    <a:lnTo>
                      <a:pt x="3" y="5"/>
                    </a:lnTo>
                    <a:lnTo>
                      <a:pt x="0"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6" name="Freeform 237"/>
              <p:cNvSpPr>
                <a:spLocks/>
              </p:cNvSpPr>
              <p:nvPr/>
            </p:nvSpPr>
            <p:spPr bwMode="auto">
              <a:xfrm>
                <a:off x="7073107" y="3706813"/>
                <a:ext cx="25400" cy="28575"/>
              </a:xfrm>
              <a:custGeom>
                <a:avLst/>
                <a:gdLst/>
                <a:ahLst/>
                <a:cxnLst>
                  <a:cxn ang="0">
                    <a:pos x="12" y="18"/>
                  </a:cxn>
                  <a:cxn ang="0">
                    <a:pos x="9" y="14"/>
                  </a:cxn>
                  <a:cxn ang="0">
                    <a:pos x="5" y="9"/>
                  </a:cxn>
                  <a:cxn ang="0">
                    <a:pos x="0" y="2"/>
                  </a:cxn>
                  <a:cxn ang="0">
                    <a:pos x="0" y="0"/>
                  </a:cxn>
                  <a:cxn ang="0">
                    <a:pos x="4" y="0"/>
                  </a:cxn>
                  <a:cxn ang="0">
                    <a:pos x="12" y="2"/>
                  </a:cxn>
                  <a:cxn ang="0">
                    <a:pos x="16" y="9"/>
                  </a:cxn>
                  <a:cxn ang="0">
                    <a:pos x="16" y="14"/>
                  </a:cxn>
                  <a:cxn ang="0">
                    <a:pos x="12" y="18"/>
                  </a:cxn>
                </a:cxnLst>
                <a:rect l="0" t="0" r="r" b="b"/>
                <a:pathLst>
                  <a:path w="16" h="18">
                    <a:moveTo>
                      <a:pt x="12" y="18"/>
                    </a:moveTo>
                    <a:lnTo>
                      <a:pt x="9" y="14"/>
                    </a:lnTo>
                    <a:lnTo>
                      <a:pt x="5" y="9"/>
                    </a:lnTo>
                    <a:lnTo>
                      <a:pt x="0" y="2"/>
                    </a:lnTo>
                    <a:lnTo>
                      <a:pt x="0" y="0"/>
                    </a:lnTo>
                    <a:lnTo>
                      <a:pt x="4" y="0"/>
                    </a:lnTo>
                    <a:lnTo>
                      <a:pt x="12" y="2"/>
                    </a:lnTo>
                    <a:lnTo>
                      <a:pt x="16" y="9"/>
                    </a:lnTo>
                    <a:lnTo>
                      <a:pt x="16" y="14"/>
                    </a:lnTo>
                    <a:lnTo>
                      <a:pt x="12" y="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7" name="Freeform 238"/>
              <p:cNvSpPr>
                <a:spLocks/>
              </p:cNvSpPr>
              <p:nvPr/>
            </p:nvSpPr>
            <p:spPr bwMode="auto">
              <a:xfrm>
                <a:off x="7100094" y="3709988"/>
                <a:ext cx="7938" cy="3175"/>
              </a:xfrm>
              <a:custGeom>
                <a:avLst/>
                <a:gdLst/>
                <a:ahLst/>
                <a:cxnLst>
                  <a:cxn ang="0">
                    <a:pos x="0" y="0"/>
                  </a:cxn>
                  <a:cxn ang="0">
                    <a:pos x="2" y="0"/>
                  </a:cxn>
                  <a:cxn ang="0">
                    <a:pos x="5" y="2"/>
                  </a:cxn>
                  <a:cxn ang="0">
                    <a:pos x="2" y="0"/>
                  </a:cxn>
                  <a:cxn ang="0">
                    <a:pos x="0" y="0"/>
                  </a:cxn>
                </a:cxnLst>
                <a:rect l="0" t="0" r="r" b="b"/>
                <a:pathLst>
                  <a:path w="5" h="2">
                    <a:moveTo>
                      <a:pt x="0" y="0"/>
                    </a:moveTo>
                    <a:lnTo>
                      <a:pt x="2" y="0"/>
                    </a:lnTo>
                    <a:lnTo>
                      <a:pt x="5" y="2"/>
                    </a:lnTo>
                    <a:lnTo>
                      <a:pt x="2"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8" name="Freeform 239"/>
              <p:cNvSpPr>
                <a:spLocks/>
              </p:cNvSpPr>
              <p:nvPr/>
            </p:nvSpPr>
            <p:spPr bwMode="auto">
              <a:xfrm>
                <a:off x="7061994" y="3421063"/>
                <a:ext cx="36513" cy="69850"/>
              </a:xfrm>
              <a:custGeom>
                <a:avLst/>
                <a:gdLst/>
                <a:ahLst/>
                <a:cxnLst>
                  <a:cxn ang="0">
                    <a:pos x="9" y="44"/>
                  </a:cxn>
                  <a:cxn ang="0">
                    <a:pos x="0" y="39"/>
                  </a:cxn>
                  <a:cxn ang="0">
                    <a:pos x="0" y="29"/>
                  </a:cxn>
                  <a:cxn ang="0">
                    <a:pos x="0" y="19"/>
                  </a:cxn>
                  <a:cxn ang="0">
                    <a:pos x="5" y="10"/>
                  </a:cxn>
                  <a:cxn ang="0">
                    <a:pos x="11" y="2"/>
                  </a:cxn>
                  <a:cxn ang="0">
                    <a:pos x="17" y="0"/>
                  </a:cxn>
                  <a:cxn ang="0">
                    <a:pos x="23" y="5"/>
                  </a:cxn>
                  <a:cxn ang="0">
                    <a:pos x="21" y="22"/>
                  </a:cxn>
                  <a:cxn ang="0">
                    <a:pos x="16" y="36"/>
                  </a:cxn>
                  <a:cxn ang="0">
                    <a:pos x="9" y="44"/>
                  </a:cxn>
                </a:cxnLst>
                <a:rect l="0" t="0" r="r" b="b"/>
                <a:pathLst>
                  <a:path w="23" h="44">
                    <a:moveTo>
                      <a:pt x="9" y="44"/>
                    </a:moveTo>
                    <a:lnTo>
                      <a:pt x="0" y="39"/>
                    </a:lnTo>
                    <a:lnTo>
                      <a:pt x="0" y="29"/>
                    </a:lnTo>
                    <a:lnTo>
                      <a:pt x="0" y="19"/>
                    </a:lnTo>
                    <a:lnTo>
                      <a:pt x="5" y="10"/>
                    </a:lnTo>
                    <a:lnTo>
                      <a:pt x="11" y="2"/>
                    </a:lnTo>
                    <a:lnTo>
                      <a:pt x="17" y="0"/>
                    </a:lnTo>
                    <a:lnTo>
                      <a:pt x="23" y="5"/>
                    </a:lnTo>
                    <a:lnTo>
                      <a:pt x="21" y="22"/>
                    </a:lnTo>
                    <a:lnTo>
                      <a:pt x="16" y="36"/>
                    </a:lnTo>
                    <a:lnTo>
                      <a:pt x="9" y="4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9" name="Freeform 240"/>
              <p:cNvSpPr>
                <a:spLocks/>
              </p:cNvSpPr>
              <p:nvPr/>
            </p:nvSpPr>
            <p:spPr bwMode="auto">
              <a:xfrm>
                <a:off x="6796882" y="3543300"/>
                <a:ext cx="55563" cy="49212"/>
              </a:xfrm>
              <a:custGeom>
                <a:avLst/>
                <a:gdLst/>
                <a:ahLst/>
                <a:cxnLst>
                  <a:cxn ang="0">
                    <a:pos x="2" y="14"/>
                  </a:cxn>
                  <a:cxn ang="0">
                    <a:pos x="6" y="10"/>
                  </a:cxn>
                  <a:cxn ang="0">
                    <a:pos x="14" y="7"/>
                  </a:cxn>
                  <a:cxn ang="0">
                    <a:pos x="21" y="2"/>
                  </a:cxn>
                  <a:cxn ang="0">
                    <a:pos x="30" y="0"/>
                  </a:cxn>
                  <a:cxn ang="0">
                    <a:pos x="31" y="2"/>
                  </a:cxn>
                  <a:cxn ang="0">
                    <a:pos x="35" y="9"/>
                  </a:cxn>
                  <a:cxn ang="0">
                    <a:pos x="31" y="14"/>
                  </a:cxn>
                  <a:cxn ang="0">
                    <a:pos x="26" y="23"/>
                  </a:cxn>
                  <a:cxn ang="0">
                    <a:pos x="18" y="28"/>
                  </a:cxn>
                  <a:cxn ang="0">
                    <a:pos x="12" y="31"/>
                  </a:cxn>
                  <a:cxn ang="0">
                    <a:pos x="4" y="28"/>
                  </a:cxn>
                  <a:cxn ang="0">
                    <a:pos x="2" y="21"/>
                  </a:cxn>
                  <a:cxn ang="0">
                    <a:pos x="0" y="16"/>
                  </a:cxn>
                  <a:cxn ang="0">
                    <a:pos x="2" y="14"/>
                  </a:cxn>
                </a:cxnLst>
                <a:rect l="0" t="0" r="r" b="b"/>
                <a:pathLst>
                  <a:path w="35" h="31">
                    <a:moveTo>
                      <a:pt x="2" y="14"/>
                    </a:moveTo>
                    <a:lnTo>
                      <a:pt x="6" y="10"/>
                    </a:lnTo>
                    <a:lnTo>
                      <a:pt x="14" y="7"/>
                    </a:lnTo>
                    <a:lnTo>
                      <a:pt x="21" y="2"/>
                    </a:lnTo>
                    <a:lnTo>
                      <a:pt x="30" y="0"/>
                    </a:lnTo>
                    <a:lnTo>
                      <a:pt x="31" y="2"/>
                    </a:lnTo>
                    <a:lnTo>
                      <a:pt x="35" y="9"/>
                    </a:lnTo>
                    <a:lnTo>
                      <a:pt x="31" y="14"/>
                    </a:lnTo>
                    <a:lnTo>
                      <a:pt x="26" y="23"/>
                    </a:lnTo>
                    <a:lnTo>
                      <a:pt x="18" y="28"/>
                    </a:lnTo>
                    <a:lnTo>
                      <a:pt x="12" y="31"/>
                    </a:lnTo>
                    <a:lnTo>
                      <a:pt x="4" y="28"/>
                    </a:lnTo>
                    <a:lnTo>
                      <a:pt x="2" y="21"/>
                    </a:lnTo>
                    <a:lnTo>
                      <a:pt x="0" y="16"/>
                    </a:lnTo>
                    <a:lnTo>
                      <a:pt x="2"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0" name="Freeform 241"/>
              <p:cNvSpPr>
                <a:spLocks/>
              </p:cNvSpPr>
              <p:nvPr/>
            </p:nvSpPr>
            <p:spPr bwMode="auto">
              <a:xfrm>
                <a:off x="6549232" y="3467100"/>
                <a:ext cx="266700" cy="515937"/>
              </a:xfrm>
              <a:custGeom>
                <a:avLst/>
                <a:gdLst/>
                <a:ahLst/>
                <a:cxnLst>
                  <a:cxn ang="0">
                    <a:pos x="24" y="175"/>
                  </a:cxn>
                  <a:cxn ang="0">
                    <a:pos x="27" y="162"/>
                  </a:cxn>
                  <a:cxn ang="0">
                    <a:pos x="19" y="138"/>
                  </a:cxn>
                  <a:cxn ang="0">
                    <a:pos x="8" y="124"/>
                  </a:cxn>
                  <a:cxn ang="0">
                    <a:pos x="12" y="117"/>
                  </a:cxn>
                  <a:cxn ang="0">
                    <a:pos x="10" y="89"/>
                  </a:cxn>
                  <a:cxn ang="0">
                    <a:pos x="2" y="62"/>
                  </a:cxn>
                  <a:cxn ang="0">
                    <a:pos x="22" y="50"/>
                  </a:cxn>
                  <a:cxn ang="0">
                    <a:pos x="43" y="31"/>
                  </a:cxn>
                  <a:cxn ang="0">
                    <a:pos x="55" y="26"/>
                  </a:cxn>
                  <a:cxn ang="0">
                    <a:pos x="60" y="24"/>
                  </a:cxn>
                  <a:cxn ang="0">
                    <a:pos x="65" y="9"/>
                  </a:cxn>
                  <a:cxn ang="0">
                    <a:pos x="100" y="3"/>
                  </a:cxn>
                  <a:cxn ang="0">
                    <a:pos x="132" y="7"/>
                  </a:cxn>
                  <a:cxn ang="0">
                    <a:pos x="139" y="34"/>
                  </a:cxn>
                  <a:cxn ang="0">
                    <a:pos x="115" y="67"/>
                  </a:cxn>
                  <a:cxn ang="0">
                    <a:pos x="125" y="83"/>
                  </a:cxn>
                  <a:cxn ang="0">
                    <a:pos x="150" y="107"/>
                  </a:cxn>
                  <a:cxn ang="0">
                    <a:pos x="167" y="141"/>
                  </a:cxn>
                  <a:cxn ang="0">
                    <a:pos x="163" y="181"/>
                  </a:cxn>
                  <a:cxn ang="0">
                    <a:pos x="139" y="191"/>
                  </a:cxn>
                  <a:cxn ang="0">
                    <a:pos x="120" y="206"/>
                  </a:cxn>
                  <a:cxn ang="0">
                    <a:pos x="119" y="206"/>
                  </a:cxn>
                  <a:cxn ang="0">
                    <a:pos x="107" y="220"/>
                  </a:cxn>
                  <a:cxn ang="0">
                    <a:pos x="103" y="205"/>
                  </a:cxn>
                  <a:cxn ang="0">
                    <a:pos x="101" y="196"/>
                  </a:cxn>
                  <a:cxn ang="0">
                    <a:pos x="76" y="181"/>
                  </a:cxn>
                  <a:cxn ang="0">
                    <a:pos x="50" y="162"/>
                  </a:cxn>
                  <a:cxn ang="0">
                    <a:pos x="41" y="150"/>
                  </a:cxn>
                  <a:cxn ang="0">
                    <a:pos x="31" y="155"/>
                  </a:cxn>
                  <a:cxn ang="0">
                    <a:pos x="29" y="172"/>
                  </a:cxn>
                  <a:cxn ang="0">
                    <a:pos x="19" y="198"/>
                  </a:cxn>
                  <a:cxn ang="0">
                    <a:pos x="33" y="213"/>
                  </a:cxn>
                  <a:cxn ang="0">
                    <a:pos x="36" y="229"/>
                  </a:cxn>
                  <a:cxn ang="0">
                    <a:pos x="67" y="253"/>
                  </a:cxn>
                  <a:cxn ang="0">
                    <a:pos x="81" y="270"/>
                  </a:cxn>
                  <a:cxn ang="0">
                    <a:pos x="82" y="289"/>
                  </a:cxn>
                  <a:cxn ang="0">
                    <a:pos x="94" y="315"/>
                  </a:cxn>
                  <a:cxn ang="0">
                    <a:pos x="89" y="323"/>
                  </a:cxn>
                  <a:cxn ang="0">
                    <a:pos x="81" y="322"/>
                  </a:cxn>
                  <a:cxn ang="0">
                    <a:pos x="55" y="304"/>
                  </a:cxn>
                  <a:cxn ang="0">
                    <a:pos x="38" y="272"/>
                  </a:cxn>
                  <a:cxn ang="0">
                    <a:pos x="31" y="246"/>
                  </a:cxn>
                  <a:cxn ang="0">
                    <a:pos x="19" y="222"/>
                  </a:cxn>
                  <a:cxn ang="0">
                    <a:pos x="10" y="220"/>
                  </a:cxn>
                  <a:cxn ang="0">
                    <a:pos x="10" y="208"/>
                  </a:cxn>
                </a:cxnLst>
                <a:rect l="0" t="0" r="r" b="b"/>
                <a:pathLst>
                  <a:path w="168" h="325">
                    <a:moveTo>
                      <a:pt x="14" y="199"/>
                    </a:moveTo>
                    <a:lnTo>
                      <a:pt x="19" y="186"/>
                    </a:lnTo>
                    <a:lnTo>
                      <a:pt x="24" y="175"/>
                    </a:lnTo>
                    <a:lnTo>
                      <a:pt x="26" y="172"/>
                    </a:lnTo>
                    <a:lnTo>
                      <a:pt x="29" y="169"/>
                    </a:lnTo>
                    <a:lnTo>
                      <a:pt x="27" y="162"/>
                    </a:lnTo>
                    <a:lnTo>
                      <a:pt x="24" y="153"/>
                    </a:lnTo>
                    <a:lnTo>
                      <a:pt x="21" y="143"/>
                    </a:lnTo>
                    <a:lnTo>
                      <a:pt x="19" y="138"/>
                    </a:lnTo>
                    <a:lnTo>
                      <a:pt x="10" y="132"/>
                    </a:lnTo>
                    <a:lnTo>
                      <a:pt x="8" y="126"/>
                    </a:lnTo>
                    <a:lnTo>
                      <a:pt x="8" y="124"/>
                    </a:lnTo>
                    <a:lnTo>
                      <a:pt x="10" y="122"/>
                    </a:lnTo>
                    <a:lnTo>
                      <a:pt x="10" y="122"/>
                    </a:lnTo>
                    <a:lnTo>
                      <a:pt x="12" y="117"/>
                    </a:lnTo>
                    <a:lnTo>
                      <a:pt x="14" y="112"/>
                    </a:lnTo>
                    <a:lnTo>
                      <a:pt x="12" y="100"/>
                    </a:lnTo>
                    <a:lnTo>
                      <a:pt x="10" y="89"/>
                    </a:lnTo>
                    <a:lnTo>
                      <a:pt x="3" y="83"/>
                    </a:lnTo>
                    <a:lnTo>
                      <a:pt x="0" y="76"/>
                    </a:lnTo>
                    <a:lnTo>
                      <a:pt x="2" y="62"/>
                    </a:lnTo>
                    <a:lnTo>
                      <a:pt x="8" y="55"/>
                    </a:lnTo>
                    <a:lnTo>
                      <a:pt x="14" y="52"/>
                    </a:lnTo>
                    <a:lnTo>
                      <a:pt x="22" y="50"/>
                    </a:lnTo>
                    <a:lnTo>
                      <a:pt x="29" y="43"/>
                    </a:lnTo>
                    <a:lnTo>
                      <a:pt x="36" y="38"/>
                    </a:lnTo>
                    <a:lnTo>
                      <a:pt x="43" y="31"/>
                    </a:lnTo>
                    <a:lnTo>
                      <a:pt x="51" y="22"/>
                    </a:lnTo>
                    <a:lnTo>
                      <a:pt x="55" y="22"/>
                    </a:lnTo>
                    <a:lnTo>
                      <a:pt x="55" y="26"/>
                    </a:lnTo>
                    <a:lnTo>
                      <a:pt x="58" y="28"/>
                    </a:lnTo>
                    <a:lnTo>
                      <a:pt x="58" y="26"/>
                    </a:lnTo>
                    <a:lnTo>
                      <a:pt x="60" y="24"/>
                    </a:lnTo>
                    <a:lnTo>
                      <a:pt x="60" y="17"/>
                    </a:lnTo>
                    <a:lnTo>
                      <a:pt x="60" y="10"/>
                    </a:lnTo>
                    <a:lnTo>
                      <a:pt x="65" y="9"/>
                    </a:lnTo>
                    <a:lnTo>
                      <a:pt x="74" y="7"/>
                    </a:lnTo>
                    <a:lnTo>
                      <a:pt x="89" y="7"/>
                    </a:lnTo>
                    <a:lnTo>
                      <a:pt x="100" y="3"/>
                    </a:lnTo>
                    <a:lnTo>
                      <a:pt x="110" y="0"/>
                    </a:lnTo>
                    <a:lnTo>
                      <a:pt x="120" y="3"/>
                    </a:lnTo>
                    <a:lnTo>
                      <a:pt x="132" y="7"/>
                    </a:lnTo>
                    <a:lnTo>
                      <a:pt x="137" y="19"/>
                    </a:lnTo>
                    <a:lnTo>
                      <a:pt x="150" y="26"/>
                    </a:lnTo>
                    <a:lnTo>
                      <a:pt x="139" y="34"/>
                    </a:lnTo>
                    <a:lnTo>
                      <a:pt x="127" y="43"/>
                    </a:lnTo>
                    <a:lnTo>
                      <a:pt x="119" y="52"/>
                    </a:lnTo>
                    <a:lnTo>
                      <a:pt x="115" y="67"/>
                    </a:lnTo>
                    <a:lnTo>
                      <a:pt x="115" y="71"/>
                    </a:lnTo>
                    <a:lnTo>
                      <a:pt x="119" y="74"/>
                    </a:lnTo>
                    <a:lnTo>
                      <a:pt x="125" y="83"/>
                    </a:lnTo>
                    <a:lnTo>
                      <a:pt x="132" y="91"/>
                    </a:lnTo>
                    <a:lnTo>
                      <a:pt x="139" y="100"/>
                    </a:lnTo>
                    <a:lnTo>
                      <a:pt x="150" y="107"/>
                    </a:lnTo>
                    <a:lnTo>
                      <a:pt x="156" y="114"/>
                    </a:lnTo>
                    <a:lnTo>
                      <a:pt x="163" y="127"/>
                    </a:lnTo>
                    <a:lnTo>
                      <a:pt x="167" y="141"/>
                    </a:lnTo>
                    <a:lnTo>
                      <a:pt x="168" y="155"/>
                    </a:lnTo>
                    <a:lnTo>
                      <a:pt x="165" y="167"/>
                    </a:lnTo>
                    <a:lnTo>
                      <a:pt x="163" y="181"/>
                    </a:lnTo>
                    <a:lnTo>
                      <a:pt x="151" y="182"/>
                    </a:lnTo>
                    <a:lnTo>
                      <a:pt x="146" y="186"/>
                    </a:lnTo>
                    <a:lnTo>
                      <a:pt x="139" y="191"/>
                    </a:lnTo>
                    <a:lnTo>
                      <a:pt x="132" y="196"/>
                    </a:lnTo>
                    <a:lnTo>
                      <a:pt x="125" y="201"/>
                    </a:lnTo>
                    <a:lnTo>
                      <a:pt x="120" y="206"/>
                    </a:lnTo>
                    <a:lnTo>
                      <a:pt x="119" y="205"/>
                    </a:lnTo>
                    <a:lnTo>
                      <a:pt x="119" y="203"/>
                    </a:lnTo>
                    <a:lnTo>
                      <a:pt x="119" y="206"/>
                    </a:lnTo>
                    <a:lnTo>
                      <a:pt x="119" y="208"/>
                    </a:lnTo>
                    <a:lnTo>
                      <a:pt x="113" y="215"/>
                    </a:lnTo>
                    <a:lnTo>
                      <a:pt x="107" y="220"/>
                    </a:lnTo>
                    <a:lnTo>
                      <a:pt x="103" y="215"/>
                    </a:lnTo>
                    <a:lnTo>
                      <a:pt x="103" y="212"/>
                    </a:lnTo>
                    <a:lnTo>
                      <a:pt x="103" y="205"/>
                    </a:lnTo>
                    <a:lnTo>
                      <a:pt x="105" y="203"/>
                    </a:lnTo>
                    <a:lnTo>
                      <a:pt x="101" y="199"/>
                    </a:lnTo>
                    <a:lnTo>
                      <a:pt x="101" y="196"/>
                    </a:lnTo>
                    <a:lnTo>
                      <a:pt x="89" y="193"/>
                    </a:lnTo>
                    <a:lnTo>
                      <a:pt x="84" y="186"/>
                    </a:lnTo>
                    <a:lnTo>
                      <a:pt x="76" y="181"/>
                    </a:lnTo>
                    <a:lnTo>
                      <a:pt x="72" y="172"/>
                    </a:lnTo>
                    <a:lnTo>
                      <a:pt x="60" y="165"/>
                    </a:lnTo>
                    <a:lnTo>
                      <a:pt x="50" y="162"/>
                    </a:lnTo>
                    <a:lnTo>
                      <a:pt x="48" y="158"/>
                    </a:lnTo>
                    <a:lnTo>
                      <a:pt x="48" y="155"/>
                    </a:lnTo>
                    <a:lnTo>
                      <a:pt x="41" y="150"/>
                    </a:lnTo>
                    <a:lnTo>
                      <a:pt x="34" y="150"/>
                    </a:lnTo>
                    <a:lnTo>
                      <a:pt x="31" y="150"/>
                    </a:lnTo>
                    <a:lnTo>
                      <a:pt x="31" y="155"/>
                    </a:lnTo>
                    <a:lnTo>
                      <a:pt x="31" y="158"/>
                    </a:lnTo>
                    <a:lnTo>
                      <a:pt x="33" y="165"/>
                    </a:lnTo>
                    <a:lnTo>
                      <a:pt x="29" y="172"/>
                    </a:lnTo>
                    <a:lnTo>
                      <a:pt x="26" y="181"/>
                    </a:lnTo>
                    <a:lnTo>
                      <a:pt x="21" y="187"/>
                    </a:lnTo>
                    <a:lnTo>
                      <a:pt x="19" y="198"/>
                    </a:lnTo>
                    <a:lnTo>
                      <a:pt x="21" y="205"/>
                    </a:lnTo>
                    <a:lnTo>
                      <a:pt x="27" y="210"/>
                    </a:lnTo>
                    <a:lnTo>
                      <a:pt x="33" y="213"/>
                    </a:lnTo>
                    <a:lnTo>
                      <a:pt x="36" y="222"/>
                    </a:lnTo>
                    <a:lnTo>
                      <a:pt x="34" y="222"/>
                    </a:lnTo>
                    <a:lnTo>
                      <a:pt x="36" y="229"/>
                    </a:lnTo>
                    <a:lnTo>
                      <a:pt x="41" y="237"/>
                    </a:lnTo>
                    <a:lnTo>
                      <a:pt x="53" y="244"/>
                    </a:lnTo>
                    <a:lnTo>
                      <a:pt x="67" y="253"/>
                    </a:lnTo>
                    <a:lnTo>
                      <a:pt x="72" y="258"/>
                    </a:lnTo>
                    <a:lnTo>
                      <a:pt x="77" y="263"/>
                    </a:lnTo>
                    <a:lnTo>
                      <a:pt x="81" y="270"/>
                    </a:lnTo>
                    <a:lnTo>
                      <a:pt x="84" y="280"/>
                    </a:lnTo>
                    <a:lnTo>
                      <a:pt x="82" y="284"/>
                    </a:lnTo>
                    <a:lnTo>
                      <a:pt x="82" y="289"/>
                    </a:lnTo>
                    <a:lnTo>
                      <a:pt x="86" y="299"/>
                    </a:lnTo>
                    <a:lnTo>
                      <a:pt x="93" y="308"/>
                    </a:lnTo>
                    <a:lnTo>
                      <a:pt x="94" y="315"/>
                    </a:lnTo>
                    <a:lnTo>
                      <a:pt x="96" y="323"/>
                    </a:lnTo>
                    <a:lnTo>
                      <a:pt x="93" y="323"/>
                    </a:lnTo>
                    <a:lnTo>
                      <a:pt x="89" y="323"/>
                    </a:lnTo>
                    <a:lnTo>
                      <a:pt x="88" y="323"/>
                    </a:lnTo>
                    <a:lnTo>
                      <a:pt x="86" y="325"/>
                    </a:lnTo>
                    <a:lnTo>
                      <a:pt x="81" y="322"/>
                    </a:lnTo>
                    <a:lnTo>
                      <a:pt x="77" y="320"/>
                    </a:lnTo>
                    <a:lnTo>
                      <a:pt x="65" y="313"/>
                    </a:lnTo>
                    <a:lnTo>
                      <a:pt x="55" y="304"/>
                    </a:lnTo>
                    <a:lnTo>
                      <a:pt x="46" y="294"/>
                    </a:lnTo>
                    <a:lnTo>
                      <a:pt x="43" y="284"/>
                    </a:lnTo>
                    <a:lnTo>
                      <a:pt x="38" y="272"/>
                    </a:lnTo>
                    <a:lnTo>
                      <a:pt x="36" y="263"/>
                    </a:lnTo>
                    <a:lnTo>
                      <a:pt x="33" y="253"/>
                    </a:lnTo>
                    <a:lnTo>
                      <a:pt x="31" y="246"/>
                    </a:lnTo>
                    <a:lnTo>
                      <a:pt x="27" y="237"/>
                    </a:lnTo>
                    <a:lnTo>
                      <a:pt x="24" y="230"/>
                    </a:lnTo>
                    <a:lnTo>
                      <a:pt x="19" y="222"/>
                    </a:lnTo>
                    <a:lnTo>
                      <a:pt x="15" y="220"/>
                    </a:lnTo>
                    <a:lnTo>
                      <a:pt x="12" y="220"/>
                    </a:lnTo>
                    <a:lnTo>
                      <a:pt x="10" y="220"/>
                    </a:lnTo>
                    <a:lnTo>
                      <a:pt x="8" y="218"/>
                    </a:lnTo>
                    <a:lnTo>
                      <a:pt x="10" y="218"/>
                    </a:lnTo>
                    <a:lnTo>
                      <a:pt x="10" y="208"/>
                    </a:lnTo>
                    <a:lnTo>
                      <a:pt x="12" y="199"/>
                    </a:lnTo>
                    <a:lnTo>
                      <a:pt x="14" y="19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1" name="Freeform 242"/>
              <p:cNvSpPr>
                <a:spLocks/>
              </p:cNvSpPr>
              <p:nvPr/>
            </p:nvSpPr>
            <p:spPr bwMode="auto">
              <a:xfrm>
                <a:off x="6723857" y="4048125"/>
                <a:ext cx="34925" cy="36512"/>
              </a:xfrm>
              <a:custGeom>
                <a:avLst/>
                <a:gdLst/>
                <a:ahLst/>
                <a:cxnLst>
                  <a:cxn ang="0">
                    <a:pos x="14" y="19"/>
                  </a:cxn>
                  <a:cxn ang="0">
                    <a:pos x="10" y="16"/>
                  </a:cxn>
                  <a:cxn ang="0">
                    <a:pos x="9" y="12"/>
                  </a:cxn>
                  <a:cxn ang="0">
                    <a:pos x="3" y="9"/>
                  </a:cxn>
                  <a:cxn ang="0">
                    <a:pos x="0" y="7"/>
                  </a:cxn>
                  <a:cxn ang="0">
                    <a:pos x="3" y="2"/>
                  </a:cxn>
                  <a:cxn ang="0">
                    <a:pos x="10" y="0"/>
                  </a:cxn>
                  <a:cxn ang="0">
                    <a:pos x="14" y="11"/>
                  </a:cxn>
                  <a:cxn ang="0">
                    <a:pos x="22" y="17"/>
                  </a:cxn>
                  <a:cxn ang="0">
                    <a:pos x="22" y="19"/>
                  </a:cxn>
                  <a:cxn ang="0">
                    <a:pos x="22" y="23"/>
                  </a:cxn>
                  <a:cxn ang="0">
                    <a:pos x="21" y="23"/>
                  </a:cxn>
                  <a:cxn ang="0">
                    <a:pos x="19" y="23"/>
                  </a:cxn>
                  <a:cxn ang="0">
                    <a:pos x="15" y="21"/>
                  </a:cxn>
                  <a:cxn ang="0">
                    <a:pos x="14" y="19"/>
                  </a:cxn>
                </a:cxnLst>
                <a:rect l="0" t="0" r="r" b="b"/>
                <a:pathLst>
                  <a:path w="22" h="23">
                    <a:moveTo>
                      <a:pt x="14" y="19"/>
                    </a:moveTo>
                    <a:lnTo>
                      <a:pt x="10" y="16"/>
                    </a:lnTo>
                    <a:lnTo>
                      <a:pt x="9" y="12"/>
                    </a:lnTo>
                    <a:lnTo>
                      <a:pt x="3" y="9"/>
                    </a:lnTo>
                    <a:lnTo>
                      <a:pt x="0" y="7"/>
                    </a:lnTo>
                    <a:lnTo>
                      <a:pt x="3" y="2"/>
                    </a:lnTo>
                    <a:lnTo>
                      <a:pt x="10" y="0"/>
                    </a:lnTo>
                    <a:lnTo>
                      <a:pt x="14" y="11"/>
                    </a:lnTo>
                    <a:lnTo>
                      <a:pt x="22" y="17"/>
                    </a:lnTo>
                    <a:lnTo>
                      <a:pt x="22" y="19"/>
                    </a:lnTo>
                    <a:lnTo>
                      <a:pt x="22" y="23"/>
                    </a:lnTo>
                    <a:lnTo>
                      <a:pt x="21" y="23"/>
                    </a:lnTo>
                    <a:lnTo>
                      <a:pt x="19" y="23"/>
                    </a:lnTo>
                    <a:lnTo>
                      <a:pt x="15" y="21"/>
                    </a:lnTo>
                    <a:lnTo>
                      <a:pt x="14"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2" name="Freeform 243"/>
              <p:cNvSpPr>
                <a:spLocks/>
              </p:cNvSpPr>
              <p:nvPr/>
            </p:nvSpPr>
            <p:spPr bwMode="auto">
              <a:xfrm>
                <a:off x="6781007" y="4075113"/>
                <a:ext cx="15875" cy="14287"/>
              </a:xfrm>
              <a:custGeom>
                <a:avLst/>
                <a:gdLst/>
                <a:ahLst/>
                <a:cxnLst>
                  <a:cxn ang="0">
                    <a:pos x="0" y="0"/>
                  </a:cxn>
                  <a:cxn ang="0">
                    <a:pos x="2" y="0"/>
                  </a:cxn>
                  <a:cxn ang="0">
                    <a:pos x="5" y="0"/>
                  </a:cxn>
                  <a:cxn ang="0">
                    <a:pos x="7" y="0"/>
                  </a:cxn>
                  <a:cxn ang="0">
                    <a:pos x="10" y="2"/>
                  </a:cxn>
                  <a:cxn ang="0">
                    <a:pos x="7" y="6"/>
                  </a:cxn>
                  <a:cxn ang="0">
                    <a:pos x="4" y="9"/>
                  </a:cxn>
                  <a:cxn ang="0">
                    <a:pos x="0" y="6"/>
                  </a:cxn>
                  <a:cxn ang="0">
                    <a:pos x="0" y="2"/>
                  </a:cxn>
                  <a:cxn ang="0">
                    <a:pos x="0" y="0"/>
                  </a:cxn>
                </a:cxnLst>
                <a:rect l="0" t="0" r="r" b="b"/>
                <a:pathLst>
                  <a:path w="10" h="9">
                    <a:moveTo>
                      <a:pt x="0" y="0"/>
                    </a:moveTo>
                    <a:lnTo>
                      <a:pt x="2" y="0"/>
                    </a:lnTo>
                    <a:lnTo>
                      <a:pt x="5" y="0"/>
                    </a:lnTo>
                    <a:lnTo>
                      <a:pt x="7" y="0"/>
                    </a:lnTo>
                    <a:lnTo>
                      <a:pt x="10" y="2"/>
                    </a:lnTo>
                    <a:lnTo>
                      <a:pt x="7" y="6"/>
                    </a:lnTo>
                    <a:lnTo>
                      <a:pt x="4" y="9"/>
                    </a:lnTo>
                    <a:lnTo>
                      <a:pt x="0" y="6"/>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3" name="Freeform 244"/>
              <p:cNvSpPr>
                <a:spLocks/>
              </p:cNvSpPr>
              <p:nvPr/>
            </p:nvSpPr>
            <p:spPr bwMode="auto">
              <a:xfrm>
                <a:off x="6576219" y="4040188"/>
                <a:ext cx="14288" cy="22225"/>
              </a:xfrm>
              <a:custGeom>
                <a:avLst/>
                <a:gdLst/>
                <a:ahLst/>
                <a:cxnLst>
                  <a:cxn ang="0">
                    <a:pos x="2" y="0"/>
                  </a:cxn>
                  <a:cxn ang="0">
                    <a:pos x="7" y="5"/>
                  </a:cxn>
                  <a:cxn ang="0">
                    <a:pos x="9" y="14"/>
                  </a:cxn>
                  <a:cxn ang="0">
                    <a:pos x="4" y="9"/>
                  </a:cxn>
                  <a:cxn ang="0">
                    <a:pos x="0" y="2"/>
                  </a:cxn>
                  <a:cxn ang="0">
                    <a:pos x="0" y="0"/>
                  </a:cxn>
                  <a:cxn ang="0">
                    <a:pos x="4" y="0"/>
                  </a:cxn>
                  <a:cxn ang="0">
                    <a:pos x="4" y="2"/>
                  </a:cxn>
                  <a:cxn ang="0">
                    <a:pos x="2" y="0"/>
                  </a:cxn>
                </a:cxnLst>
                <a:rect l="0" t="0" r="r" b="b"/>
                <a:pathLst>
                  <a:path w="9" h="14">
                    <a:moveTo>
                      <a:pt x="2" y="0"/>
                    </a:moveTo>
                    <a:lnTo>
                      <a:pt x="7" y="5"/>
                    </a:lnTo>
                    <a:lnTo>
                      <a:pt x="9" y="14"/>
                    </a:lnTo>
                    <a:lnTo>
                      <a:pt x="4" y="9"/>
                    </a:lnTo>
                    <a:lnTo>
                      <a:pt x="0" y="2"/>
                    </a:lnTo>
                    <a:lnTo>
                      <a:pt x="0" y="0"/>
                    </a:lnTo>
                    <a:lnTo>
                      <a:pt x="4" y="0"/>
                    </a:lnTo>
                    <a:lnTo>
                      <a:pt x="4" y="2"/>
                    </a:lnTo>
                    <a:lnTo>
                      <a:pt x="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4" name="Freeform 245"/>
              <p:cNvSpPr>
                <a:spLocks/>
              </p:cNvSpPr>
              <p:nvPr/>
            </p:nvSpPr>
            <p:spPr bwMode="auto">
              <a:xfrm>
                <a:off x="6546057" y="3990975"/>
                <a:ext cx="15875" cy="19050"/>
              </a:xfrm>
              <a:custGeom>
                <a:avLst/>
                <a:gdLst/>
                <a:ahLst/>
                <a:cxnLst>
                  <a:cxn ang="0">
                    <a:pos x="4" y="0"/>
                  </a:cxn>
                  <a:cxn ang="0">
                    <a:pos x="9" y="5"/>
                  </a:cxn>
                  <a:cxn ang="0">
                    <a:pos x="10" y="12"/>
                  </a:cxn>
                  <a:cxn ang="0">
                    <a:pos x="5" y="7"/>
                  </a:cxn>
                  <a:cxn ang="0">
                    <a:pos x="2" y="0"/>
                  </a:cxn>
                  <a:cxn ang="0">
                    <a:pos x="0" y="0"/>
                  </a:cxn>
                  <a:cxn ang="0">
                    <a:pos x="4" y="0"/>
                  </a:cxn>
                </a:cxnLst>
                <a:rect l="0" t="0" r="r" b="b"/>
                <a:pathLst>
                  <a:path w="10" h="12">
                    <a:moveTo>
                      <a:pt x="4" y="0"/>
                    </a:moveTo>
                    <a:lnTo>
                      <a:pt x="9" y="5"/>
                    </a:lnTo>
                    <a:lnTo>
                      <a:pt x="10" y="12"/>
                    </a:lnTo>
                    <a:lnTo>
                      <a:pt x="5" y="7"/>
                    </a:lnTo>
                    <a:lnTo>
                      <a:pt x="2" y="0"/>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5" name="Freeform 246"/>
              <p:cNvSpPr>
                <a:spLocks/>
              </p:cNvSpPr>
              <p:nvPr/>
            </p:nvSpPr>
            <p:spPr bwMode="auto">
              <a:xfrm>
                <a:off x="7284244" y="3205163"/>
                <a:ext cx="50800" cy="68262"/>
              </a:xfrm>
              <a:custGeom>
                <a:avLst/>
                <a:gdLst/>
                <a:ahLst/>
                <a:cxnLst>
                  <a:cxn ang="0">
                    <a:pos x="12" y="26"/>
                  </a:cxn>
                  <a:cxn ang="0">
                    <a:pos x="15" y="17"/>
                  </a:cxn>
                  <a:cxn ang="0">
                    <a:pos x="10" y="14"/>
                  </a:cxn>
                  <a:cxn ang="0">
                    <a:pos x="10" y="12"/>
                  </a:cxn>
                  <a:cxn ang="0">
                    <a:pos x="10" y="14"/>
                  </a:cxn>
                  <a:cxn ang="0">
                    <a:pos x="10" y="15"/>
                  </a:cxn>
                  <a:cxn ang="0">
                    <a:pos x="6" y="15"/>
                  </a:cxn>
                  <a:cxn ang="0">
                    <a:pos x="5" y="17"/>
                  </a:cxn>
                  <a:cxn ang="0">
                    <a:pos x="0" y="15"/>
                  </a:cxn>
                  <a:cxn ang="0">
                    <a:pos x="0" y="12"/>
                  </a:cxn>
                  <a:cxn ang="0">
                    <a:pos x="1" y="7"/>
                  </a:cxn>
                  <a:cxn ang="0">
                    <a:pos x="6" y="3"/>
                  </a:cxn>
                  <a:cxn ang="0">
                    <a:pos x="10" y="0"/>
                  </a:cxn>
                  <a:cxn ang="0">
                    <a:pos x="15" y="0"/>
                  </a:cxn>
                  <a:cxn ang="0">
                    <a:pos x="20" y="2"/>
                  </a:cxn>
                  <a:cxn ang="0">
                    <a:pos x="27" y="3"/>
                  </a:cxn>
                  <a:cxn ang="0">
                    <a:pos x="27" y="5"/>
                  </a:cxn>
                  <a:cxn ang="0">
                    <a:pos x="29" y="9"/>
                  </a:cxn>
                  <a:cxn ang="0">
                    <a:pos x="32" y="14"/>
                  </a:cxn>
                  <a:cxn ang="0">
                    <a:pos x="32" y="15"/>
                  </a:cxn>
                  <a:cxn ang="0">
                    <a:pos x="32" y="17"/>
                  </a:cxn>
                  <a:cxn ang="0">
                    <a:pos x="31" y="17"/>
                  </a:cxn>
                  <a:cxn ang="0">
                    <a:pos x="29" y="17"/>
                  </a:cxn>
                  <a:cxn ang="0">
                    <a:pos x="25" y="24"/>
                  </a:cxn>
                  <a:cxn ang="0">
                    <a:pos x="24" y="33"/>
                  </a:cxn>
                  <a:cxn ang="0">
                    <a:pos x="18" y="39"/>
                  </a:cxn>
                  <a:cxn ang="0">
                    <a:pos x="15" y="43"/>
                  </a:cxn>
                  <a:cxn ang="0">
                    <a:pos x="15" y="39"/>
                  </a:cxn>
                  <a:cxn ang="0">
                    <a:pos x="15" y="38"/>
                  </a:cxn>
                  <a:cxn ang="0">
                    <a:pos x="15" y="41"/>
                  </a:cxn>
                  <a:cxn ang="0">
                    <a:pos x="8" y="36"/>
                  </a:cxn>
                  <a:cxn ang="0">
                    <a:pos x="6" y="33"/>
                  </a:cxn>
                  <a:cxn ang="0">
                    <a:pos x="8" y="29"/>
                  </a:cxn>
                  <a:cxn ang="0">
                    <a:pos x="12" y="26"/>
                  </a:cxn>
                </a:cxnLst>
                <a:rect l="0" t="0" r="r" b="b"/>
                <a:pathLst>
                  <a:path w="32" h="43">
                    <a:moveTo>
                      <a:pt x="12" y="26"/>
                    </a:moveTo>
                    <a:lnTo>
                      <a:pt x="15" y="17"/>
                    </a:lnTo>
                    <a:lnTo>
                      <a:pt x="10" y="14"/>
                    </a:lnTo>
                    <a:lnTo>
                      <a:pt x="10" y="12"/>
                    </a:lnTo>
                    <a:lnTo>
                      <a:pt x="10" y="14"/>
                    </a:lnTo>
                    <a:lnTo>
                      <a:pt x="10" y="15"/>
                    </a:lnTo>
                    <a:lnTo>
                      <a:pt x="6" y="15"/>
                    </a:lnTo>
                    <a:lnTo>
                      <a:pt x="5" y="17"/>
                    </a:lnTo>
                    <a:lnTo>
                      <a:pt x="0" y="15"/>
                    </a:lnTo>
                    <a:lnTo>
                      <a:pt x="0" y="12"/>
                    </a:lnTo>
                    <a:lnTo>
                      <a:pt x="1" y="7"/>
                    </a:lnTo>
                    <a:lnTo>
                      <a:pt x="6" y="3"/>
                    </a:lnTo>
                    <a:lnTo>
                      <a:pt x="10" y="0"/>
                    </a:lnTo>
                    <a:lnTo>
                      <a:pt x="15" y="0"/>
                    </a:lnTo>
                    <a:lnTo>
                      <a:pt x="20" y="2"/>
                    </a:lnTo>
                    <a:lnTo>
                      <a:pt x="27" y="3"/>
                    </a:lnTo>
                    <a:lnTo>
                      <a:pt x="27" y="5"/>
                    </a:lnTo>
                    <a:lnTo>
                      <a:pt x="29" y="9"/>
                    </a:lnTo>
                    <a:lnTo>
                      <a:pt x="32" y="14"/>
                    </a:lnTo>
                    <a:lnTo>
                      <a:pt x="32" y="15"/>
                    </a:lnTo>
                    <a:lnTo>
                      <a:pt x="32" y="17"/>
                    </a:lnTo>
                    <a:lnTo>
                      <a:pt x="31" y="17"/>
                    </a:lnTo>
                    <a:lnTo>
                      <a:pt x="29" y="17"/>
                    </a:lnTo>
                    <a:lnTo>
                      <a:pt x="25" y="24"/>
                    </a:lnTo>
                    <a:lnTo>
                      <a:pt x="24" y="33"/>
                    </a:lnTo>
                    <a:lnTo>
                      <a:pt x="18" y="39"/>
                    </a:lnTo>
                    <a:lnTo>
                      <a:pt x="15" y="43"/>
                    </a:lnTo>
                    <a:lnTo>
                      <a:pt x="15" y="39"/>
                    </a:lnTo>
                    <a:lnTo>
                      <a:pt x="15" y="38"/>
                    </a:lnTo>
                    <a:lnTo>
                      <a:pt x="15" y="41"/>
                    </a:lnTo>
                    <a:lnTo>
                      <a:pt x="8" y="36"/>
                    </a:lnTo>
                    <a:lnTo>
                      <a:pt x="6" y="33"/>
                    </a:lnTo>
                    <a:lnTo>
                      <a:pt x="8" y="29"/>
                    </a:lnTo>
                    <a:lnTo>
                      <a:pt x="12"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6" name="Freeform 247"/>
              <p:cNvSpPr>
                <a:spLocks/>
              </p:cNvSpPr>
              <p:nvPr/>
            </p:nvSpPr>
            <p:spPr bwMode="auto">
              <a:xfrm>
                <a:off x="7346157" y="3189288"/>
                <a:ext cx="49213" cy="42862"/>
              </a:xfrm>
              <a:custGeom>
                <a:avLst/>
                <a:gdLst/>
                <a:ahLst/>
                <a:cxnLst>
                  <a:cxn ang="0">
                    <a:pos x="26" y="17"/>
                  </a:cxn>
                  <a:cxn ang="0">
                    <a:pos x="21" y="15"/>
                  </a:cxn>
                  <a:cxn ang="0">
                    <a:pos x="19" y="13"/>
                  </a:cxn>
                  <a:cxn ang="0">
                    <a:pos x="12" y="22"/>
                  </a:cxn>
                  <a:cxn ang="0">
                    <a:pos x="7" y="27"/>
                  </a:cxn>
                  <a:cxn ang="0">
                    <a:pos x="4" y="24"/>
                  </a:cxn>
                  <a:cxn ang="0">
                    <a:pos x="4" y="19"/>
                  </a:cxn>
                  <a:cxn ang="0">
                    <a:pos x="0" y="15"/>
                  </a:cxn>
                  <a:cxn ang="0">
                    <a:pos x="0" y="13"/>
                  </a:cxn>
                  <a:cxn ang="0">
                    <a:pos x="4" y="10"/>
                  </a:cxn>
                  <a:cxn ang="0">
                    <a:pos x="9" y="7"/>
                  </a:cxn>
                  <a:cxn ang="0">
                    <a:pos x="17" y="3"/>
                  </a:cxn>
                  <a:cxn ang="0">
                    <a:pos x="26" y="0"/>
                  </a:cxn>
                  <a:cxn ang="0">
                    <a:pos x="31" y="1"/>
                  </a:cxn>
                  <a:cxn ang="0">
                    <a:pos x="31" y="8"/>
                  </a:cxn>
                  <a:cxn ang="0">
                    <a:pos x="28" y="13"/>
                  </a:cxn>
                  <a:cxn ang="0">
                    <a:pos x="26" y="17"/>
                  </a:cxn>
                </a:cxnLst>
                <a:rect l="0" t="0" r="r" b="b"/>
                <a:pathLst>
                  <a:path w="31" h="27">
                    <a:moveTo>
                      <a:pt x="26" y="17"/>
                    </a:moveTo>
                    <a:lnTo>
                      <a:pt x="21" y="15"/>
                    </a:lnTo>
                    <a:lnTo>
                      <a:pt x="19" y="13"/>
                    </a:lnTo>
                    <a:lnTo>
                      <a:pt x="12" y="22"/>
                    </a:lnTo>
                    <a:lnTo>
                      <a:pt x="7" y="27"/>
                    </a:lnTo>
                    <a:lnTo>
                      <a:pt x="4" y="24"/>
                    </a:lnTo>
                    <a:lnTo>
                      <a:pt x="4" y="19"/>
                    </a:lnTo>
                    <a:lnTo>
                      <a:pt x="0" y="15"/>
                    </a:lnTo>
                    <a:lnTo>
                      <a:pt x="0" y="13"/>
                    </a:lnTo>
                    <a:lnTo>
                      <a:pt x="4" y="10"/>
                    </a:lnTo>
                    <a:lnTo>
                      <a:pt x="9" y="7"/>
                    </a:lnTo>
                    <a:lnTo>
                      <a:pt x="17" y="3"/>
                    </a:lnTo>
                    <a:lnTo>
                      <a:pt x="26" y="0"/>
                    </a:lnTo>
                    <a:lnTo>
                      <a:pt x="31" y="1"/>
                    </a:lnTo>
                    <a:lnTo>
                      <a:pt x="31" y="8"/>
                    </a:lnTo>
                    <a:lnTo>
                      <a:pt x="28" y="13"/>
                    </a:lnTo>
                    <a:lnTo>
                      <a:pt x="26"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7" name="Freeform 248"/>
              <p:cNvSpPr>
                <a:spLocks/>
              </p:cNvSpPr>
              <p:nvPr/>
            </p:nvSpPr>
            <p:spPr bwMode="auto">
              <a:xfrm>
                <a:off x="7312819" y="3003550"/>
                <a:ext cx="257175" cy="209550"/>
              </a:xfrm>
              <a:custGeom>
                <a:avLst/>
                <a:gdLst/>
                <a:ahLst/>
                <a:cxnLst>
                  <a:cxn ang="0">
                    <a:pos x="62" y="125"/>
                  </a:cxn>
                  <a:cxn ang="0">
                    <a:pos x="62" y="118"/>
                  </a:cxn>
                  <a:cxn ang="0">
                    <a:pos x="56" y="111"/>
                  </a:cxn>
                  <a:cxn ang="0">
                    <a:pos x="45" y="111"/>
                  </a:cxn>
                  <a:cxn ang="0">
                    <a:pos x="38" y="113"/>
                  </a:cxn>
                  <a:cxn ang="0">
                    <a:pos x="21" y="120"/>
                  </a:cxn>
                  <a:cxn ang="0">
                    <a:pos x="2" y="122"/>
                  </a:cxn>
                  <a:cxn ang="0">
                    <a:pos x="2" y="118"/>
                  </a:cxn>
                  <a:cxn ang="0">
                    <a:pos x="13" y="110"/>
                  </a:cxn>
                  <a:cxn ang="0">
                    <a:pos x="25" y="98"/>
                  </a:cxn>
                  <a:cxn ang="0">
                    <a:pos x="43" y="98"/>
                  </a:cxn>
                  <a:cxn ang="0">
                    <a:pos x="57" y="98"/>
                  </a:cxn>
                  <a:cxn ang="0">
                    <a:pos x="69" y="94"/>
                  </a:cxn>
                  <a:cxn ang="0">
                    <a:pos x="78" y="84"/>
                  </a:cxn>
                  <a:cxn ang="0">
                    <a:pos x="86" y="75"/>
                  </a:cxn>
                  <a:cxn ang="0">
                    <a:pos x="88" y="70"/>
                  </a:cxn>
                  <a:cxn ang="0">
                    <a:pos x="88" y="75"/>
                  </a:cxn>
                  <a:cxn ang="0">
                    <a:pos x="99" y="74"/>
                  </a:cxn>
                  <a:cxn ang="0">
                    <a:pos x="114" y="63"/>
                  </a:cxn>
                  <a:cxn ang="0">
                    <a:pos x="131" y="41"/>
                  </a:cxn>
                  <a:cxn ang="0">
                    <a:pos x="133" y="25"/>
                  </a:cxn>
                  <a:cxn ang="0">
                    <a:pos x="131" y="15"/>
                  </a:cxn>
                  <a:cxn ang="0">
                    <a:pos x="138" y="5"/>
                  </a:cxn>
                  <a:cxn ang="0">
                    <a:pos x="143" y="5"/>
                  </a:cxn>
                  <a:cxn ang="0">
                    <a:pos x="148" y="5"/>
                  </a:cxn>
                  <a:cxn ang="0">
                    <a:pos x="147" y="0"/>
                  </a:cxn>
                  <a:cxn ang="0">
                    <a:pos x="154" y="3"/>
                  </a:cxn>
                  <a:cxn ang="0">
                    <a:pos x="155" y="13"/>
                  </a:cxn>
                  <a:cxn ang="0">
                    <a:pos x="162" y="31"/>
                  </a:cxn>
                  <a:cxn ang="0">
                    <a:pos x="155" y="46"/>
                  </a:cxn>
                  <a:cxn ang="0">
                    <a:pos x="155" y="50"/>
                  </a:cxn>
                  <a:cxn ang="0">
                    <a:pos x="150" y="51"/>
                  </a:cxn>
                  <a:cxn ang="0">
                    <a:pos x="145" y="60"/>
                  </a:cxn>
                  <a:cxn ang="0">
                    <a:pos x="147" y="74"/>
                  </a:cxn>
                  <a:cxn ang="0">
                    <a:pos x="142" y="87"/>
                  </a:cxn>
                  <a:cxn ang="0">
                    <a:pos x="143" y="98"/>
                  </a:cxn>
                  <a:cxn ang="0">
                    <a:pos x="131" y="108"/>
                  </a:cxn>
                  <a:cxn ang="0">
                    <a:pos x="131" y="99"/>
                  </a:cxn>
                  <a:cxn ang="0">
                    <a:pos x="117" y="111"/>
                  </a:cxn>
                  <a:cxn ang="0">
                    <a:pos x="111" y="110"/>
                  </a:cxn>
                  <a:cxn ang="0">
                    <a:pos x="100" y="115"/>
                  </a:cxn>
                  <a:cxn ang="0">
                    <a:pos x="85" y="106"/>
                  </a:cxn>
                  <a:cxn ang="0">
                    <a:pos x="83" y="110"/>
                  </a:cxn>
                  <a:cxn ang="0">
                    <a:pos x="88" y="118"/>
                  </a:cxn>
                  <a:cxn ang="0">
                    <a:pos x="83" y="118"/>
                  </a:cxn>
                  <a:cxn ang="0">
                    <a:pos x="71" y="132"/>
                  </a:cxn>
                  <a:cxn ang="0">
                    <a:pos x="62" y="127"/>
                  </a:cxn>
                </a:cxnLst>
                <a:rect l="0" t="0" r="r" b="b"/>
                <a:pathLst>
                  <a:path w="162" h="132">
                    <a:moveTo>
                      <a:pt x="62" y="127"/>
                    </a:moveTo>
                    <a:lnTo>
                      <a:pt x="62" y="125"/>
                    </a:lnTo>
                    <a:lnTo>
                      <a:pt x="62" y="124"/>
                    </a:lnTo>
                    <a:lnTo>
                      <a:pt x="62" y="118"/>
                    </a:lnTo>
                    <a:lnTo>
                      <a:pt x="64" y="115"/>
                    </a:lnTo>
                    <a:lnTo>
                      <a:pt x="56" y="111"/>
                    </a:lnTo>
                    <a:lnTo>
                      <a:pt x="49" y="110"/>
                    </a:lnTo>
                    <a:lnTo>
                      <a:pt x="45" y="111"/>
                    </a:lnTo>
                    <a:lnTo>
                      <a:pt x="45" y="113"/>
                    </a:lnTo>
                    <a:lnTo>
                      <a:pt x="38" y="113"/>
                    </a:lnTo>
                    <a:lnTo>
                      <a:pt x="33" y="115"/>
                    </a:lnTo>
                    <a:lnTo>
                      <a:pt x="21" y="120"/>
                    </a:lnTo>
                    <a:lnTo>
                      <a:pt x="7" y="124"/>
                    </a:lnTo>
                    <a:lnTo>
                      <a:pt x="2" y="122"/>
                    </a:lnTo>
                    <a:lnTo>
                      <a:pt x="0" y="120"/>
                    </a:lnTo>
                    <a:lnTo>
                      <a:pt x="2" y="118"/>
                    </a:lnTo>
                    <a:lnTo>
                      <a:pt x="6" y="117"/>
                    </a:lnTo>
                    <a:lnTo>
                      <a:pt x="13" y="110"/>
                    </a:lnTo>
                    <a:lnTo>
                      <a:pt x="19" y="105"/>
                    </a:lnTo>
                    <a:lnTo>
                      <a:pt x="25" y="98"/>
                    </a:lnTo>
                    <a:lnTo>
                      <a:pt x="35" y="98"/>
                    </a:lnTo>
                    <a:lnTo>
                      <a:pt x="43" y="98"/>
                    </a:lnTo>
                    <a:lnTo>
                      <a:pt x="50" y="98"/>
                    </a:lnTo>
                    <a:lnTo>
                      <a:pt x="57" y="98"/>
                    </a:lnTo>
                    <a:lnTo>
                      <a:pt x="66" y="98"/>
                    </a:lnTo>
                    <a:lnTo>
                      <a:pt x="69" y="94"/>
                    </a:lnTo>
                    <a:lnTo>
                      <a:pt x="74" y="89"/>
                    </a:lnTo>
                    <a:lnTo>
                      <a:pt x="78" y="84"/>
                    </a:lnTo>
                    <a:lnTo>
                      <a:pt x="83" y="82"/>
                    </a:lnTo>
                    <a:lnTo>
                      <a:pt x="86" y="75"/>
                    </a:lnTo>
                    <a:lnTo>
                      <a:pt x="92" y="68"/>
                    </a:lnTo>
                    <a:lnTo>
                      <a:pt x="88" y="70"/>
                    </a:lnTo>
                    <a:lnTo>
                      <a:pt x="88" y="74"/>
                    </a:lnTo>
                    <a:lnTo>
                      <a:pt x="88" y="75"/>
                    </a:lnTo>
                    <a:lnTo>
                      <a:pt x="92" y="77"/>
                    </a:lnTo>
                    <a:lnTo>
                      <a:pt x="99" y="74"/>
                    </a:lnTo>
                    <a:lnTo>
                      <a:pt x="105" y="70"/>
                    </a:lnTo>
                    <a:lnTo>
                      <a:pt x="114" y="63"/>
                    </a:lnTo>
                    <a:lnTo>
                      <a:pt x="123" y="53"/>
                    </a:lnTo>
                    <a:lnTo>
                      <a:pt x="131" y="41"/>
                    </a:lnTo>
                    <a:lnTo>
                      <a:pt x="135" y="29"/>
                    </a:lnTo>
                    <a:lnTo>
                      <a:pt x="133" y="25"/>
                    </a:lnTo>
                    <a:lnTo>
                      <a:pt x="131" y="22"/>
                    </a:lnTo>
                    <a:lnTo>
                      <a:pt x="131" y="15"/>
                    </a:lnTo>
                    <a:lnTo>
                      <a:pt x="135" y="10"/>
                    </a:lnTo>
                    <a:lnTo>
                      <a:pt x="138" y="5"/>
                    </a:lnTo>
                    <a:lnTo>
                      <a:pt x="143" y="3"/>
                    </a:lnTo>
                    <a:lnTo>
                      <a:pt x="143" y="5"/>
                    </a:lnTo>
                    <a:lnTo>
                      <a:pt x="150" y="5"/>
                    </a:lnTo>
                    <a:lnTo>
                      <a:pt x="148" y="5"/>
                    </a:lnTo>
                    <a:lnTo>
                      <a:pt x="145" y="1"/>
                    </a:lnTo>
                    <a:lnTo>
                      <a:pt x="147" y="0"/>
                    </a:lnTo>
                    <a:lnTo>
                      <a:pt x="152" y="0"/>
                    </a:lnTo>
                    <a:lnTo>
                      <a:pt x="154" y="3"/>
                    </a:lnTo>
                    <a:lnTo>
                      <a:pt x="154" y="8"/>
                    </a:lnTo>
                    <a:lnTo>
                      <a:pt x="155" y="13"/>
                    </a:lnTo>
                    <a:lnTo>
                      <a:pt x="159" y="22"/>
                    </a:lnTo>
                    <a:lnTo>
                      <a:pt x="162" y="31"/>
                    </a:lnTo>
                    <a:lnTo>
                      <a:pt x="159" y="38"/>
                    </a:lnTo>
                    <a:lnTo>
                      <a:pt x="155" y="46"/>
                    </a:lnTo>
                    <a:lnTo>
                      <a:pt x="155" y="48"/>
                    </a:lnTo>
                    <a:lnTo>
                      <a:pt x="155" y="50"/>
                    </a:lnTo>
                    <a:lnTo>
                      <a:pt x="152" y="50"/>
                    </a:lnTo>
                    <a:lnTo>
                      <a:pt x="150" y="51"/>
                    </a:lnTo>
                    <a:lnTo>
                      <a:pt x="147" y="53"/>
                    </a:lnTo>
                    <a:lnTo>
                      <a:pt x="145" y="60"/>
                    </a:lnTo>
                    <a:lnTo>
                      <a:pt x="145" y="67"/>
                    </a:lnTo>
                    <a:lnTo>
                      <a:pt x="147" y="74"/>
                    </a:lnTo>
                    <a:lnTo>
                      <a:pt x="143" y="79"/>
                    </a:lnTo>
                    <a:lnTo>
                      <a:pt x="142" y="87"/>
                    </a:lnTo>
                    <a:lnTo>
                      <a:pt x="142" y="93"/>
                    </a:lnTo>
                    <a:lnTo>
                      <a:pt x="143" y="98"/>
                    </a:lnTo>
                    <a:lnTo>
                      <a:pt x="136" y="101"/>
                    </a:lnTo>
                    <a:lnTo>
                      <a:pt x="131" y="108"/>
                    </a:lnTo>
                    <a:lnTo>
                      <a:pt x="129" y="103"/>
                    </a:lnTo>
                    <a:lnTo>
                      <a:pt x="131" y="99"/>
                    </a:lnTo>
                    <a:lnTo>
                      <a:pt x="123" y="105"/>
                    </a:lnTo>
                    <a:lnTo>
                      <a:pt x="117" y="111"/>
                    </a:lnTo>
                    <a:lnTo>
                      <a:pt x="116" y="110"/>
                    </a:lnTo>
                    <a:lnTo>
                      <a:pt x="111" y="110"/>
                    </a:lnTo>
                    <a:lnTo>
                      <a:pt x="105" y="111"/>
                    </a:lnTo>
                    <a:lnTo>
                      <a:pt x="100" y="115"/>
                    </a:lnTo>
                    <a:lnTo>
                      <a:pt x="90" y="110"/>
                    </a:lnTo>
                    <a:lnTo>
                      <a:pt x="85" y="106"/>
                    </a:lnTo>
                    <a:lnTo>
                      <a:pt x="83" y="108"/>
                    </a:lnTo>
                    <a:lnTo>
                      <a:pt x="83" y="110"/>
                    </a:lnTo>
                    <a:lnTo>
                      <a:pt x="85" y="115"/>
                    </a:lnTo>
                    <a:lnTo>
                      <a:pt x="88" y="118"/>
                    </a:lnTo>
                    <a:lnTo>
                      <a:pt x="85" y="118"/>
                    </a:lnTo>
                    <a:lnTo>
                      <a:pt x="83" y="118"/>
                    </a:lnTo>
                    <a:lnTo>
                      <a:pt x="76" y="122"/>
                    </a:lnTo>
                    <a:lnTo>
                      <a:pt x="71" y="132"/>
                    </a:lnTo>
                    <a:lnTo>
                      <a:pt x="66" y="129"/>
                    </a:lnTo>
                    <a:lnTo>
                      <a:pt x="62" y="12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8" name="Freeform 249"/>
              <p:cNvSpPr>
                <a:spLocks/>
              </p:cNvSpPr>
              <p:nvPr/>
            </p:nvSpPr>
            <p:spPr bwMode="auto">
              <a:xfrm>
                <a:off x="7520782" y="2887663"/>
                <a:ext cx="131763" cy="112712"/>
              </a:xfrm>
              <a:custGeom>
                <a:avLst/>
                <a:gdLst/>
                <a:ahLst/>
                <a:cxnLst>
                  <a:cxn ang="0">
                    <a:pos x="11" y="38"/>
                  </a:cxn>
                  <a:cxn ang="0">
                    <a:pos x="12" y="38"/>
                  </a:cxn>
                  <a:cxn ang="0">
                    <a:pos x="16" y="38"/>
                  </a:cxn>
                  <a:cxn ang="0">
                    <a:pos x="19" y="35"/>
                  </a:cxn>
                  <a:cxn ang="0">
                    <a:pos x="24" y="28"/>
                  </a:cxn>
                  <a:cxn ang="0">
                    <a:pos x="26" y="18"/>
                  </a:cxn>
                  <a:cxn ang="0">
                    <a:pos x="28" y="13"/>
                  </a:cxn>
                  <a:cxn ang="0">
                    <a:pos x="26" y="9"/>
                  </a:cxn>
                  <a:cxn ang="0">
                    <a:pos x="26" y="7"/>
                  </a:cxn>
                  <a:cxn ang="0">
                    <a:pos x="26" y="2"/>
                  </a:cxn>
                  <a:cxn ang="0">
                    <a:pos x="29" y="0"/>
                  </a:cxn>
                  <a:cxn ang="0">
                    <a:pos x="38" y="7"/>
                  </a:cxn>
                  <a:cxn ang="0">
                    <a:pos x="47" y="16"/>
                  </a:cxn>
                  <a:cxn ang="0">
                    <a:pos x="55" y="23"/>
                  </a:cxn>
                  <a:cxn ang="0">
                    <a:pos x="69" y="26"/>
                  </a:cxn>
                  <a:cxn ang="0">
                    <a:pos x="74" y="25"/>
                  </a:cxn>
                  <a:cxn ang="0">
                    <a:pos x="79" y="25"/>
                  </a:cxn>
                  <a:cxn ang="0">
                    <a:pos x="76" y="28"/>
                  </a:cxn>
                  <a:cxn ang="0">
                    <a:pos x="76" y="31"/>
                  </a:cxn>
                  <a:cxn ang="0">
                    <a:pos x="78" y="35"/>
                  </a:cxn>
                  <a:cxn ang="0">
                    <a:pos x="83" y="38"/>
                  </a:cxn>
                  <a:cxn ang="0">
                    <a:pos x="74" y="40"/>
                  </a:cxn>
                  <a:cxn ang="0">
                    <a:pos x="67" y="42"/>
                  </a:cxn>
                  <a:cxn ang="0">
                    <a:pos x="54" y="49"/>
                  </a:cxn>
                  <a:cxn ang="0">
                    <a:pos x="48" y="61"/>
                  </a:cxn>
                  <a:cxn ang="0">
                    <a:pos x="36" y="54"/>
                  </a:cxn>
                  <a:cxn ang="0">
                    <a:pos x="26" y="49"/>
                  </a:cxn>
                  <a:cxn ang="0">
                    <a:pos x="23" y="49"/>
                  </a:cxn>
                  <a:cxn ang="0">
                    <a:pos x="23" y="52"/>
                  </a:cxn>
                  <a:cxn ang="0">
                    <a:pos x="12" y="50"/>
                  </a:cxn>
                  <a:cxn ang="0">
                    <a:pos x="7" y="56"/>
                  </a:cxn>
                  <a:cxn ang="0">
                    <a:pos x="11" y="59"/>
                  </a:cxn>
                  <a:cxn ang="0">
                    <a:pos x="17" y="64"/>
                  </a:cxn>
                  <a:cxn ang="0">
                    <a:pos x="11" y="68"/>
                  </a:cxn>
                  <a:cxn ang="0">
                    <a:pos x="5" y="71"/>
                  </a:cxn>
                  <a:cxn ang="0">
                    <a:pos x="2" y="71"/>
                  </a:cxn>
                  <a:cxn ang="0">
                    <a:pos x="2" y="64"/>
                  </a:cxn>
                  <a:cxn ang="0">
                    <a:pos x="2" y="59"/>
                  </a:cxn>
                  <a:cxn ang="0">
                    <a:pos x="0" y="56"/>
                  </a:cxn>
                  <a:cxn ang="0">
                    <a:pos x="0" y="54"/>
                  </a:cxn>
                  <a:cxn ang="0">
                    <a:pos x="4" y="47"/>
                  </a:cxn>
                  <a:cxn ang="0">
                    <a:pos x="9" y="42"/>
                  </a:cxn>
                  <a:cxn ang="0">
                    <a:pos x="9" y="38"/>
                  </a:cxn>
                  <a:cxn ang="0">
                    <a:pos x="11" y="38"/>
                  </a:cxn>
                  <a:cxn ang="0">
                    <a:pos x="12" y="40"/>
                  </a:cxn>
                  <a:cxn ang="0">
                    <a:pos x="11" y="38"/>
                  </a:cxn>
                </a:cxnLst>
                <a:rect l="0" t="0" r="r" b="b"/>
                <a:pathLst>
                  <a:path w="83" h="71">
                    <a:moveTo>
                      <a:pt x="11" y="38"/>
                    </a:moveTo>
                    <a:lnTo>
                      <a:pt x="12" y="38"/>
                    </a:lnTo>
                    <a:lnTo>
                      <a:pt x="16" y="38"/>
                    </a:lnTo>
                    <a:lnTo>
                      <a:pt x="19" y="35"/>
                    </a:lnTo>
                    <a:lnTo>
                      <a:pt x="24" y="28"/>
                    </a:lnTo>
                    <a:lnTo>
                      <a:pt x="26" y="18"/>
                    </a:lnTo>
                    <a:lnTo>
                      <a:pt x="28" y="13"/>
                    </a:lnTo>
                    <a:lnTo>
                      <a:pt x="26" y="9"/>
                    </a:lnTo>
                    <a:lnTo>
                      <a:pt x="26" y="7"/>
                    </a:lnTo>
                    <a:lnTo>
                      <a:pt x="26" y="2"/>
                    </a:lnTo>
                    <a:lnTo>
                      <a:pt x="29" y="0"/>
                    </a:lnTo>
                    <a:lnTo>
                      <a:pt x="38" y="7"/>
                    </a:lnTo>
                    <a:lnTo>
                      <a:pt x="47" y="16"/>
                    </a:lnTo>
                    <a:lnTo>
                      <a:pt x="55" y="23"/>
                    </a:lnTo>
                    <a:lnTo>
                      <a:pt x="69" y="26"/>
                    </a:lnTo>
                    <a:lnTo>
                      <a:pt x="74" y="25"/>
                    </a:lnTo>
                    <a:lnTo>
                      <a:pt x="79" y="25"/>
                    </a:lnTo>
                    <a:lnTo>
                      <a:pt x="76" y="28"/>
                    </a:lnTo>
                    <a:lnTo>
                      <a:pt x="76" y="31"/>
                    </a:lnTo>
                    <a:lnTo>
                      <a:pt x="78" y="35"/>
                    </a:lnTo>
                    <a:lnTo>
                      <a:pt x="83" y="38"/>
                    </a:lnTo>
                    <a:lnTo>
                      <a:pt x="74" y="40"/>
                    </a:lnTo>
                    <a:lnTo>
                      <a:pt x="67" y="42"/>
                    </a:lnTo>
                    <a:lnTo>
                      <a:pt x="54" y="49"/>
                    </a:lnTo>
                    <a:lnTo>
                      <a:pt x="48" y="61"/>
                    </a:lnTo>
                    <a:lnTo>
                      <a:pt x="36" y="54"/>
                    </a:lnTo>
                    <a:lnTo>
                      <a:pt x="26" y="49"/>
                    </a:lnTo>
                    <a:lnTo>
                      <a:pt x="23" y="49"/>
                    </a:lnTo>
                    <a:lnTo>
                      <a:pt x="23" y="52"/>
                    </a:lnTo>
                    <a:lnTo>
                      <a:pt x="12" y="50"/>
                    </a:lnTo>
                    <a:lnTo>
                      <a:pt x="7" y="56"/>
                    </a:lnTo>
                    <a:lnTo>
                      <a:pt x="11" y="59"/>
                    </a:lnTo>
                    <a:lnTo>
                      <a:pt x="17" y="64"/>
                    </a:lnTo>
                    <a:lnTo>
                      <a:pt x="11" y="68"/>
                    </a:lnTo>
                    <a:lnTo>
                      <a:pt x="5" y="71"/>
                    </a:lnTo>
                    <a:lnTo>
                      <a:pt x="2" y="71"/>
                    </a:lnTo>
                    <a:lnTo>
                      <a:pt x="2" y="64"/>
                    </a:lnTo>
                    <a:lnTo>
                      <a:pt x="2" y="59"/>
                    </a:lnTo>
                    <a:lnTo>
                      <a:pt x="0" y="56"/>
                    </a:lnTo>
                    <a:lnTo>
                      <a:pt x="0" y="54"/>
                    </a:lnTo>
                    <a:lnTo>
                      <a:pt x="4" y="47"/>
                    </a:lnTo>
                    <a:lnTo>
                      <a:pt x="9" y="42"/>
                    </a:lnTo>
                    <a:lnTo>
                      <a:pt x="9" y="38"/>
                    </a:lnTo>
                    <a:lnTo>
                      <a:pt x="11" y="38"/>
                    </a:lnTo>
                    <a:lnTo>
                      <a:pt x="12" y="40"/>
                    </a:lnTo>
                    <a:lnTo>
                      <a:pt x="11" y="3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9" name="Freeform 250"/>
              <p:cNvSpPr>
                <a:spLocks/>
              </p:cNvSpPr>
              <p:nvPr/>
            </p:nvSpPr>
            <p:spPr bwMode="auto">
              <a:xfrm>
                <a:off x="7649369" y="2916238"/>
                <a:ext cx="22225" cy="20637"/>
              </a:xfrm>
              <a:custGeom>
                <a:avLst/>
                <a:gdLst/>
                <a:ahLst/>
                <a:cxnLst>
                  <a:cxn ang="0">
                    <a:pos x="10" y="0"/>
                  </a:cxn>
                  <a:cxn ang="0">
                    <a:pos x="14" y="1"/>
                  </a:cxn>
                  <a:cxn ang="0">
                    <a:pos x="7" y="8"/>
                  </a:cxn>
                  <a:cxn ang="0">
                    <a:pos x="0" y="13"/>
                  </a:cxn>
                  <a:cxn ang="0">
                    <a:pos x="0" y="10"/>
                  </a:cxn>
                  <a:cxn ang="0">
                    <a:pos x="0" y="8"/>
                  </a:cxn>
                  <a:cxn ang="0">
                    <a:pos x="5" y="3"/>
                  </a:cxn>
                  <a:cxn ang="0">
                    <a:pos x="12" y="1"/>
                  </a:cxn>
                  <a:cxn ang="0">
                    <a:pos x="10" y="0"/>
                  </a:cxn>
                </a:cxnLst>
                <a:rect l="0" t="0" r="r" b="b"/>
                <a:pathLst>
                  <a:path w="14" h="13">
                    <a:moveTo>
                      <a:pt x="10" y="0"/>
                    </a:moveTo>
                    <a:lnTo>
                      <a:pt x="14" y="1"/>
                    </a:lnTo>
                    <a:lnTo>
                      <a:pt x="7" y="8"/>
                    </a:lnTo>
                    <a:lnTo>
                      <a:pt x="0" y="13"/>
                    </a:lnTo>
                    <a:lnTo>
                      <a:pt x="0" y="10"/>
                    </a:lnTo>
                    <a:lnTo>
                      <a:pt x="0" y="8"/>
                    </a:lnTo>
                    <a:lnTo>
                      <a:pt x="5" y="3"/>
                    </a:lnTo>
                    <a:lnTo>
                      <a:pt x="12" y="1"/>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0" name="Freeform 251"/>
              <p:cNvSpPr>
                <a:spLocks/>
              </p:cNvSpPr>
              <p:nvPr/>
            </p:nvSpPr>
            <p:spPr bwMode="auto">
              <a:xfrm>
                <a:off x="7693819" y="2887663"/>
                <a:ext cx="28575" cy="22225"/>
              </a:xfrm>
              <a:custGeom>
                <a:avLst/>
                <a:gdLst/>
                <a:ahLst/>
                <a:cxnLst>
                  <a:cxn ang="0">
                    <a:pos x="18" y="4"/>
                  </a:cxn>
                  <a:cxn ang="0">
                    <a:pos x="8" y="9"/>
                  </a:cxn>
                  <a:cxn ang="0">
                    <a:pos x="0" y="14"/>
                  </a:cxn>
                  <a:cxn ang="0">
                    <a:pos x="0" y="13"/>
                  </a:cxn>
                  <a:cxn ang="0">
                    <a:pos x="0" y="11"/>
                  </a:cxn>
                  <a:cxn ang="0">
                    <a:pos x="3" y="6"/>
                  </a:cxn>
                  <a:cxn ang="0">
                    <a:pos x="12" y="0"/>
                  </a:cxn>
                  <a:cxn ang="0">
                    <a:pos x="15" y="0"/>
                  </a:cxn>
                  <a:cxn ang="0">
                    <a:pos x="18" y="0"/>
                  </a:cxn>
                  <a:cxn ang="0">
                    <a:pos x="18" y="4"/>
                  </a:cxn>
                </a:cxnLst>
                <a:rect l="0" t="0" r="r" b="b"/>
                <a:pathLst>
                  <a:path w="18" h="14">
                    <a:moveTo>
                      <a:pt x="18" y="4"/>
                    </a:moveTo>
                    <a:lnTo>
                      <a:pt x="8" y="9"/>
                    </a:lnTo>
                    <a:lnTo>
                      <a:pt x="0" y="14"/>
                    </a:lnTo>
                    <a:lnTo>
                      <a:pt x="0" y="13"/>
                    </a:lnTo>
                    <a:lnTo>
                      <a:pt x="0" y="11"/>
                    </a:lnTo>
                    <a:lnTo>
                      <a:pt x="3" y="6"/>
                    </a:lnTo>
                    <a:lnTo>
                      <a:pt x="12" y="0"/>
                    </a:lnTo>
                    <a:lnTo>
                      <a:pt x="15" y="0"/>
                    </a:lnTo>
                    <a:lnTo>
                      <a:pt x="18" y="0"/>
                    </a:lnTo>
                    <a:lnTo>
                      <a:pt x="18"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1" name="Freeform 252"/>
              <p:cNvSpPr>
                <a:spLocks/>
              </p:cNvSpPr>
              <p:nvPr/>
            </p:nvSpPr>
            <p:spPr bwMode="auto">
              <a:xfrm>
                <a:off x="7747794" y="2863850"/>
                <a:ext cx="15875" cy="15875"/>
              </a:xfrm>
              <a:custGeom>
                <a:avLst/>
                <a:gdLst/>
                <a:ahLst/>
                <a:cxnLst>
                  <a:cxn ang="0">
                    <a:pos x="2" y="7"/>
                  </a:cxn>
                  <a:cxn ang="0">
                    <a:pos x="2" y="5"/>
                  </a:cxn>
                  <a:cxn ang="0">
                    <a:pos x="2" y="3"/>
                  </a:cxn>
                  <a:cxn ang="0">
                    <a:pos x="5" y="0"/>
                  </a:cxn>
                  <a:cxn ang="0">
                    <a:pos x="10" y="0"/>
                  </a:cxn>
                  <a:cxn ang="0">
                    <a:pos x="5" y="5"/>
                  </a:cxn>
                  <a:cxn ang="0">
                    <a:pos x="2" y="10"/>
                  </a:cxn>
                  <a:cxn ang="0">
                    <a:pos x="0" y="9"/>
                  </a:cxn>
                  <a:cxn ang="0">
                    <a:pos x="2" y="7"/>
                  </a:cxn>
                </a:cxnLst>
                <a:rect l="0" t="0" r="r" b="b"/>
                <a:pathLst>
                  <a:path w="10" h="10">
                    <a:moveTo>
                      <a:pt x="2" y="7"/>
                    </a:moveTo>
                    <a:lnTo>
                      <a:pt x="2" y="5"/>
                    </a:lnTo>
                    <a:lnTo>
                      <a:pt x="2" y="3"/>
                    </a:lnTo>
                    <a:lnTo>
                      <a:pt x="5" y="0"/>
                    </a:lnTo>
                    <a:lnTo>
                      <a:pt x="10" y="0"/>
                    </a:lnTo>
                    <a:lnTo>
                      <a:pt x="5" y="5"/>
                    </a:lnTo>
                    <a:lnTo>
                      <a:pt x="2" y="10"/>
                    </a:lnTo>
                    <a:lnTo>
                      <a:pt x="0" y="9"/>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2" name="Freeform 253"/>
              <p:cNvSpPr>
                <a:spLocks/>
              </p:cNvSpPr>
              <p:nvPr/>
            </p:nvSpPr>
            <p:spPr bwMode="auto">
              <a:xfrm>
                <a:off x="7562057" y="2617788"/>
                <a:ext cx="65088" cy="250825"/>
              </a:xfrm>
              <a:custGeom>
                <a:avLst/>
                <a:gdLst/>
                <a:ahLst/>
                <a:cxnLst>
                  <a:cxn ang="0">
                    <a:pos x="29" y="98"/>
                  </a:cxn>
                  <a:cxn ang="0">
                    <a:pos x="21" y="100"/>
                  </a:cxn>
                  <a:cxn ang="0">
                    <a:pos x="17" y="107"/>
                  </a:cxn>
                  <a:cxn ang="0">
                    <a:pos x="15" y="115"/>
                  </a:cxn>
                  <a:cxn ang="0">
                    <a:pos x="15" y="127"/>
                  </a:cxn>
                  <a:cxn ang="0">
                    <a:pos x="21" y="140"/>
                  </a:cxn>
                  <a:cxn ang="0">
                    <a:pos x="29" y="153"/>
                  </a:cxn>
                  <a:cxn ang="0">
                    <a:pos x="28" y="153"/>
                  </a:cxn>
                  <a:cxn ang="0">
                    <a:pos x="24" y="150"/>
                  </a:cxn>
                  <a:cxn ang="0">
                    <a:pos x="22" y="148"/>
                  </a:cxn>
                  <a:cxn ang="0">
                    <a:pos x="19" y="148"/>
                  </a:cxn>
                  <a:cxn ang="0">
                    <a:pos x="17" y="148"/>
                  </a:cxn>
                  <a:cxn ang="0">
                    <a:pos x="10" y="153"/>
                  </a:cxn>
                  <a:cxn ang="0">
                    <a:pos x="5" y="158"/>
                  </a:cxn>
                  <a:cxn ang="0">
                    <a:pos x="3" y="152"/>
                  </a:cxn>
                  <a:cxn ang="0">
                    <a:pos x="5" y="145"/>
                  </a:cxn>
                  <a:cxn ang="0">
                    <a:pos x="5" y="133"/>
                  </a:cxn>
                  <a:cxn ang="0">
                    <a:pos x="7" y="122"/>
                  </a:cxn>
                  <a:cxn ang="0">
                    <a:pos x="5" y="114"/>
                  </a:cxn>
                  <a:cxn ang="0">
                    <a:pos x="5" y="107"/>
                  </a:cxn>
                  <a:cxn ang="0">
                    <a:pos x="5" y="98"/>
                  </a:cxn>
                  <a:cxn ang="0">
                    <a:pos x="7" y="91"/>
                  </a:cxn>
                  <a:cxn ang="0">
                    <a:pos x="7" y="76"/>
                  </a:cxn>
                  <a:cxn ang="0">
                    <a:pos x="7" y="62"/>
                  </a:cxn>
                  <a:cxn ang="0">
                    <a:pos x="3" y="52"/>
                  </a:cxn>
                  <a:cxn ang="0">
                    <a:pos x="0" y="43"/>
                  </a:cxn>
                  <a:cxn ang="0">
                    <a:pos x="0" y="35"/>
                  </a:cxn>
                  <a:cxn ang="0">
                    <a:pos x="2" y="26"/>
                  </a:cxn>
                  <a:cxn ang="0">
                    <a:pos x="3" y="19"/>
                  </a:cxn>
                  <a:cxn ang="0">
                    <a:pos x="10" y="17"/>
                  </a:cxn>
                  <a:cxn ang="0">
                    <a:pos x="10" y="14"/>
                  </a:cxn>
                  <a:cxn ang="0">
                    <a:pos x="12" y="11"/>
                  </a:cxn>
                  <a:cxn ang="0">
                    <a:pos x="12" y="5"/>
                  </a:cxn>
                  <a:cxn ang="0">
                    <a:pos x="12" y="0"/>
                  </a:cxn>
                  <a:cxn ang="0">
                    <a:pos x="14" y="0"/>
                  </a:cxn>
                  <a:cxn ang="0">
                    <a:pos x="15" y="0"/>
                  </a:cxn>
                  <a:cxn ang="0">
                    <a:pos x="17" y="12"/>
                  </a:cxn>
                  <a:cxn ang="0">
                    <a:pos x="22" y="24"/>
                  </a:cxn>
                  <a:cxn ang="0">
                    <a:pos x="21" y="33"/>
                  </a:cxn>
                  <a:cxn ang="0">
                    <a:pos x="24" y="43"/>
                  </a:cxn>
                  <a:cxn ang="0">
                    <a:pos x="24" y="55"/>
                  </a:cxn>
                  <a:cxn ang="0">
                    <a:pos x="24" y="62"/>
                  </a:cxn>
                  <a:cxn ang="0">
                    <a:pos x="28" y="69"/>
                  </a:cxn>
                  <a:cxn ang="0">
                    <a:pos x="34" y="86"/>
                  </a:cxn>
                  <a:cxn ang="0">
                    <a:pos x="41" y="103"/>
                  </a:cxn>
                  <a:cxn ang="0">
                    <a:pos x="34" y="98"/>
                  </a:cxn>
                  <a:cxn ang="0">
                    <a:pos x="29" y="98"/>
                  </a:cxn>
                </a:cxnLst>
                <a:rect l="0" t="0" r="r" b="b"/>
                <a:pathLst>
                  <a:path w="41" h="158">
                    <a:moveTo>
                      <a:pt x="29" y="98"/>
                    </a:moveTo>
                    <a:lnTo>
                      <a:pt x="21" y="100"/>
                    </a:lnTo>
                    <a:lnTo>
                      <a:pt x="17" y="107"/>
                    </a:lnTo>
                    <a:lnTo>
                      <a:pt x="15" y="115"/>
                    </a:lnTo>
                    <a:lnTo>
                      <a:pt x="15" y="127"/>
                    </a:lnTo>
                    <a:lnTo>
                      <a:pt x="21" y="140"/>
                    </a:lnTo>
                    <a:lnTo>
                      <a:pt x="29" y="153"/>
                    </a:lnTo>
                    <a:lnTo>
                      <a:pt x="28" y="153"/>
                    </a:lnTo>
                    <a:lnTo>
                      <a:pt x="24" y="150"/>
                    </a:lnTo>
                    <a:lnTo>
                      <a:pt x="22" y="148"/>
                    </a:lnTo>
                    <a:lnTo>
                      <a:pt x="19" y="148"/>
                    </a:lnTo>
                    <a:lnTo>
                      <a:pt x="17" y="148"/>
                    </a:lnTo>
                    <a:lnTo>
                      <a:pt x="10" y="153"/>
                    </a:lnTo>
                    <a:lnTo>
                      <a:pt x="5" y="158"/>
                    </a:lnTo>
                    <a:lnTo>
                      <a:pt x="3" y="152"/>
                    </a:lnTo>
                    <a:lnTo>
                      <a:pt x="5" y="145"/>
                    </a:lnTo>
                    <a:lnTo>
                      <a:pt x="5" y="133"/>
                    </a:lnTo>
                    <a:lnTo>
                      <a:pt x="7" y="122"/>
                    </a:lnTo>
                    <a:lnTo>
                      <a:pt x="5" y="114"/>
                    </a:lnTo>
                    <a:lnTo>
                      <a:pt x="5" y="107"/>
                    </a:lnTo>
                    <a:lnTo>
                      <a:pt x="5" y="98"/>
                    </a:lnTo>
                    <a:lnTo>
                      <a:pt x="7" y="91"/>
                    </a:lnTo>
                    <a:lnTo>
                      <a:pt x="7" y="76"/>
                    </a:lnTo>
                    <a:lnTo>
                      <a:pt x="7" y="62"/>
                    </a:lnTo>
                    <a:lnTo>
                      <a:pt x="3" y="52"/>
                    </a:lnTo>
                    <a:lnTo>
                      <a:pt x="0" y="43"/>
                    </a:lnTo>
                    <a:lnTo>
                      <a:pt x="0" y="35"/>
                    </a:lnTo>
                    <a:lnTo>
                      <a:pt x="2" y="26"/>
                    </a:lnTo>
                    <a:lnTo>
                      <a:pt x="3" y="19"/>
                    </a:lnTo>
                    <a:lnTo>
                      <a:pt x="10" y="17"/>
                    </a:lnTo>
                    <a:lnTo>
                      <a:pt x="10" y="14"/>
                    </a:lnTo>
                    <a:lnTo>
                      <a:pt x="12" y="11"/>
                    </a:lnTo>
                    <a:lnTo>
                      <a:pt x="12" y="5"/>
                    </a:lnTo>
                    <a:lnTo>
                      <a:pt x="12" y="0"/>
                    </a:lnTo>
                    <a:lnTo>
                      <a:pt x="14" y="0"/>
                    </a:lnTo>
                    <a:lnTo>
                      <a:pt x="15" y="0"/>
                    </a:lnTo>
                    <a:lnTo>
                      <a:pt x="17" y="12"/>
                    </a:lnTo>
                    <a:lnTo>
                      <a:pt x="22" y="24"/>
                    </a:lnTo>
                    <a:lnTo>
                      <a:pt x="21" y="33"/>
                    </a:lnTo>
                    <a:lnTo>
                      <a:pt x="24" y="43"/>
                    </a:lnTo>
                    <a:lnTo>
                      <a:pt x="24" y="55"/>
                    </a:lnTo>
                    <a:lnTo>
                      <a:pt x="24" y="62"/>
                    </a:lnTo>
                    <a:lnTo>
                      <a:pt x="28" y="69"/>
                    </a:lnTo>
                    <a:lnTo>
                      <a:pt x="34" y="86"/>
                    </a:lnTo>
                    <a:lnTo>
                      <a:pt x="41" y="103"/>
                    </a:lnTo>
                    <a:lnTo>
                      <a:pt x="34" y="98"/>
                    </a:lnTo>
                    <a:lnTo>
                      <a:pt x="29" y="9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3" name="Freeform 254"/>
              <p:cNvSpPr>
                <a:spLocks/>
              </p:cNvSpPr>
              <p:nvPr/>
            </p:nvSpPr>
            <p:spPr bwMode="auto">
              <a:xfrm>
                <a:off x="5487194" y="1744663"/>
                <a:ext cx="403225" cy="295275"/>
              </a:xfrm>
              <a:custGeom>
                <a:avLst/>
                <a:gdLst/>
                <a:ahLst/>
                <a:cxnLst>
                  <a:cxn ang="0">
                    <a:pos x="77" y="177"/>
                  </a:cxn>
                  <a:cxn ang="0">
                    <a:pos x="60" y="162"/>
                  </a:cxn>
                  <a:cxn ang="0">
                    <a:pos x="58" y="138"/>
                  </a:cxn>
                  <a:cxn ang="0">
                    <a:pos x="69" y="113"/>
                  </a:cxn>
                  <a:cxn ang="0">
                    <a:pos x="88" y="93"/>
                  </a:cxn>
                  <a:cxn ang="0">
                    <a:pos x="108" y="81"/>
                  </a:cxn>
                  <a:cxn ang="0">
                    <a:pos x="124" y="72"/>
                  </a:cxn>
                  <a:cxn ang="0">
                    <a:pos x="134" y="64"/>
                  </a:cxn>
                  <a:cxn ang="0">
                    <a:pos x="149" y="57"/>
                  </a:cxn>
                  <a:cxn ang="0">
                    <a:pos x="167" y="46"/>
                  </a:cxn>
                  <a:cxn ang="0">
                    <a:pos x="189" y="43"/>
                  </a:cxn>
                  <a:cxn ang="0">
                    <a:pos x="206" y="36"/>
                  </a:cxn>
                  <a:cxn ang="0">
                    <a:pos x="223" y="31"/>
                  </a:cxn>
                  <a:cxn ang="0">
                    <a:pos x="248" y="22"/>
                  </a:cxn>
                  <a:cxn ang="0">
                    <a:pos x="251" y="7"/>
                  </a:cxn>
                  <a:cxn ang="0">
                    <a:pos x="239" y="0"/>
                  </a:cxn>
                  <a:cxn ang="0">
                    <a:pos x="223" y="0"/>
                  </a:cxn>
                  <a:cxn ang="0">
                    <a:pos x="205" y="9"/>
                  </a:cxn>
                  <a:cxn ang="0">
                    <a:pos x="186" y="19"/>
                  </a:cxn>
                  <a:cxn ang="0">
                    <a:pos x="167" y="26"/>
                  </a:cxn>
                  <a:cxn ang="0">
                    <a:pos x="149" y="26"/>
                  </a:cxn>
                  <a:cxn ang="0">
                    <a:pos x="132" y="26"/>
                  </a:cxn>
                  <a:cxn ang="0">
                    <a:pos x="112" y="33"/>
                  </a:cxn>
                  <a:cxn ang="0">
                    <a:pos x="89" y="48"/>
                  </a:cxn>
                  <a:cxn ang="0">
                    <a:pos x="70" y="55"/>
                  </a:cxn>
                  <a:cxn ang="0">
                    <a:pos x="55" y="58"/>
                  </a:cxn>
                  <a:cxn ang="0">
                    <a:pos x="57" y="65"/>
                  </a:cxn>
                  <a:cxn ang="0">
                    <a:pos x="53" y="79"/>
                  </a:cxn>
                  <a:cxn ang="0">
                    <a:pos x="36" y="95"/>
                  </a:cxn>
                  <a:cxn ang="0">
                    <a:pos x="36" y="105"/>
                  </a:cxn>
                  <a:cxn ang="0">
                    <a:pos x="31" y="113"/>
                  </a:cxn>
                  <a:cxn ang="0">
                    <a:pos x="17" y="120"/>
                  </a:cxn>
                  <a:cxn ang="0">
                    <a:pos x="15" y="132"/>
                  </a:cxn>
                  <a:cxn ang="0">
                    <a:pos x="12" y="139"/>
                  </a:cxn>
                  <a:cxn ang="0">
                    <a:pos x="2" y="146"/>
                  </a:cxn>
                  <a:cxn ang="0">
                    <a:pos x="5" y="162"/>
                  </a:cxn>
                  <a:cxn ang="0">
                    <a:pos x="12" y="165"/>
                  </a:cxn>
                  <a:cxn ang="0">
                    <a:pos x="20" y="165"/>
                  </a:cxn>
                  <a:cxn ang="0">
                    <a:pos x="31" y="170"/>
                  </a:cxn>
                  <a:cxn ang="0">
                    <a:pos x="38" y="182"/>
                  </a:cxn>
                  <a:cxn ang="0">
                    <a:pos x="46" y="184"/>
                  </a:cxn>
                  <a:cxn ang="0">
                    <a:pos x="88" y="186"/>
                  </a:cxn>
                  <a:cxn ang="0">
                    <a:pos x="82" y="181"/>
                  </a:cxn>
                </a:cxnLst>
                <a:rect l="0" t="0" r="r" b="b"/>
                <a:pathLst>
                  <a:path w="254" h="186">
                    <a:moveTo>
                      <a:pt x="88" y="186"/>
                    </a:moveTo>
                    <a:lnTo>
                      <a:pt x="77" y="177"/>
                    </a:lnTo>
                    <a:lnTo>
                      <a:pt x="69" y="170"/>
                    </a:lnTo>
                    <a:lnTo>
                      <a:pt x="60" y="162"/>
                    </a:lnTo>
                    <a:lnTo>
                      <a:pt x="58" y="151"/>
                    </a:lnTo>
                    <a:lnTo>
                      <a:pt x="58" y="138"/>
                    </a:lnTo>
                    <a:lnTo>
                      <a:pt x="63" y="126"/>
                    </a:lnTo>
                    <a:lnTo>
                      <a:pt x="69" y="113"/>
                    </a:lnTo>
                    <a:lnTo>
                      <a:pt x="79" y="103"/>
                    </a:lnTo>
                    <a:lnTo>
                      <a:pt x="88" y="93"/>
                    </a:lnTo>
                    <a:lnTo>
                      <a:pt x="98" y="86"/>
                    </a:lnTo>
                    <a:lnTo>
                      <a:pt x="108" y="81"/>
                    </a:lnTo>
                    <a:lnTo>
                      <a:pt x="120" y="77"/>
                    </a:lnTo>
                    <a:lnTo>
                      <a:pt x="124" y="72"/>
                    </a:lnTo>
                    <a:lnTo>
                      <a:pt x="129" y="69"/>
                    </a:lnTo>
                    <a:lnTo>
                      <a:pt x="134" y="64"/>
                    </a:lnTo>
                    <a:lnTo>
                      <a:pt x="144" y="64"/>
                    </a:lnTo>
                    <a:lnTo>
                      <a:pt x="149" y="57"/>
                    </a:lnTo>
                    <a:lnTo>
                      <a:pt x="155" y="52"/>
                    </a:lnTo>
                    <a:lnTo>
                      <a:pt x="167" y="46"/>
                    </a:lnTo>
                    <a:lnTo>
                      <a:pt x="179" y="45"/>
                    </a:lnTo>
                    <a:lnTo>
                      <a:pt x="189" y="43"/>
                    </a:lnTo>
                    <a:lnTo>
                      <a:pt x="203" y="40"/>
                    </a:lnTo>
                    <a:lnTo>
                      <a:pt x="206" y="36"/>
                    </a:lnTo>
                    <a:lnTo>
                      <a:pt x="215" y="34"/>
                    </a:lnTo>
                    <a:lnTo>
                      <a:pt x="223" y="31"/>
                    </a:lnTo>
                    <a:lnTo>
                      <a:pt x="232" y="29"/>
                    </a:lnTo>
                    <a:lnTo>
                      <a:pt x="248" y="22"/>
                    </a:lnTo>
                    <a:lnTo>
                      <a:pt x="254" y="12"/>
                    </a:lnTo>
                    <a:lnTo>
                      <a:pt x="251" y="7"/>
                    </a:lnTo>
                    <a:lnTo>
                      <a:pt x="246" y="3"/>
                    </a:lnTo>
                    <a:lnTo>
                      <a:pt x="239" y="0"/>
                    </a:lnTo>
                    <a:lnTo>
                      <a:pt x="234" y="0"/>
                    </a:lnTo>
                    <a:lnTo>
                      <a:pt x="223" y="0"/>
                    </a:lnTo>
                    <a:lnTo>
                      <a:pt x="213" y="3"/>
                    </a:lnTo>
                    <a:lnTo>
                      <a:pt x="205" y="9"/>
                    </a:lnTo>
                    <a:lnTo>
                      <a:pt x="196" y="14"/>
                    </a:lnTo>
                    <a:lnTo>
                      <a:pt x="186" y="19"/>
                    </a:lnTo>
                    <a:lnTo>
                      <a:pt x="177" y="24"/>
                    </a:lnTo>
                    <a:lnTo>
                      <a:pt x="167" y="26"/>
                    </a:lnTo>
                    <a:lnTo>
                      <a:pt x="158" y="29"/>
                    </a:lnTo>
                    <a:lnTo>
                      <a:pt x="149" y="26"/>
                    </a:lnTo>
                    <a:lnTo>
                      <a:pt x="143" y="22"/>
                    </a:lnTo>
                    <a:lnTo>
                      <a:pt x="132" y="26"/>
                    </a:lnTo>
                    <a:lnTo>
                      <a:pt x="127" y="29"/>
                    </a:lnTo>
                    <a:lnTo>
                      <a:pt x="112" y="33"/>
                    </a:lnTo>
                    <a:lnTo>
                      <a:pt x="101" y="41"/>
                    </a:lnTo>
                    <a:lnTo>
                      <a:pt x="89" y="48"/>
                    </a:lnTo>
                    <a:lnTo>
                      <a:pt x="81" y="53"/>
                    </a:lnTo>
                    <a:lnTo>
                      <a:pt x="70" y="55"/>
                    </a:lnTo>
                    <a:lnTo>
                      <a:pt x="60" y="57"/>
                    </a:lnTo>
                    <a:lnTo>
                      <a:pt x="55" y="58"/>
                    </a:lnTo>
                    <a:lnTo>
                      <a:pt x="55" y="62"/>
                    </a:lnTo>
                    <a:lnTo>
                      <a:pt x="57" y="65"/>
                    </a:lnTo>
                    <a:lnTo>
                      <a:pt x="58" y="71"/>
                    </a:lnTo>
                    <a:lnTo>
                      <a:pt x="53" y="79"/>
                    </a:lnTo>
                    <a:lnTo>
                      <a:pt x="45" y="88"/>
                    </a:lnTo>
                    <a:lnTo>
                      <a:pt x="36" y="95"/>
                    </a:lnTo>
                    <a:lnTo>
                      <a:pt x="33" y="101"/>
                    </a:lnTo>
                    <a:lnTo>
                      <a:pt x="36" y="105"/>
                    </a:lnTo>
                    <a:lnTo>
                      <a:pt x="39" y="113"/>
                    </a:lnTo>
                    <a:lnTo>
                      <a:pt x="31" y="113"/>
                    </a:lnTo>
                    <a:lnTo>
                      <a:pt x="24" y="117"/>
                    </a:lnTo>
                    <a:lnTo>
                      <a:pt x="17" y="120"/>
                    </a:lnTo>
                    <a:lnTo>
                      <a:pt x="15" y="127"/>
                    </a:lnTo>
                    <a:lnTo>
                      <a:pt x="15" y="132"/>
                    </a:lnTo>
                    <a:lnTo>
                      <a:pt x="15" y="134"/>
                    </a:lnTo>
                    <a:lnTo>
                      <a:pt x="12" y="139"/>
                    </a:lnTo>
                    <a:lnTo>
                      <a:pt x="7" y="143"/>
                    </a:lnTo>
                    <a:lnTo>
                      <a:pt x="2" y="146"/>
                    </a:lnTo>
                    <a:lnTo>
                      <a:pt x="0" y="155"/>
                    </a:lnTo>
                    <a:lnTo>
                      <a:pt x="5" y="162"/>
                    </a:lnTo>
                    <a:lnTo>
                      <a:pt x="10" y="165"/>
                    </a:lnTo>
                    <a:lnTo>
                      <a:pt x="12" y="165"/>
                    </a:lnTo>
                    <a:lnTo>
                      <a:pt x="17" y="165"/>
                    </a:lnTo>
                    <a:lnTo>
                      <a:pt x="20" y="165"/>
                    </a:lnTo>
                    <a:lnTo>
                      <a:pt x="26" y="165"/>
                    </a:lnTo>
                    <a:lnTo>
                      <a:pt x="31" y="170"/>
                    </a:lnTo>
                    <a:lnTo>
                      <a:pt x="33" y="182"/>
                    </a:lnTo>
                    <a:lnTo>
                      <a:pt x="38" y="182"/>
                    </a:lnTo>
                    <a:lnTo>
                      <a:pt x="45" y="182"/>
                    </a:lnTo>
                    <a:lnTo>
                      <a:pt x="46" y="184"/>
                    </a:lnTo>
                    <a:lnTo>
                      <a:pt x="48" y="186"/>
                    </a:lnTo>
                    <a:lnTo>
                      <a:pt x="88" y="186"/>
                    </a:lnTo>
                    <a:lnTo>
                      <a:pt x="84" y="181"/>
                    </a:lnTo>
                    <a:lnTo>
                      <a:pt x="82" y="181"/>
                    </a:lnTo>
                    <a:lnTo>
                      <a:pt x="88" y="1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4" name="Freeform 255"/>
              <p:cNvSpPr>
                <a:spLocks/>
              </p:cNvSpPr>
              <p:nvPr/>
            </p:nvSpPr>
            <p:spPr bwMode="auto">
              <a:xfrm>
                <a:off x="4102894" y="2519363"/>
                <a:ext cx="884238" cy="633412"/>
              </a:xfrm>
              <a:custGeom>
                <a:avLst/>
                <a:gdLst/>
                <a:ahLst/>
                <a:cxnLst>
                  <a:cxn ang="0">
                    <a:pos x="530" y="291"/>
                  </a:cxn>
                  <a:cxn ang="0">
                    <a:pos x="540" y="313"/>
                  </a:cxn>
                  <a:cxn ang="0">
                    <a:pos x="492" y="315"/>
                  </a:cxn>
                  <a:cxn ang="0">
                    <a:pos x="461" y="325"/>
                  </a:cxn>
                  <a:cxn ang="0">
                    <a:pos x="466" y="349"/>
                  </a:cxn>
                  <a:cxn ang="0">
                    <a:pos x="478" y="367"/>
                  </a:cxn>
                  <a:cxn ang="0">
                    <a:pos x="462" y="370"/>
                  </a:cxn>
                  <a:cxn ang="0">
                    <a:pos x="445" y="380"/>
                  </a:cxn>
                  <a:cxn ang="0">
                    <a:pos x="437" y="358"/>
                  </a:cxn>
                  <a:cxn ang="0">
                    <a:pos x="411" y="312"/>
                  </a:cxn>
                  <a:cxn ang="0">
                    <a:pos x="373" y="274"/>
                  </a:cxn>
                  <a:cxn ang="0">
                    <a:pos x="339" y="245"/>
                  </a:cxn>
                  <a:cxn ang="0">
                    <a:pos x="308" y="241"/>
                  </a:cxn>
                  <a:cxn ang="0">
                    <a:pos x="328" y="270"/>
                  </a:cxn>
                  <a:cxn ang="0">
                    <a:pos x="361" y="300"/>
                  </a:cxn>
                  <a:cxn ang="0">
                    <a:pos x="387" y="329"/>
                  </a:cxn>
                  <a:cxn ang="0">
                    <a:pos x="373" y="349"/>
                  </a:cxn>
                  <a:cxn ang="0">
                    <a:pos x="361" y="356"/>
                  </a:cxn>
                  <a:cxn ang="0">
                    <a:pos x="337" y="317"/>
                  </a:cxn>
                  <a:cxn ang="0">
                    <a:pos x="299" y="293"/>
                  </a:cxn>
                  <a:cxn ang="0">
                    <a:pos x="253" y="258"/>
                  </a:cxn>
                  <a:cxn ang="0">
                    <a:pos x="182" y="275"/>
                  </a:cxn>
                  <a:cxn ang="0">
                    <a:pos x="139" y="325"/>
                  </a:cxn>
                  <a:cxn ang="0">
                    <a:pos x="117" y="375"/>
                  </a:cxn>
                  <a:cxn ang="0">
                    <a:pos x="89" y="387"/>
                  </a:cxn>
                  <a:cxn ang="0">
                    <a:pos x="38" y="382"/>
                  </a:cxn>
                  <a:cxn ang="0">
                    <a:pos x="7" y="367"/>
                  </a:cxn>
                  <a:cxn ang="0">
                    <a:pos x="5" y="330"/>
                  </a:cxn>
                  <a:cxn ang="0">
                    <a:pos x="5" y="277"/>
                  </a:cxn>
                  <a:cxn ang="0">
                    <a:pos x="55" y="270"/>
                  </a:cxn>
                  <a:cxn ang="0">
                    <a:pos x="108" y="274"/>
                  </a:cxn>
                  <a:cxn ang="0">
                    <a:pos x="120" y="238"/>
                  </a:cxn>
                  <a:cxn ang="0">
                    <a:pos x="105" y="205"/>
                  </a:cxn>
                  <a:cxn ang="0">
                    <a:pos x="69" y="186"/>
                  </a:cxn>
                  <a:cxn ang="0">
                    <a:pos x="93" y="179"/>
                  </a:cxn>
                  <a:cxn ang="0">
                    <a:pos x="110" y="164"/>
                  </a:cxn>
                  <a:cxn ang="0">
                    <a:pos x="139" y="160"/>
                  </a:cxn>
                  <a:cxn ang="0">
                    <a:pos x="168" y="134"/>
                  </a:cxn>
                  <a:cxn ang="0">
                    <a:pos x="198" y="107"/>
                  </a:cxn>
                  <a:cxn ang="0">
                    <a:pos x="235" y="86"/>
                  </a:cxn>
                  <a:cxn ang="0">
                    <a:pos x="263" y="74"/>
                  </a:cxn>
                  <a:cxn ang="0">
                    <a:pos x="249" y="31"/>
                  </a:cxn>
                  <a:cxn ang="0">
                    <a:pos x="278" y="12"/>
                  </a:cxn>
                  <a:cxn ang="0">
                    <a:pos x="284" y="30"/>
                  </a:cxn>
                  <a:cxn ang="0">
                    <a:pos x="277" y="64"/>
                  </a:cxn>
                  <a:cxn ang="0">
                    <a:pos x="301" y="73"/>
                  </a:cxn>
                  <a:cxn ang="0">
                    <a:pos x="328" y="74"/>
                  </a:cxn>
                  <a:cxn ang="0">
                    <a:pos x="371" y="61"/>
                  </a:cxn>
                  <a:cxn ang="0">
                    <a:pos x="407" y="64"/>
                  </a:cxn>
                  <a:cxn ang="0">
                    <a:pos x="466" y="64"/>
                  </a:cxn>
                  <a:cxn ang="0">
                    <a:pos x="473" y="122"/>
                  </a:cxn>
                  <a:cxn ang="0">
                    <a:pos x="459" y="183"/>
                  </a:cxn>
                  <a:cxn ang="0">
                    <a:pos x="507" y="181"/>
                  </a:cxn>
                  <a:cxn ang="0">
                    <a:pos x="540" y="227"/>
                  </a:cxn>
                  <a:cxn ang="0">
                    <a:pos x="557" y="234"/>
                  </a:cxn>
                </a:cxnLst>
                <a:rect l="0" t="0" r="r" b="b"/>
                <a:pathLst>
                  <a:path w="557" h="399">
                    <a:moveTo>
                      <a:pt x="547" y="248"/>
                    </a:moveTo>
                    <a:lnTo>
                      <a:pt x="545" y="253"/>
                    </a:lnTo>
                    <a:lnTo>
                      <a:pt x="543" y="255"/>
                    </a:lnTo>
                    <a:lnTo>
                      <a:pt x="543" y="269"/>
                    </a:lnTo>
                    <a:lnTo>
                      <a:pt x="535" y="277"/>
                    </a:lnTo>
                    <a:lnTo>
                      <a:pt x="530" y="291"/>
                    </a:lnTo>
                    <a:lnTo>
                      <a:pt x="531" y="296"/>
                    </a:lnTo>
                    <a:lnTo>
                      <a:pt x="536" y="303"/>
                    </a:lnTo>
                    <a:lnTo>
                      <a:pt x="542" y="306"/>
                    </a:lnTo>
                    <a:lnTo>
                      <a:pt x="547" y="312"/>
                    </a:lnTo>
                    <a:lnTo>
                      <a:pt x="543" y="312"/>
                    </a:lnTo>
                    <a:lnTo>
                      <a:pt x="540" y="313"/>
                    </a:lnTo>
                    <a:lnTo>
                      <a:pt x="533" y="313"/>
                    </a:lnTo>
                    <a:lnTo>
                      <a:pt x="528" y="315"/>
                    </a:lnTo>
                    <a:lnTo>
                      <a:pt x="519" y="320"/>
                    </a:lnTo>
                    <a:lnTo>
                      <a:pt x="512" y="325"/>
                    </a:lnTo>
                    <a:lnTo>
                      <a:pt x="502" y="320"/>
                    </a:lnTo>
                    <a:lnTo>
                      <a:pt x="492" y="315"/>
                    </a:lnTo>
                    <a:lnTo>
                      <a:pt x="481" y="317"/>
                    </a:lnTo>
                    <a:lnTo>
                      <a:pt x="475" y="322"/>
                    </a:lnTo>
                    <a:lnTo>
                      <a:pt x="475" y="327"/>
                    </a:lnTo>
                    <a:lnTo>
                      <a:pt x="475" y="332"/>
                    </a:lnTo>
                    <a:lnTo>
                      <a:pt x="466" y="329"/>
                    </a:lnTo>
                    <a:lnTo>
                      <a:pt x="461" y="325"/>
                    </a:lnTo>
                    <a:lnTo>
                      <a:pt x="457" y="327"/>
                    </a:lnTo>
                    <a:lnTo>
                      <a:pt x="456" y="330"/>
                    </a:lnTo>
                    <a:lnTo>
                      <a:pt x="466" y="343"/>
                    </a:lnTo>
                    <a:lnTo>
                      <a:pt x="464" y="344"/>
                    </a:lnTo>
                    <a:lnTo>
                      <a:pt x="464" y="348"/>
                    </a:lnTo>
                    <a:lnTo>
                      <a:pt x="466" y="349"/>
                    </a:lnTo>
                    <a:lnTo>
                      <a:pt x="471" y="355"/>
                    </a:lnTo>
                    <a:lnTo>
                      <a:pt x="476" y="358"/>
                    </a:lnTo>
                    <a:lnTo>
                      <a:pt x="481" y="361"/>
                    </a:lnTo>
                    <a:lnTo>
                      <a:pt x="481" y="363"/>
                    </a:lnTo>
                    <a:lnTo>
                      <a:pt x="483" y="367"/>
                    </a:lnTo>
                    <a:lnTo>
                      <a:pt x="478" y="367"/>
                    </a:lnTo>
                    <a:lnTo>
                      <a:pt x="475" y="370"/>
                    </a:lnTo>
                    <a:lnTo>
                      <a:pt x="475" y="370"/>
                    </a:lnTo>
                    <a:lnTo>
                      <a:pt x="464" y="365"/>
                    </a:lnTo>
                    <a:lnTo>
                      <a:pt x="461" y="361"/>
                    </a:lnTo>
                    <a:lnTo>
                      <a:pt x="461" y="367"/>
                    </a:lnTo>
                    <a:lnTo>
                      <a:pt x="462" y="370"/>
                    </a:lnTo>
                    <a:lnTo>
                      <a:pt x="464" y="375"/>
                    </a:lnTo>
                    <a:lnTo>
                      <a:pt x="461" y="380"/>
                    </a:lnTo>
                    <a:lnTo>
                      <a:pt x="464" y="387"/>
                    </a:lnTo>
                    <a:lnTo>
                      <a:pt x="459" y="387"/>
                    </a:lnTo>
                    <a:lnTo>
                      <a:pt x="456" y="387"/>
                    </a:lnTo>
                    <a:lnTo>
                      <a:pt x="445" y="380"/>
                    </a:lnTo>
                    <a:lnTo>
                      <a:pt x="442" y="370"/>
                    </a:lnTo>
                    <a:lnTo>
                      <a:pt x="444" y="365"/>
                    </a:lnTo>
                    <a:lnTo>
                      <a:pt x="447" y="361"/>
                    </a:lnTo>
                    <a:lnTo>
                      <a:pt x="442" y="361"/>
                    </a:lnTo>
                    <a:lnTo>
                      <a:pt x="438" y="361"/>
                    </a:lnTo>
                    <a:lnTo>
                      <a:pt x="437" y="358"/>
                    </a:lnTo>
                    <a:lnTo>
                      <a:pt x="437" y="356"/>
                    </a:lnTo>
                    <a:lnTo>
                      <a:pt x="430" y="346"/>
                    </a:lnTo>
                    <a:lnTo>
                      <a:pt x="425" y="341"/>
                    </a:lnTo>
                    <a:lnTo>
                      <a:pt x="414" y="330"/>
                    </a:lnTo>
                    <a:lnTo>
                      <a:pt x="411" y="318"/>
                    </a:lnTo>
                    <a:lnTo>
                      <a:pt x="411" y="312"/>
                    </a:lnTo>
                    <a:lnTo>
                      <a:pt x="411" y="306"/>
                    </a:lnTo>
                    <a:lnTo>
                      <a:pt x="404" y="293"/>
                    </a:lnTo>
                    <a:lnTo>
                      <a:pt x="394" y="284"/>
                    </a:lnTo>
                    <a:lnTo>
                      <a:pt x="382" y="279"/>
                    </a:lnTo>
                    <a:lnTo>
                      <a:pt x="378" y="274"/>
                    </a:lnTo>
                    <a:lnTo>
                      <a:pt x="373" y="274"/>
                    </a:lnTo>
                    <a:lnTo>
                      <a:pt x="371" y="274"/>
                    </a:lnTo>
                    <a:lnTo>
                      <a:pt x="361" y="270"/>
                    </a:lnTo>
                    <a:lnTo>
                      <a:pt x="354" y="263"/>
                    </a:lnTo>
                    <a:lnTo>
                      <a:pt x="347" y="253"/>
                    </a:lnTo>
                    <a:lnTo>
                      <a:pt x="347" y="245"/>
                    </a:lnTo>
                    <a:lnTo>
                      <a:pt x="339" y="245"/>
                    </a:lnTo>
                    <a:lnTo>
                      <a:pt x="332" y="245"/>
                    </a:lnTo>
                    <a:lnTo>
                      <a:pt x="327" y="238"/>
                    </a:lnTo>
                    <a:lnTo>
                      <a:pt x="325" y="231"/>
                    </a:lnTo>
                    <a:lnTo>
                      <a:pt x="313" y="234"/>
                    </a:lnTo>
                    <a:lnTo>
                      <a:pt x="308" y="239"/>
                    </a:lnTo>
                    <a:lnTo>
                      <a:pt x="308" y="241"/>
                    </a:lnTo>
                    <a:lnTo>
                      <a:pt x="311" y="243"/>
                    </a:lnTo>
                    <a:lnTo>
                      <a:pt x="309" y="246"/>
                    </a:lnTo>
                    <a:lnTo>
                      <a:pt x="309" y="251"/>
                    </a:lnTo>
                    <a:lnTo>
                      <a:pt x="311" y="260"/>
                    </a:lnTo>
                    <a:lnTo>
                      <a:pt x="320" y="265"/>
                    </a:lnTo>
                    <a:lnTo>
                      <a:pt x="328" y="270"/>
                    </a:lnTo>
                    <a:lnTo>
                      <a:pt x="332" y="281"/>
                    </a:lnTo>
                    <a:lnTo>
                      <a:pt x="337" y="291"/>
                    </a:lnTo>
                    <a:lnTo>
                      <a:pt x="342" y="298"/>
                    </a:lnTo>
                    <a:lnTo>
                      <a:pt x="352" y="300"/>
                    </a:lnTo>
                    <a:lnTo>
                      <a:pt x="363" y="300"/>
                    </a:lnTo>
                    <a:lnTo>
                      <a:pt x="361" y="300"/>
                    </a:lnTo>
                    <a:lnTo>
                      <a:pt x="361" y="303"/>
                    </a:lnTo>
                    <a:lnTo>
                      <a:pt x="364" y="308"/>
                    </a:lnTo>
                    <a:lnTo>
                      <a:pt x="375" y="313"/>
                    </a:lnTo>
                    <a:lnTo>
                      <a:pt x="389" y="320"/>
                    </a:lnTo>
                    <a:lnTo>
                      <a:pt x="395" y="332"/>
                    </a:lnTo>
                    <a:lnTo>
                      <a:pt x="387" y="329"/>
                    </a:lnTo>
                    <a:lnTo>
                      <a:pt x="380" y="325"/>
                    </a:lnTo>
                    <a:lnTo>
                      <a:pt x="371" y="327"/>
                    </a:lnTo>
                    <a:lnTo>
                      <a:pt x="368" y="334"/>
                    </a:lnTo>
                    <a:lnTo>
                      <a:pt x="371" y="339"/>
                    </a:lnTo>
                    <a:lnTo>
                      <a:pt x="376" y="348"/>
                    </a:lnTo>
                    <a:lnTo>
                      <a:pt x="373" y="349"/>
                    </a:lnTo>
                    <a:lnTo>
                      <a:pt x="371" y="351"/>
                    </a:lnTo>
                    <a:lnTo>
                      <a:pt x="366" y="360"/>
                    </a:lnTo>
                    <a:lnTo>
                      <a:pt x="359" y="367"/>
                    </a:lnTo>
                    <a:lnTo>
                      <a:pt x="354" y="365"/>
                    </a:lnTo>
                    <a:lnTo>
                      <a:pt x="354" y="361"/>
                    </a:lnTo>
                    <a:lnTo>
                      <a:pt x="361" y="356"/>
                    </a:lnTo>
                    <a:lnTo>
                      <a:pt x="363" y="349"/>
                    </a:lnTo>
                    <a:lnTo>
                      <a:pt x="359" y="339"/>
                    </a:lnTo>
                    <a:lnTo>
                      <a:pt x="358" y="334"/>
                    </a:lnTo>
                    <a:lnTo>
                      <a:pt x="349" y="327"/>
                    </a:lnTo>
                    <a:lnTo>
                      <a:pt x="344" y="318"/>
                    </a:lnTo>
                    <a:lnTo>
                      <a:pt x="337" y="317"/>
                    </a:lnTo>
                    <a:lnTo>
                      <a:pt x="333" y="313"/>
                    </a:lnTo>
                    <a:lnTo>
                      <a:pt x="321" y="310"/>
                    </a:lnTo>
                    <a:lnTo>
                      <a:pt x="316" y="306"/>
                    </a:lnTo>
                    <a:lnTo>
                      <a:pt x="311" y="301"/>
                    </a:lnTo>
                    <a:lnTo>
                      <a:pt x="306" y="298"/>
                    </a:lnTo>
                    <a:lnTo>
                      <a:pt x="299" y="293"/>
                    </a:lnTo>
                    <a:lnTo>
                      <a:pt x="294" y="288"/>
                    </a:lnTo>
                    <a:lnTo>
                      <a:pt x="287" y="277"/>
                    </a:lnTo>
                    <a:lnTo>
                      <a:pt x="282" y="267"/>
                    </a:lnTo>
                    <a:lnTo>
                      <a:pt x="273" y="258"/>
                    </a:lnTo>
                    <a:lnTo>
                      <a:pt x="263" y="257"/>
                    </a:lnTo>
                    <a:lnTo>
                      <a:pt x="253" y="258"/>
                    </a:lnTo>
                    <a:lnTo>
                      <a:pt x="249" y="265"/>
                    </a:lnTo>
                    <a:lnTo>
                      <a:pt x="235" y="272"/>
                    </a:lnTo>
                    <a:lnTo>
                      <a:pt x="222" y="279"/>
                    </a:lnTo>
                    <a:lnTo>
                      <a:pt x="206" y="275"/>
                    </a:lnTo>
                    <a:lnTo>
                      <a:pt x="192" y="272"/>
                    </a:lnTo>
                    <a:lnTo>
                      <a:pt x="182" y="275"/>
                    </a:lnTo>
                    <a:lnTo>
                      <a:pt x="177" y="286"/>
                    </a:lnTo>
                    <a:lnTo>
                      <a:pt x="180" y="296"/>
                    </a:lnTo>
                    <a:lnTo>
                      <a:pt x="170" y="306"/>
                    </a:lnTo>
                    <a:lnTo>
                      <a:pt x="155" y="313"/>
                    </a:lnTo>
                    <a:lnTo>
                      <a:pt x="146" y="317"/>
                    </a:lnTo>
                    <a:lnTo>
                      <a:pt x="139" y="325"/>
                    </a:lnTo>
                    <a:lnTo>
                      <a:pt x="132" y="336"/>
                    </a:lnTo>
                    <a:lnTo>
                      <a:pt x="131" y="346"/>
                    </a:lnTo>
                    <a:lnTo>
                      <a:pt x="132" y="351"/>
                    </a:lnTo>
                    <a:lnTo>
                      <a:pt x="136" y="353"/>
                    </a:lnTo>
                    <a:lnTo>
                      <a:pt x="127" y="365"/>
                    </a:lnTo>
                    <a:lnTo>
                      <a:pt x="117" y="375"/>
                    </a:lnTo>
                    <a:lnTo>
                      <a:pt x="112" y="377"/>
                    </a:lnTo>
                    <a:lnTo>
                      <a:pt x="108" y="382"/>
                    </a:lnTo>
                    <a:lnTo>
                      <a:pt x="103" y="386"/>
                    </a:lnTo>
                    <a:lnTo>
                      <a:pt x="98" y="387"/>
                    </a:lnTo>
                    <a:lnTo>
                      <a:pt x="98" y="387"/>
                    </a:lnTo>
                    <a:lnTo>
                      <a:pt x="89" y="387"/>
                    </a:lnTo>
                    <a:lnTo>
                      <a:pt x="82" y="389"/>
                    </a:lnTo>
                    <a:lnTo>
                      <a:pt x="67" y="394"/>
                    </a:lnTo>
                    <a:lnTo>
                      <a:pt x="53" y="399"/>
                    </a:lnTo>
                    <a:lnTo>
                      <a:pt x="48" y="396"/>
                    </a:lnTo>
                    <a:lnTo>
                      <a:pt x="45" y="389"/>
                    </a:lnTo>
                    <a:lnTo>
                      <a:pt x="38" y="382"/>
                    </a:lnTo>
                    <a:lnTo>
                      <a:pt x="33" y="380"/>
                    </a:lnTo>
                    <a:lnTo>
                      <a:pt x="20" y="382"/>
                    </a:lnTo>
                    <a:lnTo>
                      <a:pt x="12" y="384"/>
                    </a:lnTo>
                    <a:lnTo>
                      <a:pt x="7" y="380"/>
                    </a:lnTo>
                    <a:lnTo>
                      <a:pt x="7" y="379"/>
                    </a:lnTo>
                    <a:lnTo>
                      <a:pt x="7" y="367"/>
                    </a:lnTo>
                    <a:lnTo>
                      <a:pt x="7" y="360"/>
                    </a:lnTo>
                    <a:lnTo>
                      <a:pt x="2" y="356"/>
                    </a:lnTo>
                    <a:lnTo>
                      <a:pt x="0" y="353"/>
                    </a:lnTo>
                    <a:lnTo>
                      <a:pt x="2" y="344"/>
                    </a:lnTo>
                    <a:lnTo>
                      <a:pt x="5" y="341"/>
                    </a:lnTo>
                    <a:lnTo>
                      <a:pt x="5" y="330"/>
                    </a:lnTo>
                    <a:lnTo>
                      <a:pt x="7" y="320"/>
                    </a:lnTo>
                    <a:lnTo>
                      <a:pt x="8" y="310"/>
                    </a:lnTo>
                    <a:lnTo>
                      <a:pt x="10" y="301"/>
                    </a:lnTo>
                    <a:lnTo>
                      <a:pt x="7" y="291"/>
                    </a:lnTo>
                    <a:lnTo>
                      <a:pt x="3" y="282"/>
                    </a:lnTo>
                    <a:lnTo>
                      <a:pt x="5" y="277"/>
                    </a:lnTo>
                    <a:lnTo>
                      <a:pt x="12" y="274"/>
                    </a:lnTo>
                    <a:lnTo>
                      <a:pt x="19" y="269"/>
                    </a:lnTo>
                    <a:lnTo>
                      <a:pt x="24" y="269"/>
                    </a:lnTo>
                    <a:lnTo>
                      <a:pt x="27" y="269"/>
                    </a:lnTo>
                    <a:lnTo>
                      <a:pt x="33" y="270"/>
                    </a:lnTo>
                    <a:lnTo>
                      <a:pt x="55" y="270"/>
                    </a:lnTo>
                    <a:lnTo>
                      <a:pt x="58" y="272"/>
                    </a:lnTo>
                    <a:lnTo>
                      <a:pt x="63" y="274"/>
                    </a:lnTo>
                    <a:lnTo>
                      <a:pt x="88" y="274"/>
                    </a:lnTo>
                    <a:lnTo>
                      <a:pt x="94" y="274"/>
                    </a:lnTo>
                    <a:lnTo>
                      <a:pt x="101" y="275"/>
                    </a:lnTo>
                    <a:lnTo>
                      <a:pt x="108" y="274"/>
                    </a:lnTo>
                    <a:lnTo>
                      <a:pt x="115" y="274"/>
                    </a:lnTo>
                    <a:lnTo>
                      <a:pt x="119" y="262"/>
                    </a:lnTo>
                    <a:lnTo>
                      <a:pt x="122" y="250"/>
                    </a:lnTo>
                    <a:lnTo>
                      <a:pt x="120" y="243"/>
                    </a:lnTo>
                    <a:lnTo>
                      <a:pt x="120" y="236"/>
                    </a:lnTo>
                    <a:lnTo>
                      <a:pt x="120" y="238"/>
                    </a:lnTo>
                    <a:lnTo>
                      <a:pt x="120" y="232"/>
                    </a:lnTo>
                    <a:lnTo>
                      <a:pt x="122" y="229"/>
                    </a:lnTo>
                    <a:lnTo>
                      <a:pt x="120" y="226"/>
                    </a:lnTo>
                    <a:lnTo>
                      <a:pt x="119" y="222"/>
                    </a:lnTo>
                    <a:lnTo>
                      <a:pt x="106" y="215"/>
                    </a:lnTo>
                    <a:lnTo>
                      <a:pt x="105" y="205"/>
                    </a:lnTo>
                    <a:lnTo>
                      <a:pt x="101" y="202"/>
                    </a:lnTo>
                    <a:lnTo>
                      <a:pt x="100" y="202"/>
                    </a:lnTo>
                    <a:lnTo>
                      <a:pt x="89" y="198"/>
                    </a:lnTo>
                    <a:lnTo>
                      <a:pt x="81" y="195"/>
                    </a:lnTo>
                    <a:lnTo>
                      <a:pt x="72" y="189"/>
                    </a:lnTo>
                    <a:lnTo>
                      <a:pt x="69" y="186"/>
                    </a:lnTo>
                    <a:lnTo>
                      <a:pt x="69" y="184"/>
                    </a:lnTo>
                    <a:lnTo>
                      <a:pt x="70" y="181"/>
                    </a:lnTo>
                    <a:lnTo>
                      <a:pt x="76" y="179"/>
                    </a:lnTo>
                    <a:lnTo>
                      <a:pt x="81" y="176"/>
                    </a:lnTo>
                    <a:lnTo>
                      <a:pt x="88" y="176"/>
                    </a:lnTo>
                    <a:lnTo>
                      <a:pt x="93" y="179"/>
                    </a:lnTo>
                    <a:lnTo>
                      <a:pt x="101" y="181"/>
                    </a:lnTo>
                    <a:lnTo>
                      <a:pt x="106" y="179"/>
                    </a:lnTo>
                    <a:lnTo>
                      <a:pt x="113" y="177"/>
                    </a:lnTo>
                    <a:lnTo>
                      <a:pt x="113" y="174"/>
                    </a:lnTo>
                    <a:lnTo>
                      <a:pt x="110" y="169"/>
                    </a:lnTo>
                    <a:lnTo>
                      <a:pt x="110" y="164"/>
                    </a:lnTo>
                    <a:lnTo>
                      <a:pt x="110" y="160"/>
                    </a:lnTo>
                    <a:lnTo>
                      <a:pt x="115" y="160"/>
                    </a:lnTo>
                    <a:lnTo>
                      <a:pt x="122" y="164"/>
                    </a:lnTo>
                    <a:lnTo>
                      <a:pt x="131" y="167"/>
                    </a:lnTo>
                    <a:lnTo>
                      <a:pt x="136" y="164"/>
                    </a:lnTo>
                    <a:lnTo>
                      <a:pt x="139" y="160"/>
                    </a:lnTo>
                    <a:lnTo>
                      <a:pt x="148" y="157"/>
                    </a:lnTo>
                    <a:lnTo>
                      <a:pt x="155" y="152"/>
                    </a:lnTo>
                    <a:lnTo>
                      <a:pt x="158" y="143"/>
                    </a:lnTo>
                    <a:lnTo>
                      <a:pt x="162" y="136"/>
                    </a:lnTo>
                    <a:lnTo>
                      <a:pt x="165" y="134"/>
                    </a:lnTo>
                    <a:lnTo>
                      <a:pt x="168" y="134"/>
                    </a:lnTo>
                    <a:lnTo>
                      <a:pt x="172" y="131"/>
                    </a:lnTo>
                    <a:lnTo>
                      <a:pt x="180" y="129"/>
                    </a:lnTo>
                    <a:lnTo>
                      <a:pt x="189" y="126"/>
                    </a:lnTo>
                    <a:lnTo>
                      <a:pt x="194" y="124"/>
                    </a:lnTo>
                    <a:lnTo>
                      <a:pt x="196" y="116"/>
                    </a:lnTo>
                    <a:lnTo>
                      <a:pt x="198" y="107"/>
                    </a:lnTo>
                    <a:lnTo>
                      <a:pt x="199" y="104"/>
                    </a:lnTo>
                    <a:lnTo>
                      <a:pt x="201" y="102"/>
                    </a:lnTo>
                    <a:lnTo>
                      <a:pt x="211" y="91"/>
                    </a:lnTo>
                    <a:lnTo>
                      <a:pt x="229" y="86"/>
                    </a:lnTo>
                    <a:lnTo>
                      <a:pt x="232" y="86"/>
                    </a:lnTo>
                    <a:lnTo>
                      <a:pt x="235" y="86"/>
                    </a:lnTo>
                    <a:lnTo>
                      <a:pt x="235" y="85"/>
                    </a:lnTo>
                    <a:lnTo>
                      <a:pt x="239" y="83"/>
                    </a:lnTo>
                    <a:lnTo>
                      <a:pt x="244" y="81"/>
                    </a:lnTo>
                    <a:lnTo>
                      <a:pt x="251" y="83"/>
                    </a:lnTo>
                    <a:lnTo>
                      <a:pt x="258" y="79"/>
                    </a:lnTo>
                    <a:lnTo>
                      <a:pt x="263" y="74"/>
                    </a:lnTo>
                    <a:lnTo>
                      <a:pt x="261" y="67"/>
                    </a:lnTo>
                    <a:lnTo>
                      <a:pt x="260" y="62"/>
                    </a:lnTo>
                    <a:lnTo>
                      <a:pt x="256" y="52"/>
                    </a:lnTo>
                    <a:lnTo>
                      <a:pt x="253" y="45"/>
                    </a:lnTo>
                    <a:lnTo>
                      <a:pt x="249" y="38"/>
                    </a:lnTo>
                    <a:lnTo>
                      <a:pt x="249" y="31"/>
                    </a:lnTo>
                    <a:lnTo>
                      <a:pt x="251" y="18"/>
                    </a:lnTo>
                    <a:lnTo>
                      <a:pt x="260" y="11"/>
                    </a:lnTo>
                    <a:lnTo>
                      <a:pt x="270" y="6"/>
                    </a:lnTo>
                    <a:lnTo>
                      <a:pt x="282" y="0"/>
                    </a:lnTo>
                    <a:lnTo>
                      <a:pt x="282" y="6"/>
                    </a:lnTo>
                    <a:lnTo>
                      <a:pt x="278" y="12"/>
                    </a:lnTo>
                    <a:lnTo>
                      <a:pt x="278" y="19"/>
                    </a:lnTo>
                    <a:lnTo>
                      <a:pt x="280" y="23"/>
                    </a:lnTo>
                    <a:lnTo>
                      <a:pt x="287" y="24"/>
                    </a:lnTo>
                    <a:lnTo>
                      <a:pt x="287" y="26"/>
                    </a:lnTo>
                    <a:lnTo>
                      <a:pt x="287" y="28"/>
                    </a:lnTo>
                    <a:lnTo>
                      <a:pt x="284" y="30"/>
                    </a:lnTo>
                    <a:lnTo>
                      <a:pt x="282" y="33"/>
                    </a:lnTo>
                    <a:lnTo>
                      <a:pt x="273" y="40"/>
                    </a:lnTo>
                    <a:lnTo>
                      <a:pt x="270" y="52"/>
                    </a:lnTo>
                    <a:lnTo>
                      <a:pt x="272" y="57"/>
                    </a:lnTo>
                    <a:lnTo>
                      <a:pt x="277" y="62"/>
                    </a:lnTo>
                    <a:lnTo>
                      <a:pt x="277" y="64"/>
                    </a:lnTo>
                    <a:lnTo>
                      <a:pt x="277" y="67"/>
                    </a:lnTo>
                    <a:lnTo>
                      <a:pt x="282" y="67"/>
                    </a:lnTo>
                    <a:lnTo>
                      <a:pt x="289" y="69"/>
                    </a:lnTo>
                    <a:lnTo>
                      <a:pt x="289" y="73"/>
                    </a:lnTo>
                    <a:lnTo>
                      <a:pt x="292" y="76"/>
                    </a:lnTo>
                    <a:lnTo>
                      <a:pt x="301" y="73"/>
                    </a:lnTo>
                    <a:lnTo>
                      <a:pt x="309" y="69"/>
                    </a:lnTo>
                    <a:lnTo>
                      <a:pt x="316" y="66"/>
                    </a:lnTo>
                    <a:lnTo>
                      <a:pt x="327" y="66"/>
                    </a:lnTo>
                    <a:lnTo>
                      <a:pt x="325" y="67"/>
                    </a:lnTo>
                    <a:lnTo>
                      <a:pt x="325" y="71"/>
                    </a:lnTo>
                    <a:lnTo>
                      <a:pt x="328" y="74"/>
                    </a:lnTo>
                    <a:lnTo>
                      <a:pt x="332" y="78"/>
                    </a:lnTo>
                    <a:lnTo>
                      <a:pt x="337" y="74"/>
                    </a:lnTo>
                    <a:lnTo>
                      <a:pt x="342" y="73"/>
                    </a:lnTo>
                    <a:lnTo>
                      <a:pt x="352" y="69"/>
                    </a:lnTo>
                    <a:lnTo>
                      <a:pt x="364" y="67"/>
                    </a:lnTo>
                    <a:lnTo>
                      <a:pt x="371" y="61"/>
                    </a:lnTo>
                    <a:lnTo>
                      <a:pt x="383" y="57"/>
                    </a:lnTo>
                    <a:lnTo>
                      <a:pt x="392" y="57"/>
                    </a:lnTo>
                    <a:lnTo>
                      <a:pt x="401" y="59"/>
                    </a:lnTo>
                    <a:lnTo>
                      <a:pt x="399" y="62"/>
                    </a:lnTo>
                    <a:lnTo>
                      <a:pt x="399" y="66"/>
                    </a:lnTo>
                    <a:lnTo>
                      <a:pt x="407" y="64"/>
                    </a:lnTo>
                    <a:lnTo>
                      <a:pt x="416" y="64"/>
                    </a:lnTo>
                    <a:lnTo>
                      <a:pt x="425" y="62"/>
                    </a:lnTo>
                    <a:lnTo>
                      <a:pt x="435" y="62"/>
                    </a:lnTo>
                    <a:lnTo>
                      <a:pt x="447" y="62"/>
                    </a:lnTo>
                    <a:lnTo>
                      <a:pt x="461" y="62"/>
                    </a:lnTo>
                    <a:lnTo>
                      <a:pt x="466" y="64"/>
                    </a:lnTo>
                    <a:lnTo>
                      <a:pt x="471" y="73"/>
                    </a:lnTo>
                    <a:lnTo>
                      <a:pt x="475" y="81"/>
                    </a:lnTo>
                    <a:lnTo>
                      <a:pt x="476" y="91"/>
                    </a:lnTo>
                    <a:lnTo>
                      <a:pt x="473" y="100"/>
                    </a:lnTo>
                    <a:lnTo>
                      <a:pt x="469" y="109"/>
                    </a:lnTo>
                    <a:lnTo>
                      <a:pt x="473" y="122"/>
                    </a:lnTo>
                    <a:lnTo>
                      <a:pt x="478" y="136"/>
                    </a:lnTo>
                    <a:lnTo>
                      <a:pt x="473" y="141"/>
                    </a:lnTo>
                    <a:lnTo>
                      <a:pt x="468" y="147"/>
                    </a:lnTo>
                    <a:lnTo>
                      <a:pt x="461" y="159"/>
                    </a:lnTo>
                    <a:lnTo>
                      <a:pt x="459" y="176"/>
                    </a:lnTo>
                    <a:lnTo>
                      <a:pt x="459" y="183"/>
                    </a:lnTo>
                    <a:lnTo>
                      <a:pt x="464" y="186"/>
                    </a:lnTo>
                    <a:lnTo>
                      <a:pt x="471" y="186"/>
                    </a:lnTo>
                    <a:lnTo>
                      <a:pt x="481" y="188"/>
                    </a:lnTo>
                    <a:lnTo>
                      <a:pt x="490" y="186"/>
                    </a:lnTo>
                    <a:lnTo>
                      <a:pt x="500" y="184"/>
                    </a:lnTo>
                    <a:lnTo>
                      <a:pt x="507" y="181"/>
                    </a:lnTo>
                    <a:lnTo>
                      <a:pt x="518" y="181"/>
                    </a:lnTo>
                    <a:lnTo>
                      <a:pt x="524" y="184"/>
                    </a:lnTo>
                    <a:lnTo>
                      <a:pt x="528" y="193"/>
                    </a:lnTo>
                    <a:lnTo>
                      <a:pt x="531" y="202"/>
                    </a:lnTo>
                    <a:lnTo>
                      <a:pt x="540" y="207"/>
                    </a:lnTo>
                    <a:lnTo>
                      <a:pt x="540" y="227"/>
                    </a:lnTo>
                    <a:lnTo>
                      <a:pt x="540" y="229"/>
                    </a:lnTo>
                    <a:lnTo>
                      <a:pt x="543" y="231"/>
                    </a:lnTo>
                    <a:lnTo>
                      <a:pt x="545" y="234"/>
                    </a:lnTo>
                    <a:lnTo>
                      <a:pt x="550" y="232"/>
                    </a:lnTo>
                    <a:lnTo>
                      <a:pt x="557" y="231"/>
                    </a:lnTo>
                    <a:lnTo>
                      <a:pt x="557" y="234"/>
                    </a:lnTo>
                    <a:lnTo>
                      <a:pt x="557" y="239"/>
                    </a:lnTo>
                    <a:lnTo>
                      <a:pt x="550" y="241"/>
                    </a:lnTo>
                    <a:lnTo>
                      <a:pt x="547" y="2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5" name="Freeform 256"/>
              <p:cNvSpPr>
                <a:spLocks/>
              </p:cNvSpPr>
              <p:nvPr/>
            </p:nvSpPr>
            <p:spPr bwMode="auto">
              <a:xfrm>
                <a:off x="4429919" y="2020888"/>
                <a:ext cx="598488" cy="574675"/>
              </a:xfrm>
              <a:custGeom>
                <a:avLst/>
                <a:gdLst/>
                <a:ahLst/>
                <a:cxnLst>
                  <a:cxn ang="0">
                    <a:pos x="66" y="278"/>
                  </a:cxn>
                  <a:cxn ang="0">
                    <a:pos x="23" y="299"/>
                  </a:cxn>
                  <a:cxn ang="0">
                    <a:pos x="9" y="283"/>
                  </a:cxn>
                  <a:cxn ang="0">
                    <a:pos x="2" y="277"/>
                  </a:cxn>
                  <a:cxn ang="0">
                    <a:pos x="2" y="246"/>
                  </a:cxn>
                  <a:cxn ang="0">
                    <a:pos x="12" y="215"/>
                  </a:cxn>
                  <a:cxn ang="0">
                    <a:pos x="45" y="187"/>
                  </a:cxn>
                  <a:cxn ang="0">
                    <a:pos x="52" y="180"/>
                  </a:cxn>
                  <a:cxn ang="0">
                    <a:pos x="98" y="146"/>
                  </a:cxn>
                  <a:cxn ang="0">
                    <a:pos x="107" y="125"/>
                  </a:cxn>
                  <a:cxn ang="0">
                    <a:pos x="136" y="93"/>
                  </a:cxn>
                  <a:cxn ang="0">
                    <a:pos x="164" y="60"/>
                  </a:cxn>
                  <a:cxn ang="0">
                    <a:pos x="145" y="62"/>
                  </a:cxn>
                  <a:cxn ang="0">
                    <a:pos x="145" y="53"/>
                  </a:cxn>
                  <a:cxn ang="0">
                    <a:pos x="153" y="51"/>
                  </a:cxn>
                  <a:cxn ang="0">
                    <a:pos x="176" y="55"/>
                  </a:cxn>
                  <a:cxn ang="0">
                    <a:pos x="176" y="41"/>
                  </a:cxn>
                  <a:cxn ang="0">
                    <a:pos x="191" y="36"/>
                  </a:cxn>
                  <a:cxn ang="0">
                    <a:pos x="212" y="36"/>
                  </a:cxn>
                  <a:cxn ang="0">
                    <a:pos x="241" y="19"/>
                  </a:cxn>
                  <a:cxn ang="0">
                    <a:pos x="251" y="5"/>
                  </a:cxn>
                  <a:cxn ang="0">
                    <a:pos x="274" y="7"/>
                  </a:cxn>
                  <a:cxn ang="0">
                    <a:pos x="289" y="10"/>
                  </a:cxn>
                  <a:cxn ang="0">
                    <a:pos x="306" y="8"/>
                  </a:cxn>
                  <a:cxn ang="0">
                    <a:pos x="329" y="7"/>
                  </a:cxn>
                  <a:cxn ang="0">
                    <a:pos x="349" y="7"/>
                  </a:cxn>
                  <a:cxn ang="0">
                    <a:pos x="344" y="27"/>
                  </a:cxn>
                  <a:cxn ang="0">
                    <a:pos x="355" y="38"/>
                  </a:cxn>
                  <a:cxn ang="0">
                    <a:pos x="339" y="63"/>
                  </a:cxn>
                  <a:cxn ang="0">
                    <a:pos x="351" y="89"/>
                  </a:cxn>
                  <a:cxn ang="0">
                    <a:pos x="353" y="132"/>
                  </a:cxn>
                  <a:cxn ang="0">
                    <a:pos x="363" y="160"/>
                  </a:cxn>
                  <a:cxn ang="0">
                    <a:pos x="370" y="182"/>
                  </a:cxn>
                  <a:cxn ang="0">
                    <a:pos x="342" y="232"/>
                  </a:cxn>
                  <a:cxn ang="0">
                    <a:pos x="301" y="252"/>
                  </a:cxn>
                  <a:cxn ang="0">
                    <a:pos x="255" y="261"/>
                  </a:cxn>
                  <a:cxn ang="0">
                    <a:pos x="232" y="230"/>
                  </a:cxn>
                  <a:cxn ang="0">
                    <a:pos x="227" y="203"/>
                  </a:cxn>
                  <a:cxn ang="0">
                    <a:pos x="263" y="168"/>
                  </a:cxn>
                  <a:cxn ang="0">
                    <a:pos x="289" y="137"/>
                  </a:cxn>
                  <a:cxn ang="0">
                    <a:pos x="250" y="132"/>
                  </a:cxn>
                  <a:cxn ang="0">
                    <a:pos x="232" y="158"/>
                  </a:cxn>
                  <a:cxn ang="0">
                    <a:pos x="207" y="184"/>
                  </a:cxn>
                  <a:cxn ang="0">
                    <a:pos x="174" y="218"/>
                  </a:cxn>
                  <a:cxn ang="0">
                    <a:pos x="174" y="247"/>
                  </a:cxn>
                  <a:cxn ang="0">
                    <a:pos x="196" y="266"/>
                  </a:cxn>
                  <a:cxn ang="0">
                    <a:pos x="176" y="287"/>
                  </a:cxn>
                  <a:cxn ang="0">
                    <a:pos x="162" y="313"/>
                  </a:cxn>
                  <a:cxn ang="0">
                    <a:pos x="160" y="335"/>
                  </a:cxn>
                  <a:cxn ang="0">
                    <a:pos x="140" y="345"/>
                  </a:cxn>
                  <a:cxn ang="0">
                    <a:pos x="115" y="362"/>
                  </a:cxn>
                  <a:cxn ang="0">
                    <a:pos x="105" y="338"/>
                  </a:cxn>
                  <a:cxn ang="0">
                    <a:pos x="95" y="306"/>
                  </a:cxn>
                  <a:cxn ang="0">
                    <a:pos x="88" y="278"/>
                  </a:cxn>
                </a:cxnLst>
                <a:rect l="0" t="0" r="r" b="b"/>
                <a:pathLst>
                  <a:path w="377" h="362">
                    <a:moveTo>
                      <a:pt x="88" y="280"/>
                    </a:moveTo>
                    <a:lnTo>
                      <a:pt x="81" y="275"/>
                    </a:lnTo>
                    <a:lnTo>
                      <a:pt x="78" y="268"/>
                    </a:lnTo>
                    <a:lnTo>
                      <a:pt x="66" y="278"/>
                    </a:lnTo>
                    <a:lnTo>
                      <a:pt x="55" y="290"/>
                    </a:lnTo>
                    <a:lnTo>
                      <a:pt x="43" y="299"/>
                    </a:lnTo>
                    <a:lnTo>
                      <a:pt x="29" y="302"/>
                    </a:lnTo>
                    <a:lnTo>
                      <a:pt x="23" y="299"/>
                    </a:lnTo>
                    <a:lnTo>
                      <a:pt x="16" y="295"/>
                    </a:lnTo>
                    <a:lnTo>
                      <a:pt x="7" y="290"/>
                    </a:lnTo>
                    <a:lnTo>
                      <a:pt x="5" y="289"/>
                    </a:lnTo>
                    <a:lnTo>
                      <a:pt x="9" y="283"/>
                    </a:lnTo>
                    <a:lnTo>
                      <a:pt x="14" y="280"/>
                    </a:lnTo>
                    <a:lnTo>
                      <a:pt x="14" y="273"/>
                    </a:lnTo>
                    <a:lnTo>
                      <a:pt x="7" y="273"/>
                    </a:lnTo>
                    <a:lnTo>
                      <a:pt x="2" y="277"/>
                    </a:lnTo>
                    <a:lnTo>
                      <a:pt x="4" y="270"/>
                    </a:lnTo>
                    <a:lnTo>
                      <a:pt x="9" y="263"/>
                    </a:lnTo>
                    <a:lnTo>
                      <a:pt x="4" y="254"/>
                    </a:lnTo>
                    <a:lnTo>
                      <a:pt x="2" y="246"/>
                    </a:lnTo>
                    <a:lnTo>
                      <a:pt x="0" y="235"/>
                    </a:lnTo>
                    <a:lnTo>
                      <a:pt x="0" y="227"/>
                    </a:lnTo>
                    <a:lnTo>
                      <a:pt x="4" y="218"/>
                    </a:lnTo>
                    <a:lnTo>
                      <a:pt x="12" y="215"/>
                    </a:lnTo>
                    <a:lnTo>
                      <a:pt x="21" y="203"/>
                    </a:lnTo>
                    <a:lnTo>
                      <a:pt x="35" y="197"/>
                    </a:lnTo>
                    <a:lnTo>
                      <a:pt x="40" y="192"/>
                    </a:lnTo>
                    <a:lnTo>
                      <a:pt x="45" y="187"/>
                    </a:lnTo>
                    <a:lnTo>
                      <a:pt x="52" y="184"/>
                    </a:lnTo>
                    <a:lnTo>
                      <a:pt x="64" y="184"/>
                    </a:lnTo>
                    <a:lnTo>
                      <a:pt x="57" y="182"/>
                    </a:lnTo>
                    <a:lnTo>
                      <a:pt x="52" y="180"/>
                    </a:lnTo>
                    <a:lnTo>
                      <a:pt x="66" y="173"/>
                    </a:lnTo>
                    <a:lnTo>
                      <a:pt x="78" y="165"/>
                    </a:lnTo>
                    <a:lnTo>
                      <a:pt x="86" y="154"/>
                    </a:lnTo>
                    <a:lnTo>
                      <a:pt x="98" y="146"/>
                    </a:lnTo>
                    <a:lnTo>
                      <a:pt x="100" y="139"/>
                    </a:lnTo>
                    <a:lnTo>
                      <a:pt x="103" y="132"/>
                    </a:lnTo>
                    <a:lnTo>
                      <a:pt x="103" y="127"/>
                    </a:lnTo>
                    <a:lnTo>
                      <a:pt x="107" y="125"/>
                    </a:lnTo>
                    <a:lnTo>
                      <a:pt x="109" y="118"/>
                    </a:lnTo>
                    <a:lnTo>
                      <a:pt x="112" y="113"/>
                    </a:lnTo>
                    <a:lnTo>
                      <a:pt x="122" y="99"/>
                    </a:lnTo>
                    <a:lnTo>
                      <a:pt x="136" y="93"/>
                    </a:lnTo>
                    <a:lnTo>
                      <a:pt x="143" y="86"/>
                    </a:lnTo>
                    <a:lnTo>
                      <a:pt x="152" y="77"/>
                    </a:lnTo>
                    <a:lnTo>
                      <a:pt x="158" y="68"/>
                    </a:lnTo>
                    <a:lnTo>
                      <a:pt x="164" y="60"/>
                    </a:lnTo>
                    <a:lnTo>
                      <a:pt x="148" y="65"/>
                    </a:lnTo>
                    <a:lnTo>
                      <a:pt x="134" y="70"/>
                    </a:lnTo>
                    <a:lnTo>
                      <a:pt x="138" y="65"/>
                    </a:lnTo>
                    <a:lnTo>
                      <a:pt x="145" y="62"/>
                    </a:lnTo>
                    <a:lnTo>
                      <a:pt x="138" y="60"/>
                    </a:lnTo>
                    <a:lnTo>
                      <a:pt x="136" y="60"/>
                    </a:lnTo>
                    <a:lnTo>
                      <a:pt x="138" y="55"/>
                    </a:lnTo>
                    <a:lnTo>
                      <a:pt x="145" y="53"/>
                    </a:lnTo>
                    <a:lnTo>
                      <a:pt x="148" y="55"/>
                    </a:lnTo>
                    <a:lnTo>
                      <a:pt x="150" y="50"/>
                    </a:lnTo>
                    <a:lnTo>
                      <a:pt x="153" y="48"/>
                    </a:lnTo>
                    <a:lnTo>
                      <a:pt x="153" y="51"/>
                    </a:lnTo>
                    <a:lnTo>
                      <a:pt x="153" y="56"/>
                    </a:lnTo>
                    <a:lnTo>
                      <a:pt x="162" y="58"/>
                    </a:lnTo>
                    <a:lnTo>
                      <a:pt x="170" y="62"/>
                    </a:lnTo>
                    <a:lnTo>
                      <a:pt x="176" y="55"/>
                    </a:lnTo>
                    <a:lnTo>
                      <a:pt x="179" y="50"/>
                    </a:lnTo>
                    <a:lnTo>
                      <a:pt x="176" y="48"/>
                    </a:lnTo>
                    <a:lnTo>
                      <a:pt x="172" y="48"/>
                    </a:lnTo>
                    <a:lnTo>
                      <a:pt x="176" y="41"/>
                    </a:lnTo>
                    <a:lnTo>
                      <a:pt x="184" y="39"/>
                    </a:lnTo>
                    <a:lnTo>
                      <a:pt x="188" y="39"/>
                    </a:lnTo>
                    <a:lnTo>
                      <a:pt x="193" y="39"/>
                    </a:lnTo>
                    <a:lnTo>
                      <a:pt x="191" y="36"/>
                    </a:lnTo>
                    <a:lnTo>
                      <a:pt x="189" y="36"/>
                    </a:lnTo>
                    <a:lnTo>
                      <a:pt x="198" y="29"/>
                    </a:lnTo>
                    <a:lnTo>
                      <a:pt x="212" y="29"/>
                    </a:lnTo>
                    <a:lnTo>
                      <a:pt x="212" y="36"/>
                    </a:lnTo>
                    <a:lnTo>
                      <a:pt x="219" y="27"/>
                    </a:lnTo>
                    <a:lnTo>
                      <a:pt x="231" y="22"/>
                    </a:lnTo>
                    <a:lnTo>
                      <a:pt x="231" y="29"/>
                    </a:lnTo>
                    <a:lnTo>
                      <a:pt x="241" y="19"/>
                    </a:lnTo>
                    <a:lnTo>
                      <a:pt x="255" y="15"/>
                    </a:lnTo>
                    <a:lnTo>
                      <a:pt x="248" y="12"/>
                    </a:lnTo>
                    <a:lnTo>
                      <a:pt x="246" y="10"/>
                    </a:lnTo>
                    <a:lnTo>
                      <a:pt x="251" y="5"/>
                    </a:lnTo>
                    <a:lnTo>
                      <a:pt x="258" y="1"/>
                    </a:lnTo>
                    <a:lnTo>
                      <a:pt x="262" y="7"/>
                    </a:lnTo>
                    <a:lnTo>
                      <a:pt x="269" y="10"/>
                    </a:lnTo>
                    <a:lnTo>
                      <a:pt x="274" y="7"/>
                    </a:lnTo>
                    <a:lnTo>
                      <a:pt x="284" y="3"/>
                    </a:lnTo>
                    <a:lnTo>
                      <a:pt x="291" y="0"/>
                    </a:lnTo>
                    <a:lnTo>
                      <a:pt x="294" y="3"/>
                    </a:lnTo>
                    <a:lnTo>
                      <a:pt x="289" y="10"/>
                    </a:lnTo>
                    <a:lnTo>
                      <a:pt x="284" y="20"/>
                    </a:lnTo>
                    <a:lnTo>
                      <a:pt x="294" y="13"/>
                    </a:lnTo>
                    <a:lnTo>
                      <a:pt x="306" y="5"/>
                    </a:lnTo>
                    <a:lnTo>
                      <a:pt x="306" y="8"/>
                    </a:lnTo>
                    <a:lnTo>
                      <a:pt x="308" y="13"/>
                    </a:lnTo>
                    <a:lnTo>
                      <a:pt x="318" y="5"/>
                    </a:lnTo>
                    <a:lnTo>
                      <a:pt x="329" y="0"/>
                    </a:lnTo>
                    <a:lnTo>
                      <a:pt x="329" y="7"/>
                    </a:lnTo>
                    <a:lnTo>
                      <a:pt x="334" y="12"/>
                    </a:lnTo>
                    <a:lnTo>
                      <a:pt x="336" y="5"/>
                    </a:lnTo>
                    <a:lnTo>
                      <a:pt x="341" y="3"/>
                    </a:lnTo>
                    <a:lnTo>
                      <a:pt x="349" y="7"/>
                    </a:lnTo>
                    <a:lnTo>
                      <a:pt x="358" y="12"/>
                    </a:lnTo>
                    <a:lnTo>
                      <a:pt x="349" y="20"/>
                    </a:lnTo>
                    <a:lnTo>
                      <a:pt x="337" y="24"/>
                    </a:lnTo>
                    <a:lnTo>
                      <a:pt x="344" y="27"/>
                    </a:lnTo>
                    <a:lnTo>
                      <a:pt x="348" y="31"/>
                    </a:lnTo>
                    <a:lnTo>
                      <a:pt x="355" y="32"/>
                    </a:lnTo>
                    <a:lnTo>
                      <a:pt x="363" y="34"/>
                    </a:lnTo>
                    <a:lnTo>
                      <a:pt x="355" y="38"/>
                    </a:lnTo>
                    <a:lnTo>
                      <a:pt x="348" y="44"/>
                    </a:lnTo>
                    <a:lnTo>
                      <a:pt x="339" y="50"/>
                    </a:lnTo>
                    <a:lnTo>
                      <a:pt x="337" y="60"/>
                    </a:lnTo>
                    <a:lnTo>
                      <a:pt x="339" y="63"/>
                    </a:lnTo>
                    <a:lnTo>
                      <a:pt x="346" y="68"/>
                    </a:lnTo>
                    <a:lnTo>
                      <a:pt x="353" y="72"/>
                    </a:lnTo>
                    <a:lnTo>
                      <a:pt x="356" y="80"/>
                    </a:lnTo>
                    <a:lnTo>
                      <a:pt x="351" y="89"/>
                    </a:lnTo>
                    <a:lnTo>
                      <a:pt x="348" y="101"/>
                    </a:lnTo>
                    <a:lnTo>
                      <a:pt x="351" y="113"/>
                    </a:lnTo>
                    <a:lnTo>
                      <a:pt x="356" y="125"/>
                    </a:lnTo>
                    <a:lnTo>
                      <a:pt x="353" y="132"/>
                    </a:lnTo>
                    <a:lnTo>
                      <a:pt x="351" y="141"/>
                    </a:lnTo>
                    <a:lnTo>
                      <a:pt x="353" y="146"/>
                    </a:lnTo>
                    <a:lnTo>
                      <a:pt x="358" y="153"/>
                    </a:lnTo>
                    <a:lnTo>
                      <a:pt x="363" y="160"/>
                    </a:lnTo>
                    <a:lnTo>
                      <a:pt x="367" y="166"/>
                    </a:lnTo>
                    <a:lnTo>
                      <a:pt x="363" y="170"/>
                    </a:lnTo>
                    <a:lnTo>
                      <a:pt x="361" y="173"/>
                    </a:lnTo>
                    <a:lnTo>
                      <a:pt x="370" y="182"/>
                    </a:lnTo>
                    <a:lnTo>
                      <a:pt x="377" y="194"/>
                    </a:lnTo>
                    <a:lnTo>
                      <a:pt x="370" y="206"/>
                    </a:lnTo>
                    <a:lnTo>
                      <a:pt x="358" y="220"/>
                    </a:lnTo>
                    <a:lnTo>
                      <a:pt x="342" y="232"/>
                    </a:lnTo>
                    <a:lnTo>
                      <a:pt x="332" y="244"/>
                    </a:lnTo>
                    <a:lnTo>
                      <a:pt x="324" y="249"/>
                    </a:lnTo>
                    <a:lnTo>
                      <a:pt x="313" y="252"/>
                    </a:lnTo>
                    <a:lnTo>
                      <a:pt x="301" y="252"/>
                    </a:lnTo>
                    <a:lnTo>
                      <a:pt x="294" y="254"/>
                    </a:lnTo>
                    <a:lnTo>
                      <a:pt x="277" y="259"/>
                    </a:lnTo>
                    <a:lnTo>
                      <a:pt x="263" y="263"/>
                    </a:lnTo>
                    <a:lnTo>
                      <a:pt x="255" y="261"/>
                    </a:lnTo>
                    <a:lnTo>
                      <a:pt x="251" y="256"/>
                    </a:lnTo>
                    <a:lnTo>
                      <a:pt x="236" y="251"/>
                    </a:lnTo>
                    <a:lnTo>
                      <a:pt x="231" y="237"/>
                    </a:lnTo>
                    <a:lnTo>
                      <a:pt x="232" y="230"/>
                    </a:lnTo>
                    <a:lnTo>
                      <a:pt x="238" y="227"/>
                    </a:lnTo>
                    <a:lnTo>
                      <a:pt x="229" y="218"/>
                    </a:lnTo>
                    <a:lnTo>
                      <a:pt x="227" y="208"/>
                    </a:lnTo>
                    <a:lnTo>
                      <a:pt x="227" y="203"/>
                    </a:lnTo>
                    <a:lnTo>
                      <a:pt x="227" y="197"/>
                    </a:lnTo>
                    <a:lnTo>
                      <a:pt x="241" y="192"/>
                    </a:lnTo>
                    <a:lnTo>
                      <a:pt x="253" y="182"/>
                    </a:lnTo>
                    <a:lnTo>
                      <a:pt x="263" y="168"/>
                    </a:lnTo>
                    <a:lnTo>
                      <a:pt x="274" y="161"/>
                    </a:lnTo>
                    <a:lnTo>
                      <a:pt x="286" y="154"/>
                    </a:lnTo>
                    <a:lnTo>
                      <a:pt x="293" y="146"/>
                    </a:lnTo>
                    <a:lnTo>
                      <a:pt x="289" y="137"/>
                    </a:lnTo>
                    <a:lnTo>
                      <a:pt x="282" y="134"/>
                    </a:lnTo>
                    <a:lnTo>
                      <a:pt x="272" y="132"/>
                    </a:lnTo>
                    <a:lnTo>
                      <a:pt x="263" y="132"/>
                    </a:lnTo>
                    <a:lnTo>
                      <a:pt x="250" y="132"/>
                    </a:lnTo>
                    <a:lnTo>
                      <a:pt x="241" y="136"/>
                    </a:lnTo>
                    <a:lnTo>
                      <a:pt x="234" y="141"/>
                    </a:lnTo>
                    <a:lnTo>
                      <a:pt x="232" y="151"/>
                    </a:lnTo>
                    <a:lnTo>
                      <a:pt x="232" y="158"/>
                    </a:lnTo>
                    <a:lnTo>
                      <a:pt x="232" y="163"/>
                    </a:lnTo>
                    <a:lnTo>
                      <a:pt x="227" y="170"/>
                    </a:lnTo>
                    <a:lnTo>
                      <a:pt x="219" y="179"/>
                    </a:lnTo>
                    <a:lnTo>
                      <a:pt x="207" y="184"/>
                    </a:lnTo>
                    <a:lnTo>
                      <a:pt x="198" y="191"/>
                    </a:lnTo>
                    <a:lnTo>
                      <a:pt x="184" y="196"/>
                    </a:lnTo>
                    <a:lnTo>
                      <a:pt x="176" y="208"/>
                    </a:lnTo>
                    <a:lnTo>
                      <a:pt x="174" y="218"/>
                    </a:lnTo>
                    <a:lnTo>
                      <a:pt x="169" y="228"/>
                    </a:lnTo>
                    <a:lnTo>
                      <a:pt x="169" y="237"/>
                    </a:lnTo>
                    <a:lnTo>
                      <a:pt x="172" y="242"/>
                    </a:lnTo>
                    <a:lnTo>
                      <a:pt x="174" y="247"/>
                    </a:lnTo>
                    <a:lnTo>
                      <a:pt x="179" y="249"/>
                    </a:lnTo>
                    <a:lnTo>
                      <a:pt x="188" y="254"/>
                    </a:lnTo>
                    <a:lnTo>
                      <a:pt x="193" y="259"/>
                    </a:lnTo>
                    <a:lnTo>
                      <a:pt x="196" y="266"/>
                    </a:lnTo>
                    <a:lnTo>
                      <a:pt x="193" y="271"/>
                    </a:lnTo>
                    <a:lnTo>
                      <a:pt x="188" y="278"/>
                    </a:lnTo>
                    <a:lnTo>
                      <a:pt x="179" y="283"/>
                    </a:lnTo>
                    <a:lnTo>
                      <a:pt x="176" y="287"/>
                    </a:lnTo>
                    <a:lnTo>
                      <a:pt x="169" y="289"/>
                    </a:lnTo>
                    <a:lnTo>
                      <a:pt x="164" y="295"/>
                    </a:lnTo>
                    <a:lnTo>
                      <a:pt x="162" y="304"/>
                    </a:lnTo>
                    <a:lnTo>
                      <a:pt x="162" y="313"/>
                    </a:lnTo>
                    <a:lnTo>
                      <a:pt x="164" y="320"/>
                    </a:lnTo>
                    <a:lnTo>
                      <a:pt x="169" y="321"/>
                    </a:lnTo>
                    <a:lnTo>
                      <a:pt x="164" y="328"/>
                    </a:lnTo>
                    <a:lnTo>
                      <a:pt x="160" y="335"/>
                    </a:lnTo>
                    <a:lnTo>
                      <a:pt x="155" y="338"/>
                    </a:lnTo>
                    <a:lnTo>
                      <a:pt x="153" y="345"/>
                    </a:lnTo>
                    <a:lnTo>
                      <a:pt x="145" y="345"/>
                    </a:lnTo>
                    <a:lnTo>
                      <a:pt x="140" y="345"/>
                    </a:lnTo>
                    <a:lnTo>
                      <a:pt x="133" y="347"/>
                    </a:lnTo>
                    <a:lnTo>
                      <a:pt x="129" y="354"/>
                    </a:lnTo>
                    <a:lnTo>
                      <a:pt x="122" y="359"/>
                    </a:lnTo>
                    <a:lnTo>
                      <a:pt x="115" y="362"/>
                    </a:lnTo>
                    <a:lnTo>
                      <a:pt x="112" y="357"/>
                    </a:lnTo>
                    <a:lnTo>
                      <a:pt x="109" y="350"/>
                    </a:lnTo>
                    <a:lnTo>
                      <a:pt x="105" y="342"/>
                    </a:lnTo>
                    <a:lnTo>
                      <a:pt x="105" y="338"/>
                    </a:lnTo>
                    <a:lnTo>
                      <a:pt x="105" y="335"/>
                    </a:lnTo>
                    <a:lnTo>
                      <a:pt x="105" y="333"/>
                    </a:lnTo>
                    <a:lnTo>
                      <a:pt x="97" y="320"/>
                    </a:lnTo>
                    <a:lnTo>
                      <a:pt x="95" y="306"/>
                    </a:lnTo>
                    <a:lnTo>
                      <a:pt x="88" y="297"/>
                    </a:lnTo>
                    <a:lnTo>
                      <a:pt x="85" y="287"/>
                    </a:lnTo>
                    <a:lnTo>
                      <a:pt x="86" y="282"/>
                    </a:lnTo>
                    <a:lnTo>
                      <a:pt x="88" y="278"/>
                    </a:lnTo>
                    <a:lnTo>
                      <a:pt x="88" y="2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6" name="Freeform 257"/>
              <p:cNvSpPr>
                <a:spLocks/>
              </p:cNvSpPr>
              <p:nvPr/>
            </p:nvSpPr>
            <p:spPr bwMode="auto">
              <a:xfrm>
                <a:off x="4763294" y="1717675"/>
                <a:ext cx="3906838" cy="1449387"/>
              </a:xfrm>
              <a:custGeom>
                <a:avLst/>
                <a:gdLst/>
                <a:ahLst/>
                <a:cxnLst>
                  <a:cxn ang="0">
                    <a:pos x="1720" y="708"/>
                  </a:cxn>
                  <a:cxn ang="0">
                    <a:pos x="1734" y="571"/>
                  </a:cxn>
                  <a:cxn ang="0">
                    <a:pos x="1744" y="488"/>
                  </a:cxn>
                  <a:cxn ang="0">
                    <a:pos x="1906" y="464"/>
                  </a:cxn>
                  <a:cxn ang="0">
                    <a:pos x="2002" y="416"/>
                  </a:cxn>
                  <a:cxn ang="0">
                    <a:pos x="2086" y="409"/>
                  </a:cxn>
                  <a:cxn ang="0">
                    <a:pos x="1976" y="507"/>
                  </a:cxn>
                  <a:cxn ang="0">
                    <a:pos x="2011" y="584"/>
                  </a:cxn>
                  <a:cxn ang="0">
                    <a:pos x="2091" y="452"/>
                  </a:cxn>
                  <a:cxn ang="0">
                    <a:pos x="2257" y="399"/>
                  </a:cxn>
                  <a:cxn ang="0">
                    <a:pos x="2324" y="328"/>
                  </a:cxn>
                  <a:cxn ang="0">
                    <a:pos x="2425" y="333"/>
                  </a:cxn>
                  <a:cxn ang="0">
                    <a:pos x="2355" y="261"/>
                  </a:cxn>
                  <a:cxn ang="0">
                    <a:pos x="2177" y="234"/>
                  </a:cxn>
                  <a:cxn ang="0">
                    <a:pos x="1978" y="184"/>
                  </a:cxn>
                  <a:cxn ang="0">
                    <a:pos x="1835" y="143"/>
                  </a:cxn>
                  <a:cxn ang="0">
                    <a:pos x="1696" y="179"/>
                  </a:cxn>
                  <a:cxn ang="0">
                    <a:pos x="1582" y="173"/>
                  </a:cxn>
                  <a:cxn ang="0">
                    <a:pos x="1436" y="130"/>
                  </a:cxn>
                  <a:cxn ang="0">
                    <a:pos x="1266" y="122"/>
                  </a:cxn>
                  <a:cxn ang="0">
                    <a:pos x="1233" y="2"/>
                  </a:cxn>
                  <a:cxn ang="0">
                    <a:pos x="1106" y="48"/>
                  </a:cxn>
                  <a:cxn ang="0">
                    <a:pos x="958" y="106"/>
                  </a:cxn>
                  <a:cxn ang="0">
                    <a:pos x="863" y="156"/>
                  </a:cxn>
                  <a:cxn ang="0">
                    <a:pos x="790" y="148"/>
                  </a:cxn>
                  <a:cxn ang="0">
                    <a:pos x="769" y="251"/>
                  </a:cxn>
                  <a:cxn ang="0">
                    <a:pos x="731" y="137"/>
                  </a:cxn>
                  <a:cxn ang="0">
                    <a:pos x="704" y="256"/>
                  </a:cxn>
                  <a:cxn ang="0">
                    <a:pos x="585" y="247"/>
                  </a:cxn>
                  <a:cxn ang="0">
                    <a:pos x="470" y="247"/>
                  </a:cxn>
                  <a:cxn ang="0">
                    <a:pos x="363" y="247"/>
                  </a:cxn>
                  <a:cxn ang="0">
                    <a:pos x="294" y="335"/>
                  </a:cxn>
                  <a:cxn ang="0">
                    <a:pos x="237" y="311"/>
                  </a:cxn>
                  <a:cxn ang="0">
                    <a:pos x="225" y="244"/>
                  </a:cxn>
                  <a:cxn ang="0">
                    <a:pos x="136" y="259"/>
                  </a:cxn>
                  <a:cxn ang="0">
                    <a:pos x="153" y="361"/>
                  </a:cxn>
                  <a:cxn ang="0">
                    <a:pos x="107" y="464"/>
                  </a:cxn>
                  <a:cxn ang="0">
                    <a:pos x="41" y="500"/>
                  </a:cxn>
                  <a:cxn ang="0">
                    <a:pos x="45" y="567"/>
                  </a:cxn>
                  <a:cxn ang="0">
                    <a:pos x="43" y="688"/>
                  </a:cxn>
                  <a:cxn ang="0">
                    <a:pos x="124" y="734"/>
                  </a:cxn>
                  <a:cxn ang="0">
                    <a:pos x="212" y="755"/>
                  </a:cxn>
                  <a:cxn ang="0">
                    <a:pos x="253" y="713"/>
                  </a:cxn>
                  <a:cxn ang="0">
                    <a:pos x="270" y="765"/>
                  </a:cxn>
                  <a:cxn ang="0">
                    <a:pos x="353" y="829"/>
                  </a:cxn>
                  <a:cxn ang="0">
                    <a:pos x="415" y="851"/>
                  </a:cxn>
                  <a:cxn ang="0">
                    <a:pos x="403" y="727"/>
                  </a:cxn>
                  <a:cxn ang="0">
                    <a:pos x="492" y="729"/>
                  </a:cxn>
                  <a:cxn ang="0">
                    <a:pos x="473" y="811"/>
                  </a:cxn>
                  <a:cxn ang="0">
                    <a:pos x="494" y="880"/>
                  </a:cxn>
                  <a:cxn ang="0">
                    <a:pos x="599" y="889"/>
                  </a:cxn>
                  <a:cxn ang="0">
                    <a:pos x="666" y="875"/>
                  </a:cxn>
                  <a:cxn ang="0">
                    <a:pos x="747" y="872"/>
                  </a:cxn>
                  <a:cxn ang="0">
                    <a:pos x="798" y="825"/>
                  </a:cxn>
                  <a:cxn ang="0">
                    <a:pos x="932" y="710"/>
                  </a:cxn>
                  <a:cxn ang="0">
                    <a:pos x="1030" y="648"/>
                  </a:cxn>
                  <a:cxn ang="0">
                    <a:pos x="1152" y="612"/>
                  </a:cxn>
                  <a:cxn ang="0">
                    <a:pos x="1268" y="653"/>
                  </a:cxn>
                  <a:cxn ang="0">
                    <a:pos x="1422" y="653"/>
                  </a:cxn>
                  <a:cxn ang="0">
                    <a:pos x="1546" y="629"/>
                  </a:cxn>
                  <a:cxn ang="0">
                    <a:pos x="1649" y="682"/>
                  </a:cxn>
                  <a:cxn ang="0">
                    <a:pos x="1610" y="780"/>
                  </a:cxn>
                </a:cxnLst>
                <a:rect l="0" t="0" r="r" b="b"/>
                <a:pathLst>
                  <a:path w="2461" h="913">
                    <a:moveTo>
                      <a:pt x="1608" y="786"/>
                    </a:moveTo>
                    <a:lnTo>
                      <a:pt x="1612" y="786"/>
                    </a:lnTo>
                    <a:lnTo>
                      <a:pt x="1620" y="787"/>
                    </a:lnTo>
                    <a:lnTo>
                      <a:pt x="1631" y="789"/>
                    </a:lnTo>
                    <a:lnTo>
                      <a:pt x="1644" y="791"/>
                    </a:lnTo>
                    <a:lnTo>
                      <a:pt x="1653" y="787"/>
                    </a:lnTo>
                    <a:lnTo>
                      <a:pt x="1663" y="780"/>
                    </a:lnTo>
                    <a:lnTo>
                      <a:pt x="1674" y="768"/>
                    </a:lnTo>
                    <a:lnTo>
                      <a:pt x="1684" y="756"/>
                    </a:lnTo>
                    <a:lnTo>
                      <a:pt x="1692" y="743"/>
                    </a:lnTo>
                    <a:lnTo>
                      <a:pt x="1703" y="729"/>
                    </a:lnTo>
                    <a:lnTo>
                      <a:pt x="1711" y="717"/>
                    </a:lnTo>
                    <a:lnTo>
                      <a:pt x="1720" y="708"/>
                    </a:lnTo>
                    <a:lnTo>
                      <a:pt x="1725" y="700"/>
                    </a:lnTo>
                    <a:lnTo>
                      <a:pt x="1734" y="691"/>
                    </a:lnTo>
                    <a:lnTo>
                      <a:pt x="1737" y="681"/>
                    </a:lnTo>
                    <a:lnTo>
                      <a:pt x="1742" y="670"/>
                    </a:lnTo>
                    <a:lnTo>
                      <a:pt x="1742" y="660"/>
                    </a:lnTo>
                    <a:lnTo>
                      <a:pt x="1742" y="652"/>
                    </a:lnTo>
                    <a:lnTo>
                      <a:pt x="1742" y="641"/>
                    </a:lnTo>
                    <a:lnTo>
                      <a:pt x="1748" y="633"/>
                    </a:lnTo>
                    <a:lnTo>
                      <a:pt x="1753" y="621"/>
                    </a:lnTo>
                    <a:lnTo>
                      <a:pt x="1758" y="605"/>
                    </a:lnTo>
                    <a:lnTo>
                      <a:pt x="1753" y="591"/>
                    </a:lnTo>
                    <a:lnTo>
                      <a:pt x="1744" y="579"/>
                    </a:lnTo>
                    <a:lnTo>
                      <a:pt x="1734" y="571"/>
                    </a:lnTo>
                    <a:lnTo>
                      <a:pt x="1725" y="572"/>
                    </a:lnTo>
                    <a:lnTo>
                      <a:pt x="1713" y="578"/>
                    </a:lnTo>
                    <a:lnTo>
                      <a:pt x="1705" y="578"/>
                    </a:lnTo>
                    <a:lnTo>
                      <a:pt x="1694" y="576"/>
                    </a:lnTo>
                    <a:lnTo>
                      <a:pt x="1689" y="574"/>
                    </a:lnTo>
                    <a:lnTo>
                      <a:pt x="1680" y="562"/>
                    </a:lnTo>
                    <a:lnTo>
                      <a:pt x="1679" y="557"/>
                    </a:lnTo>
                    <a:lnTo>
                      <a:pt x="1682" y="545"/>
                    </a:lnTo>
                    <a:lnTo>
                      <a:pt x="1692" y="535"/>
                    </a:lnTo>
                    <a:lnTo>
                      <a:pt x="1705" y="524"/>
                    </a:lnTo>
                    <a:lnTo>
                      <a:pt x="1717" y="516"/>
                    </a:lnTo>
                    <a:lnTo>
                      <a:pt x="1729" y="502"/>
                    </a:lnTo>
                    <a:lnTo>
                      <a:pt x="1744" y="488"/>
                    </a:lnTo>
                    <a:lnTo>
                      <a:pt x="1760" y="474"/>
                    </a:lnTo>
                    <a:lnTo>
                      <a:pt x="1775" y="468"/>
                    </a:lnTo>
                    <a:lnTo>
                      <a:pt x="1784" y="464"/>
                    </a:lnTo>
                    <a:lnTo>
                      <a:pt x="1796" y="464"/>
                    </a:lnTo>
                    <a:lnTo>
                      <a:pt x="1809" y="461"/>
                    </a:lnTo>
                    <a:lnTo>
                      <a:pt x="1825" y="461"/>
                    </a:lnTo>
                    <a:lnTo>
                      <a:pt x="1837" y="459"/>
                    </a:lnTo>
                    <a:lnTo>
                      <a:pt x="1851" y="457"/>
                    </a:lnTo>
                    <a:lnTo>
                      <a:pt x="1861" y="457"/>
                    </a:lnTo>
                    <a:lnTo>
                      <a:pt x="1871" y="457"/>
                    </a:lnTo>
                    <a:lnTo>
                      <a:pt x="1885" y="457"/>
                    </a:lnTo>
                    <a:lnTo>
                      <a:pt x="1895" y="462"/>
                    </a:lnTo>
                    <a:lnTo>
                      <a:pt x="1906" y="464"/>
                    </a:lnTo>
                    <a:lnTo>
                      <a:pt x="1916" y="468"/>
                    </a:lnTo>
                    <a:lnTo>
                      <a:pt x="1920" y="468"/>
                    </a:lnTo>
                    <a:lnTo>
                      <a:pt x="1925" y="468"/>
                    </a:lnTo>
                    <a:lnTo>
                      <a:pt x="1932" y="468"/>
                    </a:lnTo>
                    <a:lnTo>
                      <a:pt x="1944" y="468"/>
                    </a:lnTo>
                    <a:lnTo>
                      <a:pt x="1945" y="454"/>
                    </a:lnTo>
                    <a:lnTo>
                      <a:pt x="1949" y="445"/>
                    </a:lnTo>
                    <a:lnTo>
                      <a:pt x="1954" y="435"/>
                    </a:lnTo>
                    <a:lnTo>
                      <a:pt x="1961" y="428"/>
                    </a:lnTo>
                    <a:lnTo>
                      <a:pt x="1968" y="421"/>
                    </a:lnTo>
                    <a:lnTo>
                      <a:pt x="1978" y="418"/>
                    </a:lnTo>
                    <a:lnTo>
                      <a:pt x="1988" y="416"/>
                    </a:lnTo>
                    <a:lnTo>
                      <a:pt x="2002" y="416"/>
                    </a:lnTo>
                    <a:lnTo>
                      <a:pt x="2007" y="414"/>
                    </a:lnTo>
                    <a:lnTo>
                      <a:pt x="2012" y="414"/>
                    </a:lnTo>
                    <a:lnTo>
                      <a:pt x="2019" y="414"/>
                    </a:lnTo>
                    <a:lnTo>
                      <a:pt x="2031" y="416"/>
                    </a:lnTo>
                    <a:lnTo>
                      <a:pt x="2024" y="423"/>
                    </a:lnTo>
                    <a:lnTo>
                      <a:pt x="2028" y="433"/>
                    </a:lnTo>
                    <a:lnTo>
                      <a:pt x="2031" y="433"/>
                    </a:lnTo>
                    <a:lnTo>
                      <a:pt x="2042" y="428"/>
                    </a:lnTo>
                    <a:lnTo>
                      <a:pt x="2055" y="416"/>
                    </a:lnTo>
                    <a:lnTo>
                      <a:pt x="2074" y="397"/>
                    </a:lnTo>
                    <a:lnTo>
                      <a:pt x="2081" y="397"/>
                    </a:lnTo>
                    <a:lnTo>
                      <a:pt x="2088" y="404"/>
                    </a:lnTo>
                    <a:lnTo>
                      <a:pt x="2086" y="409"/>
                    </a:lnTo>
                    <a:lnTo>
                      <a:pt x="2085" y="416"/>
                    </a:lnTo>
                    <a:lnTo>
                      <a:pt x="2078" y="423"/>
                    </a:lnTo>
                    <a:lnTo>
                      <a:pt x="2067" y="433"/>
                    </a:lnTo>
                    <a:lnTo>
                      <a:pt x="2057" y="437"/>
                    </a:lnTo>
                    <a:lnTo>
                      <a:pt x="2047" y="438"/>
                    </a:lnTo>
                    <a:lnTo>
                      <a:pt x="2038" y="442"/>
                    </a:lnTo>
                    <a:lnTo>
                      <a:pt x="2031" y="450"/>
                    </a:lnTo>
                    <a:lnTo>
                      <a:pt x="2023" y="461"/>
                    </a:lnTo>
                    <a:lnTo>
                      <a:pt x="2016" y="474"/>
                    </a:lnTo>
                    <a:lnTo>
                      <a:pt x="2005" y="483"/>
                    </a:lnTo>
                    <a:lnTo>
                      <a:pt x="1997" y="493"/>
                    </a:lnTo>
                    <a:lnTo>
                      <a:pt x="1985" y="498"/>
                    </a:lnTo>
                    <a:lnTo>
                      <a:pt x="1976" y="507"/>
                    </a:lnTo>
                    <a:lnTo>
                      <a:pt x="1968" y="517"/>
                    </a:lnTo>
                    <a:lnTo>
                      <a:pt x="1966" y="535"/>
                    </a:lnTo>
                    <a:lnTo>
                      <a:pt x="1966" y="541"/>
                    </a:lnTo>
                    <a:lnTo>
                      <a:pt x="1966" y="553"/>
                    </a:lnTo>
                    <a:lnTo>
                      <a:pt x="1968" y="567"/>
                    </a:lnTo>
                    <a:lnTo>
                      <a:pt x="1971" y="583"/>
                    </a:lnTo>
                    <a:lnTo>
                      <a:pt x="1973" y="595"/>
                    </a:lnTo>
                    <a:lnTo>
                      <a:pt x="1976" y="609"/>
                    </a:lnTo>
                    <a:lnTo>
                      <a:pt x="1981" y="617"/>
                    </a:lnTo>
                    <a:lnTo>
                      <a:pt x="1987" y="626"/>
                    </a:lnTo>
                    <a:lnTo>
                      <a:pt x="1993" y="610"/>
                    </a:lnTo>
                    <a:lnTo>
                      <a:pt x="2000" y="596"/>
                    </a:lnTo>
                    <a:lnTo>
                      <a:pt x="2011" y="584"/>
                    </a:lnTo>
                    <a:lnTo>
                      <a:pt x="2024" y="578"/>
                    </a:lnTo>
                    <a:lnTo>
                      <a:pt x="2026" y="567"/>
                    </a:lnTo>
                    <a:lnTo>
                      <a:pt x="2033" y="562"/>
                    </a:lnTo>
                    <a:lnTo>
                      <a:pt x="2040" y="555"/>
                    </a:lnTo>
                    <a:lnTo>
                      <a:pt x="2045" y="550"/>
                    </a:lnTo>
                    <a:lnTo>
                      <a:pt x="2047" y="538"/>
                    </a:lnTo>
                    <a:lnTo>
                      <a:pt x="2054" y="531"/>
                    </a:lnTo>
                    <a:lnTo>
                      <a:pt x="2059" y="524"/>
                    </a:lnTo>
                    <a:lnTo>
                      <a:pt x="2062" y="519"/>
                    </a:lnTo>
                    <a:lnTo>
                      <a:pt x="2059" y="509"/>
                    </a:lnTo>
                    <a:lnTo>
                      <a:pt x="2062" y="497"/>
                    </a:lnTo>
                    <a:lnTo>
                      <a:pt x="2076" y="469"/>
                    </a:lnTo>
                    <a:lnTo>
                      <a:pt x="2091" y="452"/>
                    </a:lnTo>
                    <a:lnTo>
                      <a:pt x="2105" y="443"/>
                    </a:lnTo>
                    <a:lnTo>
                      <a:pt x="2119" y="442"/>
                    </a:lnTo>
                    <a:lnTo>
                      <a:pt x="2129" y="443"/>
                    </a:lnTo>
                    <a:lnTo>
                      <a:pt x="2140" y="449"/>
                    </a:lnTo>
                    <a:lnTo>
                      <a:pt x="2148" y="452"/>
                    </a:lnTo>
                    <a:lnTo>
                      <a:pt x="2157" y="455"/>
                    </a:lnTo>
                    <a:lnTo>
                      <a:pt x="2172" y="452"/>
                    </a:lnTo>
                    <a:lnTo>
                      <a:pt x="2188" y="445"/>
                    </a:lnTo>
                    <a:lnTo>
                      <a:pt x="2202" y="435"/>
                    </a:lnTo>
                    <a:lnTo>
                      <a:pt x="2217" y="426"/>
                    </a:lnTo>
                    <a:lnTo>
                      <a:pt x="2229" y="414"/>
                    </a:lnTo>
                    <a:lnTo>
                      <a:pt x="2243" y="406"/>
                    </a:lnTo>
                    <a:lnTo>
                      <a:pt x="2257" y="399"/>
                    </a:lnTo>
                    <a:lnTo>
                      <a:pt x="2272" y="397"/>
                    </a:lnTo>
                    <a:lnTo>
                      <a:pt x="2293" y="394"/>
                    </a:lnTo>
                    <a:lnTo>
                      <a:pt x="2305" y="390"/>
                    </a:lnTo>
                    <a:lnTo>
                      <a:pt x="2308" y="385"/>
                    </a:lnTo>
                    <a:lnTo>
                      <a:pt x="2308" y="380"/>
                    </a:lnTo>
                    <a:lnTo>
                      <a:pt x="2301" y="373"/>
                    </a:lnTo>
                    <a:lnTo>
                      <a:pt x="2294" y="366"/>
                    </a:lnTo>
                    <a:lnTo>
                      <a:pt x="2289" y="361"/>
                    </a:lnTo>
                    <a:lnTo>
                      <a:pt x="2288" y="359"/>
                    </a:lnTo>
                    <a:lnTo>
                      <a:pt x="2291" y="345"/>
                    </a:lnTo>
                    <a:lnTo>
                      <a:pt x="2303" y="339"/>
                    </a:lnTo>
                    <a:lnTo>
                      <a:pt x="2313" y="333"/>
                    </a:lnTo>
                    <a:lnTo>
                      <a:pt x="2324" y="328"/>
                    </a:lnTo>
                    <a:lnTo>
                      <a:pt x="2324" y="316"/>
                    </a:lnTo>
                    <a:lnTo>
                      <a:pt x="2331" y="311"/>
                    </a:lnTo>
                    <a:lnTo>
                      <a:pt x="2341" y="311"/>
                    </a:lnTo>
                    <a:lnTo>
                      <a:pt x="2353" y="316"/>
                    </a:lnTo>
                    <a:lnTo>
                      <a:pt x="2363" y="323"/>
                    </a:lnTo>
                    <a:lnTo>
                      <a:pt x="2374" y="332"/>
                    </a:lnTo>
                    <a:lnTo>
                      <a:pt x="2382" y="339"/>
                    </a:lnTo>
                    <a:lnTo>
                      <a:pt x="2392" y="345"/>
                    </a:lnTo>
                    <a:lnTo>
                      <a:pt x="2403" y="351"/>
                    </a:lnTo>
                    <a:lnTo>
                      <a:pt x="2413" y="354"/>
                    </a:lnTo>
                    <a:lnTo>
                      <a:pt x="2417" y="351"/>
                    </a:lnTo>
                    <a:lnTo>
                      <a:pt x="2422" y="344"/>
                    </a:lnTo>
                    <a:lnTo>
                      <a:pt x="2425" y="333"/>
                    </a:lnTo>
                    <a:lnTo>
                      <a:pt x="2430" y="328"/>
                    </a:lnTo>
                    <a:lnTo>
                      <a:pt x="2435" y="321"/>
                    </a:lnTo>
                    <a:lnTo>
                      <a:pt x="2442" y="320"/>
                    </a:lnTo>
                    <a:lnTo>
                      <a:pt x="2451" y="316"/>
                    </a:lnTo>
                    <a:lnTo>
                      <a:pt x="2461" y="314"/>
                    </a:lnTo>
                    <a:lnTo>
                      <a:pt x="2451" y="304"/>
                    </a:lnTo>
                    <a:lnTo>
                      <a:pt x="2439" y="297"/>
                    </a:lnTo>
                    <a:lnTo>
                      <a:pt x="2425" y="289"/>
                    </a:lnTo>
                    <a:lnTo>
                      <a:pt x="2411" y="284"/>
                    </a:lnTo>
                    <a:lnTo>
                      <a:pt x="2394" y="277"/>
                    </a:lnTo>
                    <a:lnTo>
                      <a:pt x="2380" y="271"/>
                    </a:lnTo>
                    <a:lnTo>
                      <a:pt x="2365" y="266"/>
                    </a:lnTo>
                    <a:lnTo>
                      <a:pt x="2355" y="261"/>
                    </a:lnTo>
                    <a:lnTo>
                      <a:pt x="2337" y="251"/>
                    </a:lnTo>
                    <a:lnTo>
                      <a:pt x="2320" y="242"/>
                    </a:lnTo>
                    <a:lnTo>
                      <a:pt x="2301" y="234"/>
                    </a:lnTo>
                    <a:lnTo>
                      <a:pt x="2284" y="227"/>
                    </a:lnTo>
                    <a:lnTo>
                      <a:pt x="2263" y="220"/>
                    </a:lnTo>
                    <a:lnTo>
                      <a:pt x="2243" y="216"/>
                    </a:lnTo>
                    <a:lnTo>
                      <a:pt x="2222" y="213"/>
                    </a:lnTo>
                    <a:lnTo>
                      <a:pt x="2202" y="213"/>
                    </a:lnTo>
                    <a:lnTo>
                      <a:pt x="2190" y="213"/>
                    </a:lnTo>
                    <a:lnTo>
                      <a:pt x="2181" y="215"/>
                    </a:lnTo>
                    <a:lnTo>
                      <a:pt x="2176" y="216"/>
                    </a:lnTo>
                    <a:lnTo>
                      <a:pt x="2176" y="222"/>
                    </a:lnTo>
                    <a:lnTo>
                      <a:pt x="2177" y="234"/>
                    </a:lnTo>
                    <a:lnTo>
                      <a:pt x="2177" y="241"/>
                    </a:lnTo>
                    <a:lnTo>
                      <a:pt x="2172" y="242"/>
                    </a:lnTo>
                    <a:lnTo>
                      <a:pt x="2169" y="239"/>
                    </a:lnTo>
                    <a:lnTo>
                      <a:pt x="2153" y="227"/>
                    </a:lnTo>
                    <a:lnTo>
                      <a:pt x="2143" y="222"/>
                    </a:lnTo>
                    <a:lnTo>
                      <a:pt x="2026" y="220"/>
                    </a:lnTo>
                    <a:lnTo>
                      <a:pt x="2023" y="210"/>
                    </a:lnTo>
                    <a:lnTo>
                      <a:pt x="2019" y="203"/>
                    </a:lnTo>
                    <a:lnTo>
                      <a:pt x="2012" y="196"/>
                    </a:lnTo>
                    <a:lnTo>
                      <a:pt x="2007" y="191"/>
                    </a:lnTo>
                    <a:lnTo>
                      <a:pt x="1999" y="186"/>
                    </a:lnTo>
                    <a:lnTo>
                      <a:pt x="1990" y="184"/>
                    </a:lnTo>
                    <a:lnTo>
                      <a:pt x="1978" y="184"/>
                    </a:lnTo>
                    <a:lnTo>
                      <a:pt x="1968" y="184"/>
                    </a:lnTo>
                    <a:lnTo>
                      <a:pt x="1952" y="184"/>
                    </a:lnTo>
                    <a:lnTo>
                      <a:pt x="1937" y="186"/>
                    </a:lnTo>
                    <a:lnTo>
                      <a:pt x="1921" y="186"/>
                    </a:lnTo>
                    <a:lnTo>
                      <a:pt x="1911" y="182"/>
                    </a:lnTo>
                    <a:lnTo>
                      <a:pt x="1904" y="173"/>
                    </a:lnTo>
                    <a:lnTo>
                      <a:pt x="1899" y="167"/>
                    </a:lnTo>
                    <a:lnTo>
                      <a:pt x="1892" y="160"/>
                    </a:lnTo>
                    <a:lnTo>
                      <a:pt x="1885" y="156"/>
                    </a:lnTo>
                    <a:lnTo>
                      <a:pt x="1871" y="151"/>
                    </a:lnTo>
                    <a:lnTo>
                      <a:pt x="1859" y="148"/>
                    </a:lnTo>
                    <a:lnTo>
                      <a:pt x="1847" y="144"/>
                    </a:lnTo>
                    <a:lnTo>
                      <a:pt x="1835" y="143"/>
                    </a:lnTo>
                    <a:lnTo>
                      <a:pt x="1821" y="141"/>
                    </a:lnTo>
                    <a:lnTo>
                      <a:pt x="1808" y="139"/>
                    </a:lnTo>
                    <a:lnTo>
                      <a:pt x="1794" y="139"/>
                    </a:lnTo>
                    <a:lnTo>
                      <a:pt x="1780" y="139"/>
                    </a:lnTo>
                    <a:lnTo>
                      <a:pt x="1765" y="139"/>
                    </a:lnTo>
                    <a:lnTo>
                      <a:pt x="1756" y="143"/>
                    </a:lnTo>
                    <a:lnTo>
                      <a:pt x="1748" y="146"/>
                    </a:lnTo>
                    <a:lnTo>
                      <a:pt x="1742" y="151"/>
                    </a:lnTo>
                    <a:lnTo>
                      <a:pt x="1734" y="163"/>
                    </a:lnTo>
                    <a:lnTo>
                      <a:pt x="1732" y="179"/>
                    </a:lnTo>
                    <a:lnTo>
                      <a:pt x="1717" y="179"/>
                    </a:lnTo>
                    <a:lnTo>
                      <a:pt x="1706" y="179"/>
                    </a:lnTo>
                    <a:lnTo>
                      <a:pt x="1696" y="179"/>
                    </a:lnTo>
                    <a:lnTo>
                      <a:pt x="1687" y="179"/>
                    </a:lnTo>
                    <a:lnTo>
                      <a:pt x="1668" y="179"/>
                    </a:lnTo>
                    <a:lnTo>
                      <a:pt x="1651" y="179"/>
                    </a:lnTo>
                    <a:lnTo>
                      <a:pt x="1641" y="175"/>
                    </a:lnTo>
                    <a:lnTo>
                      <a:pt x="1636" y="172"/>
                    </a:lnTo>
                    <a:lnTo>
                      <a:pt x="1627" y="168"/>
                    </a:lnTo>
                    <a:lnTo>
                      <a:pt x="1619" y="167"/>
                    </a:lnTo>
                    <a:lnTo>
                      <a:pt x="1615" y="172"/>
                    </a:lnTo>
                    <a:lnTo>
                      <a:pt x="1613" y="180"/>
                    </a:lnTo>
                    <a:lnTo>
                      <a:pt x="1610" y="186"/>
                    </a:lnTo>
                    <a:lnTo>
                      <a:pt x="1606" y="189"/>
                    </a:lnTo>
                    <a:lnTo>
                      <a:pt x="1591" y="184"/>
                    </a:lnTo>
                    <a:lnTo>
                      <a:pt x="1582" y="173"/>
                    </a:lnTo>
                    <a:lnTo>
                      <a:pt x="1576" y="160"/>
                    </a:lnTo>
                    <a:lnTo>
                      <a:pt x="1576" y="149"/>
                    </a:lnTo>
                    <a:lnTo>
                      <a:pt x="1579" y="143"/>
                    </a:lnTo>
                    <a:lnTo>
                      <a:pt x="1582" y="132"/>
                    </a:lnTo>
                    <a:lnTo>
                      <a:pt x="1576" y="125"/>
                    </a:lnTo>
                    <a:lnTo>
                      <a:pt x="1565" y="118"/>
                    </a:lnTo>
                    <a:lnTo>
                      <a:pt x="1543" y="113"/>
                    </a:lnTo>
                    <a:lnTo>
                      <a:pt x="1512" y="112"/>
                    </a:lnTo>
                    <a:lnTo>
                      <a:pt x="1502" y="110"/>
                    </a:lnTo>
                    <a:lnTo>
                      <a:pt x="1496" y="113"/>
                    </a:lnTo>
                    <a:lnTo>
                      <a:pt x="1491" y="118"/>
                    </a:lnTo>
                    <a:lnTo>
                      <a:pt x="1491" y="130"/>
                    </a:lnTo>
                    <a:lnTo>
                      <a:pt x="1436" y="130"/>
                    </a:lnTo>
                    <a:lnTo>
                      <a:pt x="1426" y="127"/>
                    </a:lnTo>
                    <a:lnTo>
                      <a:pt x="1410" y="125"/>
                    </a:lnTo>
                    <a:lnTo>
                      <a:pt x="1391" y="122"/>
                    </a:lnTo>
                    <a:lnTo>
                      <a:pt x="1374" y="118"/>
                    </a:lnTo>
                    <a:lnTo>
                      <a:pt x="1355" y="113"/>
                    </a:lnTo>
                    <a:lnTo>
                      <a:pt x="1338" y="108"/>
                    </a:lnTo>
                    <a:lnTo>
                      <a:pt x="1326" y="103"/>
                    </a:lnTo>
                    <a:lnTo>
                      <a:pt x="1319" y="98"/>
                    </a:lnTo>
                    <a:lnTo>
                      <a:pt x="1297" y="113"/>
                    </a:lnTo>
                    <a:lnTo>
                      <a:pt x="1283" y="124"/>
                    </a:lnTo>
                    <a:lnTo>
                      <a:pt x="1273" y="127"/>
                    </a:lnTo>
                    <a:lnTo>
                      <a:pt x="1268" y="129"/>
                    </a:lnTo>
                    <a:lnTo>
                      <a:pt x="1266" y="122"/>
                    </a:lnTo>
                    <a:lnTo>
                      <a:pt x="1268" y="118"/>
                    </a:lnTo>
                    <a:lnTo>
                      <a:pt x="1278" y="108"/>
                    </a:lnTo>
                    <a:lnTo>
                      <a:pt x="1299" y="100"/>
                    </a:lnTo>
                    <a:lnTo>
                      <a:pt x="1321" y="88"/>
                    </a:lnTo>
                    <a:lnTo>
                      <a:pt x="1343" y="75"/>
                    </a:lnTo>
                    <a:lnTo>
                      <a:pt x="1355" y="62"/>
                    </a:lnTo>
                    <a:lnTo>
                      <a:pt x="1359" y="50"/>
                    </a:lnTo>
                    <a:lnTo>
                      <a:pt x="1345" y="38"/>
                    </a:lnTo>
                    <a:lnTo>
                      <a:pt x="1312" y="27"/>
                    </a:lnTo>
                    <a:lnTo>
                      <a:pt x="1257" y="27"/>
                    </a:lnTo>
                    <a:lnTo>
                      <a:pt x="1252" y="17"/>
                    </a:lnTo>
                    <a:lnTo>
                      <a:pt x="1245" y="8"/>
                    </a:lnTo>
                    <a:lnTo>
                      <a:pt x="1233" y="2"/>
                    </a:lnTo>
                    <a:lnTo>
                      <a:pt x="1219" y="0"/>
                    </a:lnTo>
                    <a:lnTo>
                      <a:pt x="1209" y="0"/>
                    </a:lnTo>
                    <a:lnTo>
                      <a:pt x="1201" y="2"/>
                    </a:lnTo>
                    <a:lnTo>
                      <a:pt x="1194" y="5"/>
                    </a:lnTo>
                    <a:lnTo>
                      <a:pt x="1189" y="10"/>
                    </a:lnTo>
                    <a:lnTo>
                      <a:pt x="1178" y="19"/>
                    </a:lnTo>
                    <a:lnTo>
                      <a:pt x="1170" y="29"/>
                    </a:lnTo>
                    <a:lnTo>
                      <a:pt x="1163" y="31"/>
                    </a:lnTo>
                    <a:lnTo>
                      <a:pt x="1152" y="36"/>
                    </a:lnTo>
                    <a:lnTo>
                      <a:pt x="1140" y="41"/>
                    </a:lnTo>
                    <a:lnTo>
                      <a:pt x="1128" y="46"/>
                    </a:lnTo>
                    <a:lnTo>
                      <a:pt x="1115" y="46"/>
                    </a:lnTo>
                    <a:lnTo>
                      <a:pt x="1106" y="48"/>
                    </a:lnTo>
                    <a:lnTo>
                      <a:pt x="1099" y="45"/>
                    </a:lnTo>
                    <a:lnTo>
                      <a:pt x="1099" y="39"/>
                    </a:lnTo>
                    <a:lnTo>
                      <a:pt x="1089" y="39"/>
                    </a:lnTo>
                    <a:lnTo>
                      <a:pt x="1077" y="43"/>
                    </a:lnTo>
                    <a:lnTo>
                      <a:pt x="1060" y="45"/>
                    </a:lnTo>
                    <a:lnTo>
                      <a:pt x="1044" y="50"/>
                    </a:lnTo>
                    <a:lnTo>
                      <a:pt x="1023" y="55"/>
                    </a:lnTo>
                    <a:lnTo>
                      <a:pt x="1006" y="62"/>
                    </a:lnTo>
                    <a:lnTo>
                      <a:pt x="987" y="70"/>
                    </a:lnTo>
                    <a:lnTo>
                      <a:pt x="974" y="82"/>
                    </a:lnTo>
                    <a:lnTo>
                      <a:pt x="968" y="89"/>
                    </a:lnTo>
                    <a:lnTo>
                      <a:pt x="963" y="100"/>
                    </a:lnTo>
                    <a:lnTo>
                      <a:pt x="958" y="106"/>
                    </a:lnTo>
                    <a:lnTo>
                      <a:pt x="953" y="112"/>
                    </a:lnTo>
                    <a:lnTo>
                      <a:pt x="943" y="110"/>
                    </a:lnTo>
                    <a:lnTo>
                      <a:pt x="932" y="110"/>
                    </a:lnTo>
                    <a:lnTo>
                      <a:pt x="919" y="110"/>
                    </a:lnTo>
                    <a:lnTo>
                      <a:pt x="905" y="112"/>
                    </a:lnTo>
                    <a:lnTo>
                      <a:pt x="891" y="112"/>
                    </a:lnTo>
                    <a:lnTo>
                      <a:pt x="881" y="117"/>
                    </a:lnTo>
                    <a:lnTo>
                      <a:pt x="874" y="122"/>
                    </a:lnTo>
                    <a:lnTo>
                      <a:pt x="872" y="134"/>
                    </a:lnTo>
                    <a:lnTo>
                      <a:pt x="874" y="143"/>
                    </a:lnTo>
                    <a:lnTo>
                      <a:pt x="881" y="155"/>
                    </a:lnTo>
                    <a:lnTo>
                      <a:pt x="872" y="156"/>
                    </a:lnTo>
                    <a:lnTo>
                      <a:pt x="863" y="156"/>
                    </a:lnTo>
                    <a:lnTo>
                      <a:pt x="857" y="155"/>
                    </a:lnTo>
                    <a:lnTo>
                      <a:pt x="850" y="155"/>
                    </a:lnTo>
                    <a:lnTo>
                      <a:pt x="839" y="155"/>
                    </a:lnTo>
                    <a:lnTo>
                      <a:pt x="829" y="155"/>
                    </a:lnTo>
                    <a:lnTo>
                      <a:pt x="817" y="163"/>
                    </a:lnTo>
                    <a:lnTo>
                      <a:pt x="810" y="168"/>
                    </a:lnTo>
                    <a:lnTo>
                      <a:pt x="805" y="168"/>
                    </a:lnTo>
                    <a:lnTo>
                      <a:pt x="803" y="165"/>
                    </a:lnTo>
                    <a:lnTo>
                      <a:pt x="798" y="156"/>
                    </a:lnTo>
                    <a:lnTo>
                      <a:pt x="798" y="149"/>
                    </a:lnTo>
                    <a:lnTo>
                      <a:pt x="796" y="143"/>
                    </a:lnTo>
                    <a:lnTo>
                      <a:pt x="795" y="139"/>
                    </a:lnTo>
                    <a:lnTo>
                      <a:pt x="790" y="148"/>
                    </a:lnTo>
                    <a:lnTo>
                      <a:pt x="784" y="156"/>
                    </a:lnTo>
                    <a:lnTo>
                      <a:pt x="776" y="161"/>
                    </a:lnTo>
                    <a:lnTo>
                      <a:pt x="769" y="168"/>
                    </a:lnTo>
                    <a:lnTo>
                      <a:pt x="772" y="179"/>
                    </a:lnTo>
                    <a:lnTo>
                      <a:pt x="781" y="191"/>
                    </a:lnTo>
                    <a:lnTo>
                      <a:pt x="783" y="201"/>
                    </a:lnTo>
                    <a:lnTo>
                      <a:pt x="779" y="215"/>
                    </a:lnTo>
                    <a:lnTo>
                      <a:pt x="776" y="227"/>
                    </a:lnTo>
                    <a:lnTo>
                      <a:pt x="783" y="244"/>
                    </a:lnTo>
                    <a:lnTo>
                      <a:pt x="786" y="258"/>
                    </a:lnTo>
                    <a:lnTo>
                      <a:pt x="783" y="265"/>
                    </a:lnTo>
                    <a:lnTo>
                      <a:pt x="774" y="259"/>
                    </a:lnTo>
                    <a:lnTo>
                      <a:pt x="769" y="251"/>
                    </a:lnTo>
                    <a:lnTo>
                      <a:pt x="764" y="237"/>
                    </a:lnTo>
                    <a:lnTo>
                      <a:pt x="760" y="223"/>
                    </a:lnTo>
                    <a:lnTo>
                      <a:pt x="757" y="206"/>
                    </a:lnTo>
                    <a:lnTo>
                      <a:pt x="755" y="192"/>
                    </a:lnTo>
                    <a:lnTo>
                      <a:pt x="755" y="179"/>
                    </a:lnTo>
                    <a:lnTo>
                      <a:pt x="755" y="172"/>
                    </a:lnTo>
                    <a:lnTo>
                      <a:pt x="759" y="160"/>
                    </a:lnTo>
                    <a:lnTo>
                      <a:pt x="764" y="151"/>
                    </a:lnTo>
                    <a:lnTo>
                      <a:pt x="762" y="146"/>
                    </a:lnTo>
                    <a:lnTo>
                      <a:pt x="760" y="144"/>
                    </a:lnTo>
                    <a:lnTo>
                      <a:pt x="753" y="141"/>
                    </a:lnTo>
                    <a:lnTo>
                      <a:pt x="741" y="139"/>
                    </a:lnTo>
                    <a:lnTo>
                      <a:pt x="731" y="137"/>
                    </a:lnTo>
                    <a:lnTo>
                      <a:pt x="721" y="141"/>
                    </a:lnTo>
                    <a:lnTo>
                      <a:pt x="710" y="146"/>
                    </a:lnTo>
                    <a:lnTo>
                      <a:pt x="700" y="155"/>
                    </a:lnTo>
                    <a:lnTo>
                      <a:pt x="690" y="161"/>
                    </a:lnTo>
                    <a:lnTo>
                      <a:pt x="683" y="172"/>
                    </a:lnTo>
                    <a:lnTo>
                      <a:pt x="678" y="180"/>
                    </a:lnTo>
                    <a:lnTo>
                      <a:pt x="678" y="189"/>
                    </a:lnTo>
                    <a:lnTo>
                      <a:pt x="678" y="204"/>
                    </a:lnTo>
                    <a:lnTo>
                      <a:pt x="683" y="218"/>
                    </a:lnTo>
                    <a:lnTo>
                      <a:pt x="690" y="229"/>
                    </a:lnTo>
                    <a:lnTo>
                      <a:pt x="700" y="241"/>
                    </a:lnTo>
                    <a:lnTo>
                      <a:pt x="705" y="251"/>
                    </a:lnTo>
                    <a:lnTo>
                      <a:pt x="704" y="256"/>
                    </a:lnTo>
                    <a:lnTo>
                      <a:pt x="697" y="256"/>
                    </a:lnTo>
                    <a:lnTo>
                      <a:pt x="686" y="253"/>
                    </a:lnTo>
                    <a:lnTo>
                      <a:pt x="673" y="246"/>
                    </a:lnTo>
                    <a:lnTo>
                      <a:pt x="659" y="239"/>
                    </a:lnTo>
                    <a:lnTo>
                      <a:pt x="643" y="232"/>
                    </a:lnTo>
                    <a:lnTo>
                      <a:pt x="635" y="229"/>
                    </a:lnTo>
                    <a:lnTo>
                      <a:pt x="612" y="222"/>
                    </a:lnTo>
                    <a:lnTo>
                      <a:pt x="597" y="222"/>
                    </a:lnTo>
                    <a:lnTo>
                      <a:pt x="588" y="220"/>
                    </a:lnTo>
                    <a:lnTo>
                      <a:pt x="585" y="225"/>
                    </a:lnTo>
                    <a:lnTo>
                      <a:pt x="585" y="230"/>
                    </a:lnTo>
                    <a:lnTo>
                      <a:pt x="588" y="237"/>
                    </a:lnTo>
                    <a:lnTo>
                      <a:pt x="585" y="247"/>
                    </a:lnTo>
                    <a:lnTo>
                      <a:pt x="583" y="254"/>
                    </a:lnTo>
                    <a:lnTo>
                      <a:pt x="580" y="254"/>
                    </a:lnTo>
                    <a:lnTo>
                      <a:pt x="576" y="256"/>
                    </a:lnTo>
                    <a:lnTo>
                      <a:pt x="568" y="249"/>
                    </a:lnTo>
                    <a:lnTo>
                      <a:pt x="561" y="246"/>
                    </a:lnTo>
                    <a:lnTo>
                      <a:pt x="545" y="247"/>
                    </a:lnTo>
                    <a:lnTo>
                      <a:pt x="528" y="254"/>
                    </a:lnTo>
                    <a:lnTo>
                      <a:pt x="518" y="256"/>
                    </a:lnTo>
                    <a:lnTo>
                      <a:pt x="507" y="258"/>
                    </a:lnTo>
                    <a:lnTo>
                      <a:pt x="497" y="256"/>
                    </a:lnTo>
                    <a:lnTo>
                      <a:pt x="490" y="256"/>
                    </a:lnTo>
                    <a:lnTo>
                      <a:pt x="482" y="247"/>
                    </a:lnTo>
                    <a:lnTo>
                      <a:pt x="470" y="247"/>
                    </a:lnTo>
                    <a:lnTo>
                      <a:pt x="454" y="253"/>
                    </a:lnTo>
                    <a:lnTo>
                      <a:pt x="439" y="263"/>
                    </a:lnTo>
                    <a:lnTo>
                      <a:pt x="420" y="273"/>
                    </a:lnTo>
                    <a:lnTo>
                      <a:pt x="406" y="284"/>
                    </a:lnTo>
                    <a:lnTo>
                      <a:pt x="392" y="290"/>
                    </a:lnTo>
                    <a:lnTo>
                      <a:pt x="384" y="294"/>
                    </a:lnTo>
                    <a:lnTo>
                      <a:pt x="373" y="290"/>
                    </a:lnTo>
                    <a:lnTo>
                      <a:pt x="370" y="284"/>
                    </a:lnTo>
                    <a:lnTo>
                      <a:pt x="370" y="273"/>
                    </a:lnTo>
                    <a:lnTo>
                      <a:pt x="372" y="265"/>
                    </a:lnTo>
                    <a:lnTo>
                      <a:pt x="370" y="254"/>
                    </a:lnTo>
                    <a:lnTo>
                      <a:pt x="368" y="251"/>
                    </a:lnTo>
                    <a:lnTo>
                      <a:pt x="363" y="247"/>
                    </a:lnTo>
                    <a:lnTo>
                      <a:pt x="358" y="253"/>
                    </a:lnTo>
                    <a:lnTo>
                      <a:pt x="351" y="263"/>
                    </a:lnTo>
                    <a:lnTo>
                      <a:pt x="344" y="285"/>
                    </a:lnTo>
                    <a:lnTo>
                      <a:pt x="347" y="290"/>
                    </a:lnTo>
                    <a:lnTo>
                      <a:pt x="353" y="301"/>
                    </a:lnTo>
                    <a:lnTo>
                      <a:pt x="347" y="308"/>
                    </a:lnTo>
                    <a:lnTo>
                      <a:pt x="337" y="311"/>
                    </a:lnTo>
                    <a:lnTo>
                      <a:pt x="323" y="308"/>
                    </a:lnTo>
                    <a:lnTo>
                      <a:pt x="311" y="311"/>
                    </a:lnTo>
                    <a:lnTo>
                      <a:pt x="306" y="313"/>
                    </a:lnTo>
                    <a:lnTo>
                      <a:pt x="303" y="320"/>
                    </a:lnTo>
                    <a:lnTo>
                      <a:pt x="298" y="327"/>
                    </a:lnTo>
                    <a:lnTo>
                      <a:pt x="294" y="335"/>
                    </a:lnTo>
                    <a:lnTo>
                      <a:pt x="287" y="340"/>
                    </a:lnTo>
                    <a:lnTo>
                      <a:pt x="277" y="344"/>
                    </a:lnTo>
                    <a:lnTo>
                      <a:pt x="263" y="344"/>
                    </a:lnTo>
                    <a:lnTo>
                      <a:pt x="246" y="339"/>
                    </a:lnTo>
                    <a:lnTo>
                      <a:pt x="246" y="359"/>
                    </a:lnTo>
                    <a:lnTo>
                      <a:pt x="234" y="356"/>
                    </a:lnTo>
                    <a:lnTo>
                      <a:pt x="227" y="352"/>
                    </a:lnTo>
                    <a:lnTo>
                      <a:pt x="222" y="345"/>
                    </a:lnTo>
                    <a:lnTo>
                      <a:pt x="220" y="340"/>
                    </a:lnTo>
                    <a:lnTo>
                      <a:pt x="215" y="323"/>
                    </a:lnTo>
                    <a:lnTo>
                      <a:pt x="210" y="311"/>
                    </a:lnTo>
                    <a:lnTo>
                      <a:pt x="224" y="311"/>
                    </a:lnTo>
                    <a:lnTo>
                      <a:pt x="237" y="311"/>
                    </a:lnTo>
                    <a:lnTo>
                      <a:pt x="249" y="311"/>
                    </a:lnTo>
                    <a:lnTo>
                      <a:pt x="265" y="316"/>
                    </a:lnTo>
                    <a:lnTo>
                      <a:pt x="275" y="316"/>
                    </a:lnTo>
                    <a:lnTo>
                      <a:pt x="289" y="313"/>
                    </a:lnTo>
                    <a:lnTo>
                      <a:pt x="299" y="308"/>
                    </a:lnTo>
                    <a:lnTo>
                      <a:pt x="308" y="301"/>
                    </a:lnTo>
                    <a:lnTo>
                      <a:pt x="308" y="290"/>
                    </a:lnTo>
                    <a:lnTo>
                      <a:pt x="303" y="282"/>
                    </a:lnTo>
                    <a:lnTo>
                      <a:pt x="287" y="271"/>
                    </a:lnTo>
                    <a:lnTo>
                      <a:pt x="263" y="261"/>
                    </a:lnTo>
                    <a:lnTo>
                      <a:pt x="251" y="256"/>
                    </a:lnTo>
                    <a:lnTo>
                      <a:pt x="239" y="251"/>
                    </a:lnTo>
                    <a:lnTo>
                      <a:pt x="225" y="244"/>
                    </a:lnTo>
                    <a:lnTo>
                      <a:pt x="212" y="239"/>
                    </a:lnTo>
                    <a:lnTo>
                      <a:pt x="196" y="234"/>
                    </a:lnTo>
                    <a:lnTo>
                      <a:pt x="184" y="229"/>
                    </a:lnTo>
                    <a:lnTo>
                      <a:pt x="174" y="225"/>
                    </a:lnTo>
                    <a:lnTo>
                      <a:pt x="167" y="225"/>
                    </a:lnTo>
                    <a:lnTo>
                      <a:pt x="163" y="223"/>
                    </a:lnTo>
                    <a:lnTo>
                      <a:pt x="153" y="225"/>
                    </a:lnTo>
                    <a:lnTo>
                      <a:pt x="145" y="229"/>
                    </a:lnTo>
                    <a:lnTo>
                      <a:pt x="138" y="235"/>
                    </a:lnTo>
                    <a:lnTo>
                      <a:pt x="129" y="241"/>
                    </a:lnTo>
                    <a:lnTo>
                      <a:pt x="127" y="251"/>
                    </a:lnTo>
                    <a:lnTo>
                      <a:pt x="129" y="254"/>
                    </a:lnTo>
                    <a:lnTo>
                      <a:pt x="136" y="259"/>
                    </a:lnTo>
                    <a:lnTo>
                      <a:pt x="143" y="263"/>
                    </a:lnTo>
                    <a:lnTo>
                      <a:pt x="146" y="271"/>
                    </a:lnTo>
                    <a:lnTo>
                      <a:pt x="141" y="280"/>
                    </a:lnTo>
                    <a:lnTo>
                      <a:pt x="138" y="292"/>
                    </a:lnTo>
                    <a:lnTo>
                      <a:pt x="141" y="304"/>
                    </a:lnTo>
                    <a:lnTo>
                      <a:pt x="146" y="316"/>
                    </a:lnTo>
                    <a:lnTo>
                      <a:pt x="143" y="323"/>
                    </a:lnTo>
                    <a:lnTo>
                      <a:pt x="141" y="332"/>
                    </a:lnTo>
                    <a:lnTo>
                      <a:pt x="143" y="337"/>
                    </a:lnTo>
                    <a:lnTo>
                      <a:pt x="148" y="344"/>
                    </a:lnTo>
                    <a:lnTo>
                      <a:pt x="153" y="351"/>
                    </a:lnTo>
                    <a:lnTo>
                      <a:pt x="157" y="357"/>
                    </a:lnTo>
                    <a:lnTo>
                      <a:pt x="153" y="361"/>
                    </a:lnTo>
                    <a:lnTo>
                      <a:pt x="151" y="364"/>
                    </a:lnTo>
                    <a:lnTo>
                      <a:pt x="160" y="373"/>
                    </a:lnTo>
                    <a:lnTo>
                      <a:pt x="167" y="385"/>
                    </a:lnTo>
                    <a:lnTo>
                      <a:pt x="160" y="397"/>
                    </a:lnTo>
                    <a:lnTo>
                      <a:pt x="148" y="411"/>
                    </a:lnTo>
                    <a:lnTo>
                      <a:pt x="132" y="423"/>
                    </a:lnTo>
                    <a:lnTo>
                      <a:pt x="122" y="435"/>
                    </a:lnTo>
                    <a:lnTo>
                      <a:pt x="127" y="442"/>
                    </a:lnTo>
                    <a:lnTo>
                      <a:pt x="134" y="454"/>
                    </a:lnTo>
                    <a:lnTo>
                      <a:pt x="127" y="455"/>
                    </a:lnTo>
                    <a:lnTo>
                      <a:pt x="120" y="459"/>
                    </a:lnTo>
                    <a:lnTo>
                      <a:pt x="112" y="462"/>
                    </a:lnTo>
                    <a:lnTo>
                      <a:pt x="107" y="464"/>
                    </a:lnTo>
                    <a:lnTo>
                      <a:pt x="95" y="462"/>
                    </a:lnTo>
                    <a:lnTo>
                      <a:pt x="81" y="461"/>
                    </a:lnTo>
                    <a:lnTo>
                      <a:pt x="69" y="461"/>
                    </a:lnTo>
                    <a:lnTo>
                      <a:pt x="59" y="466"/>
                    </a:lnTo>
                    <a:lnTo>
                      <a:pt x="50" y="471"/>
                    </a:lnTo>
                    <a:lnTo>
                      <a:pt x="52" y="478"/>
                    </a:lnTo>
                    <a:lnTo>
                      <a:pt x="64" y="493"/>
                    </a:lnTo>
                    <a:lnTo>
                      <a:pt x="65" y="504"/>
                    </a:lnTo>
                    <a:lnTo>
                      <a:pt x="62" y="509"/>
                    </a:lnTo>
                    <a:lnTo>
                      <a:pt x="59" y="512"/>
                    </a:lnTo>
                    <a:lnTo>
                      <a:pt x="52" y="509"/>
                    </a:lnTo>
                    <a:lnTo>
                      <a:pt x="46" y="505"/>
                    </a:lnTo>
                    <a:lnTo>
                      <a:pt x="41" y="500"/>
                    </a:lnTo>
                    <a:lnTo>
                      <a:pt x="38" y="498"/>
                    </a:lnTo>
                    <a:lnTo>
                      <a:pt x="29" y="502"/>
                    </a:lnTo>
                    <a:lnTo>
                      <a:pt x="24" y="511"/>
                    </a:lnTo>
                    <a:lnTo>
                      <a:pt x="17" y="523"/>
                    </a:lnTo>
                    <a:lnTo>
                      <a:pt x="17" y="535"/>
                    </a:lnTo>
                    <a:lnTo>
                      <a:pt x="14" y="545"/>
                    </a:lnTo>
                    <a:lnTo>
                      <a:pt x="9" y="552"/>
                    </a:lnTo>
                    <a:lnTo>
                      <a:pt x="2" y="557"/>
                    </a:lnTo>
                    <a:lnTo>
                      <a:pt x="0" y="569"/>
                    </a:lnTo>
                    <a:lnTo>
                      <a:pt x="9" y="567"/>
                    </a:lnTo>
                    <a:lnTo>
                      <a:pt x="19" y="567"/>
                    </a:lnTo>
                    <a:lnTo>
                      <a:pt x="31" y="567"/>
                    </a:lnTo>
                    <a:lnTo>
                      <a:pt x="45" y="567"/>
                    </a:lnTo>
                    <a:lnTo>
                      <a:pt x="50" y="569"/>
                    </a:lnTo>
                    <a:lnTo>
                      <a:pt x="55" y="578"/>
                    </a:lnTo>
                    <a:lnTo>
                      <a:pt x="59" y="586"/>
                    </a:lnTo>
                    <a:lnTo>
                      <a:pt x="60" y="596"/>
                    </a:lnTo>
                    <a:lnTo>
                      <a:pt x="57" y="605"/>
                    </a:lnTo>
                    <a:lnTo>
                      <a:pt x="53" y="614"/>
                    </a:lnTo>
                    <a:lnTo>
                      <a:pt x="57" y="627"/>
                    </a:lnTo>
                    <a:lnTo>
                      <a:pt x="62" y="641"/>
                    </a:lnTo>
                    <a:lnTo>
                      <a:pt x="57" y="646"/>
                    </a:lnTo>
                    <a:lnTo>
                      <a:pt x="52" y="652"/>
                    </a:lnTo>
                    <a:lnTo>
                      <a:pt x="45" y="664"/>
                    </a:lnTo>
                    <a:lnTo>
                      <a:pt x="43" y="681"/>
                    </a:lnTo>
                    <a:lnTo>
                      <a:pt x="43" y="688"/>
                    </a:lnTo>
                    <a:lnTo>
                      <a:pt x="48" y="691"/>
                    </a:lnTo>
                    <a:lnTo>
                      <a:pt x="55" y="691"/>
                    </a:lnTo>
                    <a:lnTo>
                      <a:pt x="65" y="693"/>
                    </a:lnTo>
                    <a:lnTo>
                      <a:pt x="74" y="691"/>
                    </a:lnTo>
                    <a:lnTo>
                      <a:pt x="84" y="689"/>
                    </a:lnTo>
                    <a:lnTo>
                      <a:pt x="91" y="686"/>
                    </a:lnTo>
                    <a:lnTo>
                      <a:pt x="102" y="686"/>
                    </a:lnTo>
                    <a:lnTo>
                      <a:pt x="108" y="689"/>
                    </a:lnTo>
                    <a:lnTo>
                      <a:pt x="112" y="698"/>
                    </a:lnTo>
                    <a:lnTo>
                      <a:pt x="115" y="707"/>
                    </a:lnTo>
                    <a:lnTo>
                      <a:pt x="124" y="712"/>
                    </a:lnTo>
                    <a:lnTo>
                      <a:pt x="124" y="732"/>
                    </a:lnTo>
                    <a:lnTo>
                      <a:pt x="124" y="734"/>
                    </a:lnTo>
                    <a:lnTo>
                      <a:pt x="127" y="736"/>
                    </a:lnTo>
                    <a:lnTo>
                      <a:pt x="129" y="739"/>
                    </a:lnTo>
                    <a:lnTo>
                      <a:pt x="134" y="737"/>
                    </a:lnTo>
                    <a:lnTo>
                      <a:pt x="141" y="736"/>
                    </a:lnTo>
                    <a:lnTo>
                      <a:pt x="146" y="731"/>
                    </a:lnTo>
                    <a:lnTo>
                      <a:pt x="153" y="727"/>
                    </a:lnTo>
                    <a:lnTo>
                      <a:pt x="157" y="722"/>
                    </a:lnTo>
                    <a:lnTo>
                      <a:pt x="165" y="720"/>
                    </a:lnTo>
                    <a:lnTo>
                      <a:pt x="172" y="725"/>
                    </a:lnTo>
                    <a:lnTo>
                      <a:pt x="184" y="739"/>
                    </a:lnTo>
                    <a:lnTo>
                      <a:pt x="196" y="751"/>
                    </a:lnTo>
                    <a:lnTo>
                      <a:pt x="205" y="758"/>
                    </a:lnTo>
                    <a:lnTo>
                      <a:pt x="212" y="755"/>
                    </a:lnTo>
                    <a:lnTo>
                      <a:pt x="222" y="751"/>
                    </a:lnTo>
                    <a:lnTo>
                      <a:pt x="232" y="746"/>
                    </a:lnTo>
                    <a:lnTo>
                      <a:pt x="239" y="743"/>
                    </a:lnTo>
                    <a:lnTo>
                      <a:pt x="236" y="741"/>
                    </a:lnTo>
                    <a:lnTo>
                      <a:pt x="232" y="741"/>
                    </a:lnTo>
                    <a:lnTo>
                      <a:pt x="227" y="741"/>
                    </a:lnTo>
                    <a:lnTo>
                      <a:pt x="225" y="741"/>
                    </a:lnTo>
                    <a:lnTo>
                      <a:pt x="220" y="739"/>
                    </a:lnTo>
                    <a:lnTo>
                      <a:pt x="217" y="732"/>
                    </a:lnTo>
                    <a:lnTo>
                      <a:pt x="222" y="727"/>
                    </a:lnTo>
                    <a:lnTo>
                      <a:pt x="237" y="720"/>
                    </a:lnTo>
                    <a:lnTo>
                      <a:pt x="244" y="717"/>
                    </a:lnTo>
                    <a:lnTo>
                      <a:pt x="253" y="713"/>
                    </a:lnTo>
                    <a:lnTo>
                      <a:pt x="261" y="710"/>
                    </a:lnTo>
                    <a:lnTo>
                      <a:pt x="268" y="710"/>
                    </a:lnTo>
                    <a:lnTo>
                      <a:pt x="263" y="713"/>
                    </a:lnTo>
                    <a:lnTo>
                      <a:pt x="258" y="719"/>
                    </a:lnTo>
                    <a:lnTo>
                      <a:pt x="260" y="722"/>
                    </a:lnTo>
                    <a:lnTo>
                      <a:pt x="261" y="729"/>
                    </a:lnTo>
                    <a:lnTo>
                      <a:pt x="260" y="732"/>
                    </a:lnTo>
                    <a:lnTo>
                      <a:pt x="258" y="736"/>
                    </a:lnTo>
                    <a:lnTo>
                      <a:pt x="251" y="739"/>
                    </a:lnTo>
                    <a:lnTo>
                      <a:pt x="244" y="743"/>
                    </a:lnTo>
                    <a:lnTo>
                      <a:pt x="248" y="751"/>
                    </a:lnTo>
                    <a:lnTo>
                      <a:pt x="258" y="760"/>
                    </a:lnTo>
                    <a:lnTo>
                      <a:pt x="270" y="765"/>
                    </a:lnTo>
                    <a:lnTo>
                      <a:pt x="284" y="772"/>
                    </a:lnTo>
                    <a:lnTo>
                      <a:pt x="294" y="777"/>
                    </a:lnTo>
                    <a:lnTo>
                      <a:pt x="304" y="784"/>
                    </a:lnTo>
                    <a:lnTo>
                      <a:pt x="311" y="793"/>
                    </a:lnTo>
                    <a:lnTo>
                      <a:pt x="315" y="808"/>
                    </a:lnTo>
                    <a:lnTo>
                      <a:pt x="317" y="808"/>
                    </a:lnTo>
                    <a:lnTo>
                      <a:pt x="322" y="805"/>
                    </a:lnTo>
                    <a:lnTo>
                      <a:pt x="327" y="805"/>
                    </a:lnTo>
                    <a:lnTo>
                      <a:pt x="335" y="805"/>
                    </a:lnTo>
                    <a:lnTo>
                      <a:pt x="341" y="810"/>
                    </a:lnTo>
                    <a:lnTo>
                      <a:pt x="344" y="817"/>
                    </a:lnTo>
                    <a:lnTo>
                      <a:pt x="347" y="825"/>
                    </a:lnTo>
                    <a:lnTo>
                      <a:pt x="353" y="829"/>
                    </a:lnTo>
                    <a:lnTo>
                      <a:pt x="360" y="834"/>
                    </a:lnTo>
                    <a:lnTo>
                      <a:pt x="365" y="837"/>
                    </a:lnTo>
                    <a:lnTo>
                      <a:pt x="370" y="844"/>
                    </a:lnTo>
                    <a:lnTo>
                      <a:pt x="375" y="849"/>
                    </a:lnTo>
                    <a:lnTo>
                      <a:pt x="385" y="853"/>
                    </a:lnTo>
                    <a:lnTo>
                      <a:pt x="394" y="846"/>
                    </a:lnTo>
                    <a:lnTo>
                      <a:pt x="403" y="841"/>
                    </a:lnTo>
                    <a:lnTo>
                      <a:pt x="406" y="839"/>
                    </a:lnTo>
                    <a:lnTo>
                      <a:pt x="411" y="839"/>
                    </a:lnTo>
                    <a:lnTo>
                      <a:pt x="411" y="842"/>
                    </a:lnTo>
                    <a:lnTo>
                      <a:pt x="415" y="848"/>
                    </a:lnTo>
                    <a:lnTo>
                      <a:pt x="413" y="849"/>
                    </a:lnTo>
                    <a:lnTo>
                      <a:pt x="415" y="851"/>
                    </a:lnTo>
                    <a:lnTo>
                      <a:pt x="421" y="853"/>
                    </a:lnTo>
                    <a:lnTo>
                      <a:pt x="427" y="837"/>
                    </a:lnTo>
                    <a:lnTo>
                      <a:pt x="435" y="827"/>
                    </a:lnTo>
                    <a:lnTo>
                      <a:pt x="423" y="817"/>
                    </a:lnTo>
                    <a:lnTo>
                      <a:pt x="413" y="803"/>
                    </a:lnTo>
                    <a:lnTo>
                      <a:pt x="404" y="786"/>
                    </a:lnTo>
                    <a:lnTo>
                      <a:pt x="401" y="772"/>
                    </a:lnTo>
                    <a:lnTo>
                      <a:pt x="394" y="762"/>
                    </a:lnTo>
                    <a:lnTo>
                      <a:pt x="389" y="753"/>
                    </a:lnTo>
                    <a:lnTo>
                      <a:pt x="389" y="746"/>
                    </a:lnTo>
                    <a:lnTo>
                      <a:pt x="394" y="739"/>
                    </a:lnTo>
                    <a:lnTo>
                      <a:pt x="397" y="731"/>
                    </a:lnTo>
                    <a:lnTo>
                      <a:pt x="403" y="727"/>
                    </a:lnTo>
                    <a:lnTo>
                      <a:pt x="404" y="725"/>
                    </a:lnTo>
                    <a:lnTo>
                      <a:pt x="411" y="724"/>
                    </a:lnTo>
                    <a:lnTo>
                      <a:pt x="416" y="720"/>
                    </a:lnTo>
                    <a:lnTo>
                      <a:pt x="421" y="720"/>
                    </a:lnTo>
                    <a:lnTo>
                      <a:pt x="428" y="715"/>
                    </a:lnTo>
                    <a:lnTo>
                      <a:pt x="437" y="713"/>
                    </a:lnTo>
                    <a:lnTo>
                      <a:pt x="447" y="712"/>
                    </a:lnTo>
                    <a:lnTo>
                      <a:pt x="459" y="712"/>
                    </a:lnTo>
                    <a:lnTo>
                      <a:pt x="468" y="712"/>
                    </a:lnTo>
                    <a:lnTo>
                      <a:pt x="475" y="713"/>
                    </a:lnTo>
                    <a:lnTo>
                      <a:pt x="480" y="715"/>
                    </a:lnTo>
                    <a:lnTo>
                      <a:pt x="485" y="720"/>
                    </a:lnTo>
                    <a:lnTo>
                      <a:pt x="492" y="729"/>
                    </a:lnTo>
                    <a:lnTo>
                      <a:pt x="501" y="739"/>
                    </a:lnTo>
                    <a:lnTo>
                      <a:pt x="487" y="743"/>
                    </a:lnTo>
                    <a:lnTo>
                      <a:pt x="475" y="741"/>
                    </a:lnTo>
                    <a:lnTo>
                      <a:pt x="463" y="741"/>
                    </a:lnTo>
                    <a:lnTo>
                      <a:pt x="451" y="746"/>
                    </a:lnTo>
                    <a:lnTo>
                      <a:pt x="442" y="750"/>
                    </a:lnTo>
                    <a:lnTo>
                      <a:pt x="439" y="753"/>
                    </a:lnTo>
                    <a:lnTo>
                      <a:pt x="442" y="762"/>
                    </a:lnTo>
                    <a:lnTo>
                      <a:pt x="451" y="768"/>
                    </a:lnTo>
                    <a:lnTo>
                      <a:pt x="456" y="779"/>
                    </a:lnTo>
                    <a:lnTo>
                      <a:pt x="464" y="789"/>
                    </a:lnTo>
                    <a:lnTo>
                      <a:pt x="470" y="798"/>
                    </a:lnTo>
                    <a:lnTo>
                      <a:pt x="473" y="811"/>
                    </a:lnTo>
                    <a:lnTo>
                      <a:pt x="482" y="806"/>
                    </a:lnTo>
                    <a:lnTo>
                      <a:pt x="490" y="805"/>
                    </a:lnTo>
                    <a:lnTo>
                      <a:pt x="494" y="813"/>
                    </a:lnTo>
                    <a:lnTo>
                      <a:pt x="499" y="823"/>
                    </a:lnTo>
                    <a:lnTo>
                      <a:pt x="485" y="823"/>
                    </a:lnTo>
                    <a:lnTo>
                      <a:pt x="476" y="827"/>
                    </a:lnTo>
                    <a:lnTo>
                      <a:pt x="475" y="835"/>
                    </a:lnTo>
                    <a:lnTo>
                      <a:pt x="487" y="842"/>
                    </a:lnTo>
                    <a:lnTo>
                      <a:pt x="492" y="858"/>
                    </a:lnTo>
                    <a:lnTo>
                      <a:pt x="490" y="863"/>
                    </a:lnTo>
                    <a:lnTo>
                      <a:pt x="489" y="868"/>
                    </a:lnTo>
                    <a:lnTo>
                      <a:pt x="490" y="875"/>
                    </a:lnTo>
                    <a:lnTo>
                      <a:pt x="494" y="880"/>
                    </a:lnTo>
                    <a:lnTo>
                      <a:pt x="495" y="875"/>
                    </a:lnTo>
                    <a:lnTo>
                      <a:pt x="504" y="873"/>
                    </a:lnTo>
                    <a:lnTo>
                      <a:pt x="509" y="870"/>
                    </a:lnTo>
                    <a:lnTo>
                      <a:pt x="514" y="866"/>
                    </a:lnTo>
                    <a:lnTo>
                      <a:pt x="525" y="863"/>
                    </a:lnTo>
                    <a:lnTo>
                      <a:pt x="537" y="860"/>
                    </a:lnTo>
                    <a:lnTo>
                      <a:pt x="550" y="865"/>
                    </a:lnTo>
                    <a:lnTo>
                      <a:pt x="566" y="872"/>
                    </a:lnTo>
                    <a:lnTo>
                      <a:pt x="573" y="875"/>
                    </a:lnTo>
                    <a:lnTo>
                      <a:pt x="580" y="878"/>
                    </a:lnTo>
                    <a:lnTo>
                      <a:pt x="585" y="882"/>
                    </a:lnTo>
                    <a:lnTo>
                      <a:pt x="597" y="885"/>
                    </a:lnTo>
                    <a:lnTo>
                      <a:pt x="599" y="889"/>
                    </a:lnTo>
                    <a:lnTo>
                      <a:pt x="600" y="892"/>
                    </a:lnTo>
                    <a:lnTo>
                      <a:pt x="600" y="901"/>
                    </a:lnTo>
                    <a:lnTo>
                      <a:pt x="602" y="911"/>
                    </a:lnTo>
                    <a:lnTo>
                      <a:pt x="609" y="909"/>
                    </a:lnTo>
                    <a:lnTo>
                      <a:pt x="618" y="913"/>
                    </a:lnTo>
                    <a:lnTo>
                      <a:pt x="624" y="909"/>
                    </a:lnTo>
                    <a:lnTo>
                      <a:pt x="630" y="904"/>
                    </a:lnTo>
                    <a:lnTo>
                      <a:pt x="636" y="901"/>
                    </a:lnTo>
                    <a:lnTo>
                      <a:pt x="643" y="897"/>
                    </a:lnTo>
                    <a:lnTo>
                      <a:pt x="647" y="889"/>
                    </a:lnTo>
                    <a:lnTo>
                      <a:pt x="652" y="882"/>
                    </a:lnTo>
                    <a:lnTo>
                      <a:pt x="657" y="877"/>
                    </a:lnTo>
                    <a:lnTo>
                      <a:pt x="666" y="875"/>
                    </a:lnTo>
                    <a:lnTo>
                      <a:pt x="669" y="875"/>
                    </a:lnTo>
                    <a:lnTo>
                      <a:pt x="674" y="877"/>
                    </a:lnTo>
                    <a:lnTo>
                      <a:pt x="681" y="880"/>
                    </a:lnTo>
                    <a:lnTo>
                      <a:pt x="690" y="878"/>
                    </a:lnTo>
                    <a:lnTo>
                      <a:pt x="695" y="880"/>
                    </a:lnTo>
                    <a:lnTo>
                      <a:pt x="700" y="884"/>
                    </a:lnTo>
                    <a:lnTo>
                      <a:pt x="712" y="880"/>
                    </a:lnTo>
                    <a:lnTo>
                      <a:pt x="722" y="872"/>
                    </a:lnTo>
                    <a:lnTo>
                      <a:pt x="724" y="872"/>
                    </a:lnTo>
                    <a:lnTo>
                      <a:pt x="729" y="865"/>
                    </a:lnTo>
                    <a:lnTo>
                      <a:pt x="741" y="860"/>
                    </a:lnTo>
                    <a:lnTo>
                      <a:pt x="745" y="863"/>
                    </a:lnTo>
                    <a:lnTo>
                      <a:pt x="747" y="872"/>
                    </a:lnTo>
                    <a:lnTo>
                      <a:pt x="747" y="880"/>
                    </a:lnTo>
                    <a:lnTo>
                      <a:pt x="753" y="885"/>
                    </a:lnTo>
                    <a:lnTo>
                      <a:pt x="765" y="880"/>
                    </a:lnTo>
                    <a:lnTo>
                      <a:pt x="779" y="877"/>
                    </a:lnTo>
                    <a:lnTo>
                      <a:pt x="788" y="877"/>
                    </a:lnTo>
                    <a:lnTo>
                      <a:pt x="796" y="878"/>
                    </a:lnTo>
                    <a:lnTo>
                      <a:pt x="796" y="877"/>
                    </a:lnTo>
                    <a:lnTo>
                      <a:pt x="791" y="863"/>
                    </a:lnTo>
                    <a:lnTo>
                      <a:pt x="779" y="858"/>
                    </a:lnTo>
                    <a:lnTo>
                      <a:pt x="781" y="848"/>
                    </a:lnTo>
                    <a:lnTo>
                      <a:pt x="786" y="837"/>
                    </a:lnTo>
                    <a:lnTo>
                      <a:pt x="791" y="829"/>
                    </a:lnTo>
                    <a:lnTo>
                      <a:pt x="798" y="825"/>
                    </a:lnTo>
                    <a:lnTo>
                      <a:pt x="814" y="823"/>
                    </a:lnTo>
                    <a:lnTo>
                      <a:pt x="829" y="820"/>
                    </a:lnTo>
                    <a:lnTo>
                      <a:pt x="843" y="813"/>
                    </a:lnTo>
                    <a:lnTo>
                      <a:pt x="855" y="805"/>
                    </a:lnTo>
                    <a:lnTo>
                      <a:pt x="863" y="793"/>
                    </a:lnTo>
                    <a:lnTo>
                      <a:pt x="870" y="779"/>
                    </a:lnTo>
                    <a:lnTo>
                      <a:pt x="874" y="763"/>
                    </a:lnTo>
                    <a:lnTo>
                      <a:pt x="877" y="744"/>
                    </a:lnTo>
                    <a:lnTo>
                      <a:pt x="891" y="737"/>
                    </a:lnTo>
                    <a:lnTo>
                      <a:pt x="901" y="725"/>
                    </a:lnTo>
                    <a:lnTo>
                      <a:pt x="910" y="713"/>
                    </a:lnTo>
                    <a:lnTo>
                      <a:pt x="920" y="712"/>
                    </a:lnTo>
                    <a:lnTo>
                      <a:pt x="932" y="710"/>
                    </a:lnTo>
                    <a:lnTo>
                      <a:pt x="941" y="708"/>
                    </a:lnTo>
                    <a:lnTo>
                      <a:pt x="944" y="703"/>
                    </a:lnTo>
                    <a:lnTo>
                      <a:pt x="949" y="700"/>
                    </a:lnTo>
                    <a:lnTo>
                      <a:pt x="949" y="688"/>
                    </a:lnTo>
                    <a:lnTo>
                      <a:pt x="953" y="681"/>
                    </a:lnTo>
                    <a:lnTo>
                      <a:pt x="960" y="674"/>
                    </a:lnTo>
                    <a:lnTo>
                      <a:pt x="968" y="669"/>
                    </a:lnTo>
                    <a:lnTo>
                      <a:pt x="979" y="665"/>
                    </a:lnTo>
                    <a:lnTo>
                      <a:pt x="989" y="664"/>
                    </a:lnTo>
                    <a:lnTo>
                      <a:pt x="999" y="658"/>
                    </a:lnTo>
                    <a:lnTo>
                      <a:pt x="1010" y="655"/>
                    </a:lnTo>
                    <a:lnTo>
                      <a:pt x="1020" y="652"/>
                    </a:lnTo>
                    <a:lnTo>
                      <a:pt x="1030" y="648"/>
                    </a:lnTo>
                    <a:lnTo>
                      <a:pt x="1037" y="641"/>
                    </a:lnTo>
                    <a:lnTo>
                      <a:pt x="1049" y="636"/>
                    </a:lnTo>
                    <a:lnTo>
                      <a:pt x="1060" y="638"/>
                    </a:lnTo>
                    <a:lnTo>
                      <a:pt x="1075" y="643"/>
                    </a:lnTo>
                    <a:lnTo>
                      <a:pt x="1089" y="648"/>
                    </a:lnTo>
                    <a:lnTo>
                      <a:pt x="1106" y="652"/>
                    </a:lnTo>
                    <a:lnTo>
                      <a:pt x="1113" y="648"/>
                    </a:lnTo>
                    <a:lnTo>
                      <a:pt x="1120" y="645"/>
                    </a:lnTo>
                    <a:lnTo>
                      <a:pt x="1123" y="638"/>
                    </a:lnTo>
                    <a:lnTo>
                      <a:pt x="1128" y="631"/>
                    </a:lnTo>
                    <a:lnTo>
                      <a:pt x="1133" y="617"/>
                    </a:lnTo>
                    <a:lnTo>
                      <a:pt x="1144" y="612"/>
                    </a:lnTo>
                    <a:lnTo>
                      <a:pt x="1152" y="612"/>
                    </a:lnTo>
                    <a:lnTo>
                      <a:pt x="1168" y="615"/>
                    </a:lnTo>
                    <a:lnTo>
                      <a:pt x="1180" y="619"/>
                    </a:lnTo>
                    <a:lnTo>
                      <a:pt x="1187" y="626"/>
                    </a:lnTo>
                    <a:lnTo>
                      <a:pt x="1190" y="634"/>
                    </a:lnTo>
                    <a:lnTo>
                      <a:pt x="1195" y="639"/>
                    </a:lnTo>
                    <a:lnTo>
                      <a:pt x="1202" y="643"/>
                    </a:lnTo>
                    <a:lnTo>
                      <a:pt x="1209" y="645"/>
                    </a:lnTo>
                    <a:lnTo>
                      <a:pt x="1221" y="643"/>
                    </a:lnTo>
                    <a:lnTo>
                      <a:pt x="1233" y="641"/>
                    </a:lnTo>
                    <a:lnTo>
                      <a:pt x="1242" y="641"/>
                    </a:lnTo>
                    <a:lnTo>
                      <a:pt x="1252" y="645"/>
                    </a:lnTo>
                    <a:lnTo>
                      <a:pt x="1259" y="648"/>
                    </a:lnTo>
                    <a:lnTo>
                      <a:pt x="1268" y="653"/>
                    </a:lnTo>
                    <a:lnTo>
                      <a:pt x="1275" y="657"/>
                    </a:lnTo>
                    <a:lnTo>
                      <a:pt x="1283" y="660"/>
                    </a:lnTo>
                    <a:lnTo>
                      <a:pt x="1293" y="664"/>
                    </a:lnTo>
                    <a:lnTo>
                      <a:pt x="1305" y="665"/>
                    </a:lnTo>
                    <a:lnTo>
                      <a:pt x="1316" y="664"/>
                    </a:lnTo>
                    <a:lnTo>
                      <a:pt x="1328" y="660"/>
                    </a:lnTo>
                    <a:lnTo>
                      <a:pt x="1340" y="657"/>
                    </a:lnTo>
                    <a:lnTo>
                      <a:pt x="1354" y="653"/>
                    </a:lnTo>
                    <a:lnTo>
                      <a:pt x="1366" y="648"/>
                    </a:lnTo>
                    <a:lnTo>
                      <a:pt x="1379" y="648"/>
                    </a:lnTo>
                    <a:lnTo>
                      <a:pt x="1393" y="648"/>
                    </a:lnTo>
                    <a:lnTo>
                      <a:pt x="1409" y="653"/>
                    </a:lnTo>
                    <a:lnTo>
                      <a:pt x="1422" y="653"/>
                    </a:lnTo>
                    <a:lnTo>
                      <a:pt x="1433" y="650"/>
                    </a:lnTo>
                    <a:lnTo>
                      <a:pt x="1440" y="639"/>
                    </a:lnTo>
                    <a:lnTo>
                      <a:pt x="1447" y="627"/>
                    </a:lnTo>
                    <a:lnTo>
                      <a:pt x="1452" y="612"/>
                    </a:lnTo>
                    <a:lnTo>
                      <a:pt x="1460" y="600"/>
                    </a:lnTo>
                    <a:lnTo>
                      <a:pt x="1474" y="591"/>
                    </a:lnTo>
                    <a:lnTo>
                      <a:pt x="1496" y="588"/>
                    </a:lnTo>
                    <a:lnTo>
                      <a:pt x="1510" y="588"/>
                    </a:lnTo>
                    <a:lnTo>
                      <a:pt x="1520" y="593"/>
                    </a:lnTo>
                    <a:lnTo>
                      <a:pt x="1529" y="598"/>
                    </a:lnTo>
                    <a:lnTo>
                      <a:pt x="1536" y="609"/>
                    </a:lnTo>
                    <a:lnTo>
                      <a:pt x="1541" y="617"/>
                    </a:lnTo>
                    <a:lnTo>
                      <a:pt x="1546" y="629"/>
                    </a:lnTo>
                    <a:lnTo>
                      <a:pt x="1551" y="639"/>
                    </a:lnTo>
                    <a:lnTo>
                      <a:pt x="1558" y="652"/>
                    </a:lnTo>
                    <a:lnTo>
                      <a:pt x="1563" y="657"/>
                    </a:lnTo>
                    <a:lnTo>
                      <a:pt x="1576" y="660"/>
                    </a:lnTo>
                    <a:lnTo>
                      <a:pt x="1586" y="664"/>
                    </a:lnTo>
                    <a:lnTo>
                      <a:pt x="1596" y="670"/>
                    </a:lnTo>
                    <a:lnTo>
                      <a:pt x="1600" y="676"/>
                    </a:lnTo>
                    <a:lnTo>
                      <a:pt x="1606" y="686"/>
                    </a:lnTo>
                    <a:lnTo>
                      <a:pt x="1612" y="693"/>
                    </a:lnTo>
                    <a:lnTo>
                      <a:pt x="1624" y="696"/>
                    </a:lnTo>
                    <a:lnTo>
                      <a:pt x="1632" y="693"/>
                    </a:lnTo>
                    <a:lnTo>
                      <a:pt x="1641" y="688"/>
                    </a:lnTo>
                    <a:lnTo>
                      <a:pt x="1649" y="682"/>
                    </a:lnTo>
                    <a:lnTo>
                      <a:pt x="1665" y="681"/>
                    </a:lnTo>
                    <a:lnTo>
                      <a:pt x="1665" y="694"/>
                    </a:lnTo>
                    <a:lnTo>
                      <a:pt x="1656" y="703"/>
                    </a:lnTo>
                    <a:lnTo>
                      <a:pt x="1649" y="717"/>
                    </a:lnTo>
                    <a:lnTo>
                      <a:pt x="1643" y="731"/>
                    </a:lnTo>
                    <a:lnTo>
                      <a:pt x="1636" y="739"/>
                    </a:lnTo>
                    <a:lnTo>
                      <a:pt x="1625" y="743"/>
                    </a:lnTo>
                    <a:lnTo>
                      <a:pt x="1615" y="746"/>
                    </a:lnTo>
                    <a:lnTo>
                      <a:pt x="1608" y="748"/>
                    </a:lnTo>
                    <a:lnTo>
                      <a:pt x="1610" y="753"/>
                    </a:lnTo>
                    <a:lnTo>
                      <a:pt x="1615" y="762"/>
                    </a:lnTo>
                    <a:lnTo>
                      <a:pt x="1615" y="772"/>
                    </a:lnTo>
                    <a:lnTo>
                      <a:pt x="1610" y="780"/>
                    </a:lnTo>
                    <a:lnTo>
                      <a:pt x="1608" y="7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7" name="Freeform 258"/>
              <p:cNvSpPr>
                <a:spLocks/>
              </p:cNvSpPr>
              <p:nvPr/>
            </p:nvSpPr>
            <p:spPr bwMode="auto">
              <a:xfrm>
                <a:off x="5999957" y="2651125"/>
                <a:ext cx="1406525" cy="887412"/>
              </a:xfrm>
              <a:custGeom>
                <a:avLst/>
                <a:gdLst/>
                <a:ahLst/>
                <a:cxnLst>
                  <a:cxn ang="0">
                    <a:pos x="659" y="330"/>
                  </a:cxn>
                  <a:cxn ang="0">
                    <a:pos x="707" y="294"/>
                  </a:cxn>
                  <a:cxn ang="0">
                    <a:pos x="669" y="294"/>
                  </a:cxn>
                  <a:cxn ang="0">
                    <a:pos x="635" y="270"/>
                  </a:cxn>
                  <a:cxn ang="0">
                    <a:pos x="680" y="239"/>
                  </a:cxn>
                  <a:cxn ang="0">
                    <a:pos x="686" y="263"/>
                  </a:cxn>
                  <a:cxn ang="0">
                    <a:pos x="745" y="254"/>
                  </a:cxn>
                  <a:cxn ang="0">
                    <a:pos x="745" y="284"/>
                  </a:cxn>
                  <a:cxn ang="0">
                    <a:pos x="757" y="299"/>
                  </a:cxn>
                  <a:cxn ang="0">
                    <a:pos x="762" y="320"/>
                  </a:cxn>
                  <a:cxn ang="0">
                    <a:pos x="767" y="339"/>
                  </a:cxn>
                  <a:cxn ang="0">
                    <a:pos x="793" y="328"/>
                  </a:cxn>
                  <a:cxn ang="0">
                    <a:pos x="784" y="266"/>
                  </a:cxn>
                  <a:cxn ang="0">
                    <a:pos x="807" y="229"/>
                  </a:cxn>
                  <a:cxn ang="0">
                    <a:pos x="836" y="184"/>
                  </a:cxn>
                  <a:cxn ang="0">
                    <a:pos x="857" y="151"/>
                  </a:cxn>
                  <a:cxn ang="0">
                    <a:pos x="870" y="94"/>
                  </a:cxn>
                  <a:cxn ang="0">
                    <a:pos x="821" y="88"/>
                  </a:cxn>
                  <a:cxn ang="0">
                    <a:pos x="772" y="51"/>
                  </a:cxn>
                  <a:cxn ang="0">
                    <a:pos x="731" y="0"/>
                  </a:cxn>
                  <a:cxn ang="0">
                    <a:pos x="661" y="51"/>
                  </a:cxn>
                  <a:cxn ang="0">
                    <a:pos x="587" y="60"/>
                  </a:cxn>
                  <a:cxn ang="0">
                    <a:pos x="514" y="76"/>
                  </a:cxn>
                  <a:cxn ang="0">
                    <a:pos x="463" y="53"/>
                  </a:cxn>
                  <a:cxn ang="0">
                    <a:pos x="411" y="46"/>
                  </a:cxn>
                  <a:cxn ang="0">
                    <a:pos x="354" y="29"/>
                  </a:cxn>
                  <a:cxn ang="0">
                    <a:pos x="310" y="60"/>
                  </a:cxn>
                  <a:cxn ang="0">
                    <a:pos x="241" y="64"/>
                  </a:cxn>
                  <a:cxn ang="0">
                    <a:pos x="181" y="86"/>
                  </a:cxn>
                  <a:cxn ang="0">
                    <a:pos x="153" y="122"/>
                  </a:cxn>
                  <a:cxn ang="0">
                    <a:pos x="95" y="175"/>
                  </a:cxn>
                  <a:cxn ang="0">
                    <a:pos x="35" y="235"/>
                  </a:cxn>
                  <a:cxn ang="0">
                    <a:pos x="12" y="275"/>
                  </a:cxn>
                  <a:cxn ang="0">
                    <a:pos x="35" y="311"/>
                  </a:cxn>
                  <a:cxn ang="0">
                    <a:pos x="95" y="327"/>
                  </a:cxn>
                  <a:cxn ang="0">
                    <a:pos x="84" y="364"/>
                  </a:cxn>
                  <a:cxn ang="0">
                    <a:pos x="78" y="392"/>
                  </a:cxn>
                  <a:cxn ang="0">
                    <a:pos x="134" y="414"/>
                  </a:cxn>
                  <a:cxn ang="0">
                    <a:pos x="169" y="437"/>
                  </a:cxn>
                  <a:cxn ang="0">
                    <a:pos x="217" y="442"/>
                  </a:cxn>
                  <a:cxn ang="0">
                    <a:pos x="272" y="440"/>
                  </a:cxn>
                  <a:cxn ang="0">
                    <a:pos x="306" y="419"/>
                  </a:cxn>
                  <a:cxn ang="0">
                    <a:pos x="341" y="431"/>
                  </a:cxn>
                  <a:cxn ang="0">
                    <a:pos x="351" y="485"/>
                  </a:cxn>
                  <a:cxn ang="0">
                    <a:pos x="365" y="504"/>
                  </a:cxn>
                  <a:cxn ang="0">
                    <a:pos x="392" y="536"/>
                  </a:cxn>
                  <a:cxn ang="0">
                    <a:pos x="406" y="538"/>
                  </a:cxn>
                  <a:cxn ang="0">
                    <a:pos x="446" y="517"/>
                  </a:cxn>
                  <a:cxn ang="0">
                    <a:pos x="508" y="542"/>
                  </a:cxn>
                  <a:cxn ang="0">
                    <a:pos x="539" y="542"/>
                  </a:cxn>
                  <a:cxn ang="0">
                    <a:pos x="585" y="524"/>
                  </a:cxn>
                  <a:cxn ang="0">
                    <a:pos x="638" y="500"/>
                  </a:cxn>
                  <a:cxn ang="0">
                    <a:pos x="666" y="457"/>
                  </a:cxn>
                  <a:cxn ang="0">
                    <a:pos x="692" y="416"/>
                  </a:cxn>
                  <a:cxn ang="0">
                    <a:pos x="676" y="358"/>
                  </a:cxn>
                </a:cxnLst>
                <a:rect l="0" t="0" r="r" b="b"/>
                <a:pathLst>
                  <a:path w="886" h="559">
                    <a:moveTo>
                      <a:pt x="674" y="352"/>
                    </a:moveTo>
                    <a:lnTo>
                      <a:pt x="673" y="352"/>
                    </a:lnTo>
                    <a:lnTo>
                      <a:pt x="673" y="347"/>
                    </a:lnTo>
                    <a:lnTo>
                      <a:pt x="673" y="342"/>
                    </a:lnTo>
                    <a:lnTo>
                      <a:pt x="664" y="339"/>
                    </a:lnTo>
                    <a:lnTo>
                      <a:pt x="659" y="330"/>
                    </a:lnTo>
                    <a:lnTo>
                      <a:pt x="662" y="323"/>
                    </a:lnTo>
                    <a:lnTo>
                      <a:pt x="669" y="318"/>
                    </a:lnTo>
                    <a:lnTo>
                      <a:pt x="674" y="309"/>
                    </a:lnTo>
                    <a:lnTo>
                      <a:pt x="685" y="304"/>
                    </a:lnTo>
                    <a:lnTo>
                      <a:pt x="697" y="299"/>
                    </a:lnTo>
                    <a:lnTo>
                      <a:pt x="707" y="294"/>
                    </a:lnTo>
                    <a:lnTo>
                      <a:pt x="697" y="290"/>
                    </a:lnTo>
                    <a:lnTo>
                      <a:pt x="688" y="289"/>
                    </a:lnTo>
                    <a:lnTo>
                      <a:pt x="681" y="285"/>
                    </a:lnTo>
                    <a:lnTo>
                      <a:pt x="676" y="284"/>
                    </a:lnTo>
                    <a:lnTo>
                      <a:pt x="673" y="289"/>
                    </a:lnTo>
                    <a:lnTo>
                      <a:pt x="669" y="294"/>
                    </a:lnTo>
                    <a:lnTo>
                      <a:pt x="662" y="294"/>
                    </a:lnTo>
                    <a:lnTo>
                      <a:pt x="655" y="292"/>
                    </a:lnTo>
                    <a:lnTo>
                      <a:pt x="650" y="285"/>
                    </a:lnTo>
                    <a:lnTo>
                      <a:pt x="647" y="278"/>
                    </a:lnTo>
                    <a:lnTo>
                      <a:pt x="638" y="275"/>
                    </a:lnTo>
                    <a:lnTo>
                      <a:pt x="635" y="270"/>
                    </a:lnTo>
                    <a:lnTo>
                      <a:pt x="637" y="263"/>
                    </a:lnTo>
                    <a:lnTo>
                      <a:pt x="643" y="261"/>
                    </a:lnTo>
                    <a:lnTo>
                      <a:pt x="650" y="260"/>
                    </a:lnTo>
                    <a:lnTo>
                      <a:pt x="657" y="258"/>
                    </a:lnTo>
                    <a:lnTo>
                      <a:pt x="668" y="249"/>
                    </a:lnTo>
                    <a:lnTo>
                      <a:pt x="680" y="239"/>
                    </a:lnTo>
                    <a:lnTo>
                      <a:pt x="680" y="235"/>
                    </a:lnTo>
                    <a:lnTo>
                      <a:pt x="686" y="234"/>
                    </a:lnTo>
                    <a:lnTo>
                      <a:pt x="693" y="235"/>
                    </a:lnTo>
                    <a:lnTo>
                      <a:pt x="697" y="242"/>
                    </a:lnTo>
                    <a:lnTo>
                      <a:pt x="692" y="253"/>
                    </a:lnTo>
                    <a:lnTo>
                      <a:pt x="686" y="263"/>
                    </a:lnTo>
                    <a:lnTo>
                      <a:pt x="697" y="260"/>
                    </a:lnTo>
                    <a:lnTo>
                      <a:pt x="707" y="254"/>
                    </a:lnTo>
                    <a:lnTo>
                      <a:pt x="717" y="249"/>
                    </a:lnTo>
                    <a:lnTo>
                      <a:pt x="729" y="247"/>
                    </a:lnTo>
                    <a:lnTo>
                      <a:pt x="736" y="251"/>
                    </a:lnTo>
                    <a:lnTo>
                      <a:pt x="745" y="254"/>
                    </a:lnTo>
                    <a:lnTo>
                      <a:pt x="743" y="260"/>
                    </a:lnTo>
                    <a:lnTo>
                      <a:pt x="745" y="265"/>
                    </a:lnTo>
                    <a:lnTo>
                      <a:pt x="741" y="270"/>
                    </a:lnTo>
                    <a:lnTo>
                      <a:pt x="740" y="275"/>
                    </a:lnTo>
                    <a:lnTo>
                      <a:pt x="740" y="280"/>
                    </a:lnTo>
                    <a:lnTo>
                      <a:pt x="745" y="284"/>
                    </a:lnTo>
                    <a:lnTo>
                      <a:pt x="747" y="282"/>
                    </a:lnTo>
                    <a:lnTo>
                      <a:pt x="752" y="282"/>
                    </a:lnTo>
                    <a:lnTo>
                      <a:pt x="760" y="284"/>
                    </a:lnTo>
                    <a:lnTo>
                      <a:pt x="766" y="292"/>
                    </a:lnTo>
                    <a:lnTo>
                      <a:pt x="762" y="296"/>
                    </a:lnTo>
                    <a:lnTo>
                      <a:pt x="757" y="299"/>
                    </a:lnTo>
                    <a:lnTo>
                      <a:pt x="757" y="304"/>
                    </a:lnTo>
                    <a:lnTo>
                      <a:pt x="759" y="304"/>
                    </a:lnTo>
                    <a:lnTo>
                      <a:pt x="762" y="308"/>
                    </a:lnTo>
                    <a:lnTo>
                      <a:pt x="764" y="311"/>
                    </a:lnTo>
                    <a:lnTo>
                      <a:pt x="766" y="316"/>
                    </a:lnTo>
                    <a:lnTo>
                      <a:pt x="762" y="320"/>
                    </a:lnTo>
                    <a:lnTo>
                      <a:pt x="760" y="327"/>
                    </a:lnTo>
                    <a:lnTo>
                      <a:pt x="760" y="330"/>
                    </a:lnTo>
                    <a:lnTo>
                      <a:pt x="764" y="332"/>
                    </a:lnTo>
                    <a:lnTo>
                      <a:pt x="760" y="335"/>
                    </a:lnTo>
                    <a:lnTo>
                      <a:pt x="760" y="339"/>
                    </a:lnTo>
                    <a:lnTo>
                      <a:pt x="767" y="339"/>
                    </a:lnTo>
                    <a:lnTo>
                      <a:pt x="771" y="335"/>
                    </a:lnTo>
                    <a:lnTo>
                      <a:pt x="778" y="335"/>
                    </a:lnTo>
                    <a:lnTo>
                      <a:pt x="779" y="330"/>
                    </a:lnTo>
                    <a:lnTo>
                      <a:pt x="784" y="330"/>
                    </a:lnTo>
                    <a:lnTo>
                      <a:pt x="788" y="328"/>
                    </a:lnTo>
                    <a:lnTo>
                      <a:pt x="793" y="328"/>
                    </a:lnTo>
                    <a:lnTo>
                      <a:pt x="800" y="321"/>
                    </a:lnTo>
                    <a:lnTo>
                      <a:pt x="803" y="309"/>
                    </a:lnTo>
                    <a:lnTo>
                      <a:pt x="802" y="294"/>
                    </a:lnTo>
                    <a:lnTo>
                      <a:pt x="798" y="284"/>
                    </a:lnTo>
                    <a:lnTo>
                      <a:pt x="791" y="273"/>
                    </a:lnTo>
                    <a:lnTo>
                      <a:pt x="784" y="266"/>
                    </a:lnTo>
                    <a:lnTo>
                      <a:pt x="778" y="258"/>
                    </a:lnTo>
                    <a:lnTo>
                      <a:pt x="776" y="249"/>
                    </a:lnTo>
                    <a:lnTo>
                      <a:pt x="784" y="246"/>
                    </a:lnTo>
                    <a:lnTo>
                      <a:pt x="791" y="241"/>
                    </a:lnTo>
                    <a:lnTo>
                      <a:pt x="798" y="234"/>
                    </a:lnTo>
                    <a:lnTo>
                      <a:pt x="807" y="229"/>
                    </a:lnTo>
                    <a:lnTo>
                      <a:pt x="810" y="218"/>
                    </a:lnTo>
                    <a:lnTo>
                      <a:pt x="815" y="210"/>
                    </a:lnTo>
                    <a:lnTo>
                      <a:pt x="821" y="203"/>
                    </a:lnTo>
                    <a:lnTo>
                      <a:pt x="829" y="198"/>
                    </a:lnTo>
                    <a:lnTo>
                      <a:pt x="831" y="192"/>
                    </a:lnTo>
                    <a:lnTo>
                      <a:pt x="836" y="184"/>
                    </a:lnTo>
                    <a:lnTo>
                      <a:pt x="836" y="174"/>
                    </a:lnTo>
                    <a:lnTo>
                      <a:pt x="831" y="165"/>
                    </a:lnTo>
                    <a:lnTo>
                      <a:pt x="829" y="160"/>
                    </a:lnTo>
                    <a:lnTo>
                      <a:pt x="836" y="158"/>
                    </a:lnTo>
                    <a:lnTo>
                      <a:pt x="846" y="155"/>
                    </a:lnTo>
                    <a:lnTo>
                      <a:pt x="857" y="151"/>
                    </a:lnTo>
                    <a:lnTo>
                      <a:pt x="864" y="143"/>
                    </a:lnTo>
                    <a:lnTo>
                      <a:pt x="870" y="129"/>
                    </a:lnTo>
                    <a:lnTo>
                      <a:pt x="877" y="115"/>
                    </a:lnTo>
                    <a:lnTo>
                      <a:pt x="886" y="106"/>
                    </a:lnTo>
                    <a:lnTo>
                      <a:pt x="886" y="93"/>
                    </a:lnTo>
                    <a:lnTo>
                      <a:pt x="870" y="94"/>
                    </a:lnTo>
                    <a:lnTo>
                      <a:pt x="862" y="100"/>
                    </a:lnTo>
                    <a:lnTo>
                      <a:pt x="853" y="105"/>
                    </a:lnTo>
                    <a:lnTo>
                      <a:pt x="845" y="108"/>
                    </a:lnTo>
                    <a:lnTo>
                      <a:pt x="833" y="105"/>
                    </a:lnTo>
                    <a:lnTo>
                      <a:pt x="827" y="98"/>
                    </a:lnTo>
                    <a:lnTo>
                      <a:pt x="821" y="88"/>
                    </a:lnTo>
                    <a:lnTo>
                      <a:pt x="817" y="82"/>
                    </a:lnTo>
                    <a:lnTo>
                      <a:pt x="807" y="76"/>
                    </a:lnTo>
                    <a:lnTo>
                      <a:pt x="797" y="72"/>
                    </a:lnTo>
                    <a:lnTo>
                      <a:pt x="784" y="69"/>
                    </a:lnTo>
                    <a:lnTo>
                      <a:pt x="779" y="64"/>
                    </a:lnTo>
                    <a:lnTo>
                      <a:pt x="772" y="51"/>
                    </a:lnTo>
                    <a:lnTo>
                      <a:pt x="767" y="41"/>
                    </a:lnTo>
                    <a:lnTo>
                      <a:pt x="762" y="29"/>
                    </a:lnTo>
                    <a:lnTo>
                      <a:pt x="757" y="21"/>
                    </a:lnTo>
                    <a:lnTo>
                      <a:pt x="750" y="10"/>
                    </a:lnTo>
                    <a:lnTo>
                      <a:pt x="741" y="5"/>
                    </a:lnTo>
                    <a:lnTo>
                      <a:pt x="731" y="0"/>
                    </a:lnTo>
                    <a:lnTo>
                      <a:pt x="717" y="0"/>
                    </a:lnTo>
                    <a:lnTo>
                      <a:pt x="695" y="3"/>
                    </a:lnTo>
                    <a:lnTo>
                      <a:pt x="681" y="12"/>
                    </a:lnTo>
                    <a:lnTo>
                      <a:pt x="673" y="24"/>
                    </a:lnTo>
                    <a:lnTo>
                      <a:pt x="668" y="39"/>
                    </a:lnTo>
                    <a:lnTo>
                      <a:pt x="661" y="51"/>
                    </a:lnTo>
                    <a:lnTo>
                      <a:pt x="654" y="62"/>
                    </a:lnTo>
                    <a:lnTo>
                      <a:pt x="643" y="65"/>
                    </a:lnTo>
                    <a:lnTo>
                      <a:pt x="630" y="65"/>
                    </a:lnTo>
                    <a:lnTo>
                      <a:pt x="614" y="60"/>
                    </a:lnTo>
                    <a:lnTo>
                      <a:pt x="600" y="60"/>
                    </a:lnTo>
                    <a:lnTo>
                      <a:pt x="587" y="60"/>
                    </a:lnTo>
                    <a:lnTo>
                      <a:pt x="575" y="65"/>
                    </a:lnTo>
                    <a:lnTo>
                      <a:pt x="561" y="69"/>
                    </a:lnTo>
                    <a:lnTo>
                      <a:pt x="549" y="72"/>
                    </a:lnTo>
                    <a:lnTo>
                      <a:pt x="537" y="76"/>
                    </a:lnTo>
                    <a:lnTo>
                      <a:pt x="526" y="77"/>
                    </a:lnTo>
                    <a:lnTo>
                      <a:pt x="514" y="76"/>
                    </a:lnTo>
                    <a:lnTo>
                      <a:pt x="504" y="72"/>
                    </a:lnTo>
                    <a:lnTo>
                      <a:pt x="496" y="69"/>
                    </a:lnTo>
                    <a:lnTo>
                      <a:pt x="489" y="65"/>
                    </a:lnTo>
                    <a:lnTo>
                      <a:pt x="480" y="60"/>
                    </a:lnTo>
                    <a:lnTo>
                      <a:pt x="473" y="57"/>
                    </a:lnTo>
                    <a:lnTo>
                      <a:pt x="463" y="53"/>
                    </a:lnTo>
                    <a:lnTo>
                      <a:pt x="454" y="53"/>
                    </a:lnTo>
                    <a:lnTo>
                      <a:pt x="442" y="55"/>
                    </a:lnTo>
                    <a:lnTo>
                      <a:pt x="430" y="57"/>
                    </a:lnTo>
                    <a:lnTo>
                      <a:pt x="423" y="55"/>
                    </a:lnTo>
                    <a:lnTo>
                      <a:pt x="416" y="51"/>
                    </a:lnTo>
                    <a:lnTo>
                      <a:pt x="411" y="46"/>
                    </a:lnTo>
                    <a:lnTo>
                      <a:pt x="408" y="38"/>
                    </a:lnTo>
                    <a:lnTo>
                      <a:pt x="401" y="31"/>
                    </a:lnTo>
                    <a:lnTo>
                      <a:pt x="389" y="27"/>
                    </a:lnTo>
                    <a:lnTo>
                      <a:pt x="373" y="24"/>
                    </a:lnTo>
                    <a:lnTo>
                      <a:pt x="365" y="24"/>
                    </a:lnTo>
                    <a:lnTo>
                      <a:pt x="354" y="29"/>
                    </a:lnTo>
                    <a:lnTo>
                      <a:pt x="349" y="43"/>
                    </a:lnTo>
                    <a:lnTo>
                      <a:pt x="344" y="50"/>
                    </a:lnTo>
                    <a:lnTo>
                      <a:pt x="341" y="57"/>
                    </a:lnTo>
                    <a:lnTo>
                      <a:pt x="334" y="60"/>
                    </a:lnTo>
                    <a:lnTo>
                      <a:pt x="327" y="64"/>
                    </a:lnTo>
                    <a:lnTo>
                      <a:pt x="310" y="60"/>
                    </a:lnTo>
                    <a:lnTo>
                      <a:pt x="296" y="55"/>
                    </a:lnTo>
                    <a:lnTo>
                      <a:pt x="281" y="50"/>
                    </a:lnTo>
                    <a:lnTo>
                      <a:pt x="270" y="48"/>
                    </a:lnTo>
                    <a:lnTo>
                      <a:pt x="258" y="53"/>
                    </a:lnTo>
                    <a:lnTo>
                      <a:pt x="251" y="60"/>
                    </a:lnTo>
                    <a:lnTo>
                      <a:pt x="241" y="64"/>
                    </a:lnTo>
                    <a:lnTo>
                      <a:pt x="231" y="67"/>
                    </a:lnTo>
                    <a:lnTo>
                      <a:pt x="220" y="70"/>
                    </a:lnTo>
                    <a:lnTo>
                      <a:pt x="210" y="76"/>
                    </a:lnTo>
                    <a:lnTo>
                      <a:pt x="200" y="77"/>
                    </a:lnTo>
                    <a:lnTo>
                      <a:pt x="189" y="81"/>
                    </a:lnTo>
                    <a:lnTo>
                      <a:pt x="181" y="86"/>
                    </a:lnTo>
                    <a:lnTo>
                      <a:pt x="174" y="93"/>
                    </a:lnTo>
                    <a:lnTo>
                      <a:pt x="170" y="100"/>
                    </a:lnTo>
                    <a:lnTo>
                      <a:pt x="170" y="112"/>
                    </a:lnTo>
                    <a:lnTo>
                      <a:pt x="165" y="115"/>
                    </a:lnTo>
                    <a:lnTo>
                      <a:pt x="162" y="120"/>
                    </a:lnTo>
                    <a:lnTo>
                      <a:pt x="153" y="122"/>
                    </a:lnTo>
                    <a:lnTo>
                      <a:pt x="141" y="124"/>
                    </a:lnTo>
                    <a:lnTo>
                      <a:pt x="131" y="125"/>
                    </a:lnTo>
                    <a:lnTo>
                      <a:pt x="122" y="137"/>
                    </a:lnTo>
                    <a:lnTo>
                      <a:pt x="112" y="149"/>
                    </a:lnTo>
                    <a:lnTo>
                      <a:pt x="98" y="156"/>
                    </a:lnTo>
                    <a:lnTo>
                      <a:pt x="95" y="175"/>
                    </a:lnTo>
                    <a:lnTo>
                      <a:pt x="91" y="191"/>
                    </a:lnTo>
                    <a:lnTo>
                      <a:pt x="84" y="205"/>
                    </a:lnTo>
                    <a:lnTo>
                      <a:pt x="76" y="217"/>
                    </a:lnTo>
                    <a:lnTo>
                      <a:pt x="64" y="225"/>
                    </a:lnTo>
                    <a:lnTo>
                      <a:pt x="50" y="232"/>
                    </a:lnTo>
                    <a:lnTo>
                      <a:pt x="35" y="235"/>
                    </a:lnTo>
                    <a:lnTo>
                      <a:pt x="19" y="237"/>
                    </a:lnTo>
                    <a:lnTo>
                      <a:pt x="12" y="241"/>
                    </a:lnTo>
                    <a:lnTo>
                      <a:pt x="7" y="249"/>
                    </a:lnTo>
                    <a:lnTo>
                      <a:pt x="2" y="260"/>
                    </a:lnTo>
                    <a:lnTo>
                      <a:pt x="0" y="270"/>
                    </a:lnTo>
                    <a:lnTo>
                      <a:pt x="12" y="275"/>
                    </a:lnTo>
                    <a:lnTo>
                      <a:pt x="17" y="289"/>
                    </a:lnTo>
                    <a:lnTo>
                      <a:pt x="17" y="290"/>
                    </a:lnTo>
                    <a:lnTo>
                      <a:pt x="19" y="297"/>
                    </a:lnTo>
                    <a:lnTo>
                      <a:pt x="29" y="299"/>
                    </a:lnTo>
                    <a:lnTo>
                      <a:pt x="33" y="304"/>
                    </a:lnTo>
                    <a:lnTo>
                      <a:pt x="35" y="311"/>
                    </a:lnTo>
                    <a:lnTo>
                      <a:pt x="45" y="316"/>
                    </a:lnTo>
                    <a:lnTo>
                      <a:pt x="59" y="321"/>
                    </a:lnTo>
                    <a:lnTo>
                      <a:pt x="69" y="316"/>
                    </a:lnTo>
                    <a:lnTo>
                      <a:pt x="79" y="313"/>
                    </a:lnTo>
                    <a:lnTo>
                      <a:pt x="88" y="316"/>
                    </a:lnTo>
                    <a:lnTo>
                      <a:pt x="95" y="327"/>
                    </a:lnTo>
                    <a:lnTo>
                      <a:pt x="91" y="333"/>
                    </a:lnTo>
                    <a:lnTo>
                      <a:pt x="84" y="339"/>
                    </a:lnTo>
                    <a:lnTo>
                      <a:pt x="78" y="342"/>
                    </a:lnTo>
                    <a:lnTo>
                      <a:pt x="76" y="351"/>
                    </a:lnTo>
                    <a:lnTo>
                      <a:pt x="79" y="358"/>
                    </a:lnTo>
                    <a:lnTo>
                      <a:pt x="84" y="364"/>
                    </a:lnTo>
                    <a:lnTo>
                      <a:pt x="79" y="368"/>
                    </a:lnTo>
                    <a:lnTo>
                      <a:pt x="72" y="370"/>
                    </a:lnTo>
                    <a:lnTo>
                      <a:pt x="72" y="375"/>
                    </a:lnTo>
                    <a:lnTo>
                      <a:pt x="74" y="382"/>
                    </a:lnTo>
                    <a:lnTo>
                      <a:pt x="76" y="390"/>
                    </a:lnTo>
                    <a:lnTo>
                      <a:pt x="78" y="392"/>
                    </a:lnTo>
                    <a:lnTo>
                      <a:pt x="83" y="394"/>
                    </a:lnTo>
                    <a:lnTo>
                      <a:pt x="93" y="399"/>
                    </a:lnTo>
                    <a:lnTo>
                      <a:pt x="105" y="406"/>
                    </a:lnTo>
                    <a:lnTo>
                      <a:pt x="117" y="406"/>
                    </a:lnTo>
                    <a:lnTo>
                      <a:pt x="127" y="411"/>
                    </a:lnTo>
                    <a:lnTo>
                      <a:pt x="134" y="414"/>
                    </a:lnTo>
                    <a:lnTo>
                      <a:pt x="146" y="418"/>
                    </a:lnTo>
                    <a:lnTo>
                      <a:pt x="148" y="421"/>
                    </a:lnTo>
                    <a:lnTo>
                      <a:pt x="152" y="428"/>
                    </a:lnTo>
                    <a:lnTo>
                      <a:pt x="155" y="428"/>
                    </a:lnTo>
                    <a:lnTo>
                      <a:pt x="160" y="428"/>
                    </a:lnTo>
                    <a:lnTo>
                      <a:pt x="169" y="437"/>
                    </a:lnTo>
                    <a:lnTo>
                      <a:pt x="184" y="442"/>
                    </a:lnTo>
                    <a:lnTo>
                      <a:pt x="195" y="442"/>
                    </a:lnTo>
                    <a:lnTo>
                      <a:pt x="205" y="442"/>
                    </a:lnTo>
                    <a:lnTo>
                      <a:pt x="210" y="440"/>
                    </a:lnTo>
                    <a:lnTo>
                      <a:pt x="215" y="438"/>
                    </a:lnTo>
                    <a:lnTo>
                      <a:pt x="217" y="442"/>
                    </a:lnTo>
                    <a:lnTo>
                      <a:pt x="219" y="450"/>
                    </a:lnTo>
                    <a:lnTo>
                      <a:pt x="227" y="442"/>
                    </a:lnTo>
                    <a:lnTo>
                      <a:pt x="241" y="437"/>
                    </a:lnTo>
                    <a:lnTo>
                      <a:pt x="255" y="440"/>
                    </a:lnTo>
                    <a:lnTo>
                      <a:pt x="267" y="444"/>
                    </a:lnTo>
                    <a:lnTo>
                      <a:pt x="272" y="440"/>
                    </a:lnTo>
                    <a:lnTo>
                      <a:pt x="281" y="435"/>
                    </a:lnTo>
                    <a:lnTo>
                      <a:pt x="287" y="430"/>
                    </a:lnTo>
                    <a:lnTo>
                      <a:pt x="294" y="428"/>
                    </a:lnTo>
                    <a:lnTo>
                      <a:pt x="296" y="423"/>
                    </a:lnTo>
                    <a:lnTo>
                      <a:pt x="299" y="421"/>
                    </a:lnTo>
                    <a:lnTo>
                      <a:pt x="306" y="419"/>
                    </a:lnTo>
                    <a:lnTo>
                      <a:pt x="317" y="421"/>
                    </a:lnTo>
                    <a:lnTo>
                      <a:pt x="320" y="416"/>
                    </a:lnTo>
                    <a:lnTo>
                      <a:pt x="324" y="416"/>
                    </a:lnTo>
                    <a:lnTo>
                      <a:pt x="327" y="423"/>
                    </a:lnTo>
                    <a:lnTo>
                      <a:pt x="334" y="430"/>
                    </a:lnTo>
                    <a:lnTo>
                      <a:pt x="341" y="431"/>
                    </a:lnTo>
                    <a:lnTo>
                      <a:pt x="351" y="437"/>
                    </a:lnTo>
                    <a:lnTo>
                      <a:pt x="358" y="447"/>
                    </a:lnTo>
                    <a:lnTo>
                      <a:pt x="363" y="459"/>
                    </a:lnTo>
                    <a:lnTo>
                      <a:pt x="360" y="471"/>
                    </a:lnTo>
                    <a:lnTo>
                      <a:pt x="356" y="478"/>
                    </a:lnTo>
                    <a:lnTo>
                      <a:pt x="351" y="485"/>
                    </a:lnTo>
                    <a:lnTo>
                      <a:pt x="349" y="499"/>
                    </a:lnTo>
                    <a:lnTo>
                      <a:pt x="349" y="500"/>
                    </a:lnTo>
                    <a:lnTo>
                      <a:pt x="351" y="504"/>
                    </a:lnTo>
                    <a:lnTo>
                      <a:pt x="356" y="502"/>
                    </a:lnTo>
                    <a:lnTo>
                      <a:pt x="363" y="502"/>
                    </a:lnTo>
                    <a:lnTo>
                      <a:pt x="365" y="504"/>
                    </a:lnTo>
                    <a:lnTo>
                      <a:pt x="367" y="509"/>
                    </a:lnTo>
                    <a:lnTo>
                      <a:pt x="368" y="512"/>
                    </a:lnTo>
                    <a:lnTo>
                      <a:pt x="373" y="516"/>
                    </a:lnTo>
                    <a:lnTo>
                      <a:pt x="377" y="529"/>
                    </a:lnTo>
                    <a:lnTo>
                      <a:pt x="389" y="538"/>
                    </a:lnTo>
                    <a:lnTo>
                      <a:pt x="392" y="536"/>
                    </a:lnTo>
                    <a:lnTo>
                      <a:pt x="397" y="536"/>
                    </a:lnTo>
                    <a:lnTo>
                      <a:pt x="401" y="536"/>
                    </a:lnTo>
                    <a:lnTo>
                      <a:pt x="401" y="540"/>
                    </a:lnTo>
                    <a:lnTo>
                      <a:pt x="404" y="542"/>
                    </a:lnTo>
                    <a:lnTo>
                      <a:pt x="404" y="540"/>
                    </a:lnTo>
                    <a:lnTo>
                      <a:pt x="406" y="538"/>
                    </a:lnTo>
                    <a:lnTo>
                      <a:pt x="406" y="531"/>
                    </a:lnTo>
                    <a:lnTo>
                      <a:pt x="406" y="524"/>
                    </a:lnTo>
                    <a:lnTo>
                      <a:pt x="411" y="523"/>
                    </a:lnTo>
                    <a:lnTo>
                      <a:pt x="420" y="521"/>
                    </a:lnTo>
                    <a:lnTo>
                      <a:pt x="435" y="521"/>
                    </a:lnTo>
                    <a:lnTo>
                      <a:pt x="446" y="517"/>
                    </a:lnTo>
                    <a:lnTo>
                      <a:pt x="456" y="514"/>
                    </a:lnTo>
                    <a:lnTo>
                      <a:pt x="466" y="517"/>
                    </a:lnTo>
                    <a:lnTo>
                      <a:pt x="478" y="521"/>
                    </a:lnTo>
                    <a:lnTo>
                      <a:pt x="483" y="533"/>
                    </a:lnTo>
                    <a:lnTo>
                      <a:pt x="496" y="540"/>
                    </a:lnTo>
                    <a:lnTo>
                      <a:pt x="508" y="542"/>
                    </a:lnTo>
                    <a:lnTo>
                      <a:pt x="520" y="545"/>
                    </a:lnTo>
                    <a:lnTo>
                      <a:pt x="518" y="552"/>
                    </a:lnTo>
                    <a:lnTo>
                      <a:pt x="523" y="559"/>
                    </a:lnTo>
                    <a:lnTo>
                      <a:pt x="526" y="554"/>
                    </a:lnTo>
                    <a:lnTo>
                      <a:pt x="530" y="547"/>
                    </a:lnTo>
                    <a:lnTo>
                      <a:pt x="539" y="542"/>
                    </a:lnTo>
                    <a:lnTo>
                      <a:pt x="547" y="540"/>
                    </a:lnTo>
                    <a:lnTo>
                      <a:pt x="561" y="536"/>
                    </a:lnTo>
                    <a:lnTo>
                      <a:pt x="573" y="531"/>
                    </a:lnTo>
                    <a:lnTo>
                      <a:pt x="575" y="526"/>
                    </a:lnTo>
                    <a:lnTo>
                      <a:pt x="578" y="523"/>
                    </a:lnTo>
                    <a:lnTo>
                      <a:pt x="585" y="524"/>
                    </a:lnTo>
                    <a:lnTo>
                      <a:pt x="592" y="526"/>
                    </a:lnTo>
                    <a:lnTo>
                      <a:pt x="604" y="523"/>
                    </a:lnTo>
                    <a:lnTo>
                      <a:pt x="616" y="517"/>
                    </a:lnTo>
                    <a:lnTo>
                      <a:pt x="623" y="509"/>
                    </a:lnTo>
                    <a:lnTo>
                      <a:pt x="635" y="504"/>
                    </a:lnTo>
                    <a:lnTo>
                      <a:pt x="638" y="500"/>
                    </a:lnTo>
                    <a:lnTo>
                      <a:pt x="642" y="495"/>
                    </a:lnTo>
                    <a:lnTo>
                      <a:pt x="647" y="492"/>
                    </a:lnTo>
                    <a:lnTo>
                      <a:pt x="654" y="483"/>
                    </a:lnTo>
                    <a:lnTo>
                      <a:pt x="657" y="474"/>
                    </a:lnTo>
                    <a:lnTo>
                      <a:pt x="662" y="466"/>
                    </a:lnTo>
                    <a:lnTo>
                      <a:pt x="666" y="457"/>
                    </a:lnTo>
                    <a:lnTo>
                      <a:pt x="673" y="450"/>
                    </a:lnTo>
                    <a:lnTo>
                      <a:pt x="680" y="442"/>
                    </a:lnTo>
                    <a:lnTo>
                      <a:pt x="686" y="438"/>
                    </a:lnTo>
                    <a:lnTo>
                      <a:pt x="686" y="430"/>
                    </a:lnTo>
                    <a:lnTo>
                      <a:pt x="690" y="425"/>
                    </a:lnTo>
                    <a:lnTo>
                      <a:pt x="692" y="416"/>
                    </a:lnTo>
                    <a:lnTo>
                      <a:pt x="695" y="407"/>
                    </a:lnTo>
                    <a:lnTo>
                      <a:pt x="693" y="392"/>
                    </a:lnTo>
                    <a:lnTo>
                      <a:pt x="690" y="382"/>
                    </a:lnTo>
                    <a:lnTo>
                      <a:pt x="685" y="373"/>
                    </a:lnTo>
                    <a:lnTo>
                      <a:pt x="680" y="364"/>
                    </a:lnTo>
                    <a:lnTo>
                      <a:pt x="676" y="358"/>
                    </a:lnTo>
                    <a:lnTo>
                      <a:pt x="674" y="352"/>
                    </a:lnTo>
                    <a:lnTo>
                      <a:pt x="674" y="3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8" name="Freeform 259"/>
              <p:cNvSpPr>
                <a:spLocks/>
              </p:cNvSpPr>
              <p:nvPr/>
            </p:nvSpPr>
            <p:spPr bwMode="auto">
              <a:xfrm>
                <a:off x="8405019" y="1987550"/>
                <a:ext cx="82550" cy="34925"/>
              </a:xfrm>
              <a:custGeom>
                <a:avLst/>
                <a:gdLst/>
                <a:ahLst/>
                <a:cxnLst>
                  <a:cxn ang="0">
                    <a:pos x="6" y="22"/>
                  </a:cxn>
                  <a:cxn ang="0">
                    <a:pos x="0" y="19"/>
                  </a:cxn>
                  <a:cxn ang="0">
                    <a:pos x="0" y="17"/>
                  </a:cxn>
                  <a:cxn ang="0">
                    <a:pos x="2" y="10"/>
                  </a:cxn>
                  <a:cxn ang="0">
                    <a:pos x="9" y="5"/>
                  </a:cxn>
                  <a:cxn ang="0">
                    <a:pos x="16" y="0"/>
                  </a:cxn>
                  <a:cxn ang="0">
                    <a:pos x="25" y="0"/>
                  </a:cxn>
                  <a:cxn ang="0">
                    <a:pos x="31" y="0"/>
                  </a:cxn>
                  <a:cxn ang="0">
                    <a:pos x="40" y="3"/>
                  </a:cxn>
                  <a:cxn ang="0">
                    <a:pos x="49" y="7"/>
                  </a:cxn>
                  <a:cxn ang="0">
                    <a:pos x="52" y="12"/>
                  </a:cxn>
                  <a:cxn ang="0">
                    <a:pos x="45" y="16"/>
                  </a:cxn>
                  <a:cxn ang="0">
                    <a:pos x="30" y="19"/>
                  </a:cxn>
                  <a:cxn ang="0">
                    <a:pos x="14" y="21"/>
                  </a:cxn>
                  <a:cxn ang="0">
                    <a:pos x="6" y="22"/>
                  </a:cxn>
                </a:cxnLst>
                <a:rect l="0" t="0" r="r" b="b"/>
                <a:pathLst>
                  <a:path w="52" h="22">
                    <a:moveTo>
                      <a:pt x="6" y="22"/>
                    </a:moveTo>
                    <a:lnTo>
                      <a:pt x="0" y="19"/>
                    </a:lnTo>
                    <a:lnTo>
                      <a:pt x="0" y="17"/>
                    </a:lnTo>
                    <a:lnTo>
                      <a:pt x="2" y="10"/>
                    </a:lnTo>
                    <a:lnTo>
                      <a:pt x="9" y="5"/>
                    </a:lnTo>
                    <a:lnTo>
                      <a:pt x="16" y="0"/>
                    </a:lnTo>
                    <a:lnTo>
                      <a:pt x="25" y="0"/>
                    </a:lnTo>
                    <a:lnTo>
                      <a:pt x="31" y="0"/>
                    </a:lnTo>
                    <a:lnTo>
                      <a:pt x="40" y="3"/>
                    </a:lnTo>
                    <a:lnTo>
                      <a:pt x="49" y="7"/>
                    </a:lnTo>
                    <a:lnTo>
                      <a:pt x="52" y="12"/>
                    </a:lnTo>
                    <a:lnTo>
                      <a:pt x="45" y="16"/>
                    </a:lnTo>
                    <a:lnTo>
                      <a:pt x="30" y="19"/>
                    </a:lnTo>
                    <a:lnTo>
                      <a:pt x="14" y="21"/>
                    </a:lnTo>
                    <a:lnTo>
                      <a:pt x="6"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9" name="Freeform 260"/>
              <p:cNvSpPr>
                <a:spLocks/>
              </p:cNvSpPr>
              <p:nvPr/>
            </p:nvSpPr>
            <p:spPr bwMode="auto">
              <a:xfrm>
                <a:off x="8162132" y="2055813"/>
                <a:ext cx="33338" cy="15875"/>
              </a:xfrm>
              <a:custGeom>
                <a:avLst/>
                <a:gdLst/>
                <a:ahLst/>
                <a:cxnLst>
                  <a:cxn ang="0">
                    <a:pos x="16" y="10"/>
                  </a:cxn>
                  <a:cxn ang="0">
                    <a:pos x="18" y="7"/>
                  </a:cxn>
                  <a:cxn ang="0">
                    <a:pos x="21" y="5"/>
                  </a:cxn>
                  <a:cxn ang="0">
                    <a:pos x="19" y="2"/>
                  </a:cxn>
                  <a:cxn ang="0">
                    <a:pos x="18" y="0"/>
                  </a:cxn>
                  <a:cxn ang="0">
                    <a:pos x="0" y="0"/>
                  </a:cxn>
                  <a:cxn ang="0">
                    <a:pos x="6" y="7"/>
                  </a:cxn>
                  <a:cxn ang="0">
                    <a:pos x="16" y="10"/>
                  </a:cxn>
                </a:cxnLst>
                <a:rect l="0" t="0" r="r" b="b"/>
                <a:pathLst>
                  <a:path w="21" h="10">
                    <a:moveTo>
                      <a:pt x="16" y="10"/>
                    </a:moveTo>
                    <a:lnTo>
                      <a:pt x="18" y="7"/>
                    </a:lnTo>
                    <a:lnTo>
                      <a:pt x="21" y="5"/>
                    </a:lnTo>
                    <a:lnTo>
                      <a:pt x="19" y="2"/>
                    </a:lnTo>
                    <a:lnTo>
                      <a:pt x="18" y="0"/>
                    </a:lnTo>
                    <a:lnTo>
                      <a:pt x="0" y="0"/>
                    </a:lnTo>
                    <a:lnTo>
                      <a:pt x="6" y="7"/>
                    </a:lnTo>
                    <a:lnTo>
                      <a:pt x="16"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0" name="Freeform 261"/>
              <p:cNvSpPr>
                <a:spLocks/>
              </p:cNvSpPr>
              <p:nvPr/>
            </p:nvSpPr>
            <p:spPr bwMode="auto">
              <a:xfrm>
                <a:off x="7411244" y="1798638"/>
                <a:ext cx="17463" cy="19050"/>
              </a:xfrm>
              <a:custGeom>
                <a:avLst/>
                <a:gdLst/>
                <a:ahLst/>
                <a:cxnLst>
                  <a:cxn ang="0">
                    <a:pos x="11" y="6"/>
                  </a:cxn>
                  <a:cxn ang="0">
                    <a:pos x="6" y="0"/>
                  </a:cxn>
                  <a:cxn ang="0">
                    <a:pos x="2" y="2"/>
                  </a:cxn>
                  <a:cxn ang="0">
                    <a:pos x="0" y="7"/>
                  </a:cxn>
                  <a:cxn ang="0">
                    <a:pos x="0" y="11"/>
                  </a:cxn>
                  <a:cxn ang="0">
                    <a:pos x="6" y="12"/>
                  </a:cxn>
                  <a:cxn ang="0">
                    <a:pos x="7" y="9"/>
                  </a:cxn>
                  <a:cxn ang="0">
                    <a:pos x="11" y="4"/>
                  </a:cxn>
                  <a:cxn ang="0">
                    <a:pos x="9" y="4"/>
                  </a:cxn>
                  <a:cxn ang="0">
                    <a:pos x="11" y="6"/>
                  </a:cxn>
                </a:cxnLst>
                <a:rect l="0" t="0" r="r" b="b"/>
                <a:pathLst>
                  <a:path w="11" h="12">
                    <a:moveTo>
                      <a:pt x="11" y="6"/>
                    </a:moveTo>
                    <a:lnTo>
                      <a:pt x="6" y="0"/>
                    </a:lnTo>
                    <a:lnTo>
                      <a:pt x="2" y="2"/>
                    </a:lnTo>
                    <a:lnTo>
                      <a:pt x="0" y="7"/>
                    </a:lnTo>
                    <a:lnTo>
                      <a:pt x="0" y="11"/>
                    </a:lnTo>
                    <a:lnTo>
                      <a:pt x="6" y="12"/>
                    </a:lnTo>
                    <a:lnTo>
                      <a:pt x="7" y="9"/>
                    </a:lnTo>
                    <a:lnTo>
                      <a:pt x="11" y="4"/>
                    </a:lnTo>
                    <a:lnTo>
                      <a:pt x="9" y="4"/>
                    </a:lnTo>
                    <a:lnTo>
                      <a:pt x="11"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1" name="Freeform 262"/>
              <p:cNvSpPr>
                <a:spLocks/>
              </p:cNvSpPr>
              <p:nvPr/>
            </p:nvSpPr>
            <p:spPr bwMode="auto">
              <a:xfrm>
                <a:off x="6871494" y="1857375"/>
                <a:ext cx="34925" cy="20637"/>
              </a:xfrm>
              <a:custGeom>
                <a:avLst/>
                <a:gdLst/>
                <a:ahLst/>
                <a:cxnLst>
                  <a:cxn ang="0">
                    <a:pos x="22" y="10"/>
                  </a:cxn>
                  <a:cxn ang="0">
                    <a:pos x="17" y="12"/>
                  </a:cxn>
                  <a:cxn ang="0">
                    <a:pos x="12" y="13"/>
                  </a:cxn>
                  <a:cxn ang="0">
                    <a:pos x="3" y="12"/>
                  </a:cxn>
                  <a:cxn ang="0">
                    <a:pos x="0" y="8"/>
                  </a:cxn>
                  <a:cxn ang="0">
                    <a:pos x="3" y="1"/>
                  </a:cxn>
                  <a:cxn ang="0">
                    <a:pos x="12" y="0"/>
                  </a:cxn>
                  <a:cxn ang="0">
                    <a:pos x="19" y="1"/>
                  </a:cxn>
                  <a:cxn ang="0">
                    <a:pos x="22" y="8"/>
                  </a:cxn>
                  <a:cxn ang="0">
                    <a:pos x="20" y="10"/>
                  </a:cxn>
                  <a:cxn ang="0">
                    <a:pos x="19" y="13"/>
                  </a:cxn>
                  <a:cxn ang="0">
                    <a:pos x="22" y="10"/>
                  </a:cxn>
                </a:cxnLst>
                <a:rect l="0" t="0" r="r" b="b"/>
                <a:pathLst>
                  <a:path w="22" h="13">
                    <a:moveTo>
                      <a:pt x="22" y="10"/>
                    </a:moveTo>
                    <a:lnTo>
                      <a:pt x="17" y="12"/>
                    </a:lnTo>
                    <a:lnTo>
                      <a:pt x="12" y="13"/>
                    </a:lnTo>
                    <a:lnTo>
                      <a:pt x="3" y="12"/>
                    </a:lnTo>
                    <a:lnTo>
                      <a:pt x="0" y="8"/>
                    </a:lnTo>
                    <a:lnTo>
                      <a:pt x="3" y="1"/>
                    </a:lnTo>
                    <a:lnTo>
                      <a:pt x="12" y="0"/>
                    </a:lnTo>
                    <a:lnTo>
                      <a:pt x="19" y="1"/>
                    </a:lnTo>
                    <a:lnTo>
                      <a:pt x="22" y="8"/>
                    </a:lnTo>
                    <a:lnTo>
                      <a:pt x="20" y="10"/>
                    </a:lnTo>
                    <a:lnTo>
                      <a:pt x="19" y="13"/>
                    </a:lnTo>
                    <a:lnTo>
                      <a:pt x="22"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2" name="Freeform 263"/>
              <p:cNvSpPr>
                <a:spLocks/>
              </p:cNvSpPr>
              <p:nvPr/>
            </p:nvSpPr>
            <p:spPr bwMode="auto">
              <a:xfrm>
                <a:off x="6587332" y="1624013"/>
                <a:ext cx="139700" cy="76200"/>
              </a:xfrm>
              <a:custGeom>
                <a:avLst/>
                <a:gdLst/>
                <a:ahLst/>
                <a:cxnLst>
                  <a:cxn ang="0">
                    <a:pos x="7" y="48"/>
                  </a:cxn>
                  <a:cxn ang="0">
                    <a:pos x="0" y="47"/>
                  </a:cxn>
                  <a:cxn ang="0">
                    <a:pos x="0" y="42"/>
                  </a:cxn>
                  <a:cxn ang="0">
                    <a:pos x="3" y="33"/>
                  </a:cxn>
                  <a:cxn ang="0">
                    <a:pos x="9" y="31"/>
                  </a:cxn>
                  <a:cxn ang="0">
                    <a:pos x="15" y="21"/>
                  </a:cxn>
                  <a:cxn ang="0">
                    <a:pos x="24" y="11"/>
                  </a:cxn>
                  <a:cxn ang="0">
                    <a:pos x="33" y="2"/>
                  </a:cxn>
                  <a:cxn ang="0">
                    <a:pos x="46" y="0"/>
                  </a:cxn>
                  <a:cxn ang="0">
                    <a:pos x="48" y="0"/>
                  </a:cxn>
                  <a:cxn ang="0">
                    <a:pos x="52" y="0"/>
                  </a:cxn>
                  <a:cxn ang="0">
                    <a:pos x="52" y="6"/>
                  </a:cxn>
                  <a:cxn ang="0">
                    <a:pos x="52" y="11"/>
                  </a:cxn>
                  <a:cxn ang="0">
                    <a:pos x="55" y="7"/>
                  </a:cxn>
                  <a:cxn ang="0">
                    <a:pos x="60" y="6"/>
                  </a:cxn>
                  <a:cxn ang="0">
                    <a:pos x="67" y="7"/>
                  </a:cxn>
                  <a:cxn ang="0">
                    <a:pos x="76" y="12"/>
                  </a:cxn>
                  <a:cxn ang="0">
                    <a:pos x="84" y="19"/>
                  </a:cxn>
                  <a:cxn ang="0">
                    <a:pos x="88" y="26"/>
                  </a:cxn>
                  <a:cxn ang="0">
                    <a:pos x="83" y="31"/>
                  </a:cxn>
                  <a:cxn ang="0">
                    <a:pos x="72" y="36"/>
                  </a:cxn>
                  <a:cxn ang="0">
                    <a:pos x="60" y="36"/>
                  </a:cxn>
                  <a:cxn ang="0">
                    <a:pos x="52" y="38"/>
                  </a:cxn>
                  <a:cxn ang="0">
                    <a:pos x="46" y="38"/>
                  </a:cxn>
                  <a:cxn ang="0">
                    <a:pos x="41" y="40"/>
                  </a:cxn>
                  <a:cxn ang="0">
                    <a:pos x="36" y="40"/>
                  </a:cxn>
                  <a:cxn ang="0">
                    <a:pos x="34" y="42"/>
                  </a:cxn>
                  <a:cxn ang="0">
                    <a:pos x="7" y="48"/>
                  </a:cxn>
                </a:cxnLst>
                <a:rect l="0" t="0" r="r" b="b"/>
                <a:pathLst>
                  <a:path w="88" h="48">
                    <a:moveTo>
                      <a:pt x="7" y="48"/>
                    </a:moveTo>
                    <a:lnTo>
                      <a:pt x="0" y="47"/>
                    </a:lnTo>
                    <a:lnTo>
                      <a:pt x="0" y="42"/>
                    </a:lnTo>
                    <a:lnTo>
                      <a:pt x="3" y="33"/>
                    </a:lnTo>
                    <a:lnTo>
                      <a:pt x="9" y="31"/>
                    </a:lnTo>
                    <a:lnTo>
                      <a:pt x="15" y="21"/>
                    </a:lnTo>
                    <a:lnTo>
                      <a:pt x="24" y="11"/>
                    </a:lnTo>
                    <a:lnTo>
                      <a:pt x="33" y="2"/>
                    </a:lnTo>
                    <a:lnTo>
                      <a:pt x="46" y="0"/>
                    </a:lnTo>
                    <a:lnTo>
                      <a:pt x="48" y="0"/>
                    </a:lnTo>
                    <a:lnTo>
                      <a:pt x="52" y="0"/>
                    </a:lnTo>
                    <a:lnTo>
                      <a:pt x="52" y="6"/>
                    </a:lnTo>
                    <a:lnTo>
                      <a:pt x="52" y="11"/>
                    </a:lnTo>
                    <a:lnTo>
                      <a:pt x="55" y="7"/>
                    </a:lnTo>
                    <a:lnTo>
                      <a:pt x="60" y="6"/>
                    </a:lnTo>
                    <a:lnTo>
                      <a:pt x="67" y="7"/>
                    </a:lnTo>
                    <a:lnTo>
                      <a:pt x="76" y="12"/>
                    </a:lnTo>
                    <a:lnTo>
                      <a:pt x="84" y="19"/>
                    </a:lnTo>
                    <a:lnTo>
                      <a:pt x="88" y="26"/>
                    </a:lnTo>
                    <a:lnTo>
                      <a:pt x="83" y="31"/>
                    </a:lnTo>
                    <a:lnTo>
                      <a:pt x="72" y="36"/>
                    </a:lnTo>
                    <a:lnTo>
                      <a:pt x="60" y="36"/>
                    </a:lnTo>
                    <a:lnTo>
                      <a:pt x="52" y="38"/>
                    </a:lnTo>
                    <a:lnTo>
                      <a:pt x="46" y="38"/>
                    </a:lnTo>
                    <a:lnTo>
                      <a:pt x="41" y="40"/>
                    </a:lnTo>
                    <a:lnTo>
                      <a:pt x="36" y="40"/>
                    </a:lnTo>
                    <a:lnTo>
                      <a:pt x="34" y="42"/>
                    </a:lnTo>
                    <a:lnTo>
                      <a:pt x="7" y="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3" name="Freeform 264"/>
              <p:cNvSpPr>
                <a:spLocks/>
              </p:cNvSpPr>
              <p:nvPr/>
            </p:nvSpPr>
            <p:spPr bwMode="auto">
              <a:xfrm>
                <a:off x="6393657" y="1585913"/>
                <a:ext cx="52388" cy="26987"/>
              </a:xfrm>
              <a:custGeom>
                <a:avLst/>
                <a:gdLst/>
                <a:ahLst/>
                <a:cxnLst>
                  <a:cxn ang="0">
                    <a:pos x="14" y="0"/>
                  </a:cxn>
                  <a:cxn ang="0">
                    <a:pos x="15" y="0"/>
                  </a:cxn>
                  <a:cxn ang="0">
                    <a:pos x="22" y="4"/>
                  </a:cxn>
                  <a:cxn ang="0">
                    <a:pos x="27" y="5"/>
                  </a:cxn>
                  <a:cxn ang="0">
                    <a:pos x="33" y="7"/>
                  </a:cxn>
                  <a:cxn ang="0">
                    <a:pos x="29" y="11"/>
                  </a:cxn>
                  <a:cxn ang="0">
                    <a:pos x="22" y="14"/>
                  </a:cxn>
                  <a:cxn ang="0">
                    <a:pos x="14" y="16"/>
                  </a:cxn>
                  <a:cxn ang="0">
                    <a:pos x="10" y="17"/>
                  </a:cxn>
                  <a:cxn ang="0">
                    <a:pos x="3" y="12"/>
                  </a:cxn>
                  <a:cxn ang="0">
                    <a:pos x="0" y="5"/>
                  </a:cxn>
                  <a:cxn ang="0">
                    <a:pos x="5" y="0"/>
                  </a:cxn>
                  <a:cxn ang="0">
                    <a:pos x="14" y="0"/>
                  </a:cxn>
                </a:cxnLst>
                <a:rect l="0" t="0" r="r" b="b"/>
                <a:pathLst>
                  <a:path w="33" h="17">
                    <a:moveTo>
                      <a:pt x="14" y="0"/>
                    </a:moveTo>
                    <a:lnTo>
                      <a:pt x="15" y="0"/>
                    </a:lnTo>
                    <a:lnTo>
                      <a:pt x="22" y="4"/>
                    </a:lnTo>
                    <a:lnTo>
                      <a:pt x="27" y="5"/>
                    </a:lnTo>
                    <a:lnTo>
                      <a:pt x="33" y="7"/>
                    </a:lnTo>
                    <a:lnTo>
                      <a:pt x="29" y="11"/>
                    </a:lnTo>
                    <a:lnTo>
                      <a:pt x="22" y="14"/>
                    </a:lnTo>
                    <a:lnTo>
                      <a:pt x="14" y="16"/>
                    </a:lnTo>
                    <a:lnTo>
                      <a:pt x="10" y="17"/>
                    </a:lnTo>
                    <a:lnTo>
                      <a:pt x="3" y="12"/>
                    </a:lnTo>
                    <a:lnTo>
                      <a:pt x="0" y="5"/>
                    </a:lnTo>
                    <a:lnTo>
                      <a:pt x="5"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4" name="Freeform 265"/>
              <p:cNvSpPr>
                <a:spLocks/>
              </p:cNvSpPr>
              <p:nvPr/>
            </p:nvSpPr>
            <p:spPr bwMode="auto">
              <a:xfrm>
                <a:off x="6409532" y="1525588"/>
                <a:ext cx="192088" cy="134937"/>
              </a:xfrm>
              <a:custGeom>
                <a:avLst/>
                <a:gdLst/>
                <a:ahLst/>
                <a:cxnLst>
                  <a:cxn ang="0">
                    <a:pos x="115" y="78"/>
                  </a:cxn>
                  <a:cxn ang="0">
                    <a:pos x="110" y="81"/>
                  </a:cxn>
                  <a:cxn ang="0">
                    <a:pos x="105" y="85"/>
                  </a:cxn>
                  <a:cxn ang="0">
                    <a:pos x="88" y="81"/>
                  </a:cxn>
                  <a:cxn ang="0">
                    <a:pos x="74" y="80"/>
                  </a:cxn>
                  <a:cxn ang="0">
                    <a:pos x="60" y="76"/>
                  </a:cxn>
                  <a:cxn ang="0">
                    <a:pos x="48" y="76"/>
                  </a:cxn>
                  <a:cxn ang="0">
                    <a:pos x="41" y="73"/>
                  </a:cxn>
                  <a:cxn ang="0">
                    <a:pos x="35" y="68"/>
                  </a:cxn>
                  <a:cxn ang="0">
                    <a:pos x="26" y="61"/>
                  </a:cxn>
                  <a:cxn ang="0">
                    <a:pos x="21" y="57"/>
                  </a:cxn>
                  <a:cxn ang="0">
                    <a:pos x="31" y="52"/>
                  </a:cxn>
                  <a:cxn ang="0">
                    <a:pos x="40" y="49"/>
                  </a:cxn>
                  <a:cxn ang="0">
                    <a:pos x="47" y="45"/>
                  </a:cxn>
                  <a:cxn ang="0">
                    <a:pos x="59" y="42"/>
                  </a:cxn>
                  <a:cxn ang="0">
                    <a:pos x="52" y="40"/>
                  </a:cxn>
                  <a:cxn ang="0">
                    <a:pos x="47" y="40"/>
                  </a:cxn>
                  <a:cxn ang="0">
                    <a:pos x="40" y="40"/>
                  </a:cxn>
                  <a:cxn ang="0">
                    <a:pos x="38" y="40"/>
                  </a:cxn>
                  <a:cxn ang="0">
                    <a:pos x="26" y="38"/>
                  </a:cxn>
                  <a:cxn ang="0">
                    <a:pos x="17" y="37"/>
                  </a:cxn>
                  <a:cxn ang="0">
                    <a:pos x="9" y="33"/>
                  </a:cxn>
                  <a:cxn ang="0">
                    <a:pos x="0" y="30"/>
                  </a:cxn>
                  <a:cxn ang="0">
                    <a:pos x="12" y="21"/>
                  </a:cxn>
                  <a:cxn ang="0">
                    <a:pos x="26" y="12"/>
                  </a:cxn>
                  <a:cxn ang="0">
                    <a:pos x="36" y="4"/>
                  </a:cxn>
                  <a:cxn ang="0">
                    <a:pos x="53" y="0"/>
                  </a:cxn>
                  <a:cxn ang="0">
                    <a:pos x="62" y="2"/>
                  </a:cxn>
                  <a:cxn ang="0">
                    <a:pos x="71" y="7"/>
                  </a:cxn>
                  <a:cxn ang="0">
                    <a:pos x="78" y="12"/>
                  </a:cxn>
                  <a:cxn ang="0">
                    <a:pos x="84" y="19"/>
                  </a:cxn>
                  <a:cxn ang="0">
                    <a:pos x="79" y="19"/>
                  </a:cxn>
                  <a:cxn ang="0">
                    <a:pos x="78" y="19"/>
                  </a:cxn>
                  <a:cxn ang="0">
                    <a:pos x="78" y="26"/>
                  </a:cxn>
                  <a:cxn ang="0">
                    <a:pos x="78" y="30"/>
                  </a:cxn>
                  <a:cxn ang="0">
                    <a:pos x="74" y="35"/>
                  </a:cxn>
                  <a:cxn ang="0">
                    <a:pos x="69" y="40"/>
                  </a:cxn>
                  <a:cxn ang="0">
                    <a:pos x="74" y="38"/>
                  </a:cxn>
                  <a:cxn ang="0">
                    <a:pos x="79" y="40"/>
                  </a:cxn>
                  <a:cxn ang="0">
                    <a:pos x="86" y="42"/>
                  </a:cxn>
                  <a:cxn ang="0">
                    <a:pos x="95" y="45"/>
                  </a:cxn>
                  <a:cxn ang="0">
                    <a:pos x="100" y="45"/>
                  </a:cxn>
                  <a:cxn ang="0">
                    <a:pos x="105" y="45"/>
                  </a:cxn>
                  <a:cxn ang="0">
                    <a:pos x="114" y="47"/>
                  </a:cxn>
                  <a:cxn ang="0">
                    <a:pos x="121" y="54"/>
                  </a:cxn>
                  <a:cxn ang="0">
                    <a:pos x="115" y="59"/>
                  </a:cxn>
                  <a:cxn ang="0">
                    <a:pos x="117" y="64"/>
                  </a:cxn>
                  <a:cxn ang="0">
                    <a:pos x="112" y="68"/>
                  </a:cxn>
                  <a:cxn ang="0">
                    <a:pos x="107" y="71"/>
                  </a:cxn>
                  <a:cxn ang="0">
                    <a:pos x="112" y="73"/>
                  </a:cxn>
                  <a:cxn ang="0">
                    <a:pos x="115" y="78"/>
                  </a:cxn>
                </a:cxnLst>
                <a:rect l="0" t="0" r="r" b="b"/>
                <a:pathLst>
                  <a:path w="121" h="85">
                    <a:moveTo>
                      <a:pt x="115" y="78"/>
                    </a:moveTo>
                    <a:lnTo>
                      <a:pt x="110" y="81"/>
                    </a:lnTo>
                    <a:lnTo>
                      <a:pt x="105" y="85"/>
                    </a:lnTo>
                    <a:lnTo>
                      <a:pt x="88" y="81"/>
                    </a:lnTo>
                    <a:lnTo>
                      <a:pt x="74" y="80"/>
                    </a:lnTo>
                    <a:lnTo>
                      <a:pt x="60" y="76"/>
                    </a:lnTo>
                    <a:lnTo>
                      <a:pt x="48" y="76"/>
                    </a:lnTo>
                    <a:lnTo>
                      <a:pt x="41" y="73"/>
                    </a:lnTo>
                    <a:lnTo>
                      <a:pt x="35" y="68"/>
                    </a:lnTo>
                    <a:lnTo>
                      <a:pt x="26" y="61"/>
                    </a:lnTo>
                    <a:lnTo>
                      <a:pt x="21" y="57"/>
                    </a:lnTo>
                    <a:lnTo>
                      <a:pt x="31" y="52"/>
                    </a:lnTo>
                    <a:lnTo>
                      <a:pt x="40" y="49"/>
                    </a:lnTo>
                    <a:lnTo>
                      <a:pt x="47" y="45"/>
                    </a:lnTo>
                    <a:lnTo>
                      <a:pt x="59" y="42"/>
                    </a:lnTo>
                    <a:lnTo>
                      <a:pt x="52" y="40"/>
                    </a:lnTo>
                    <a:lnTo>
                      <a:pt x="47" y="40"/>
                    </a:lnTo>
                    <a:lnTo>
                      <a:pt x="40" y="40"/>
                    </a:lnTo>
                    <a:lnTo>
                      <a:pt x="38" y="40"/>
                    </a:lnTo>
                    <a:lnTo>
                      <a:pt x="26" y="38"/>
                    </a:lnTo>
                    <a:lnTo>
                      <a:pt x="17" y="37"/>
                    </a:lnTo>
                    <a:lnTo>
                      <a:pt x="9" y="33"/>
                    </a:lnTo>
                    <a:lnTo>
                      <a:pt x="0" y="30"/>
                    </a:lnTo>
                    <a:lnTo>
                      <a:pt x="12" y="21"/>
                    </a:lnTo>
                    <a:lnTo>
                      <a:pt x="26" y="12"/>
                    </a:lnTo>
                    <a:lnTo>
                      <a:pt x="36" y="4"/>
                    </a:lnTo>
                    <a:lnTo>
                      <a:pt x="53" y="0"/>
                    </a:lnTo>
                    <a:lnTo>
                      <a:pt x="62" y="2"/>
                    </a:lnTo>
                    <a:lnTo>
                      <a:pt x="71" y="7"/>
                    </a:lnTo>
                    <a:lnTo>
                      <a:pt x="78" y="12"/>
                    </a:lnTo>
                    <a:lnTo>
                      <a:pt x="84" y="19"/>
                    </a:lnTo>
                    <a:lnTo>
                      <a:pt x="79" y="19"/>
                    </a:lnTo>
                    <a:lnTo>
                      <a:pt x="78" y="19"/>
                    </a:lnTo>
                    <a:lnTo>
                      <a:pt x="78" y="26"/>
                    </a:lnTo>
                    <a:lnTo>
                      <a:pt x="78" y="30"/>
                    </a:lnTo>
                    <a:lnTo>
                      <a:pt x="74" y="35"/>
                    </a:lnTo>
                    <a:lnTo>
                      <a:pt x="69" y="40"/>
                    </a:lnTo>
                    <a:lnTo>
                      <a:pt x="74" y="38"/>
                    </a:lnTo>
                    <a:lnTo>
                      <a:pt x="79" y="40"/>
                    </a:lnTo>
                    <a:lnTo>
                      <a:pt x="86" y="42"/>
                    </a:lnTo>
                    <a:lnTo>
                      <a:pt x="95" y="45"/>
                    </a:lnTo>
                    <a:lnTo>
                      <a:pt x="100" y="45"/>
                    </a:lnTo>
                    <a:lnTo>
                      <a:pt x="105" y="45"/>
                    </a:lnTo>
                    <a:lnTo>
                      <a:pt x="114" y="47"/>
                    </a:lnTo>
                    <a:lnTo>
                      <a:pt x="121" y="54"/>
                    </a:lnTo>
                    <a:lnTo>
                      <a:pt x="115" y="59"/>
                    </a:lnTo>
                    <a:lnTo>
                      <a:pt x="117" y="64"/>
                    </a:lnTo>
                    <a:lnTo>
                      <a:pt x="112" y="68"/>
                    </a:lnTo>
                    <a:lnTo>
                      <a:pt x="107" y="71"/>
                    </a:lnTo>
                    <a:lnTo>
                      <a:pt x="112" y="73"/>
                    </a:lnTo>
                    <a:lnTo>
                      <a:pt x="11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5" name="Freeform 266"/>
              <p:cNvSpPr>
                <a:spLocks/>
              </p:cNvSpPr>
              <p:nvPr/>
            </p:nvSpPr>
            <p:spPr bwMode="auto">
              <a:xfrm>
                <a:off x="6493669" y="1739900"/>
                <a:ext cx="22225" cy="15875"/>
              </a:xfrm>
              <a:custGeom>
                <a:avLst/>
                <a:gdLst/>
                <a:ahLst/>
                <a:cxnLst>
                  <a:cxn ang="0">
                    <a:pos x="0" y="5"/>
                  </a:cxn>
                  <a:cxn ang="0">
                    <a:pos x="4" y="1"/>
                  </a:cxn>
                  <a:cxn ang="0">
                    <a:pos x="7" y="0"/>
                  </a:cxn>
                  <a:cxn ang="0">
                    <a:pos x="14" y="0"/>
                  </a:cxn>
                  <a:cxn ang="0">
                    <a:pos x="11" y="6"/>
                  </a:cxn>
                  <a:cxn ang="0">
                    <a:pos x="4" y="10"/>
                  </a:cxn>
                  <a:cxn ang="0">
                    <a:pos x="0" y="6"/>
                  </a:cxn>
                  <a:cxn ang="0">
                    <a:pos x="0" y="5"/>
                  </a:cxn>
                </a:cxnLst>
                <a:rect l="0" t="0" r="r" b="b"/>
                <a:pathLst>
                  <a:path w="14" h="10">
                    <a:moveTo>
                      <a:pt x="0" y="5"/>
                    </a:moveTo>
                    <a:lnTo>
                      <a:pt x="4" y="1"/>
                    </a:lnTo>
                    <a:lnTo>
                      <a:pt x="7" y="0"/>
                    </a:lnTo>
                    <a:lnTo>
                      <a:pt x="14" y="0"/>
                    </a:lnTo>
                    <a:lnTo>
                      <a:pt x="11" y="6"/>
                    </a:lnTo>
                    <a:lnTo>
                      <a:pt x="4" y="10"/>
                    </a:lnTo>
                    <a:lnTo>
                      <a:pt x="0" y="6"/>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6" name="Freeform 267"/>
              <p:cNvSpPr>
                <a:spLocks/>
              </p:cNvSpPr>
              <p:nvPr/>
            </p:nvSpPr>
            <p:spPr bwMode="auto">
              <a:xfrm>
                <a:off x="6371432" y="1528763"/>
                <a:ext cx="33338" cy="6350"/>
              </a:xfrm>
              <a:custGeom>
                <a:avLst/>
                <a:gdLst/>
                <a:ahLst/>
                <a:cxnLst>
                  <a:cxn ang="0">
                    <a:pos x="21" y="4"/>
                  </a:cxn>
                  <a:cxn ang="0">
                    <a:pos x="9" y="4"/>
                  </a:cxn>
                  <a:cxn ang="0">
                    <a:pos x="0" y="0"/>
                  </a:cxn>
                  <a:cxn ang="0">
                    <a:pos x="19" y="0"/>
                  </a:cxn>
                  <a:cxn ang="0">
                    <a:pos x="21" y="4"/>
                  </a:cxn>
                </a:cxnLst>
                <a:rect l="0" t="0" r="r" b="b"/>
                <a:pathLst>
                  <a:path w="21" h="4">
                    <a:moveTo>
                      <a:pt x="21" y="4"/>
                    </a:moveTo>
                    <a:lnTo>
                      <a:pt x="9" y="4"/>
                    </a:lnTo>
                    <a:lnTo>
                      <a:pt x="0" y="0"/>
                    </a:lnTo>
                    <a:lnTo>
                      <a:pt x="19" y="0"/>
                    </a:lnTo>
                    <a:lnTo>
                      <a:pt x="21"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7" name="Freeform 268"/>
              <p:cNvSpPr>
                <a:spLocks/>
              </p:cNvSpPr>
              <p:nvPr/>
            </p:nvSpPr>
            <p:spPr bwMode="auto">
              <a:xfrm>
                <a:off x="6754019" y="1684338"/>
                <a:ext cx="23813" cy="11112"/>
              </a:xfrm>
              <a:custGeom>
                <a:avLst/>
                <a:gdLst/>
                <a:ahLst/>
                <a:cxnLst>
                  <a:cxn ang="0">
                    <a:pos x="15" y="0"/>
                  </a:cxn>
                  <a:cxn ang="0">
                    <a:pos x="14" y="4"/>
                  </a:cxn>
                  <a:cxn ang="0">
                    <a:pos x="8" y="7"/>
                  </a:cxn>
                  <a:cxn ang="0">
                    <a:pos x="2" y="4"/>
                  </a:cxn>
                  <a:cxn ang="0">
                    <a:pos x="0" y="2"/>
                  </a:cxn>
                  <a:cxn ang="0">
                    <a:pos x="10" y="0"/>
                  </a:cxn>
                  <a:cxn ang="0">
                    <a:pos x="15" y="0"/>
                  </a:cxn>
                </a:cxnLst>
                <a:rect l="0" t="0" r="r" b="b"/>
                <a:pathLst>
                  <a:path w="15" h="7">
                    <a:moveTo>
                      <a:pt x="15" y="0"/>
                    </a:moveTo>
                    <a:lnTo>
                      <a:pt x="14" y="4"/>
                    </a:lnTo>
                    <a:lnTo>
                      <a:pt x="8" y="7"/>
                    </a:lnTo>
                    <a:lnTo>
                      <a:pt x="2" y="4"/>
                    </a:lnTo>
                    <a:lnTo>
                      <a:pt x="0" y="2"/>
                    </a:lnTo>
                    <a:lnTo>
                      <a:pt x="10"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8" name="Freeform 269"/>
              <p:cNvSpPr>
                <a:spLocks/>
              </p:cNvSpPr>
              <p:nvPr/>
            </p:nvSpPr>
            <p:spPr bwMode="auto">
              <a:xfrm>
                <a:off x="5320507" y="1547813"/>
                <a:ext cx="163513" cy="49212"/>
              </a:xfrm>
              <a:custGeom>
                <a:avLst/>
                <a:gdLst/>
                <a:ahLst/>
                <a:cxnLst>
                  <a:cxn ang="0">
                    <a:pos x="88" y="16"/>
                  </a:cxn>
                  <a:cxn ang="0">
                    <a:pos x="76" y="17"/>
                  </a:cxn>
                  <a:cxn ang="0">
                    <a:pos x="67" y="21"/>
                  </a:cxn>
                  <a:cxn ang="0">
                    <a:pos x="60" y="26"/>
                  </a:cxn>
                  <a:cxn ang="0">
                    <a:pos x="57" y="31"/>
                  </a:cxn>
                  <a:cxn ang="0">
                    <a:pos x="52" y="28"/>
                  </a:cxn>
                  <a:cxn ang="0">
                    <a:pos x="52" y="26"/>
                  </a:cxn>
                  <a:cxn ang="0">
                    <a:pos x="52" y="26"/>
                  </a:cxn>
                  <a:cxn ang="0">
                    <a:pos x="41" y="24"/>
                  </a:cxn>
                  <a:cxn ang="0">
                    <a:pos x="38" y="21"/>
                  </a:cxn>
                  <a:cxn ang="0">
                    <a:pos x="41" y="17"/>
                  </a:cxn>
                  <a:cxn ang="0">
                    <a:pos x="48" y="16"/>
                  </a:cxn>
                  <a:cxn ang="0">
                    <a:pos x="41" y="16"/>
                  </a:cxn>
                  <a:cxn ang="0">
                    <a:pos x="38" y="16"/>
                  </a:cxn>
                  <a:cxn ang="0">
                    <a:pos x="41" y="12"/>
                  </a:cxn>
                  <a:cxn ang="0">
                    <a:pos x="46" y="11"/>
                  </a:cxn>
                  <a:cxn ang="0">
                    <a:pos x="39" y="7"/>
                  </a:cxn>
                  <a:cxn ang="0">
                    <a:pos x="34" y="5"/>
                  </a:cxn>
                  <a:cxn ang="0">
                    <a:pos x="22" y="9"/>
                  </a:cxn>
                  <a:cxn ang="0">
                    <a:pos x="12" y="12"/>
                  </a:cxn>
                  <a:cxn ang="0">
                    <a:pos x="5" y="11"/>
                  </a:cxn>
                  <a:cxn ang="0">
                    <a:pos x="0" y="11"/>
                  </a:cxn>
                  <a:cxn ang="0">
                    <a:pos x="5" y="4"/>
                  </a:cxn>
                  <a:cxn ang="0">
                    <a:pos x="17" y="2"/>
                  </a:cxn>
                  <a:cxn ang="0">
                    <a:pos x="29" y="0"/>
                  </a:cxn>
                  <a:cxn ang="0">
                    <a:pos x="39" y="0"/>
                  </a:cxn>
                  <a:cxn ang="0">
                    <a:pos x="55" y="4"/>
                  </a:cxn>
                  <a:cxn ang="0">
                    <a:pos x="69" y="7"/>
                  </a:cxn>
                  <a:cxn ang="0">
                    <a:pos x="77" y="4"/>
                  </a:cxn>
                  <a:cxn ang="0">
                    <a:pos x="88" y="0"/>
                  </a:cxn>
                  <a:cxn ang="0">
                    <a:pos x="96" y="2"/>
                  </a:cxn>
                  <a:cxn ang="0">
                    <a:pos x="103" y="5"/>
                  </a:cxn>
                  <a:cxn ang="0">
                    <a:pos x="96" y="12"/>
                  </a:cxn>
                  <a:cxn ang="0">
                    <a:pos x="89" y="16"/>
                  </a:cxn>
                  <a:cxn ang="0">
                    <a:pos x="86" y="16"/>
                  </a:cxn>
                  <a:cxn ang="0">
                    <a:pos x="84" y="16"/>
                  </a:cxn>
                  <a:cxn ang="0">
                    <a:pos x="84" y="21"/>
                  </a:cxn>
                  <a:cxn ang="0">
                    <a:pos x="88" y="16"/>
                  </a:cxn>
                </a:cxnLst>
                <a:rect l="0" t="0" r="r" b="b"/>
                <a:pathLst>
                  <a:path w="103" h="31">
                    <a:moveTo>
                      <a:pt x="88" y="16"/>
                    </a:moveTo>
                    <a:lnTo>
                      <a:pt x="76" y="17"/>
                    </a:lnTo>
                    <a:lnTo>
                      <a:pt x="67" y="21"/>
                    </a:lnTo>
                    <a:lnTo>
                      <a:pt x="60" y="26"/>
                    </a:lnTo>
                    <a:lnTo>
                      <a:pt x="57" y="31"/>
                    </a:lnTo>
                    <a:lnTo>
                      <a:pt x="52" y="28"/>
                    </a:lnTo>
                    <a:lnTo>
                      <a:pt x="52" y="26"/>
                    </a:lnTo>
                    <a:lnTo>
                      <a:pt x="52" y="26"/>
                    </a:lnTo>
                    <a:lnTo>
                      <a:pt x="41" y="24"/>
                    </a:lnTo>
                    <a:lnTo>
                      <a:pt x="38" y="21"/>
                    </a:lnTo>
                    <a:lnTo>
                      <a:pt x="41" y="17"/>
                    </a:lnTo>
                    <a:lnTo>
                      <a:pt x="48" y="16"/>
                    </a:lnTo>
                    <a:lnTo>
                      <a:pt x="41" y="16"/>
                    </a:lnTo>
                    <a:lnTo>
                      <a:pt x="38" y="16"/>
                    </a:lnTo>
                    <a:lnTo>
                      <a:pt x="41" y="12"/>
                    </a:lnTo>
                    <a:lnTo>
                      <a:pt x="46" y="11"/>
                    </a:lnTo>
                    <a:lnTo>
                      <a:pt x="39" y="7"/>
                    </a:lnTo>
                    <a:lnTo>
                      <a:pt x="34" y="5"/>
                    </a:lnTo>
                    <a:lnTo>
                      <a:pt x="22" y="9"/>
                    </a:lnTo>
                    <a:lnTo>
                      <a:pt x="12" y="12"/>
                    </a:lnTo>
                    <a:lnTo>
                      <a:pt x="5" y="11"/>
                    </a:lnTo>
                    <a:lnTo>
                      <a:pt x="0" y="11"/>
                    </a:lnTo>
                    <a:lnTo>
                      <a:pt x="5" y="4"/>
                    </a:lnTo>
                    <a:lnTo>
                      <a:pt x="17" y="2"/>
                    </a:lnTo>
                    <a:lnTo>
                      <a:pt x="29" y="0"/>
                    </a:lnTo>
                    <a:lnTo>
                      <a:pt x="39" y="0"/>
                    </a:lnTo>
                    <a:lnTo>
                      <a:pt x="55" y="4"/>
                    </a:lnTo>
                    <a:lnTo>
                      <a:pt x="69" y="7"/>
                    </a:lnTo>
                    <a:lnTo>
                      <a:pt x="77" y="4"/>
                    </a:lnTo>
                    <a:lnTo>
                      <a:pt x="88" y="0"/>
                    </a:lnTo>
                    <a:lnTo>
                      <a:pt x="96" y="2"/>
                    </a:lnTo>
                    <a:lnTo>
                      <a:pt x="103" y="5"/>
                    </a:lnTo>
                    <a:lnTo>
                      <a:pt x="96" y="12"/>
                    </a:lnTo>
                    <a:lnTo>
                      <a:pt x="89" y="16"/>
                    </a:lnTo>
                    <a:lnTo>
                      <a:pt x="86" y="16"/>
                    </a:lnTo>
                    <a:lnTo>
                      <a:pt x="84" y="16"/>
                    </a:lnTo>
                    <a:lnTo>
                      <a:pt x="84" y="21"/>
                    </a:lnTo>
                    <a:lnTo>
                      <a:pt x="88"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9" name="Freeform 270"/>
              <p:cNvSpPr>
                <a:spLocks/>
              </p:cNvSpPr>
              <p:nvPr/>
            </p:nvSpPr>
            <p:spPr bwMode="auto">
              <a:xfrm>
                <a:off x="5744369" y="1517650"/>
                <a:ext cx="57150" cy="36512"/>
              </a:xfrm>
              <a:custGeom>
                <a:avLst/>
                <a:gdLst/>
                <a:ahLst/>
                <a:cxnLst>
                  <a:cxn ang="0">
                    <a:pos x="8" y="23"/>
                  </a:cxn>
                  <a:cxn ang="0">
                    <a:pos x="1" y="19"/>
                  </a:cxn>
                  <a:cxn ang="0">
                    <a:pos x="0" y="14"/>
                  </a:cxn>
                  <a:cxn ang="0">
                    <a:pos x="1" y="9"/>
                  </a:cxn>
                  <a:cxn ang="0">
                    <a:pos x="10" y="4"/>
                  </a:cxn>
                  <a:cxn ang="0">
                    <a:pos x="18" y="0"/>
                  </a:cxn>
                  <a:cxn ang="0">
                    <a:pos x="29" y="0"/>
                  </a:cxn>
                  <a:cxn ang="0">
                    <a:pos x="36" y="16"/>
                  </a:cxn>
                  <a:cxn ang="0">
                    <a:pos x="29" y="17"/>
                  </a:cxn>
                  <a:cxn ang="0">
                    <a:pos x="22" y="19"/>
                  </a:cxn>
                  <a:cxn ang="0">
                    <a:pos x="12" y="21"/>
                  </a:cxn>
                  <a:cxn ang="0">
                    <a:pos x="8" y="23"/>
                  </a:cxn>
                </a:cxnLst>
                <a:rect l="0" t="0" r="r" b="b"/>
                <a:pathLst>
                  <a:path w="36" h="23">
                    <a:moveTo>
                      <a:pt x="8" y="23"/>
                    </a:moveTo>
                    <a:lnTo>
                      <a:pt x="1" y="19"/>
                    </a:lnTo>
                    <a:lnTo>
                      <a:pt x="0" y="14"/>
                    </a:lnTo>
                    <a:lnTo>
                      <a:pt x="1" y="9"/>
                    </a:lnTo>
                    <a:lnTo>
                      <a:pt x="10" y="4"/>
                    </a:lnTo>
                    <a:lnTo>
                      <a:pt x="18" y="0"/>
                    </a:lnTo>
                    <a:lnTo>
                      <a:pt x="29" y="0"/>
                    </a:lnTo>
                    <a:lnTo>
                      <a:pt x="36" y="16"/>
                    </a:lnTo>
                    <a:lnTo>
                      <a:pt x="29" y="17"/>
                    </a:lnTo>
                    <a:lnTo>
                      <a:pt x="22" y="19"/>
                    </a:lnTo>
                    <a:lnTo>
                      <a:pt x="12" y="21"/>
                    </a:lnTo>
                    <a:lnTo>
                      <a:pt x="8"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0" name="Freeform 271"/>
              <p:cNvSpPr>
                <a:spLocks/>
              </p:cNvSpPr>
              <p:nvPr/>
            </p:nvSpPr>
            <p:spPr bwMode="auto">
              <a:xfrm>
                <a:off x="5669757" y="1539875"/>
                <a:ext cx="60325" cy="34925"/>
              </a:xfrm>
              <a:custGeom>
                <a:avLst/>
                <a:gdLst/>
                <a:ahLst/>
                <a:cxnLst>
                  <a:cxn ang="0">
                    <a:pos x="38" y="5"/>
                  </a:cxn>
                  <a:cxn ang="0">
                    <a:pos x="38" y="9"/>
                  </a:cxn>
                  <a:cxn ang="0">
                    <a:pos x="38" y="12"/>
                  </a:cxn>
                  <a:cxn ang="0">
                    <a:pos x="31" y="16"/>
                  </a:cxn>
                  <a:cxn ang="0">
                    <a:pos x="26" y="16"/>
                  </a:cxn>
                  <a:cxn ang="0">
                    <a:pos x="28" y="21"/>
                  </a:cxn>
                  <a:cxn ang="0">
                    <a:pos x="21" y="21"/>
                  </a:cxn>
                  <a:cxn ang="0">
                    <a:pos x="12" y="22"/>
                  </a:cxn>
                  <a:cxn ang="0">
                    <a:pos x="4" y="21"/>
                  </a:cxn>
                  <a:cxn ang="0">
                    <a:pos x="0" y="21"/>
                  </a:cxn>
                  <a:cxn ang="0">
                    <a:pos x="2" y="10"/>
                  </a:cxn>
                  <a:cxn ang="0">
                    <a:pos x="10" y="7"/>
                  </a:cxn>
                  <a:cxn ang="0">
                    <a:pos x="9" y="2"/>
                  </a:cxn>
                  <a:cxn ang="0">
                    <a:pos x="10" y="0"/>
                  </a:cxn>
                  <a:cxn ang="0">
                    <a:pos x="26" y="0"/>
                  </a:cxn>
                  <a:cxn ang="0">
                    <a:pos x="24" y="3"/>
                  </a:cxn>
                  <a:cxn ang="0">
                    <a:pos x="22" y="5"/>
                  </a:cxn>
                  <a:cxn ang="0">
                    <a:pos x="28" y="5"/>
                  </a:cxn>
                  <a:cxn ang="0">
                    <a:pos x="38" y="5"/>
                  </a:cxn>
                </a:cxnLst>
                <a:rect l="0" t="0" r="r" b="b"/>
                <a:pathLst>
                  <a:path w="38" h="22">
                    <a:moveTo>
                      <a:pt x="38" y="5"/>
                    </a:moveTo>
                    <a:lnTo>
                      <a:pt x="38" y="9"/>
                    </a:lnTo>
                    <a:lnTo>
                      <a:pt x="38" y="12"/>
                    </a:lnTo>
                    <a:lnTo>
                      <a:pt x="31" y="16"/>
                    </a:lnTo>
                    <a:lnTo>
                      <a:pt x="26" y="16"/>
                    </a:lnTo>
                    <a:lnTo>
                      <a:pt x="28" y="21"/>
                    </a:lnTo>
                    <a:lnTo>
                      <a:pt x="21" y="21"/>
                    </a:lnTo>
                    <a:lnTo>
                      <a:pt x="12" y="22"/>
                    </a:lnTo>
                    <a:lnTo>
                      <a:pt x="4" y="21"/>
                    </a:lnTo>
                    <a:lnTo>
                      <a:pt x="0" y="21"/>
                    </a:lnTo>
                    <a:lnTo>
                      <a:pt x="2" y="10"/>
                    </a:lnTo>
                    <a:lnTo>
                      <a:pt x="10" y="7"/>
                    </a:lnTo>
                    <a:lnTo>
                      <a:pt x="9" y="2"/>
                    </a:lnTo>
                    <a:lnTo>
                      <a:pt x="10" y="0"/>
                    </a:lnTo>
                    <a:lnTo>
                      <a:pt x="26" y="0"/>
                    </a:lnTo>
                    <a:lnTo>
                      <a:pt x="24" y="3"/>
                    </a:lnTo>
                    <a:lnTo>
                      <a:pt x="22" y="5"/>
                    </a:lnTo>
                    <a:lnTo>
                      <a:pt x="28" y="5"/>
                    </a:lnTo>
                    <a:lnTo>
                      <a:pt x="3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1" name="Freeform 272"/>
              <p:cNvSpPr>
                <a:spLocks/>
              </p:cNvSpPr>
              <p:nvPr/>
            </p:nvSpPr>
            <p:spPr bwMode="auto">
              <a:xfrm>
                <a:off x="5587207" y="1573213"/>
                <a:ext cx="63500" cy="20637"/>
              </a:xfrm>
              <a:custGeom>
                <a:avLst/>
                <a:gdLst/>
                <a:ahLst/>
                <a:cxnLst>
                  <a:cxn ang="0">
                    <a:pos x="23" y="13"/>
                  </a:cxn>
                  <a:cxn ang="0">
                    <a:pos x="18" y="10"/>
                  </a:cxn>
                  <a:cxn ang="0">
                    <a:pos x="14" y="8"/>
                  </a:cxn>
                  <a:cxn ang="0">
                    <a:pos x="11" y="12"/>
                  </a:cxn>
                  <a:cxn ang="0">
                    <a:pos x="6" y="13"/>
                  </a:cxn>
                  <a:cxn ang="0">
                    <a:pos x="2" y="12"/>
                  </a:cxn>
                  <a:cxn ang="0">
                    <a:pos x="0" y="10"/>
                  </a:cxn>
                  <a:cxn ang="0">
                    <a:pos x="2" y="3"/>
                  </a:cxn>
                  <a:cxn ang="0">
                    <a:pos x="11" y="1"/>
                  </a:cxn>
                  <a:cxn ang="0">
                    <a:pos x="18" y="0"/>
                  </a:cxn>
                  <a:cxn ang="0">
                    <a:pos x="26" y="0"/>
                  </a:cxn>
                  <a:cxn ang="0">
                    <a:pos x="35" y="0"/>
                  </a:cxn>
                  <a:cxn ang="0">
                    <a:pos x="40" y="5"/>
                  </a:cxn>
                  <a:cxn ang="0">
                    <a:pos x="30" y="8"/>
                  </a:cxn>
                  <a:cxn ang="0">
                    <a:pos x="23" y="13"/>
                  </a:cxn>
                </a:cxnLst>
                <a:rect l="0" t="0" r="r" b="b"/>
                <a:pathLst>
                  <a:path w="40" h="13">
                    <a:moveTo>
                      <a:pt x="23" y="13"/>
                    </a:moveTo>
                    <a:lnTo>
                      <a:pt x="18" y="10"/>
                    </a:lnTo>
                    <a:lnTo>
                      <a:pt x="14" y="8"/>
                    </a:lnTo>
                    <a:lnTo>
                      <a:pt x="11" y="12"/>
                    </a:lnTo>
                    <a:lnTo>
                      <a:pt x="6" y="13"/>
                    </a:lnTo>
                    <a:lnTo>
                      <a:pt x="2" y="12"/>
                    </a:lnTo>
                    <a:lnTo>
                      <a:pt x="0" y="10"/>
                    </a:lnTo>
                    <a:lnTo>
                      <a:pt x="2" y="3"/>
                    </a:lnTo>
                    <a:lnTo>
                      <a:pt x="11" y="1"/>
                    </a:lnTo>
                    <a:lnTo>
                      <a:pt x="18" y="0"/>
                    </a:lnTo>
                    <a:lnTo>
                      <a:pt x="26" y="0"/>
                    </a:lnTo>
                    <a:lnTo>
                      <a:pt x="35" y="0"/>
                    </a:lnTo>
                    <a:lnTo>
                      <a:pt x="40" y="5"/>
                    </a:lnTo>
                    <a:lnTo>
                      <a:pt x="30" y="8"/>
                    </a:lnTo>
                    <a:lnTo>
                      <a:pt x="23"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2" name="Freeform 273"/>
              <p:cNvSpPr>
                <a:spLocks/>
              </p:cNvSpPr>
              <p:nvPr/>
            </p:nvSpPr>
            <p:spPr bwMode="auto">
              <a:xfrm>
                <a:off x="5552282" y="1498600"/>
                <a:ext cx="95250" cy="66675"/>
              </a:xfrm>
              <a:custGeom>
                <a:avLst/>
                <a:gdLst/>
                <a:ahLst/>
                <a:cxnLst>
                  <a:cxn ang="0">
                    <a:pos x="45" y="36"/>
                  </a:cxn>
                  <a:cxn ang="0">
                    <a:pos x="35" y="38"/>
                  </a:cxn>
                  <a:cxn ang="0">
                    <a:pos x="26" y="42"/>
                  </a:cxn>
                  <a:cxn ang="0">
                    <a:pos x="19" y="38"/>
                  </a:cxn>
                  <a:cxn ang="0">
                    <a:pos x="12" y="36"/>
                  </a:cxn>
                  <a:cxn ang="0">
                    <a:pos x="4" y="33"/>
                  </a:cxn>
                  <a:cxn ang="0">
                    <a:pos x="0" y="33"/>
                  </a:cxn>
                  <a:cxn ang="0">
                    <a:pos x="4" y="29"/>
                  </a:cxn>
                  <a:cxn ang="0">
                    <a:pos x="7" y="26"/>
                  </a:cxn>
                  <a:cxn ang="0">
                    <a:pos x="28" y="26"/>
                  </a:cxn>
                  <a:cxn ang="0">
                    <a:pos x="22" y="23"/>
                  </a:cxn>
                  <a:cxn ang="0">
                    <a:pos x="19" y="26"/>
                  </a:cxn>
                  <a:cxn ang="0">
                    <a:pos x="19" y="19"/>
                  </a:cxn>
                  <a:cxn ang="0">
                    <a:pos x="26" y="16"/>
                  </a:cxn>
                  <a:cxn ang="0">
                    <a:pos x="35" y="14"/>
                  </a:cxn>
                  <a:cxn ang="0">
                    <a:pos x="40" y="9"/>
                  </a:cxn>
                  <a:cxn ang="0">
                    <a:pos x="50" y="9"/>
                  </a:cxn>
                  <a:cxn ang="0">
                    <a:pos x="52" y="2"/>
                  </a:cxn>
                  <a:cxn ang="0">
                    <a:pos x="59" y="0"/>
                  </a:cxn>
                  <a:cxn ang="0">
                    <a:pos x="59" y="2"/>
                  </a:cxn>
                  <a:cxn ang="0">
                    <a:pos x="60" y="7"/>
                  </a:cxn>
                  <a:cxn ang="0">
                    <a:pos x="57" y="9"/>
                  </a:cxn>
                  <a:cxn ang="0">
                    <a:pos x="55" y="12"/>
                  </a:cxn>
                  <a:cxn ang="0">
                    <a:pos x="41" y="19"/>
                  </a:cxn>
                  <a:cxn ang="0">
                    <a:pos x="33" y="26"/>
                  </a:cxn>
                  <a:cxn ang="0">
                    <a:pos x="40" y="26"/>
                  </a:cxn>
                  <a:cxn ang="0">
                    <a:pos x="47" y="28"/>
                  </a:cxn>
                  <a:cxn ang="0">
                    <a:pos x="53" y="29"/>
                  </a:cxn>
                  <a:cxn ang="0">
                    <a:pos x="60" y="35"/>
                  </a:cxn>
                  <a:cxn ang="0">
                    <a:pos x="53" y="35"/>
                  </a:cxn>
                  <a:cxn ang="0">
                    <a:pos x="45" y="36"/>
                  </a:cxn>
                </a:cxnLst>
                <a:rect l="0" t="0" r="r" b="b"/>
                <a:pathLst>
                  <a:path w="60" h="42">
                    <a:moveTo>
                      <a:pt x="45" y="36"/>
                    </a:moveTo>
                    <a:lnTo>
                      <a:pt x="35" y="38"/>
                    </a:lnTo>
                    <a:lnTo>
                      <a:pt x="26" y="42"/>
                    </a:lnTo>
                    <a:lnTo>
                      <a:pt x="19" y="38"/>
                    </a:lnTo>
                    <a:lnTo>
                      <a:pt x="12" y="36"/>
                    </a:lnTo>
                    <a:lnTo>
                      <a:pt x="4" y="33"/>
                    </a:lnTo>
                    <a:lnTo>
                      <a:pt x="0" y="33"/>
                    </a:lnTo>
                    <a:lnTo>
                      <a:pt x="4" y="29"/>
                    </a:lnTo>
                    <a:lnTo>
                      <a:pt x="7" y="26"/>
                    </a:lnTo>
                    <a:lnTo>
                      <a:pt x="28" y="26"/>
                    </a:lnTo>
                    <a:lnTo>
                      <a:pt x="22" y="23"/>
                    </a:lnTo>
                    <a:lnTo>
                      <a:pt x="19" y="26"/>
                    </a:lnTo>
                    <a:lnTo>
                      <a:pt x="19" y="19"/>
                    </a:lnTo>
                    <a:lnTo>
                      <a:pt x="26" y="16"/>
                    </a:lnTo>
                    <a:lnTo>
                      <a:pt x="35" y="14"/>
                    </a:lnTo>
                    <a:lnTo>
                      <a:pt x="40" y="9"/>
                    </a:lnTo>
                    <a:lnTo>
                      <a:pt x="50" y="9"/>
                    </a:lnTo>
                    <a:lnTo>
                      <a:pt x="52" y="2"/>
                    </a:lnTo>
                    <a:lnTo>
                      <a:pt x="59" y="0"/>
                    </a:lnTo>
                    <a:lnTo>
                      <a:pt x="59" y="2"/>
                    </a:lnTo>
                    <a:lnTo>
                      <a:pt x="60" y="7"/>
                    </a:lnTo>
                    <a:lnTo>
                      <a:pt x="57" y="9"/>
                    </a:lnTo>
                    <a:lnTo>
                      <a:pt x="55" y="12"/>
                    </a:lnTo>
                    <a:lnTo>
                      <a:pt x="41" y="19"/>
                    </a:lnTo>
                    <a:lnTo>
                      <a:pt x="33" y="26"/>
                    </a:lnTo>
                    <a:lnTo>
                      <a:pt x="40" y="26"/>
                    </a:lnTo>
                    <a:lnTo>
                      <a:pt x="47" y="28"/>
                    </a:lnTo>
                    <a:lnTo>
                      <a:pt x="53" y="29"/>
                    </a:lnTo>
                    <a:lnTo>
                      <a:pt x="60" y="35"/>
                    </a:lnTo>
                    <a:lnTo>
                      <a:pt x="53" y="35"/>
                    </a:lnTo>
                    <a:lnTo>
                      <a:pt x="45"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3" name="Freeform 274"/>
              <p:cNvSpPr>
                <a:spLocks/>
              </p:cNvSpPr>
              <p:nvPr/>
            </p:nvSpPr>
            <p:spPr bwMode="auto">
              <a:xfrm>
                <a:off x="4553744" y="1597025"/>
                <a:ext cx="322263" cy="174625"/>
              </a:xfrm>
              <a:custGeom>
                <a:avLst/>
                <a:gdLst/>
                <a:ahLst/>
                <a:cxnLst>
                  <a:cxn ang="0">
                    <a:pos x="168" y="84"/>
                  </a:cxn>
                  <a:cxn ang="0">
                    <a:pos x="158" y="81"/>
                  </a:cxn>
                  <a:cxn ang="0">
                    <a:pos x="151" y="72"/>
                  </a:cxn>
                  <a:cxn ang="0">
                    <a:pos x="148" y="59"/>
                  </a:cxn>
                  <a:cxn ang="0">
                    <a:pos x="148" y="52"/>
                  </a:cxn>
                  <a:cxn ang="0">
                    <a:pos x="142" y="47"/>
                  </a:cxn>
                  <a:cxn ang="0">
                    <a:pos x="127" y="47"/>
                  </a:cxn>
                  <a:cxn ang="0">
                    <a:pos x="115" y="67"/>
                  </a:cxn>
                  <a:cxn ang="0">
                    <a:pos x="108" y="81"/>
                  </a:cxn>
                  <a:cxn ang="0">
                    <a:pos x="98" y="88"/>
                  </a:cxn>
                  <a:cxn ang="0">
                    <a:pos x="92" y="103"/>
                  </a:cxn>
                  <a:cxn ang="0">
                    <a:pos x="75" y="103"/>
                  </a:cxn>
                  <a:cxn ang="0">
                    <a:pos x="53" y="90"/>
                  </a:cxn>
                  <a:cxn ang="0">
                    <a:pos x="62" y="78"/>
                  </a:cxn>
                  <a:cxn ang="0">
                    <a:pos x="75" y="76"/>
                  </a:cxn>
                  <a:cxn ang="0">
                    <a:pos x="80" y="72"/>
                  </a:cxn>
                  <a:cxn ang="0">
                    <a:pos x="65" y="72"/>
                  </a:cxn>
                  <a:cxn ang="0">
                    <a:pos x="55" y="72"/>
                  </a:cxn>
                  <a:cxn ang="0">
                    <a:pos x="44" y="72"/>
                  </a:cxn>
                  <a:cxn ang="0">
                    <a:pos x="48" y="62"/>
                  </a:cxn>
                  <a:cxn ang="0">
                    <a:pos x="62" y="57"/>
                  </a:cxn>
                  <a:cxn ang="0">
                    <a:pos x="77" y="52"/>
                  </a:cxn>
                  <a:cxn ang="0">
                    <a:pos x="74" y="48"/>
                  </a:cxn>
                  <a:cxn ang="0">
                    <a:pos x="65" y="45"/>
                  </a:cxn>
                  <a:cxn ang="0">
                    <a:pos x="60" y="43"/>
                  </a:cxn>
                  <a:cxn ang="0">
                    <a:pos x="51" y="50"/>
                  </a:cxn>
                  <a:cxn ang="0">
                    <a:pos x="32" y="55"/>
                  </a:cxn>
                  <a:cxn ang="0">
                    <a:pos x="29" y="48"/>
                  </a:cxn>
                  <a:cxn ang="0">
                    <a:pos x="19" y="40"/>
                  </a:cxn>
                  <a:cxn ang="0">
                    <a:pos x="13" y="29"/>
                  </a:cxn>
                  <a:cxn ang="0">
                    <a:pos x="0" y="17"/>
                  </a:cxn>
                  <a:cxn ang="0">
                    <a:pos x="17" y="5"/>
                  </a:cxn>
                  <a:cxn ang="0">
                    <a:pos x="43" y="7"/>
                  </a:cxn>
                  <a:cxn ang="0">
                    <a:pos x="37" y="14"/>
                  </a:cxn>
                  <a:cxn ang="0">
                    <a:pos x="51" y="23"/>
                  </a:cxn>
                  <a:cxn ang="0">
                    <a:pos x="48" y="16"/>
                  </a:cxn>
                  <a:cxn ang="0">
                    <a:pos x="56" y="7"/>
                  </a:cxn>
                  <a:cxn ang="0">
                    <a:pos x="67" y="16"/>
                  </a:cxn>
                  <a:cxn ang="0">
                    <a:pos x="79" y="29"/>
                  </a:cxn>
                  <a:cxn ang="0">
                    <a:pos x="72" y="7"/>
                  </a:cxn>
                  <a:cxn ang="0">
                    <a:pos x="82" y="0"/>
                  </a:cxn>
                  <a:cxn ang="0">
                    <a:pos x="94" y="2"/>
                  </a:cxn>
                  <a:cxn ang="0">
                    <a:pos x="103" y="9"/>
                  </a:cxn>
                  <a:cxn ang="0">
                    <a:pos x="101" y="19"/>
                  </a:cxn>
                  <a:cxn ang="0">
                    <a:pos x="110" y="12"/>
                  </a:cxn>
                  <a:cxn ang="0">
                    <a:pos x="117" y="24"/>
                  </a:cxn>
                  <a:cxn ang="0">
                    <a:pos x="122" y="26"/>
                  </a:cxn>
                  <a:cxn ang="0">
                    <a:pos x="142" y="33"/>
                  </a:cxn>
                  <a:cxn ang="0">
                    <a:pos x="163" y="47"/>
                  </a:cxn>
                  <a:cxn ang="0">
                    <a:pos x="158" y="48"/>
                  </a:cxn>
                  <a:cxn ang="0">
                    <a:pos x="166" y="48"/>
                  </a:cxn>
                  <a:cxn ang="0">
                    <a:pos x="166" y="55"/>
                  </a:cxn>
                  <a:cxn ang="0">
                    <a:pos x="182" y="55"/>
                  </a:cxn>
                  <a:cxn ang="0">
                    <a:pos x="189" y="67"/>
                  </a:cxn>
                  <a:cxn ang="0">
                    <a:pos x="203" y="72"/>
                  </a:cxn>
                  <a:cxn ang="0">
                    <a:pos x="185" y="81"/>
                  </a:cxn>
                  <a:cxn ang="0">
                    <a:pos x="170" y="91"/>
                  </a:cxn>
                </a:cxnLst>
                <a:rect l="0" t="0" r="r" b="b"/>
                <a:pathLst>
                  <a:path w="203" h="110">
                    <a:moveTo>
                      <a:pt x="170" y="91"/>
                    </a:moveTo>
                    <a:lnTo>
                      <a:pt x="168" y="84"/>
                    </a:lnTo>
                    <a:lnTo>
                      <a:pt x="170" y="81"/>
                    </a:lnTo>
                    <a:lnTo>
                      <a:pt x="158" y="81"/>
                    </a:lnTo>
                    <a:lnTo>
                      <a:pt x="148" y="81"/>
                    </a:lnTo>
                    <a:lnTo>
                      <a:pt x="151" y="72"/>
                    </a:lnTo>
                    <a:lnTo>
                      <a:pt x="154" y="65"/>
                    </a:lnTo>
                    <a:lnTo>
                      <a:pt x="148" y="59"/>
                    </a:lnTo>
                    <a:lnTo>
                      <a:pt x="144" y="52"/>
                    </a:lnTo>
                    <a:lnTo>
                      <a:pt x="148" y="52"/>
                    </a:lnTo>
                    <a:lnTo>
                      <a:pt x="151" y="52"/>
                    </a:lnTo>
                    <a:lnTo>
                      <a:pt x="142" y="47"/>
                    </a:lnTo>
                    <a:lnTo>
                      <a:pt x="139" y="43"/>
                    </a:lnTo>
                    <a:lnTo>
                      <a:pt x="127" y="47"/>
                    </a:lnTo>
                    <a:lnTo>
                      <a:pt x="120" y="55"/>
                    </a:lnTo>
                    <a:lnTo>
                      <a:pt x="115" y="67"/>
                    </a:lnTo>
                    <a:lnTo>
                      <a:pt x="111" y="79"/>
                    </a:lnTo>
                    <a:lnTo>
                      <a:pt x="108" y="81"/>
                    </a:lnTo>
                    <a:lnTo>
                      <a:pt x="105" y="83"/>
                    </a:lnTo>
                    <a:lnTo>
                      <a:pt x="98" y="88"/>
                    </a:lnTo>
                    <a:lnTo>
                      <a:pt x="96" y="96"/>
                    </a:lnTo>
                    <a:lnTo>
                      <a:pt x="92" y="103"/>
                    </a:lnTo>
                    <a:lnTo>
                      <a:pt x="89" y="110"/>
                    </a:lnTo>
                    <a:lnTo>
                      <a:pt x="75" y="103"/>
                    </a:lnTo>
                    <a:lnTo>
                      <a:pt x="63" y="98"/>
                    </a:lnTo>
                    <a:lnTo>
                      <a:pt x="53" y="90"/>
                    </a:lnTo>
                    <a:lnTo>
                      <a:pt x="49" y="79"/>
                    </a:lnTo>
                    <a:lnTo>
                      <a:pt x="62" y="78"/>
                    </a:lnTo>
                    <a:lnTo>
                      <a:pt x="68" y="79"/>
                    </a:lnTo>
                    <a:lnTo>
                      <a:pt x="75" y="76"/>
                    </a:lnTo>
                    <a:lnTo>
                      <a:pt x="86" y="76"/>
                    </a:lnTo>
                    <a:lnTo>
                      <a:pt x="80" y="72"/>
                    </a:lnTo>
                    <a:lnTo>
                      <a:pt x="74" y="72"/>
                    </a:lnTo>
                    <a:lnTo>
                      <a:pt x="65" y="72"/>
                    </a:lnTo>
                    <a:lnTo>
                      <a:pt x="62" y="72"/>
                    </a:lnTo>
                    <a:lnTo>
                      <a:pt x="55" y="72"/>
                    </a:lnTo>
                    <a:lnTo>
                      <a:pt x="49" y="74"/>
                    </a:lnTo>
                    <a:lnTo>
                      <a:pt x="44" y="72"/>
                    </a:lnTo>
                    <a:lnTo>
                      <a:pt x="43" y="65"/>
                    </a:lnTo>
                    <a:lnTo>
                      <a:pt x="48" y="62"/>
                    </a:lnTo>
                    <a:lnTo>
                      <a:pt x="58" y="60"/>
                    </a:lnTo>
                    <a:lnTo>
                      <a:pt x="62" y="57"/>
                    </a:lnTo>
                    <a:lnTo>
                      <a:pt x="70" y="55"/>
                    </a:lnTo>
                    <a:lnTo>
                      <a:pt x="77" y="52"/>
                    </a:lnTo>
                    <a:lnTo>
                      <a:pt x="84" y="48"/>
                    </a:lnTo>
                    <a:lnTo>
                      <a:pt x="74" y="48"/>
                    </a:lnTo>
                    <a:lnTo>
                      <a:pt x="70" y="48"/>
                    </a:lnTo>
                    <a:lnTo>
                      <a:pt x="65" y="45"/>
                    </a:lnTo>
                    <a:lnTo>
                      <a:pt x="62" y="43"/>
                    </a:lnTo>
                    <a:lnTo>
                      <a:pt x="60" y="43"/>
                    </a:lnTo>
                    <a:lnTo>
                      <a:pt x="58" y="43"/>
                    </a:lnTo>
                    <a:lnTo>
                      <a:pt x="51" y="50"/>
                    </a:lnTo>
                    <a:lnTo>
                      <a:pt x="43" y="57"/>
                    </a:lnTo>
                    <a:lnTo>
                      <a:pt x="32" y="55"/>
                    </a:lnTo>
                    <a:lnTo>
                      <a:pt x="27" y="50"/>
                    </a:lnTo>
                    <a:lnTo>
                      <a:pt x="29" y="48"/>
                    </a:lnTo>
                    <a:lnTo>
                      <a:pt x="31" y="48"/>
                    </a:lnTo>
                    <a:lnTo>
                      <a:pt x="19" y="40"/>
                    </a:lnTo>
                    <a:lnTo>
                      <a:pt x="17" y="31"/>
                    </a:lnTo>
                    <a:lnTo>
                      <a:pt x="13" y="29"/>
                    </a:lnTo>
                    <a:lnTo>
                      <a:pt x="7" y="24"/>
                    </a:lnTo>
                    <a:lnTo>
                      <a:pt x="0" y="17"/>
                    </a:lnTo>
                    <a:lnTo>
                      <a:pt x="7" y="10"/>
                    </a:lnTo>
                    <a:lnTo>
                      <a:pt x="17" y="5"/>
                    </a:lnTo>
                    <a:lnTo>
                      <a:pt x="27" y="5"/>
                    </a:lnTo>
                    <a:lnTo>
                      <a:pt x="43" y="7"/>
                    </a:lnTo>
                    <a:lnTo>
                      <a:pt x="39" y="10"/>
                    </a:lnTo>
                    <a:lnTo>
                      <a:pt x="37" y="14"/>
                    </a:lnTo>
                    <a:lnTo>
                      <a:pt x="44" y="17"/>
                    </a:lnTo>
                    <a:lnTo>
                      <a:pt x="51" y="23"/>
                    </a:lnTo>
                    <a:lnTo>
                      <a:pt x="48" y="19"/>
                    </a:lnTo>
                    <a:lnTo>
                      <a:pt x="48" y="16"/>
                    </a:lnTo>
                    <a:lnTo>
                      <a:pt x="49" y="9"/>
                    </a:lnTo>
                    <a:lnTo>
                      <a:pt x="56" y="7"/>
                    </a:lnTo>
                    <a:lnTo>
                      <a:pt x="63" y="9"/>
                    </a:lnTo>
                    <a:lnTo>
                      <a:pt x="67" y="16"/>
                    </a:lnTo>
                    <a:lnTo>
                      <a:pt x="70" y="23"/>
                    </a:lnTo>
                    <a:lnTo>
                      <a:pt x="79" y="29"/>
                    </a:lnTo>
                    <a:lnTo>
                      <a:pt x="74" y="17"/>
                    </a:lnTo>
                    <a:lnTo>
                      <a:pt x="72" y="7"/>
                    </a:lnTo>
                    <a:lnTo>
                      <a:pt x="74" y="0"/>
                    </a:lnTo>
                    <a:lnTo>
                      <a:pt x="82" y="0"/>
                    </a:lnTo>
                    <a:lnTo>
                      <a:pt x="87" y="0"/>
                    </a:lnTo>
                    <a:lnTo>
                      <a:pt x="94" y="2"/>
                    </a:lnTo>
                    <a:lnTo>
                      <a:pt x="99" y="4"/>
                    </a:lnTo>
                    <a:lnTo>
                      <a:pt x="103" y="9"/>
                    </a:lnTo>
                    <a:lnTo>
                      <a:pt x="101" y="14"/>
                    </a:lnTo>
                    <a:lnTo>
                      <a:pt x="101" y="19"/>
                    </a:lnTo>
                    <a:lnTo>
                      <a:pt x="105" y="14"/>
                    </a:lnTo>
                    <a:lnTo>
                      <a:pt x="110" y="12"/>
                    </a:lnTo>
                    <a:lnTo>
                      <a:pt x="117" y="16"/>
                    </a:lnTo>
                    <a:lnTo>
                      <a:pt x="117" y="24"/>
                    </a:lnTo>
                    <a:lnTo>
                      <a:pt x="118" y="24"/>
                    </a:lnTo>
                    <a:lnTo>
                      <a:pt x="122" y="26"/>
                    </a:lnTo>
                    <a:lnTo>
                      <a:pt x="129" y="28"/>
                    </a:lnTo>
                    <a:lnTo>
                      <a:pt x="142" y="33"/>
                    </a:lnTo>
                    <a:lnTo>
                      <a:pt x="154" y="40"/>
                    </a:lnTo>
                    <a:lnTo>
                      <a:pt x="163" y="47"/>
                    </a:lnTo>
                    <a:lnTo>
                      <a:pt x="160" y="47"/>
                    </a:lnTo>
                    <a:lnTo>
                      <a:pt x="158" y="48"/>
                    </a:lnTo>
                    <a:lnTo>
                      <a:pt x="161" y="48"/>
                    </a:lnTo>
                    <a:lnTo>
                      <a:pt x="166" y="48"/>
                    </a:lnTo>
                    <a:lnTo>
                      <a:pt x="166" y="52"/>
                    </a:lnTo>
                    <a:lnTo>
                      <a:pt x="166" y="55"/>
                    </a:lnTo>
                    <a:lnTo>
                      <a:pt x="173" y="55"/>
                    </a:lnTo>
                    <a:lnTo>
                      <a:pt x="182" y="55"/>
                    </a:lnTo>
                    <a:lnTo>
                      <a:pt x="184" y="62"/>
                    </a:lnTo>
                    <a:lnTo>
                      <a:pt x="189" y="67"/>
                    </a:lnTo>
                    <a:lnTo>
                      <a:pt x="196" y="69"/>
                    </a:lnTo>
                    <a:lnTo>
                      <a:pt x="203" y="72"/>
                    </a:lnTo>
                    <a:lnTo>
                      <a:pt x="192" y="76"/>
                    </a:lnTo>
                    <a:lnTo>
                      <a:pt x="185" y="81"/>
                    </a:lnTo>
                    <a:lnTo>
                      <a:pt x="177" y="86"/>
                    </a:lnTo>
                    <a:lnTo>
                      <a:pt x="170"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4" name="Freeform 275"/>
              <p:cNvSpPr>
                <a:spLocks/>
              </p:cNvSpPr>
              <p:nvPr/>
            </p:nvSpPr>
            <p:spPr bwMode="auto">
              <a:xfrm>
                <a:off x="4722019" y="1570038"/>
                <a:ext cx="207963" cy="73025"/>
              </a:xfrm>
              <a:custGeom>
                <a:avLst/>
                <a:gdLst/>
                <a:ahLst/>
                <a:cxnLst>
                  <a:cxn ang="0">
                    <a:pos x="131" y="21"/>
                  </a:cxn>
                  <a:cxn ang="0">
                    <a:pos x="119" y="27"/>
                  </a:cxn>
                  <a:cxn ang="0">
                    <a:pos x="105" y="36"/>
                  </a:cxn>
                  <a:cxn ang="0">
                    <a:pos x="90" y="43"/>
                  </a:cxn>
                  <a:cxn ang="0">
                    <a:pos x="79" y="46"/>
                  </a:cxn>
                  <a:cxn ang="0">
                    <a:pos x="67" y="43"/>
                  </a:cxn>
                  <a:cxn ang="0">
                    <a:pos x="62" y="38"/>
                  </a:cxn>
                  <a:cxn ang="0">
                    <a:pos x="33" y="38"/>
                  </a:cxn>
                  <a:cxn ang="0">
                    <a:pos x="26" y="34"/>
                  </a:cxn>
                  <a:cxn ang="0">
                    <a:pos x="26" y="29"/>
                  </a:cxn>
                  <a:cxn ang="0">
                    <a:pos x="31" y="29"/>
                  </a:cxn>
                  <a:cxn ang="0">
                    <a:pos x="36" y="29"/>
                  </a:cxn>
                  <a:cxn ang="0">
                    <a:pos x="42" y="27"/>
                  </a:cxn>
                  <a:cxn ang="0">
                    <a:pos x="48" y="26"/>
                  </a:cxn>
                  <a:cxn ang="0">
                    <a:pos x="43" y="24"/>
                  </a:cxn>
                  <a:cxn ang="0">
                    <a:pos x="36" y="24"/>
                  </a:cxn>
                  <a:cxn ang="0">
                    <a:pos x="28" y="24"/>
                  </a:cxn>
                  <a:cxn ang="0">
                    <a:pos x="24" y="24"/>
                  </a:cxn>
                  <a:cxn ang="0">
                    <a:pos x="11" y="26"/>
                  </a:cxn>
                  <a:cxn ang="0">
                    <a:pos x="7" y="19"/>
                  </a:cxn>
                  <a:cxn ang="0">
                    <a:pos x="2" y="14"/>
                  </a:cxn>
                  <a:cxn ang="0">
                    <a:pos x="0" y="7"/>
                  </a:cxn>
                  <a:cxn ang="0">
                    <a:pos x="7" y="7"/>
                  </a:cxn>
                  <a:cxn ang="0">
                    <a:pos x="12" y="9"/>
                  </a:cxn>
                  <a:cxn ang="0">
                    <a:pos x="17" y="9"/>
                  </a:cxn>
                  <a:cxn ang="0">
                    <a:pos x="17" y="7"/>
                  </a:cxn>
                  <a:cxn ang="0">
                    <a:pos x="26" y="7"/>
                  </a:cxn>
                  <a:cxn ang="0">
                    <a:pos x="23" y="2"/>
                  </a:cxn>
                  <a:cxn ang="0">
                    <a:pos x="38" y="2"/>
                  </a:cxn>
                  <a:cxn ang="0">
                    <a:pos x="40" y="3"/>
                  </a:cxn>
                  <a:cxn ang="0">
                    <a:pos x="47" y="7"/>
                  </a:cxn>
                  <a:cxn ang="0">
                    <a:pos x="52" y="9"/>
                  </a:cxn>
                  <a:cxn ang="0">
                    <a:pos x="57" y="12"/>
                  </a:cxn>
                  <a:cxn ang="0">
                    <a:pos x="64" y="5"/>
                  </a:cxn>
                  <a:cxn ang="0">
                    <a:pos x="71" y="0"/>
                  </a:cxn>
                  <a:cxn ang="0">
                    <a:pos x="76" y="0"/>
                  </a:cxn>
                  <a:cxn ang="0">
                    <a:pos x="76" y="7"/>
                  </a:cxn>
                  <a:cxn ang="0">
                    <a:pos x="76" y="12"/>
                  </a:cxn>
                  <a:cxn ang="0">
                    <a:pos x="83" y="9"/>
                  </a:cxn>
                  <a:cxn ang="0">
                    <a:pos x="91" y="7"/>
                  </a:cxn>
                  <a:cxn ang="0">
                    <a:pos x="102" y="7"/>
                  </a:cxn>
                  <a:cxn ang="0">
                    <a:pos x="109" y="7"/>
                  </a:cxn>
                  <a:cxn ang="0">
                    <a:pos x="122" y="10"/>
                  </a:cxn>
                  <a:cxn ang="0">
                    <a:pos x="131" y="21"/>
                  </a:cxn>
                </a:cxnLst>
                <a:rect l="0" t="0" r="r" b="b"/>
                <a:pathLst>
                  <a:path w="131" h="46">
                    <a:moveTo>
                      <a:pt x="131" y="21"/>
                    </a:moveTo>
                    <a:lnTo>
                      <a:pt x="119" y="27"/>
                    </a:lnTo>
                    <a:lnTo>
                      <a:pt x="105" y="36"/>
                    </a:lnTo>
                    <a:lnTo>
                      <a:pt x="90" y="43"/>
                    </a:lnTo>
                    <a:lnTo>
                      <a:pt x="79" y="46"/>
                    </a:lnTo>
                    <a:lnTo>
                      <a:pt x="67" y="43"/>
                    </a:lnTo>
                    <a:lnTo>
                      <a:pt x="62" y="38"/>
                    </a:lnTo>
                    <a:lnTo>
                      <a:pt x="33" y="38"/>
                    </a:lnTo>
                    <a:lnTo>
                      <a:pt x="26" y="34"/>
                    </a:lnTo>
                    <a:lnTo>
                      <a:pt x="26" y="29"/>
                    </a:lnTo>
                    <a:lnTo>
                      <a:pt x="31" y="29"/>
                    </a:lnTo>
                    <a:lnTo>
                      <a:pt x="36" y="29"/>
                    </a:lnTo>
                    <a:lnTo>
                      <a:pt x="42" y="27"/>
                    </a:lnTo>
                    <a:lnTo>
                      <a:pt x="48" y="26"/>
                    </a:lnTo>
                    <a:lnTo>
                      <a:pt x="43" y="24"/>
                    </a:lnTo>
                    <a:lnTo>
                      <a:pt x="36" y="24"/>
                    </a:lnTo>
                    <a:lnTo>
                      <a:pt x="28" y="24"/>
                    </a:lnTo>
                    <a:lnTo>
                      <a:pt x="24" y="24"/>
                    </a:lnTo>
                    <a:lnTo>
                      <a:pt x="11" y="26"/>
                    </a:lnTo>
                    <a:lnTo>
                      <a:pt x="7" y="19"/>
                    </a:lnTo>
                    <a:lnTo>
                      <a:pt x="2" y="14"/>
                    </a:lnTo>
                    <a:lnTo>
                      <a:pt x="0" y="7"/>
                    </a:lnTo>
                    <a:lnTo>
                      <a:pt x="7" y="7"/>
                    </a:lnTo>
                    <a:lnTo>
                      <a:pt x="12" y="9"/>
                    </a:lnTo>
                    <a:lnTo>
                      <a:pt x="17" y="9"/>
                    </a:lnTo>
                    <a:lnTo>
                      <a:pt x="17" y="7"/>
                    </a:lnTo>
                    <a:lnTo>
                      <a:pt x="26" y="7"/>
                    </a:lnTo>
                    <a:lnTo>
                      <a:pt x="23" y="2"/>
                    </a:lnTo>
                    <a:lnTo>
                      <a:pt x="38" y="2"/>
                    </a:lnTo>
                    <a:lnTo>
                      <a:pt x="40" y="3"/>
                    </a:lnTo>
                    <a:lnTo>
                      <a:pt x="47" y="7"/>
                    </a:lnTo>
                    <a:lnTo>
                      <a:pt x="52" y="9"/>
                    </a:lnTo>
                    <a:lnTo>
                      <a:pt x="57" y="12"/>
                    </a:lnTo>
                    <a:lnTo>
                      <a:pt x="64" y="5"/>
                    </a:lnTo>
                    <a:lnTo>
                      <a:pt x="71" y="0"/>
                    </a:lnTo>
                    <a:lnTo>
                      <a:pt x="76" y="0"/>
                    </a:lnTo>
                    <a:lnTo>
                      <a:pt x="76" y="7"/>
                    </a:lnTo>
                    <a:lnTo>
                      <a:pt x="76" y="12"/>
                    </a:lnTo>
                    <a:lnTo>
                      <a:pt x="83" y="9"/>
                    </a:lnTo>
                    <a:lnTo>
                      <a:pt x="91" y="7"/>
                    </a:lnTo>
                    <a:lnTo>
                      <a:pt x="102" y="7"/>
                    </a:lnTo>
                    <a:lnTo>
                      <a:pt x="109" y="7"/>
                    </a:lnTo>
                    <a:lnTo>
                      <a:pt x="122" y="10"/>
                    </a:lnTo>
                    <a:lnTo>
                      <a:pt x="131"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5" name="Freeform 276"/>
              <p:cNvSpPr>
                <a:spLocks/>
              </p:cNvSpPr>
              <p:nvPr/>
            </p:nvSpPr>
            <p:spPr bwMode="auto">
              <a:xfrm>
                <a:off x="4547394" y="1654175"/>
                <a:ext cx="33338" cy="33337"/>
              </a:xfrm>
              <a:custGeom>
                <a:avLst/>
                <a:gdLst/>
                <a:ahLst/>
                <a:cxnLst>
                  <a:cxn ang="0">
                    <a:pos x="4" y="0"/>
                  </a:cxn>
                  <a:cxn ang="0">
                    <a:pos x="12" y="9"/>
                  </a:cxn>
                  <a:cxn ang="0">
                    <a:pos x="21" y="21"/>
                  </a:cxn>
                  <a:cxn ang="0">
                    <a:pos x="12" y="16"/>
                  </a:cxn>
                  <a:cxn ang="0">
                    <a:pos x="5" y="11"/>
                  </a:cxn>
                  <a:cxn ang="0">
                    <a:pos x="0" y="4"/>
                  </a:cxn>
                  <a:cxn ang="0">
                    <a:pos x="5" y="0"/>
                  </a:cxn>
                  <a:cxn ang="0">
                    <a:pos x="5" y="2"/>
                  </a:cxn>
                  <a:cxn ang="0">
                    <a:pos x="4" y="0"/>
                  </a:cxn>
                </a:cxnLst>
                <a:rect l="0" t="0" r="r" b="b"/>
                <a:pathLst>
                  <a:path w="21" h="21">
                    <a:moveTo>
                      <a:pt x="4" y="0"/>
                    </a:moveTo>
                    <a:lnTo>
                      <a:pt x="12" y="9"/>
                    </a:lnTo>
                    <a:lnTo>
                      <a:pt x="21" y="21"/>
                    </a:lnTo>
                    <a:lnTo>
                      <a:pt x="12" y="16"/>
                    </a:lnTo>
                    <a:lnTo>
                      <a:pt x="5" y="11"/>
                    </a:lnTo>
                    <a:lnTo>
                      <a:pt x="0" y="4"/>
                    </a:lnTo>
                    <a:lnTo>
                      <a:pt x="5" y="0"/>
                    </a:lnTo>
                    <a:lnTo>
                      <a:pt x="5"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6" name="Freeform 277"/>
              <p:cNvSpPr>
                <a:spLocks/>
              </p:cNvSpPr>
              <p:nvPr/>
            </p:nvSpPr>
            <p:spPr bwMode="auto">
              <a:xfrm>
                <a:off x="4087019" y="2598738"/>
                <a:ext cx="100013" cy="120650"/>
              </a:xfrm>
              <a:custGeom>
                <a:avLst/>
                <a:gdLst/>
                <a:ahLst/>
                <a:cxnLst>
                  <a:cxn ang="0">
                    <a:pos x="10" y="23"/>
                  </a:cxn>
                  <a:cxn ang="0">
                    <a:pos x="17" y="19"/>
                  </a:cxn>
                  <a:cxn ang="0">
                    <a:pos x="25" y="16"/>
                  </a:cxn>
                  <a:cxn ang="0">
                    <a:pos x="22" y="12"/>
                  </a:cxn>
                  <a:cxn ang="0">
                    <a:pos x="22" y="9"/>
                  </a:cxn>
                  <a:cxn ang="0">
                    <a:pos x="27" y="2"/>
                  </a:cxn>
                  <a:cxn ang="0">
                    <a:pos x="37" y="0"/>
                  </a:cxn>
                  <a:cxn ang="0">
                    <a:pos x="41" y="0"/>
                  </a:cxn>
                  <a:cxn ang="0">
                    <a:pos x="46" y="0"/>
                  </a:cxn>
                  <a:cxn ang="0">
                    <a:pos x="58" y="7"/>
                  </a:cxn>
                  <a:cxn ang="0">
                    <a:pos x="63" y="21"/>
                  </a:cxn>
                  <a:cxn ang="0">
                    <a:pos x="58" y="24"/>
                  </a:cxn>
                  <a:cxn ang="0">
                    <a:pos x="53" y="28"/>
                  </a:cxn>
                  <a:cxn ang="0">
                    <a:pos x="53" y="31"/>
                  </a:cxn>
                  <a:cxn ang="0">
                    <a:pos x="53" y="36"/>
                  </a:cxn>
                  <a:cxn ang="0">
                    <a:pos x="53" y="41"/>
                  </a:cxn>
                  <a:cxn ang="0">
                    <a:pos x="53" y="45"/>
                  </a:cxn>
                  <a:cxn ang="0">
                    <a:pos x="53" y="52"/>
                  </a:cxn>
                  <a:cxn ang="0">
                    <a:pos x="53" y="60"/>
                  </a:cxn>
                  <a:cxn ang="0">
                    <a:pos x="46" y="60"/>
                  </a:cxn>
                  <a:cxn ang="0">
                    <a:pos x="39" y="62"/>
                  </a:cxn>
                  <a:cxn ang="0">
                    <a:pos x="29" y="66"/>
                  </a:cxn>
                  <a:cxn ang="0">
                    <a:pos x="22" y="74"/>
                  </a:cxn>
                  <a:cxn ang="0">
                    <a:pos x="17" y="74"/>
                  </a:cxn>
                  <a:cxn ang="0">
                    <a:pos x="12" y="76"/>
                  </a:cxn>
                  <a:cxn ang="0">
                    <a:pos x="3" y="72"/>
                  </a:cxn>
                  <a:cxn ang="0">
                    <a:pos x="0" y="64"/>
                  </a:cxn>
                  <a:cxn ang="0">
                    <a:pos x="5" y="50"/>
                  </a:cxn>
                  <a:cxn ang="0">
                    <a:pos x="13" y="38"/>
                  </a:cxn>
                  <a:cxn ang="0">
                    <a:pos x="6" y="33"/>
                  </a:cxn>
                  <a:cxn ang="0">
                    <a:pos x="5" y="28"/>
                  </a:cxn>
                  <a:cxn ang="0">
                    <a:pos x="6" y="23"/>
                  </a:cxn>
                  <a:cxn ang="0">
                    <a:pos x="10" y="23"/>
                  </a:cxn>
                </a:cxnLst>
                <a:rect l="0" t="0" r="r" b="b"/>
                <a:pathLst>
                  <a:path w="63" h="76">
                    <a:moveTo>
                      <a:pt x="10" y="23"/>
                    </a:moveTo>
                    <a:lnTo>
                      <a:pt x="17" y="19"/>
                    </a:lnTo>
                    <a:lnTo>
                      <a:pt x="25" y="16"/>
                    </a:lnTo>
                    <a:lnTo>
                      <a:pt x="22" y="12"/>
                    </a:lnTo>
                    <a:lnTo>
                      <a:pt x="22" y="9"/>
                    </a:lnTo>
                    <a:lnTo>
                      <a:pt x="27" y="2"/>
                    </a:lnTo>
                    <a:lnTo>
                      <a:pt x="37" y="0"/>
                    </a:lnTo>
                    <a:lnTo>
                      <a:pt x="41" y="0"/>
                    </a:lnTo>
                    <a:lnTo>
                      <a:pt x="46" y="0"/>
                    </a:lnTo>
                    <a:lnTo>
                      <a:pt x="58" y="7"/>
                    </a:lnTo>
                    <a:lnTo>
                      <a:pt x="63" y="21"/>
                    </a:lnTo>
                    <a:lnTo>
                      <a:pt x="58" y="24"/>
                    </a:lnTo>
                    <a:lnTo>
                      <a:pt x="53" y="28"/>
                    </a:lnTo>
                    <a:lnTo>
                      <a:pt x="53" y="31"/>
                    </a:lnTo>
                    <a:lnTo>
                      <a:pt x="53" y="36"/>
                    </a:lnTo>
                    <a:lnTo>
                      <a:pt x="53" y="41"/>
                    </a:lnTo>
                    <a:lnTo>
                      <a:pt x="53" y="45"/>
                    </a:lnTo>
                    <a:lnTo>
                      <a:pt x="53" y="52"/>
                    </a:lnTo>
                    <a:lnTo>
                      <a:pt x="53" y="60"/>
                    </a:lnTo>
                    <a:lnTo>
                      <a:pt x="46" y="60"/>
                    </a:lnTo>
                    <a:lnTo>
                      <a:pt x="39" y="62"/>
                    </a:lnTo>
                    <a:lnTo>
                      <a:pt x="29" y="66"/>
                    </a:lnTo>
                    <a:lnTo>
                      <a:pt x="22" y="74"/>
                    </a:lnTo>
                    <a:lnTo>
                      <a:pt x="17" y="74"/>
                    </a:lnTo>
                    <a:lnTo>
                      <a:pt x="12" y="76"/>
                    </a:lnTo>
                    <a:lnTo>
                      <a:pt x="3" y="72"/>
                    </a:lnTo>
                    <a:lnTo>
                      <a:pt x="0" y="64"/>
                    </a:lnTo>
                    <a:lnTo>
                      <a:pt x="5" y="50"/>
                    </a:lnTo>
                    <a:lnTo>
                      <a:pt x="13" y="38"/>
                    </a:lnTo>
                    <a:lnTo>
                      <a:pt x="6" y="33"/>
                    </a:lnTo>
                    <a:lnTo>
                      <a:pt x="5" y="28"/>
                    </a:lnTo>
                    <a:lnTo>
                      <a:pt x="6" y="23"/>
                    </a:lnTo>
                    <a:lnTo>
                      <a:pt x="10"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7" name="Freeform 278"/>
              <p:cNvSpPr>
                <a:spLocks/>
              </p:cNvSpPr>
              <p:nvPr/>
            </p:nvSpPr>
            <p:spPr bwMode="auto">
              <a:xfrm>
                <a:off x="4155282" y="2495550"/>
                <a:ext cx="19050" cy="19050"/>
              </a:xfrm>
              <a:custGeom>
                <a:avLst/>
                <a:gdLst/>
                <a:ahLst/>
                <a:cxnLst>
                  <a:cxn ang="0">
                    <a:pos x="1" y="12"/>
                  </a:cxn>
                  <a:cxn ang="0">
                    <a:pos x="0" y="8"/>
                  </a:cxn>
                  <a:cxn ang="0">
                    <a:pos x="0" y="7"/>
                  </a:cxn>
                  <a:cxn ang="0">
                    <a:pos x="3" y="2"/>
                  </a:cxn>
                  <a:cxn ang="0">
                    <a:pos x="12" y="0"/>
                  </a:cxn>
                  <a:cxn ang="0">
                    <a:pos x="8" y="8"/>
                  </a:cxn>
                  <a:cxn ang="0">
                    <a:pos x="1" y="12"/>
                  </a:cxn>
                </a:cxnLst>
                <a:rect l="0" t="0" r="r" b="b"/>
                <a:pathLst>
                  <a:path w="12" h="12">
                    <a:moveTo>
                      <a:pt x="1" y="12"/>
                    </a:moveTo>
                    <a:lnTo>
                      <a:pt x="0" y="8"/>
                    </a:lnTo>
                    <a:lnTo>
                      <a:pt x="0" y="7"/>
                    </a:lnTo>
                    <a:lnTo>
                      <a:pt x="3" y="2"/>
                    </a:lnTo>
                    <a:lnTo>
                      <a:pt x="12" y="0"/>
                    </a:lnTo>
                    <a:lnTo>
                      <a:pt x="8" y="8"/>
                    </a:lnTo>
                    <a:lnTo>
                      <a:pt x="1"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8" name="Freeform 279"/>
              <p:cNvSpPr>
                <a:spLocks/>
              </p:cNvSpPr>
              <p:nvPr/>
            </p:nvSpPr>
            <p:spPr bwMode="auto">
              <a:xfrm>
                <a:off x="4164807" y="2487613"/>
                <a:ext cx="192088" cy="274637"/>
              </a:xfrm>
              <a:custGeom>
                <a:avLst/>
                <a:gdLst/>
                <a:ahLst/>
                <a:cxnLst>
                  <a:cxn ang="0">
                    <a:pos x="105" y="115"/>
                  </a:cxn>
                  <a:cxn ang="0">
                    <a:pos x="117" y="118"/>
                  </a:cxn>
                  <a:cxn ang="0">
                    <a:pos x="114" y="136"/>
                  </a:cxn>
                  <a:cxn ang="0">
                    <a:pos x="109" y="146"/>
                  </a:cxn>
                  <a:cxn ang="0">
                    <a:pos x="114" y="151"/>
                  </a:cxn>
                  <a:cxn ang="0">
                    <a:pos x="100" y="160"/>
                  </a:cxn>
                  <a:cxn ang="0">
                    <a:pos x="80" y="160"/>
                  </a:cxn>
                  <a:cxn ang="0">
                    <a:pos x="66" y="161"/>
                  </a:cxn>
                  <a:cxn ang="0">
                    <a:pos x="54" y="163"/>
                  </a:cxn>
                  <a:cxn ang="0">
                    <a:pos x="45" y="161"/>
                  </a:cxn>
                  <a:cxn ang="0">
                    <a:pos x="37" y="170"/>
                  </a:cxn>
                  <a:cxn ang="0">
                    <a:pos x="24" y="170"/>
                  </a:cxn>
                  <a:cxn ang="0">
                    <a:pos x="19" y="173"/>
                  </a:cxn>
                  <a:cxn ang="0">
                    <a:pos x="21" y="165"/>
                  </a:cxn>
                  <a:cxn ang="0">
                    <a:pos x="31" y="153"/>
                  </a:cxn>
                  <a:cxn ang="0">
                    <a:pos x="47" y="149"/>
                  </a:cxn>
                  <a:cxn ang="0">
                    <a:pos x="52" y="142"/>
                  </a:cxn>
                  <a:cxn ang="0">
                    <a:pos x="47" y="144"/>
                  </a:cxn>
                  <a:cxn ang="0">
                    <a:pos x="35" y="142"/>
                  </a:cxn>
                  <a:cxn ang="0">
                    <a:pos x="26" y="141"/>
                  </a:cxn>
                  <a:cxn ang="0">
                    <a:pos x="21" y="141"/>
                  </a:cxn>
                  <a:cxn ang="0">
                    <a:pos x="28" y="132"/>
                  </a:cxn>
                  <a:cxn ang="0">
                    <a:pos x="37" y="125"/>
                  </a:cxn>
                  <a:cxn ang="0">
                    <a:pos x="31" y="110"/>
                  </a:cxn>
                  <a:cxn ang="0">
                    <a:pos x="55" y="101"/>
                  </a:cxn>
                  <a:cxn ang="0">
                    <a:pos x="45" y="91"/>
                  </a:cxn>
                  <a:cxn ang="0">
                    <a:pos x="43" y="82"/>
                  </a:cxn>
                  <a:cxn ang="0">
                    <a:pos x="43" y="79"/>
                  </a:cxn>
                  <a:cxn ang="0">
                    <a:pos x="35" y="81"/>
                  </a:cxn>
                  <a:cxn ang="0">
                    <a:pos x="23" y="81"/>
                  </a:cxn>
                  <a:cxn ang="0">
                    <a:pos x="23" y="72"/>
                  </a:cxn>
                  <a:cxn ang="0">
                    <a:pos x="24" y="62"/>
                  </a:cxn>
                  <a:cxn ang="0">
                    <a:pos x="21" y="56"/>
                  </a:cxn>
                  <a:cxn ang="0">
                    <a:pos x="16" y="60"/>
                  </a:cxn>
                  <a:cxn ang="0">
                    <a:pos x="14" y="63"/>
                  </a:cxn>
                  <a:cxn ang="0">
                    <a:pos x="14" y="55"/>
                  </a:cxn>
                  <a:cxn ang="0">
                    <a:pos x="16" y="51"/>
                  </a:cxn>
                  <a:cxn ang="0">
                    <a:pos x="11" y="44"/>
                  </a:cxn>
                  <a:cxn ang="0">
                    <a:pos x="11" y="38"/>
                  </a:cxn>
                  <a:cxn ang="0">
                    <a:pos x="12" y="32"/>
                  </a:cxn>
                  <a:cxn ang="0">
                    <a:pos x="0" y="22"/>
                  </a:cxn>
                  <a:cxn ang="0">
                    <a:pos x="9" y="26"/>
                  </a:cxn>
                  <a:cxn ang="0">
                    <a:pos x="12" y="26"/>
                  </a:cxn>
                  <a:cxn ang="0">
                    <a:pos x="11" y="22"/>
                  </a:cxn>
                  <a:cxn ang="0">
                    <a:pos x="12" y="15"/>
                  </a:cxn>
                  <a:cxn ang="0">
                    <a:pos x="19" y="8"/>
                  </a:cxn>
                  <a:cxn ang="0">
                    <a:pos x="23" y="1"/>
                  </a:cxn>
                  <a:cxn ang="0">
                    <a:pos x="37" y="0"/>
                  </a:cxn>
                  <a:cxn ang="0">
                    <a:pos x="45" y="1"/>
                  </a:cxn>
                  <a:cxn ang="0">
                    <a:pos x="42" y="10"/>
                  </a:cxn>
                  <a:cxn ang="0">
                    <a:pos x="37" y="19"/>
                  </a:cxn>
                  <a:cxn ang="0">
                    <a:pos x="67" y="20"/>
                  </a:cxn>
                  <a:cxn ang="0">
                    <a:pos x="61" y="38"/>
                  </a:cxn>
                  <a:cxn ang="0">
                    <a:pos x="54" y="51"/>
                  </a:cxn>
                  <a:cxn ang="0">
                    <a:pos x="50" y="56"/>
                  </a:cxn>
                  <a:cxn ang="0">
                    <a:pos x="61" y="56"/>
                  </a:cxn>
                  <a:cxn ang="0">
                    <a:pos x="76" y="79"/>
                  </a:cxn>
                  <a:cxn ang="0">
                    <a:pos x="88" y="87"/>
                  </a:cxn>
                  <a:cxn ang="0">
                    <a:pos x="97" y="101"/>
                  </a:cxn>
                  <a:cxn ang="0">
                    <a:pos x="102" y="113"/>
                  </a:cxn>
                  <a:cxn ang="0">
                    <a:pos x="100" y="117"/>
                  </a:cxn>
                  <a:cxn ang="0">
                    <a:pos x="102" y="117"/>
                  </a:cxn>
                  <a:cxn ang="0">
                    <a:pos x="104" y="118"/>
                  </a:cxn>
                </a:cxnLst>
                <a:rect l="0" t="0" r="r" b="b"/>
                <a:pathLst>
                  <a:path w="121" h="173">
                    <a:moveTo>
                      <a:pt x="104" y="118"/>
                    </a:moveTo>
                    <a:lnTo>
                      <a:pt x="105" y="115"/>
                    </a:lnTo>
                    <a:lnTo>
                      <a:pt x="110" y="117"/>
                    </a:lnTo>
                    <a:lnTo>
                      <a:pt x="117" y="118"/>
                    </a:lnTo>
                    <a:lnTo>
                      <a:pt x="121" y="125"/>
                    </a:lnTo>
                    <a:lnTo>
                      <a:pt x="114" y="136"/>
                    </a:lnTo>
                    <a:lnTo>
                      <a:pt x="104" y="146"/>
                    </a:lnTo>
                    <a:lnTo>
                      <a:pt x="109" y="146"/>
                    </a:lnTo>
                    <a:lnTo>
                      <a:pt x="114" y="148"/>
                    </a:lnTo>
                    <a:lnTo>
                      <a:pt x="114" y="151"/>
                    </a:lnTo>
                    <a:lnTo>
                      <a:pt x="107" y="156"/>
                    </a:lnTo>
                    <a:lnTo>
                      <a:pt x="100" y="160"/>
                    </a:lnTo>
                    <a:lnTo>
                      <a:pt x="88" y="160"/>
                    </a:lnTo>
                    <a:lnTo>
                      <a:pt x="80" y="160"/>
                    </a:lnTo>
                    <a:lnTo>
                      <a:pt x="73" y="160"/>
                    </a:lnTo>
                    <a:lnTo>
                      <a:pt x="66" y="161"/>
                    </a:lnTo>
                    <a:lnTo>
                      <a:pt x="59" y="161"/>
                    </a:lnTo>
                    <a:lnTo>
                      <a:pt x="54" y="163"/>
                    </a:lnTo>
                    <a:lnTo>
                      <a:pt x="49" y="161"/>
                    </a:lnTo>
                    <a:lnTo>
                      <a:pt x="45" y="161"/>
                    </a:lnTo>
                    <a:lnTo>
                      <a:pt x="38" y="163"/>
                    </a:lnTo>
                    <a:lnTo>
                      <a:pt x="37" y="170"/>
                    </a:lnTo>
                    <a:lnTo>
                      <a:pt x="30" y="170"/>
                    </a:lnTo>
                    <a:lnTo>
                      <a:pt x="24" y="170"/>
                    </a:lnTo>
                    <a:lnTo>
                      <a:pt x="23" y="173"/>
                    </a:lnTo>
                    <a:lnTo>
                      <a:pt x="19" y="173"/>
                    </a:lnTo>
                    <a:lnTo>
                      <a:pt x="19" y="170"/>
                    </a:lnTo>
                    <a:lnTo>
                      <a:pt x="21" y="165"/>
                    </a:lnTo>
                    <a:lnTo>
                      <a:pt x="26" y="160"/>
                    </a:lnTo>
                    <a:lnTo>
                      <a:pt x="31" y="153"/>
                    </a:lnTo>
                    <a:lnTo>
                      <a:pt x="37" y="151"/>
                    </a:lnTo>
                    <a:lnTo>
                      <a:pt x="47" y="149"/>
                    </a:lnTo>
                    <a:lnTo>
                      <a:pt x="54" y="144"/>
                    </a:lnTo>
                    <a:lnTo>
                      <a:pt x="52" y="142"/>
                    </a:lnTo>
                    <a:lnTo>
                      <a:pt x="52" y="141"/>
                    </a:lnTo>
                    <a:lnTo>
                      <a:pt x="47" y="144"/>
                    </a:lnTo>
                    <a:lnTo>
                      <a:pt x="43" y="146"/>
                    </a:lnTo>
                    <a:lnTo>
                      <a:pt x="35" y="142"/>
                    </a:lnTo>
                    <a:lnTo>
                      <a:pt x="30" y="141"/>
                    </a:lnTo>
                    <a:lnTo>
                      <a:pt x="26" y="141"/>
                    </a:lnTo>
                    <a:lnTo>
                      <a:pt x="24" y="142"/>
                    </a:lnTo>
                    <a:lnTo>
                      <a:pt x="21" y="141"/>
                    </a:lnTo>
                    <a:lnTo>
                      <a:pt x="23" y="134"/>
                    </a:lnTo>
                    <a:lnTo>
                      <a:pt x="28" y="132"/>
                    </a:lnTo>
                    <a:lnTo>
                      <a:pt x="33" y="129"/>
                    </a:lnTo>
                    <a:lnTo>
                      <a:pt x="37" y="125"/>
                    </a:lnTo>
                    <a:lnTo>
                      <a:pt x="33" y="117"/>
                    </a:lnTo>
                    <a:lnTo>
                      <a:pt x="31" y="110"/>
                    </a:lnTo>
                    <a:lnTo>
                      <a:pt x="45" y="106"/>
                    </a:lnTo>
                    <a:lnTo>
                      <a:pt x="55" y="101"/>
                    </a:lnTo>
                    <a:lnTo>
                      <a:pt x="55" y="93"/>
                    </a:lnTo>
                    <a:lnTo>
                      <a:pt x="45" y="91"/>
                    </a:lnTo>
                    <a:lnTo>
                      <a:pt x="42" y="87"/>
                    </a:lnTo>
                    <a:lnTo>
                      <a:pt x="43" y="82"/>
                    </a:lnTo>
                    <a:lnTo>
                      <a:pt x="47" y="81"/>
                    </a:lnTo>
                    <a:lnTo>
                      <a:pt x="43" y="79"/>
                    </a:lnTo>
                    <a:lnTo>
                      <a:pt x="42" y="79"/>
                    </a:lnTo>
                    <a:lnTo>
                      <a:pt x="35" y="81"/>
                    </a:lnTo>
                    <a:lnTo>
                      <a:pt x="30" y="82"/>
                    </a:lnTo>
                    <a:lnTo>
                      <a:pt x="23" y="81"/>
                    </a:lnTo>
                    <a:lnTo>
                      <a:pt x="21" y="79"/>
                    </a:lnTo>
                    <a:lnTo>
                      <a:pt x="23" y="72"/>
                    </a:lnTo>
                    <a:lnTo>
                      <a:pt x="26" y="67"/>
                    </a:lnTo>
                    <a:lnTo>
                      <a:pt x="24" y="62"/>
                    </a:lnTo>
                    <a:lnTo>
                      <a:pt x="26" y="58"/>
                    </a:lnTo>
                    <a:lnTo>
                      <a:pt x="21" y="56"/>
                    </a:lnTo>
                    <a:lnTo>
                      <a:pt x="18" y="55"/>
                    </a:lnTo>
                    <a:lnTo>
                      <a:pt x="16" y="60"/>
                    </a:lnTo>
                    <a:lnTo>
                      <a:pt x="18" y="63"/>
                    </a:lnTo>
                    <a:lnTo>
                      <a:pt x="14" y="63"/>
                    </a:lnTo>
                    <a:lnTo>
                      <a:pt x="14" y="56"/>
                    </a:lnTo>
                    <a:lnTo>
                      <a:pt x="14" y="55"/>
                    </a:lnTo>
                    <a:lnTo>
                      <a:pt x="14" y="51"/>
                    </a:lnTo>
                    <a:lnTo>
                      <a:pt x="16" y="51"/>
                    </a:lnTo>
                    <a:lnTo>
                      <a:pt x="16" y="46"/>
                    </a:lnTo>
                    <a:lnTo>
                      <a:pt x="11" y="44"/>
                    </a:lnTo>
                    <a:lnTo>
                      <a:pt x="9" y="43"/>
                    </a:lnTo>
                    <a:lnTo>
                      <a:pt x="11" y="38"/>
                    </a:lnTo>
                    <a:lnTo>
                      <a:pt x="12" y="36"/>
                    </a:lnTo>
                    <a:lnTo>
                      <a:pt x="12" y="32"/>
                    </a:lnTo>
                    <a:lnTo>
                      <a:pt x="2" y="29"/>
                    </a:lnTo>
                    <a:lnTo>
                      <a:pt x="0" y="22"/>
                    </a:lnTo>
                    <a:lnTo>
                      <a:pt x="9" y="22"/>
                    </a:lnTo>
                    <a:lnTo>
                      <a:pt x="9" y="26"/>
                    </a:lnTo>
                    <a:lnTo>
                      <a:pt x="12" y="27"/>
                    </a:lnTo>
                    <a:lnTo>
                      <a:pt x="12" y="26"/>
                    </a:lnTo>
                    <a:lnTo>
                      <a:pt x="14" y="24"/>
                    </a:lnTo>
                    <a:lnTo>
                      <a:pt x="11" y="22"/>
                    </a:lnTo>
                    <a:lnTo>
                      <a:pt x="11" y="20"/>
                    </a:lnTo>
                    <a:lnTo>
                      <a:pt x="12" y="15"/>
                    </a:lnTo>
                    <a:lnTo>
                      <a:pt x="19" y="15"/>
                    </a:lnTo>
                    <a:lnTo>
                      <a:pt x="19" y="8"/>
                    </a:lnTo>
                    <a:lnTo>
                      <a:pt x="21" y="7"/>
                    </a:lnTo>
                    <a:lnTo>
                      <a:pt x="23" y="1"/>
                    </a:lnTo>
                    <a:lnTo>
                      <a:pt x="30" y="0"/>
                    </a:lnTo>
                    <a:lnTo>
                      <a:pt x="37" y="0"/>
                    </a:lnTo>
                    <a:lnTo>
                      <a:pt x="43" y="0"/>
                    </a:lnTo>
                    <a:lnTo>
                      <a:pt x="45" y="1"/>
                    </a:lnTo>
                    <a:lnTo>
                      <a:pt x="49" y="3"/>
                    </a:lnTo>
                    <a:lnTo>
                      <a:pt x="42" y="10"/>
                    </a:lnTo>
                    <a:lnTo>
                      <a:pt x="37" y="17"/>
                    </a:lnTo>
                    <a:lnTo>
                      <a:pt x="37" y="19"/>
                    </a:lnTo>
                    <a:lnTo>
                      <a:pt x="38" y="20"/>
                    </a:lnTo>
                    <a:lnTo>
                      <a:pt x="67" y="20"/>
                    </a:lnTo>
                    <a:lnTo>
                      <a:pt x="64" y="29"/>
                    </a:lnTo>
                    <a:lnTo>
                      <a:pt x="61" y="38"/>
                    </a:lnTo>
                    <a:lnTo>
                      <a:pt x="55" y="43"/>
                    </a:lnTo>
                    <a:lnTo>
                      <a:pt x="54" y="51"/>
                    </a:lnTo>
                    <a:lnTo>
                      <a:pt x="50" y="53"/>
                    </a:lnTo>
                    <a:lnTo>
                      <a:pt x="50" y="56"/>
                    </a:lnTo>
                    <a:lnTo>
                      <a:pt x="55" y="56"/>
                    </a:lnTo>
                    <a:lnTo>
                      <a:pt x="61" y="56"/>
                    </a:lnTo>
                    <a:lnTo>
                      <a:pt x="69" y="65"/>
                    </a:lnTo>
                    <a:lnTo>
                      <a:pt x="76" y="79"/>
                    </a:lnTo>
                    <a:lnTo>
                      <a:pt x="81" y="82"/>
                    </a:lnTo>
                    <a:lnTo>
                      <a:pt x="88" y="87"/>
                    </a:lnTo>
                    <a:lnTo>
                      <a:pt x="93" y="93"/>
                    </a:lnTo>
                    <a:lnTo>
                      <a:pt x="97" y="101"/>
                    </a:lnTo>
                    <a:lnTo>
                      <a:pt x="98" y="106"/>
                    </a:lnTo>
                    <a:lnTo>
                      <a:pt x="102" y="113"/>
                    </a:lnTo>
                    <a:lnTo>
                      <a:pt x="100" y="113"/>
                    </a:lnTo>
                    <a:lnTo>
                      <a:pt x="100" y="117"/>
                    </a:lnTo>
                    <a:lnTo>
                      <a:pt x="100" y="120"/>
                    </a:lnTo>
                    <a:lnTo>
                      <a:pt x="102" y="117"/>
                    </a:lnTo>
                    <a:lnTo>
                      <a:pt x="105" y="117"/>
                    </a:lnTo>
                    <a:lnTo>
                      <a:pt x="104"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9" name="Freeform 280"/>
              <p:cNvSpPr>
                <a:spLocks/>
              </p:cNvSpPr>
              <p:nvPr/>
            </p:nvSpPr>
            <p:spPr bwMode="auto">
              <a:xfrm>
                <a:off x="4206082" y="2628900"/>
                <a:ext cx="7938" cy="11112"/>
              </a:xfrm>
              <a:custGeom>
                <a:avLst/>
                <a:gdLst/>
                <a:ahLst/>
                <a:cxnLst>
                  <a:cxn ang="0">
                    <a:pos x="4" y="0"/>
                  </a:cxn>
                  <a:cxn ang="0">
                    <a:pos x="0" y="2"/>
                  </a:cxn>
                  <a:cxn ang="0">
                    <a:pos x="0" y="7"/>
                  </a:cxn>
                  <a:cxn ang="0">
                    <a:pos x="2" y="7"/>
                  </a:cxn>
                  <a:cxn ang="0">
                    <a:pos x="5" y="7"/>
                  </a:cxn>
                  <a:cxn ang="0">
                    <a:pos x="5" y="2"/>
                  </a:cxn>
                  <a:cxn ang="0">
                    <a:pos x="5" y="0"/>
                  </a:cxn>
                  <a:cxn ang="0">
                    <a:pos x="4" y="0"/>
                  </a:cxn>
                </a:cxnLst>
                <a:rect l="0" t="0" r="r" b="b"/>
                <a:pathLst>
                  <a:path w="5" h="7">
                    <a:moveTo>
                      <a:pt x="4" y="0"/>
                    </a:moveTo>
                    <a:lnTo>
                      <a:pt x="0" y="2"/>
                    </a:lnTo>
                    <a:lnTo>
                      <a:pt x="0" y="7"/>
                    </a:lnTo>
                    <a:lnTo>
                      <a:pt x="2" y="7"/>
                    </a:lnTo>
                    <a:lnTo>
                      <a:pt x="5" y="7"/>
                    </a:lnTo>
                    <a:lnTo>
                      <a:pt x="5" y="2"/>
                    </a:lnTo>
                    <a:lnTo>
                      <a:pt x="5"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0" name="Freeform 282"/>
              <p:cNvSpPr>
                <a:spLocks/>
              </p:cNvSpPr>
              <p:nvPr/>
            </p:nvSpPr>
            <p:spPr bwMode="auto">
              <a:xfrm>
                <a:off x="2374107" y="3482975"/>
                <a:ext cx="238125" cy="82550"/>
              </a:xfrm>
              <a:custGeom>
                <a:avLst/>
                <a:gdLst/>
                <a:ahLst/>
                <a:cxnLst>
                  <a:cxn ang="0">
                    <a:pos x="150" y="47"/>
                  </a:cxn>
                  <a:cxn ang="0">
                    <a:pos x="141" y="50"/>
                  </a:cxn>
                  <a:cxn ang="0">
                    <a:pos x="131" y="52"/>
                  </a:cxn>
                  <a:cxn ang="0">
                    <a:pos x="115" y="50"/>
                  </a:cxn>
                  <a:cxn ang="0">
                    <a:pos x="102" y="48"/>
                  </a:cxn>
                  <a:cxn ang="0">
                    <a:pos x="102" y="47"/>
                  </a:cxn>
                  <a:cxn ang="0">
                    <a:pos x="105" y="45"/>
                  </a:cxn>
                  <a:cxn ang="0">
                    <a:pos x="107" y="42"/>
                  </a:cxn>
                  <a:cxn ang="0">
                    <a:pos x="95" y="36"/>
                  </a:cxn>
                  <a:cxn ang="0">
                    <a:pos x="90" y="31"/>
                  </a:cxn>
                  <a:cxn ang="0">
                    <a:pos x="86" y="28"/>
                  </a:cxn>
                  <a:cxn ang="0">
                    <a:pos x="84" y="26"/>
                  </a:cxn>
                  <a:cxn ang="0">
                    <a:pos x="79" y="24"/>
                  </a:cxn>
                  <a:cxn ang="0">
                    <a:pos x="74" y="26"/>
                  </a:cxn>
                  <a:cxn ang="0">
                    <a:pos x="64" y="21"/>
                  </a:cxn>
                  <a:cxn ang="0">
                    <a:pos x="55" y="18"/>
                  </a:cxn>
                  <a:cxn ang="0">
                    <a:pos x="41" y="18"/>
                  </a:cxn>
                  <a:cxn ang="0">
                    <a:pos x="38" y="14"/>
                  </a:cxn>
                  <a:cxn ang="0">
                    <a:pos x="40" y="12"/>
                  </a:cxn>
                  <a:cxn ang="0">
                    <a:pos x="36" y="11"/>
                  </a:cxn>
                  <a:cxn ang="0">
                    <a:pos x="33" y="11"/>
                  </a:cxn>
                  <a:cxn ang="0">
                    <a:pos x="16" y="14"/>
                  </a:cxn>
                  <a:cxn ang="0">
                    <a:pos x="5" y="23"/>
                  </a:cxn>
                  <a:cxn ang="0">
                    <a:pos x="0" y="23"/>
                  </a:cxn>
                  <a:cxn ang="0">
                    <a:pos x="5" y="12"/>
                  </a:cxn>
                  <a:cxn ang="0">
                    <a:pos x="16" y="5"/>
                  </a:cxn>
                  <a:cxn ang="0">
                    <a:pos x="26" y="0"/>
                  </a:cxn>
                  <a:cxn ang="0">
                    <a:pos x="41" y="0"/>
                  </a:cxn>
                  <a:cxn ang="0">
                    <a:pos x="55" y="2"/>
                  </a:cxn>
                  <a:cxn ang="0">
                    <a:pos x="67" y="7"/>
                  </a:cxn>
                  <a:cxn ang="0">
                    <a:pos x="79" y="11"/>
                  </a:cxn>
                  <a:cxn ang="0">
                    <a:pos x="91" y="14"/>
                  </a:cxn>
                  <a:cxn ang="0">
                    <a:pos x="95" y="16"/>
                  </a:cxn>
                  <a:cxn ang="0">
                    <a:pos x="100" y="19"/>
                  </a:cxn>
                  <a:cxn ang="0">
                    <a:pos x="112" y="28"/>
                  </a:cxn>
                  <a:cxn ang="0">
                    <a:pos x="131" y="33"/>
                  </a:cxn>
                  <a:cxn ang="0">
                    <a:pos x="131" y="36"/>
                  </a:cxn>
                  <a:cxn ang="0">
                    <a:pos x="139" y="36"/>
                  </a:cxn>
                  <a:cxn ang="0">
                    <a:pos x="145" y="42"/>
                  </a:cxn>
                  <a:cxn ang="0">
                    <a:pos x="150" y="47"/>
                  </a:cxn>
                </a:cxnLst>
                <a:rect l="0" t="0" r="r" b="b"/>
                <a:pathLst>
                  <a:path w="150" h="52">
                    <a:moveTo>
                      <a:pt x="150" y="47"/>
                    </a:moveTo>
                    <a:lnTo>
                      <a:pt x="141" y="50"/>
                    </a:lnTo>
                    <a:lnTo>
                      <a:pt x="131" y="52"/>
                    </a:lnTo>
                    <a:lnTo>
                      <a:pt x="115" y="50"/>
                    </a:lnTo>
                    <a:lnTo>
                      <a:pt x="102" y="48"/>
                    </a:lnTo>
                    <a:lnTo>
                      <a:pt x="102" y="47"/>
                    </a:lnTo>
                    <a:lnTo>
                      <a:pt x="105" y="45"/>
                    </a:lnTo>
                    <a:lnTo>
                      <a:pt x="107" y="42"/>
                    </a:lnTo>
                    <a:lnTo>
                      <a:pt x="95" y="36"/>
                    </a:lnTo>
                    <a:lnTo>
                      <a:pt x="90" y="31"/>
                    </a:lnTo>
                    <a:lnTo>
                      <a:pt x="86" y="28"/>
                    </a:lnTo>
                    <a:lnTo>
                      <a:pt x="84" y="26"/>
                    </a:lnTo>
                    <a:lnTo>
                      <a:pt x="79" y="24"/>
                    </a:lnTo>
                    <a:lnTo>
                      <a:pt x="74" y="26"/>
                    </a:lnTo>
                    <a:lnTo>
                      <a:pt x="64" y="21"/>
                    </a:lnTo>
                    <a:lnTo>
                      <a:pt x="55" y="18"/>
                    </a:lnTo>
                    <a:lnTo>
                      <a:pt x="41" y="18"/>
                    </a:lnTo>
                    <a:lnTo>
                      <a:pt x="38" y="14"/>
                    </a:lnTo>
                    <a:lnTo>
                      <a:pt x="40" y="12"/>
                    </a:lnTo>
                    <a:lnTo>
                      <a:pt x="36" y="11"/>
                    </a:lnTo>
                    <a:lnTo>
                      <a:pt x="33" y="11"/>
                    </a:lnTo>
                    <a:lnTo>
                      <a:pt x="16" y="14"/>
                    </a:lnTo>
                    <a:lnTo>
                      <a:pt x="5" y="23"/>
                    </a:lnTo>
                    <a:lnTo>
                      <a:pt x="0" y="23"/>
                    </a:lnTo>
                    <a:lnTo>
                      <a:pt x="5" y="12"/>
                    </a:lnTo>
                    <a:lnTo>
                      <a:pt x="16" y="5"/>
                    </a:lnTo>
                    <a:lnTo>
                      <a:pt x="26" y="0"/>
                    </a:lnTo>
                    <a:lnTo>
                      <a:pt x="41" y="0"/>
                    </a:lnTo>
                    <a:lnTo>
                      <a:pt x="55" y="2"/>
                    </a:lnTo>
                    <a:lnTo>
                      <a:pt x="67" y="7"/>
                    </a:lnTo>
                    <a:lnTo>
                      <a:pt x="79" y="11"/>
                    </a:lnTo>
                    <a:lnTo>
                      <a:pt x="91" y="14"/>
                    </a:lnTo>
                    <a:lnTo>
                      <a:pt x="95" y="16"/>
                    </a:lnTo>
                    <a:lnTo>
                      <a:pt x="100" y="19"/>
                    </a:lnTo>
                    <a:lnTo>
                      <a:pt x="112" y="28"/>
                    </a:lnTo>
                    <a:lnTo>
                      <a:pt x="131" y="33"/>
                    </a:lnTo>
                    <a:lnTo>
                      <a:pt x="131" y="36"/>
                    </a:lnTo>
                    <a:lnTo>
                      <a:pt x="139" y="36"/>
                    </a:lnTo>
                    <a:lnTo>
                      <a:pt x="145" y="42"/>
                    </a:lnTo>
                    <a:lnTo>
                      <a:pt x="150" y="4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1" name="Freeform 283"/>
              <p:cNvSpPr>
                <a:spLocks/>
              </p:cNvSpPr>
              <p:nvPr/>
            </p:nvSpPr>
            <p:spPr bwMode="auto">
              <a:xfrm>
                <a:off x="2407444" y="3516313"/>
                <a:ext cx="11113" cy="11112"/>
              </a:xfrm>
              <a:custGeom>
                <a:avLst/>
                <a:gdLst/>
                <a:ahLst/>
                <a:cxnLst>
                  <a:cxn ang="0">
                    <a:pos x="7" y="0"/>
                  </a:cxn>
                  <a:cxn ang="0">
                    <a:pos x="7" y="3"/>
                  </a:cxn>
                  <a:cxn ang="0">
                    <a:pos x="7" y="7"/>
                  </a:cxn>
                  <a:cxn ang="0">
                    <a:pos x="3" y="7"/>
                  </a:cxn>
                  <a:cxn ang="0">
                    <a:pos x="0" y="7"/>
                  </a:cxn>
                  <a:cxn ang="0">
                    <a:pos x="1" y="3"/>
                  </a:cxn>
                  <a:cxn ang="0">
                    <a:pos x="5" y="3"/>
                  </a:cxn>
                  <a:cxn ang="0">
                    <a:pos x="5" y="0"/>
                  </a:cxn>
                  <a:cxn ang="0">
                    <a:pos x="5" y="0"/>
                  </a:cxn>
                  <a:cxn ang="0">
                    <a:pos x="7" y="0"/>
                  </a:cxn>
                </a:cxnLst>
                <a:rect l="0" t="0" r="r" b="b"/>
                <a:pathLst>
                  <a:path w="7" h="7">
                    <a:moveTo>
                      <a:pt x="7" y="0"/>
                    </a:moveTo>
                    <a:lnTo>
                      <a:pt x="7" y="3"/>
                    </a:lnTo>
                    <a:lnTo>
                      <a:pt x="7" y="7"/>
                    </a:lnTo>
                    <a:lnTo>
                      <a:pt x="3" y="7"/>
                    </a:lnTo>
                    <a:lnTo>
                      <a:pt x="0" y="7"/>
                    </a:lnTo>
                    <a:lnTo>
                      <a:pt x="1" y="3"/>
                    </a:lnTo>
                    <a:lnTo>
                      <a:pt x="5" y="3"/>
                    </a:lnTo>
                    <a:lnTo>
                      <a:pt x="5" y="0"/>
                    </a:lnTo>
                    <a:lnTo>
                      <a:pt x="5" y="0"/>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2" name="Freeform 284"/>
              <p:cNvSpPr>
                <a:spLocks/>
              </p:cNvSpPr>
              <p:nvPr/>
            </p:nvSpPr>
            <p:spPr bwMode="auto">
              <a:xfrm>
                <a:off x="2526507" y="3595688"/>
                <a:ext cx="39688" cy="19050"/>
              </a:xfrm>
              <a:custGeom>
                <a:avLst/>
                <a:gdLst/>
                <a:ahLst/>
                <a:cxnLst>
                  <a:cxn ang="0">
                    <a:pos x="21" y="3"/>
                  </a:cxn>
                  <a:cxn ang="0">
                    <a:pos x="23" y="5"/>
                  </a:cxn>
                  <a:cxn ang="0">
                    <a:pos x="25" y="8"/>
                  </a:cxn>
                  <a:cxn ang="0">
                    <a:pos x="16" y="10"/>
                  </a:cxn>
                  <a:cxn ang="0">
                    <a:pos x="9" y="12"/>
                  </a:cxn>
                  <a:cxn ang="0">
                    <a:pos x="2" y="8"/>
                  </a:cxn>
                  <a:cxn ang="0">
                    <a:pos x="0" y="3"/>
                  </a:cxn>
                  <a:cxn ang="0">
                    <a:pos x="2" y="0"/>
                  </a:cxn>
                  <a:cxn ang="0">
                    <a:pos x="6" y="0"/>
                  </a:cxn>
                  <a:cxn ang="0">
                    <a:pos x="14" y="2"/>
                  </a:cxn>
                  <a:cxn ang="0">
                    <a:pos x="21" y="5"/>
                  </a:cxn>
                  <a:cxn ang="0">
                    <a:pos x="21" y="3"/>
                  </a:cxn>
                </a:cxnLst>
                <a:rect l="0" t="0" r="r" b="b"/>
                <a:pathLst>
                  <a:path w="25" h="12">
                    <a:moveTo>
                      <a:pt x="21" y="3"/>
                    </a:moveTo>
                    <a:lnTo>
                      <a:pt x="23" y="5"/>
                    </a:lnTo>
                    <a:lnTo>
                      <a:pt x="25" y="8"/>
                    </a:lnTo>
                    <a:lnTo>
                      <a:pt x="16" y="10"/>
                    </a:lnTo>
                    <a:lnTo>
                      <a:pt x="9" y="12"/>
                    </a:lnTo>
                    <a:lnTo>
                      <a:pt x="2" y="8"/>
                    </a:lnTo>
                    <a:lnTo>
                      <a:pt x="0" y="3"/>
                    </a:lnTo>
                    <a:lnTo>
                      <a:pt x="2" y="0"/>
                    </a:lnTo>
                    <a:lnTo>
                      <a:pt x="6" y="0"/>
                    </a:lnTo>
                    <a:lnTo>
                      <a:pt x="14" y="2"/>
                    </a:lnTo>
                    <a:lnTo>
                      <a:pt x="21" y="5"/>
                    </a:lnTo>
                    <a:lnTo>
                      <a:pt x="21"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3" name="Freeform 285"/>
              <p:cNvSpPr>
                <a:spLocks/>
              </p:cNvSpPr>
              <p:nvPr/>
            </p:nvSpPr>
            <p:spPr bwMode="auto">
              <a:xfrm>
                <a:off x="2780507" y="3595688"/>
                <a:ext cx="33338" cy="12700"/>
              </a:xfrm>
              <a:custGeom>
                <a:avLst/>
                <a:gdLst/>
                <a:ahLst/>
                <a:cxnLst>
                  <a:cxn ang="0">
                    <a:pos x="21" y="5"/>
                  </a:cxn>
                  <a:cxn ang="0">
                    <a:pos x="16" y="7"/>
                  </a:cxn>
                  <a:cxn ang="0">
                    <a:pos x="12" y="8"/>
                  </a:cxn>
                  <a:cxn ang="0">
                    <a:pos x="4" y="7"/>
                  </a:cxn>
                  <a:cxn ang="0">
                    <a:pos x="0" y="3"/>
                  </a:cxn>
                  <a:cxn ang="0">
                    <a:pos x="2" y="0"/>
                  </a:cxn>
                  <a:cxn ang="0">
                    <a:pos x="6" y="0"/>
                  </a:cxn>
                  <a:cxn ang="0">
                    <a:pos x="12" y="0"/>
                  </a:cxn>
                  <a:cxn ang="0">
                    <a:pos x="21" y="5"/>
                  </a:cxn>
                </a:cxnLst>
                <a:rect l="0" t="0" r="r" b="b"/>
                <a:pathLst>
                  <a:path w="21" h="8">
                    <a:moveTo>
                      <a:pt x="21" y="5"/>
                    </a:moveTo>
                    <a:lnTo>
                      <a:pt x="16" y="7"/>
                    </a:lnTo>
                    <a:lnTo>
                      <a:pt x="12" y="8"/>
                    </a:lnTo>
                    <a:lnTo>
                      <a:pt x="4" y="7"/>
                    </a:lnTo>
                    <a:lnTo>
                      <a:pt x="0" y="3"/>
                    </a:lnTo>
                    <a:lnTo>
                      <a:pt x="2" y="0"/>
                    </a:lnTo>
                    <a:lnTo>
                      <a:pt x="6" y="0"/>
                    </a:lnTo>
                    <a:lnTo>
                      <a:pt x="12" y="0"/>
                    </a:lnTo>
                    <a:lnTo>
                      <a:pt x="21"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4" name="Freeform 286"/>
              <p:cNvSpPr>
                <a:spLocks/>
              </p:cNvSpPr>
              <p:nvPr/>
            </p:nvSpPr>
            <p:spPr bwMode="auto">
              <a:xfrm>
                <a:off x="2613819" y="3559175"/>
                <a:ext cx="136525" cy="55562"/>
              </a:xfrm>
              <a:custGeom>
                <a:avLst/>
                <a:gdLst/>
                <a:ahLst/>
                <a:cxnLst>
                  <a:cxn ang="0">
                    <a:pos x="73" y="14"/>
                  </a:cxn>
                  <a:cxn ang="0">
                    <a:pos x="80" y="18"/>
                  </a:cxn>
                  <a:cxn ang="0">
                    <a:pos x="86" y="25"/>
                  </a:cxn>
                  <a:cxn ang="0">
                    <a:pos x="68" y="25"/>
                  </a:cxn>
                  <a:cxn ang="0">
                    <a:pos x="62" y="28"/>
                  </a:cxn>
                  <a:cxn ang="0">
                    <a:pos x="59" y="30"/>
                  </a:cxn>
                  <a:cxn ang="0">
                    <a:pos x="56" y="28"/>
                  </a:cxn>
                  <a:cxn ang="0">
                    <a:pos x="54" y="26"/>
                  </a:cxn>
                  <a:cxn ang="0">
                    <a:pos x="47" y="30"/>
                  </a:cxn>
                  <a:cxn ang="0">
                    <a:pos x="42" y="35"/>
                  </a:cxn>
                  <a:cxn ang="0">
                    <a:pos x="38" y="31"/>
                  </a:cxn>
                  <a:cxn ang="0">
                    <a:pos x="37" y="30"/>
                  </a:cxn>
                  <a:cxn ang="0">
                    <a:pos x="25" y="26"/>
                  </a:cxn>
                  <a:cxn ang="0">
                    <a:pos x="13" y="28"/>
                  </a:cxn>
                  <a:cxn ang="0">
                    <a:pos x="9" y="28"/>
                  </a:cxn>
                  <a:cxn ang="0">
                    <a:pos x="7" y="28"/>
                  </a:cxn>
                  <a:cxn ang="0">
                    <a:pos x="7" y="30"/>
                  </a:cxn>
                  <a:cxn ang="0">
                    <a:pos x="7" y="31"/>
                  </a:cxn>
                  <a:cxn ang="0">
                    <a:pos x="2" y="28"/>
                  </a:cxn>
                  <a:cxn ang="0">
                    <a:pos x="0" y="23"/>
                  </a:cxn>
                  <a:cxn ang="0">
                    <a:pos x="2" y="21"/>
                  </a:cxn>
                  <a:cxn ang="0">
                    <a:pos x="4" y="21"/>
                  </a:cxn>
                  <a:cxn ang="0">
                    <a:pos x="16" y="21"/>
                  </a:cxn>
                  <a:cxn ang="0">
                    <a:pos x="26" y="21"/>
                  </a:cxn>
                  <a:cxn ang="0">
                    <a:pos x="23" y="16"/>
                  </a:cxn>
                  <a:cxn ang="0">
                    <a:pos x="23" y="11"/>
                  </a:cxn>
                  <a:cxn ang="0">
                    <a:pos x="18" y="7"/>
                  </a:cxn>
                  <a:cxn ang="0">
                    <a:pos x="16" y="4"/>
                  </a:cxn>
                  <a:cxn ang="0">
                    <a:pos x="18" y="2"/>
                  </a:cxn>
                  <a:cxn ang="0">
                    <a:pos x="19" y="0"/>
                  </a:cxn>
                  <a:cxn ang="0">
                    <a:pos x="25" y="2"/>
                  </a:cxn>
                  <a:cxn ang="0">
                    <a:pos x="31" y="4"/>
                  </a:cxn>
                  <a:cxn ang="0">
                    <a:pos x="38" y="2"/>
                  </a:cxn>
                  <a:cxn ang="0">
                    <a:pos x="47" y="2"/>
                  </a:cxn>
                  <a:cxn ang="0">
                    <a:pos x="57" y="2"/>
                  </a:cxn>
                  <a:cxn ang="0">
                    <a:pos x="64" y="6"/>
                  </a:cxn>
                  <a:cxn ang="0">
                    <a:pos x="69" y="11"/>
                  </a:cxn>
                  <a:cxn ang="0">
                    <a:pos x="76" y="16"/>
                  </a:cxn>
                  <a:cxn ang="0">
                    <a:pos x="73" y="14"/>
                  </a:cxn>
                </a:cxnLst>
                <a:rect l="0" t="0" r="r" b="b"/>
                <a:pathLst>
                  <a:path w="86" h="35">
                    <a:moveTo>
                      <a:pt x="73" y="14"/>
                    </a:moveTo>
                    <a:lnTo>
                      <a:pt x="80" y="18"/>
                    </a:lnTo>
                    <a:lnTo>
                      <a:pt x="86" y="25"/>
                    </a:lnTo>
                    <a:lnTo>
                      <a:pt x="68" y="25"/>
                    </a:lnTo>
                    <a:lnTo>
                      <a:pt x="62" y="28"/>
                    </a:lnTo>
                    <a:lnTo>
                      <a:pt x="59" y="30"/>
                    </a:lnTo>
                    <a:lnTo>
                      <a:pt x="56" y="28"/>
                    </a:lnTo>
                    <a:lnTo>
                      <a:pt x="54" y="26"/>
                    </a:lnTo>
                    <a:lnTo>
                      <a:pt x="47" y="30"/>
                    </a:lnTo>
                    <a:lnTo>
                      <a:pt x="42" y="35"/>
                    </a:lnTo>
                    <a:lnTo>
                      <a:pt x="38" y="31"/>
                    </a:lnTo>
                    <a:lnTo>
                      <a:pt x="37" y="30"/>
                    </a:lnTo>
                    <a:lnTo>
                      <a:pt x="25" y="26"/>
                    </a:lnTo>
                    <a:lnTo>
                      <a:pt x="13" y="28"/>
                    </a:lnTo>
                    <a:lnTo>
                      <a:pt x="9" y="28"/>
                    </a:lnTo>
                    <a:lnTo>
                      <a:pt x="7" y="28"/>
                    </a:lnTo>
                    <a:lnTo>
                      <a:pt x="7" y="30"/>
                    </a:lnTo>
                    <a:lnTo>
                      <a:pt x="7" y="31"/>
                    </a:lnTo>
                    <a:lnTo>
                      <a:pt x="2" y="28"/>
                    </a:lnTo>
                    <a:lnTo>
                      <a:pt x="0" y="23"/>
                    </a:lnTo>
                    <a:lnTo>
                      <a:pt x="2" y="21"/>
                    </a:lnTo>
                    <a:lnTo>
                      <a:pt x="4" y="21"/>
                    </a:lnTo>
                    <a:lnTo>
                      <a:pt x="16" y="21"/>
                    </a:lnTo>
                    <a:lnTo>
                      <a:pt x="26" y="21"/>
                    </a:lnTo>
                    <a:lnTo>
                      <a:pt x="23" y="16"/>
                    </a:lnTo>
                    <a:lnTo>
                      <a:pt x="23" y="11"/>
                    </a:lnTo>
                    <a:lnTo>
                      <a:pt x="18" y="7"/>
                    </a:lnTo>
                    <a:lnTo>
                      <a:pt x="16" y="4"/>
                    </a:lnTo>
                    <a:lnTo>
                      <a:pt x="18" y="2"/>
                    </a:lnTo>
                    <a:lnTo>
                      <a:pt x="19" y="0"/>
                    </a:lnTo>
                    <a:lnTo>
                      <a:pt x="25" y="2"/>
                    </a:lnTo>
                    <a:lnTo>
                      <a:pt x="31" y="4"/>
                    </a:lnTo>
                    <a:lnTo>
                      <a:pt x="38" y="2"/>
                    </a:lnTo>
                    <a:lnTo>
                      <a:pt x="47" y="2"/>
                    </a:lnTo>
                    <a:lnTo>
                      <a:pt x="57" y="2"/>
                    </a:lnTo>
                    <a:lnTo>
                      <a:pt x="64" y="6"/>
                    </a:lnTo>
                    <a:lnTo>
                      <a:pt x="69" y="11"/>
                    </a:lnTo>
                    <a:lnTo>
                      <a:pt x="76" y="16"/>
                    </a:lnTo>
                    <a:lnTo>
                      <a:pt x="73"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5" name="Freeform 287"/>
              <p:cNvSpPr>
                <a:spLocks/>
              </p:cNvSpPr>
              <p:nvPr/>
            </p:nvSpPr>
            <p:spPr bwMode="auto">
              <a:xfrm>
                <a:off x="2907507" y="3781425"/>
                <a:ext cx="15875" cy="15875"/>
              </a:xfrm>
              <a:custGeom>
                <a:avLst/>
                <a:gdLst/>
                <a:ahLst/>
                <a:cxnLst>
                  <a:cxn ang="0">
                    <a:pos x="10" y="3"/>
                  </a:cxn>
                  <a:cxn ang="0">
                    <a:pos x="10" y="0"/>
                  </a:cxn>
                  <a:cxn ang="0">
                    <a:pos x="6" y="0"/>
                  </a:cxn>
                  <a:cxn ang="0">
                    <a:pos x="5" y="0"/>
                  </a:cxn>
                  <a:cxn ang="0">
                    <a:pos x="0" y="1"/>
                  </a:cxn>
                  <a:cxn ang="0">
                    <a:pos x="0" y="10"/>
                  </a:cxn>
                  <a:cxn ang="0">
                    <a:pos x="3" y="10"/>
                  </a:cxn>
                  <a:cxn ang="0">
                    <a:pos x="6" y="7"/>
                  </a:cxn>
                  <a:cxn ang="0">
                    <a:pos x="10" y="3"/>
                  </a:cxn>
                </a:cxnLst>
                <a:rect l="0" t="0" r="r" b="b"/>
                <a:pathLst>
                  <a:path w="10" h="10">
                    <a:moveTo>
                      <a:pt x="10" y="3"/>
                    </a:moveTo>
                    <a:lnTo>
                      <a:pt x="10" y="0"/>
                    </a:lnTo>
                    <a:lnTo>
                      <a:pt x="6" y="0"/>
                    </a:lnTo>
                    <a:lnTo>
                      <a:pt x="5" y="0"/>
                    </a:lnTo>
                    <a:lnTo>
                      <a:pt x="0" y="1"/>
                    </a:lnTo>
                    <a:lnTo>
                      <a:pt x="0" y="10"/>
                    </a:lnTo>
                    <a:lnTo>
                      <a:pt x="3" y="10"/>
                    </a:lnTo>
                    <a:lnTo>
                      <a:pt x="6" y="7"/>
                    </a:lnTo>
                    <a:lnTo>
                      <a:pt x="10"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6" name="Freeform 288"/>
              <p:cNvSpPr>
                <a:spLocks/>
              </p:cNvSpPr>
              <p:nvPr/>
            </p:nvSpPr>
            <p:spPr bwMode="auto">
              <a:xfrm>
                <a:off x="3155157" y="4024313"/>
                <a:ext cx="53975" cy="41275"/>
              </a:xfrm>
              <a:custGeom>
                <a:avLst/>
                <a:gdLst/>
                <a:ahLst/>
                <a:cxnLst>
                  <a:cxn ang="0">
                    <a:pos x="14" y="0"/>
                  </a:cxn>
                  <a:cxn ang="0">
                    <a:pos x="17" y="2"/>
                  </a:cxn>
                  <a:cxn ang="0">
                    <a:pos x="24" y="5"/>
                  </a:cxn>
                  <a:cxn ang="0">
                    <a:pos x="26" y="7"/>
                  </a:cxn>
                  <a:cxn ang="0">
                    <a:pos x="31" y="5"/>
                  </a:cxn>
                  <a:cxn ang="0">
                    <a:pos x="33" y="7"/>
                  </a:cxn>
                  <a:cxn ang="0">
                    <a:pos x="34" y="10"/>
                  </a:cxn>
                  <a:cxn ang="0">
                    <a:pos x="29" y="19"/>
                  </a:cxn>
                  <a:cxn ang="0">
                    <a:pos x="21" y="26"/>
                  </a:cxn>
                  <a:cxn ang="0">
                    <a:pos x="14" y="22"/>
                  </a:cxn>
                  <a:cxn ang="0">
                    <a:pos x="7" y="20"/>
                  </a:cxn>
                  <a:cxn ang="0">
                    <a:pos x="2" y="15"/>
                  </a:cxn>
                  <a:cxn ang="0">
                    <a:pos x="0" y="12"/>
                  </a:cxn>
                  <a:cxn ang="0">
                    <a:pos x="2" y="3"/>
                  </a:cxn>
                  <a:cxn ang="0">
                    <a:pos x="10" y="0"/>
                  </a:cxn>
                  <a:cxn ang="0">
                    <a:pos x="12" y="0"/>
                  </a:cxn>
                  <a:cxn ang="0">
                    <a:pos x="14" y="0"/>
                  </a:cxn>
                </a:cxnLst>
                <a:rect l="0" t="0" r="r" b="b"/>
                <a:pathLst>
                  <a:path w="34" h="26">
                    <a:moveTo>
                      <a:pt x="14" y="0"/>
                    </a:moveTo>
                    <a:lnTo>
                      <a:pt x="17" y="2"/>
                    </a:lnTo>
                    <a:lnTo>
                      <a:pt x="24" y="5"/>
                    </a:lnTo>
                    <a:lnTo>
                      <a:pt x="26" y="7"/>
                    </a:lnTo>
                    <a:lnTo>
                      <a:pt x="31" y="5"/>
                    </a:lnTo>
                    <a:lnTo>
                      <a:pt x="33" y="7"/>
                    </a:lnTo>
                    <a:lnTo>
                      <a:pt x="34" y="10"/>
                    </a:lnTo>
                    <a:lnTo>
                      <a:pt x="29" y="19"/>
                    </a:lnTo>
                    <a:lnTo>
                      <a:pt x="21" y="26"/>
                    </a:lnTo>
                    <a:lnTo>
                      <a:pt x="14" y="22"/>
                    </a:lnTo>
                    <a:lnTo>
                      <a:pt x="7" y="20"/>
                    </a:lnTo>
                    <a:lnTo>
                      <a:pt x="2" y="15"/>
                    </a:lnTo>
                    <a:lnTo>
                      <a:pt x="0" y="12"/>
                    </a:lnTo>
                    <a:lnTo>
                      <a:pt x="2" y="3"/>
                    </a:lnTo>
                    <a:lnTo>
                      <a:pt x="10" y="0"/>
                    </a:lnTo>
                    <a:lnTo>
                      <a:pt x="12"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7" name="Freeform 289"/>
              <p:cNvSpPr>
                <a:spLocks/>
              </p:cNvSpPr>
              <p:nvPr/>
            </p:nvSpPr>
            <p:spPr bwMode="auto">
              <a:xfrm>
                <a:off x="2961482" y="5340350"/>
                <a:ext cx="38100" cy="23812"/>
              </a:xfrm>
              <a:custGeom>
                <a:avLst/>
                <a:gdLst/>
                <a:ahLst/>
                <a:cxnLst>
                  <a:cxn ang="0">
                    <a:pos x="5" y="3"/>
                  </a:cxn>
                  <a:cxn ang="0">
                    <a:pos x="8" y="1"/>
                  </a:cxn>
                  <a:cxn ang="0">
                    <a:pos x="14" y="0"/>
                  </a:cxn>
                  <a:cxn ang="0">
                    <a:pos x="19" y="0"/>
                  </a:cxn>
                  <a:cxn ang="0">
                    <a:pos x="24" y="0"/>
                  </a:cxn>
                  <a:cxn ang="0">
                    <a:pos x="24" y="1"/>
                  </a:cxn>
                  <a:cxn ang="0">
                    <a:pos x="24" y="3"/>
                  </a:cxn>
                  <a:cxn ang="0">
                    <a:pos x="19" y="8"/>
                  </a:cxn>
                  <a:cxn ang="0">
                    <a:pos x="10" y="10"/>
                  </a:cxn>
                  <a:cxn ang="0">
                    <a:pos x="7" y="13"/>
                  </a:cxn>
                  <a:cxn ang="0">
                    <a:pos x="3" y="15"/>
                  </a:cxn>
                  <a:cxn ang="0">
                    <a:pos x="2" y="15"/>
                  </a:cxn>
                  <a:cxn ang="0">
                    <a:pos x="0" y="15"/>
                  </a:cxn>
                  <a:cxn ang="0">
                    <a:pos x="0" y="10"/>
                  </a:cxn>
                  <a:cxn ang="0">
                    <a:pos x="2" y="6"/>
                  </a:cxn>
                  <a:cxn ang="0">
                    <a:pos x="5" y="3"/>
                  </a:cxn>
                </a:cxnLst>
                <a:rect l="0" t="0" r="r" b="b"/>
                <a:pathLst>
                  <a:path w="24" h="15">
                    <a:moveTo>
                      <a:pt x="5" y="3"/>
                    </a:moveTo>
                    <a:lnTo>
                      <a:pt x="8" y="1"/>
                    </a:lnTo>
                    <a:lnTo>
                      <a:pt x="14" y="0"/>
                    </a:lnTo>
                    <a:lnTo>
                      <a:pt x="19" y="0"/>
                    </a:lnTo>
                    <a:lnTo>
                      <a:pt x="24" y="0"/>
                    </a:lnTo>
                    <a:lnTo>
                      <a:pt x="24" y="1"/>
                    </a:lnTo>
                    <a:lnTo>
                      <a:pt x="24" y="3"/>
                    </a:lnTo>
                    <a:lnTo>
                      <a:pt x="19" y="8"/>
                    </a:lnTo>
                    <a:lnTo>
                      <a:pt x="10" y="10"/>
                    </a:lnTo>
                    <a:lnTo>
                      <a:pt x="7" y="13"/>
                    </a:lnTo>
                    <a:lnTo>
                      <a:pt x="3" y="15"/>
                    </a:lnTo>
                    <a:lnTo>
                      <a:pt x="2" y="15"/>
                    </a:lnTo>
                    <a:lnTo>
                      <a:pt x="0" y="15"/>
                    </a:lnTo>
                    <a:lnTo>
                      <a:pt x="0" y="10"/>
                    </a:lnTo>
                    <a:lnTo>
                      <a:pt x="2" y="6"/>
                    </a:lnTo>
                    <a:lnTo>
                      <a:pt x="5"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8" name="Freeform 290"/>
              <p:cNvSpPr>
                <a:spLocks/>
              </p:cNvSpPr>
              <p:nvPr/>
            </p:nvSpPr>
            <p:spPr bwMode="auto">
              <a:xfrm>
                <a:off x="2934494" y="5334000"/>
                <a:ext cx="31750" cy="26987"/>
              </a:xfrm>
              <a:custGeom>
                <a:avLst/>
                <a:gdLst/>
                <a:ahLst/>
                <a:cxnLst>
                  <a:cxn ang="0">
                    <a:pos x="7" y="5"/>
                  </a:cxn>
                  <a:cxn ang="0">
                    <a:pos x="3" y="2"/>
                  </a:cxn>
                  <a:cxn ang="0">
                    <a:pos x="3" y="0"/>
                  </a:cxn>
                  <a:cxn ang="0">
                    <a:pos x="12" y="0"/>
                  </a:cxn>
                  <a:cxn ang="0">
                    <a:pos x="20" y="0"/>
                  </a:cxn>
                  <a:cxn ang="0">
                    <a:pos x="20" y="2"/>
                  </a:cxn>
                  <a:cxn ang="0">
                    <a:pos x="20" y="5"/>
                  </a:cxn>
                  <a:cxn ang="0">
                    <a:pos x="10" y="10"/>
                  </a:cxn>
                  <a:cxn ang="0">
                    <a:pos x="1" y="17"/>
                  </a:cxn>
                  <a:cxn ang="0">
                    <a:pos x="0" y="16"/>
                  </a:cxn>
                  <a:cxn ang="0">
                    <a:pos x="3" y="10"/>
                  </a:cxn>
                  <a:cxn ang="0">
                    <a:pos x="7" y="5"/>
                  </a:cxn>
                </a:cxnLst>
                <a:rect l="0" t="0" r="r" b="b"/>
                <a:pathLst>
                  <a:path w="20" h="17">
                    <a:moveTo>
                      <a:pt x="7" y="5"/>
                    </a:moveTo>
                    <a:lnTo>
                      <a:pt x="3" y="2"/>
                    </a:lnTo>
                    <a:lnTo>
                      <a:pt x="3" y="0"/>
                    </a:lnTo>
                    <a:lnTo>
                      <a:pt x="12" y="0"/>
                    </a:lnTo>
                    <a:lnTo>
                      <a:pt x="20" y="0"/>
                    </a:lnTo>
                    <a:lnTo>
                      <a:pt x="20" y="2"/>
                    </a:lnTo>
                    <a:lnTo>
                      <a:pt x="20" y="5"/>
                    </a:lnTo>
                    <a:lnTo>
                      <a:pt x="10" y="10"/>
                    </a:lnTo>
                    <a:lnTo>
                      <a:pt x="1" y="17"/>
                    </a:lnTo>
                    <a:lnTo>
                      <a:pt x="0" y="16"/>
                    </a:lnTo>
                    <a:lnTo>
                      <a:pt x="3"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9" name="Freeform 291"/>
              <p:cNvSpPr>
                <a:spLocks/>
              </p:cNvSpPr>
              <p:nvPr/>
            </p:nvSpPr>
            <p:spPr bwMode="auto">
              <a:xfrm>
                <a:off x="2620169" y="5057775"/>
                <a:ext cx="19050" cy="47625"/>
              </a:xfrm>
              <a:custGeom>
                <a:avLst/>
                <a:gdLst/>
                <a:ahLst/>
                <a:cxnLst>
                  <a:cxn ang="0">
                    <a:pos x="0" y="16"/>
                  </a:cxn>
                  <a:cxn ang="0">
                    <a:pos x="0" y="13"/>
                  </a:cxn>
                  <a:cxn ang="0">
                    <a:pos x="2" y="7"/>
                  </a:cxn>
                  <a:cxn ang="0">
                    <a:pos x="2" y="2"/>
                  </a:cxn>
                  <a:cxn ang="0">
                    <a:pos x="5" y="0"/>
                  </a:cxn>
                  <a:cxn ang="0">
                    <a:pos x="10" y="2"/>
                  </a:cxn>
                  <a:cxn ang="0">
                    <a:pos x="12" y="9"/>
                  </a:cxn>
                  <a:cxn ang="0">
                    <a:pos x="10" y="13"/>
                  </a:cxn>
                  <a:cxn ang="0">
                    <a:pos x="10" y="14"/>
                  </a:cxn>
                  <a:cxn ang="0">
                    <a:pos x="10" y="30"/>
                  </a:cxn>
                  <a:cxn ang="0">
                    <a:pos x="5" y="30"/>
                  </a:cxn>
                  <a:cxn ang="0">
                    <a:pos x="0" y="26"/>
                  </a:cxn>
                  <a:cxn ang="0">
                    <a:pos x="0" y="23"/>
                  </a:cxn>
                  <a:cxn ang="0">
                    <a:pos x="0" y="18"/>
                  </a:cxn>
                  <a:cxn ang="0">
                    <a:pos x="0" y="16"/>
                  </a:cxn>
                </a:cxnLst>
                <a:rect l="0" t="0" r="r" b="b"/>
                <a:pathLst>
                  <a:path w="12" h="30">
                    <a:moveTo>
                      <a:pt x="0" y="16"/>
                    </a:moveTo>
                    <a:lnTo>
                      <a:pt x="0" y="13"/>
                    </a:lnTo>
                    <a:lnTo>
                      <a:pt x="2" y="7"/>
                    </a:lnTo>
                    <a:lnTo>
                      <a:pt x="2" y="2"/>
                    </a:lnTo>
                    <a:lnTo>
                      <a:pt x="5" y="0"/>
                    </a:lnTo>
                    <a:lnTo>
                      <a:pt x="10" y="2"/>
                    </a:lnTo>
                    <a:lnTo>
                      <a:pt x="12" y="9"/>
                    </a:lnTo>
                    <a:lnTo>
                      <a:pt x="10" y="13"/>
                    </a:lnTo>
                    <a:lnTo>
                      <a:pt x="10" y="14"/>
                    </a:lnTo>
                    <a:lnTo>
                      <a:pt x="10" y="30"/>
                    </a:lnTo>
                    <a:lnTo>
                      <a:pt x="5" y="30"/>
                    </a:lnTo>
                    <a:lnTo>
                      <a:pt x="0" y="26"/>
                    </a:lnTo>
                    <a:lnTo>
                      <a:pt x="0" y="23"/>
                    </a:lnTo>
                    <a:lnTo>
                      <a:pt x="0" y="18"/>
                    </a:lnTo>
                    <a:lnTo>
                      <a:pt x="0"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0" name="Freeform 292"/>
              <p:cNvSpPr>
                <a:spLocks/>
              </p:cNvSpPr>
              <p:nvPr/>
            </p:nvSpPr>
            <p:spPr bwMode="auto">
              <a:xfrm>
                <a:off x="2453482" y="3743325"/>
                <a:ext cx="1069975" cy="1722437"/>
              </a:xfrm>
              <a:custGeom>
                <a:avLst/>
                <a:gdLst/>
                <a:ahLst/>
                <a:cxnLst>
                  <a:cxn ang="0">
                    <a:pos x="52" y="79"/>
                  </a:cxn>
                  <a:cxn ang="0">
                    <a:pos x="65" y="55"/>
                  </a:cxn>
                  <a:cxn ang="0">
                    <a:pos x="86" y="22"/>
                  </a:cxn>
                  <a:cxn ang="0">
                    <a:pos x="143" y="0"/>
                  </a:cxn>
                  <a:cxn ang="0">
                    <a:pos x="139" y="41"/>
                  </a:cxn>
                  <a:cxn ang="0">
                    <a:pos x="158" y="13"/>
                  </a:cxn>
                  <a:cxn ang="0">
                    <a:pos x="191" y="22"/>
                  </a:cxn>
                  <a:cxn ang="0">
                    <a:pos x="234" y="32"/>
                  </a:cxn>
                  <a:cxn ang="0">
                    <a:pos x="272" y="24"/>
                  </a:cxn>
                  <a:cxn ang="0">
                    <a:pos x="313" y="56"/>
                  </a:cxn>
                  <a:cxn ang="0">
                    <a:pos x="344" y="87"/>
                  </a:cxn>
                  <a:cxn ang="0">
                    <a:pos x="409" y="101"/>
                  </a:cxn>
                  <a:cxn ang="0">
                    <a:pos x="442" y="134"/>
                  </a:cxn>
                  <a:cxn ang="0">
                    <a:pos x="437" y="177"/>
                  </a:cxn>
                  <a:cxn ang="0">
                    <a:pos x="463" y="208"/>
                  </a:cxn>
                  <a:cxn ang="0">
                    <a:pos x="507" y="192"/>
                  </a:cxn>
                  <a:cxn ang="0">
                    <a:pos x="538" y="218"/>
                  </a:cxn>
                  <a:cxn ang="0">
                    <a:pos x="616" y="227"/>
                  </a:cxn>
                  <a:cxn ang="0">
                    <a:pos x="671" y="261"/>
                  </a:cxn>
                  <a:cxn ang="0">
                    <a:pos x="642" y="345"/>
                  </a:cxn>
                  <a:cxn ang="0">
                    <a:pos x="614" y="395"/>
                  </a:cxn>
                  <a:cxn ang="0">
                    <a:pos x="604" y="447"/>
                  </a:cxn>
                  <a:cxn ang="0">
                    <a:pos x="571" y="510"/>
                  </a:cxn>
                  <a:cxn ang="0">
                    <a:pos x="509" y="533"/>
                  </a:cxn>
                  <a:cxn ang="0">
                    <a:pos x="475" y="602"/>
                  </a:cxn>
                  <a:cxn ang="0">
                    <a:pos x="433" y="655"/>
                  </a:cxn>
                  <a:cxn ang="0">
                    <a:pos x="368" y="706"/>
                  </a:cxn>
                  <a:cxn ang="0">
                    <a:pos x="342" y="710"/>
                  </a:cxn>
                  <a:cxn ang="0">
                    <a:pos x="349" y="758"/>
                  </a:cxn>
                  <a:cxn ang="0">
                    <a:pos x="282" y="777"/>
                  </a:cxn>
                  <a:cxn ang="0">
                    <a:pos x="277" y="811"/>
                  </a:cxn>
                  <a:cxn ang="0">
                    <a:pos x="237" y="822"/>
                  </a:cxn>
                  <a:cxn ang="0">
                    <a:pos x="260" y="839"/>
                  </a:cxn>
                  <a:cxn ang="0">
                    <a:pos x="237" y="861"/>
                  </a:cxn>
                  <a:cxn ang="0">
                    <a:pos x="217" y="918"/>
                  </a:cxn>
                  <a:cxn ang="0">
                    <a:pos x="205" y="961"/>
                  </a:cxn>
                  <a:cxn ang="0">
                    <a:pos x="186" y="1014"/>
                  </a:cxn>
                  <a:cxn ang="0">
                    <a:pos x="229" y="1068"/>
                  </a:cxn>
                  <a:cxn ang="0">
                    <a:pos x="201" y="1083"/>
                  </a:cxn>
                  <a:cxn ang="0">
                    <a:pos x="169" y="1071"/>
                  </a:cxn>
                  <a:cxn ang="0">
                    <a:pos x="132" y="1050"/>
                  </a:cxn>
                  <a:cxn ang="0">
                    <a:pos x="107" y="1026"/>
                  </a:cxn>
                  <a:cxn ang="0">
                    <a:pos x="105" y="1000"/>
                  </a:cxn>
                  <a:cxn ang="0">
                    <a:pos x="91" y="954"/>
                  </a:cxn>
                  <a:cxn ang="0">
                    <a:pos x="96" y="904"/>
                  </a:cxn>
                  <a:cxn ang="0">
                    <a:pos x="127" y="823"/>
                  </a:cxn>
                  <a:cxn ang="0">
                    <a:pos x="115" y="789"/>
                  </a:cxn>
                  <a:cxn ang="0">
                    <a:pos x="115" y="767"/>
                  </a:cxn>
                  <a:cxn ang="0">
                    <a:pos x="138" y="715"/>
                  </a:cxn>
                  <a:cxn ang="0">
                    <a:pos x="151" y="595"/>
                  </a:cxn>
                  <a:cxn ang="0">
                    <a:pos x="162" y="538"/>
                  </a:cxn>
                  <a:cxn ang="0">
                    <a:pos x="165" y="498"/>
                  </a:cxn>
                  <a:cxn ang="0">
                    <a:pos x="129" y="428"/>
                  </a:cxn>
                  <a:cxn ang="0">
                    <a:pos x="74" y="393"/>
                  </a:cxn>
                  <a:cxn ang="0">
                    <a:pos x="40" y="311"/>
                  </a:cxn>
                  <a:cxn ang="0">
                    <a:pos x="14" y="277"/>
                  </a:cxn>
                  <a:cxn ang="0">
                    <a:pos x="17" y="216"/>
                  </a:cxn>
                  <a:cxn ang="0">
                    <a:pos x="17" y="170"/>
                  </a:cxn>
                  <a:cxn ang="0">
                    <a:pos x="55" y="132"/>
                  </a:cxn>
                </a:cxnLst>
                <a:rect l="0" t="0" r="r" b="b"/>
                <a:pathLst>
                  <a:path w="674" h="1085">
                    <a:moveTo>
                      <a:pt x="57" y="118"/>
                    </a:moveTo>
                    <a:lnTo>
                      <a:pt x="57" y="115"/>
                    </a:lnTo>
                    <a:lnTo>
                      <a:pt x="55" y="108"/>
                    </a:lnTo>
                    <a:lnTo>
                      <a:pt x="53" y="103"/>
                    </a:lnTo>
                    <a:lnTo>
                      <a:pt x="55" y="96"/>
                    </a:lnTo>
                    <a:lnTo>
                      <a:pt x="57" y="91"/>
                    </a:lnTo>
                    <a:lnTo>
                      <a:pt x="52" y="79"/>
                    </a:lnTo>
                    <a:lnTo>
                      <a:pt x="48" y="72"/>
                    </a:lnTo>
                    <a:lnTo>
                      <a:pt x="53" y="63"/>
                    </a:lnTo>
                    <a:lnTo>
                      <a:pt x="60" y="58"/>
                    </a:lnTo>
                    <a:lnTo>
                      <a:pt x="62" y="58"/>
                    </a:lnTo>
                    <a:lnTo>
                      <a:pt x="65" y="58"/>
                    </a:lnTo>
                    <a:lnTo>
                      <a:pt x="65" y="56"/>
                    </a:lnTo>
                    <a:lnTo>
                      <a:pt x="65" y="55"/>
                    </a:lnTo>
                    <a:lnTo>
                      <a:pt x="67" y="53"/>
                    </a:lnTo>
                    <a:lnTo>
                      <a:pt x="69" y="53"/>
                    </a:lnTo>
                    <a:lnTo>
                      <a:pt x="71" y="46"/>
                    </a:lnTo>
                    <a:lnTo>
                      <a:pt x="77" y="43"/>
                    </a:lnTo>
                    <a:lnTo>
                      <a:pt x="79" y="36"/>
                    </a:lnTo>
                    <a:lnTo>
                      <a:pt x="83" y="31"/>
                    </a:lnTo>
                    <a:lnTo>
                      <a:pt x="86" y="22"/>
                    </a:lnTo>
                    <a:lnTo>
                      <a:pt x="96" y="19"/>
                    </a:lnTo>
                    <a:lnTo>
                      <a:pt x="103" y="15"/>
                    </a:lnTo>
                    <a:lnTo>
                      <a:pt x="112" y="13"/>
                    </a:lnTo>
                    <a:lnTo>
                      <a:pt x="119" y="10"/>
                    </a:lnTo>
                    <a:lnTo>
                      <a:pt x="129" y="8"/>
                    </a:lnTo>
                    <a:lnTo>
                      <a:pt x="136" y="3"/>
                    </a:lnTo>
                    <a:lnTo>
                      <a:pt x="143" y="0"/>
                    </a:lnTo>
                    <a:lnTo>
                      <a:pt x="146" y="1"/>
                    </a:lnTo>
                    <a:lnTo>
                      <a:pt x="148" y="5"/>
                    </a:lnTo>
                    <a:lnTo>
                      <a:pt x="144" y="10"/>
                    </a:lnTo>
                    <a:lnTo>
                      <a:pt x="143" y="12"/>
                    </a:lnTo>
                    <a:lnTo>
                      <a:pt x="139" y="22"/>
                    </a:lnTo>
                    <a:lnTo>
                      <a:pt x="138" y="32"/>
                    </a:lnTo>
                    <a:lnTo>
                      <a:pt x="139" y="41"/>
                    </a:lnTo>
                    <a:lnTo>
                      <a:pt x="146" y="48"/>
                    </a:lnTo>
                    <a:lnTo>
                      <a:pt x="148" y="43"/>
                    </a:lnTo>
                    <a:lnTo>
                      <a:pt x="151" y="39"/>
                    </a:lnTo>
                    <a:lnTo>
                      <a:pt x="148" y="31"/>
                    </a:lnTo>
                    <a:lnTo>
                      <a:pt x="144" y="24"/>
                    </a:lnTo>
                    <a:lnTo>
                      <a:pt x="148" y="15"/>
                    </a:lnTo>
                    <a:lnTo>
                      <a:pt x="158" y="13"/>
                    </a:lnTo>
                    <a:lnTo>
                      <a:pt x="170" y="13"/>
                    </a:lnTo>
                    <a:lnTo>
                      <a:pt x="163" y="8"/>
                    </a:lnTo>
                    <a:lnTo>
                      <a:pt x="160" y="5"/>
                    </a:lnTo>
                    <a:lnTo>
                      <a:pt x="170" y="5"/>
                    </a:lnTo>
                    <a:lnTo>
                      <a:pt x="177" y="13"/>
                    </a:lnTo>
                    <a:lnTo>
                      <a:pt x="191" y="17"/>
                    </a:lnTo>
                    <a:lnTo>
                      <a:pt x="191" y="22"/>
                    </a:lnTo>
                    <a:lnTo>
                      <a:pt x="196" y="25"/>
                    </a:lnTo>
                    <a:lnTo>
                      <a:pt x="203" y="25"/>
                    </a:lnTo>
                    <a:lnTo>
                      <a:pt x="212" y="25"/>
                    </a:lnTo>
                    <a:lnTo>
                      <a:pt x="218" y="25"/>
                    </a:lnTo>
                    <a:lnTo>
                      <a:pt x="224" y="25"/>
                    </a:lnTo>
                    <a:lnTo>
                      <a:pt x="227" y="31"/>
                    </a:lnTo>
                    <a:lnTo>
                      <a:pt x="234" y="32"/>
                    </a:lnTo>
                    <a:lnTo>
                      <a:pt x="244" y="29"/>
                    </a:lnTo>
                    <a:lnTo>
                      <a:pt x="249" y="25"/>
                    </a:lnTo>
                    <a:lnTo>
                      <a:pt x="256" y="24"/>
                    </a:lnTo>
                    <a:lnTo>
                      <a:pt x="263" y="22"/>
                    </a:lnTo>
                    <a:lnTo>
                      <a:pt x="272" y="22"/>
                    </a:lnTo>
                    <a:lnTo>
                      <a:pt x="277" y="24"/>
                    </a:lnTo>
                    <a:lnTo>
                      <a:pt x="272" y="24"/>
                    </a:lnTo>
                    <a:lnTo>
                      <a:pt x="268" y="25"/>
                    </a:lnTo>
                    <a:lnTo>
                      <a:pt x="268" y="29"/>
                    </a:lnTo>
                    <a:lnTo>
                      <a:pt x="279" y="36"/>
                    </a:lnTo>
                    <a:lnTo>
                      <a:pt x="291" y="39"/>
                    </a:lnTo>
                    <a:lnTo>
                      <a:pt x="296" y="46"/>
                    </a:lnTo>
                    <a:lnTo>
                      <a:pt x="298" y="56"/>
                    </a:lnTo>
                    <a:lnTo>
                      <a:pt x="313" y="56"/>
                    </a:lnTo>
                    <a:lnTo>
                      <a:pt x="318" y="60"/>
                    </a:lnTo>
                    <a:lnTo>
                      <a:pt x="323" y="63"/>
                    </a:lnTo>
                    <a:lnTo>
                      <a:pt x="327" y="68"/>
                    </a:lnTo>
                    <a:lnTo>
                      <a:pt x="332" y="77"/>
                    </a:lnTo>
                    <a:lnTo>
                      <a:pt x="335" y="79"/>
                    </a:lnTo>
                    <a:lnTo>
                      <a:pt x="341" y="81"/>
                    </a:lnTo>
                    <a:lnTo>
                      <a:pt x="344" y="87"/>
                    </a:lnTo>
                    <a:lnTo>
                      <a:pt x="354" y="91"/>
                    </a:lnTo>
                    <a:lnTo>
                      <a:pt x="366" y="93"/>
                    </a:lnTo>
                    <a:lnTo>
                      <a:pt x="378" y="94"/>
                    </a:lnTo>
                    <a:lnTo>
                      <a:pt x="392" y="94"/>
                    </a:lnTo>
                    <a:lnTo>
                      <a:pt x="399" y="98"/>
                    </a:lnTo>
                    <a:lnTo>
                      <a:pt x="409" y="101"/>
                    </a:lnTo>
                    <a:lnTo>
                      <a:pt x="409" y="101"/>
                    </a:lnTo>
                    <a:lnTo>
                      <a:pt x="411" y="101"/>
                    </a:lnTo>
                    <a:lnTo>
                      <a:pt x="416" y="103"/>
                    </a:lnTo>
                    <a:lnTo>
                      <a:pt x="425" y="110"/>
                    </a:lnTo>
                    <a:lnTo>
                      <a:pt x="430" y="115"/>
                    </a:lnTo>
                    <a:lnTo>
                      <a:pt x="439" y="120"/>
                    </a:lnTo>
                    <a:lnTo>
                      <a:pt x="439" y="125"/>
                    </a:lnTo>
                    <a:lnTo>
                      <a:pt x="442" y="134"/>
                    </a:lnTo>
                    <a:lnTo>
                      <a:pt x="445" y="141"/>
                    </a:lnTo>
                    <a:lnTo>
                      <a:pt x="449" y="149"/>
                    </a:lnTo>
                    <a:lnTo>
                      <a:pt x="452" y="153"/>
                    </a:lnTo>
                    <a:lnTo>
                      <a:pt x="457" y="158"/>
                    </a:lnTo>
                    <a:lnTo>
                      <a:pt x="449" y="163"/>
                    </a:lnTo>
                    <a:lnTo>
                      <a:pt x="442" y="170"/>
                    </a:lnTo>
                    <a:lnTo>
                      <a:pt x="437" y="177"/>
                    </a:lnTo>
                    <a:lnTo>
                      <a:pt x="435" y="189"/>
                    </a:lnTo>
                    <a:lnTo>
                      <a:pt x="437" y="192"/>
                    </a:lnTo>
                    <a:lnTo>
                      <a:pt x="442" y="194"/>
                    </a:lnTo>
                    <a:lnTo>
                      <a:pt x="447" y="199"/>
                    </a:lnTo>
                    <a:lnTo>
                      <a:pt x="451" y="206"/>
                    </a:lnTo>
                    <a:lnTo>
                      <a:pt x="463" y="206"/>
                    </a:lnTo>
                    <a:lnTo>
                      <a:pt x="463" y="208"/>
                    </a:lnTo>
                    <a:lnTo>
                      <a:pt x="464" y="211"/>
                    </a:lnTo>
                    <a:lnTo>
                      <a:pt x="468" y="208"/>
                    </a:lnTo>
                    <a:lnTo>
                      <a:pt x="471" y="206"/>
                    </a:lnTo>
                    <a:lnTo>
                      <a:pt x="478" y="192"/>
                    </a:lnTo>
                    <a:lnTo>
                      <a:pt x="490" y="187"/>
                    </a:lnTo>
                    <a:lnTo>
                      <a:pt x="497" y="187"/>
                    </a:lnTo>
                    <a:lnTo>
                      <a:pt x="507" y="192"/>
                    </a:lnTo>
                    <a:lnTo>
                      <a:pt x="516" y="196"/>
                    </a:lnTo>
                    <a:lnTo>
                      <a:pt x="525" y="201"/>
                    </a:lnTo>
                    <a:lnTo>
                      <a:pt x="530" y="203"/>
                    </a:lnTo>
                    <a:lnTo>
                      <a:pt x="533" y="206"/>
                    </a:lnTo>
                    <a:lnTo>
                      <a:pt x="533" y="211"/>
                    </a:lnTo>
                    <a:lnTo>
                      <a:pt x="535" y="218"/>
                    </a:lnTo>
                    <a:lnTo>
                      <a:pt x="538" y="218"/>
                    </a:lnTo>
                    <a:lnTo>
                      <a:pt x="543" y="215"/>
                    </a:lnTo>
                    <a:lnTo>
                      <a:pt x="549" y="213"/>
                    </a:lnTo>
                    <a:lnTo>
                      <a:pt x="561" y="216"/>
                    </a:lnTo>
                    <a:lnTo>
                      <a:pt x="573" y="222"/>
                    </a:lnTo>
                    <a:lnTo>
                      <a:pt x="592" y="218"/>
                    </a:lnTo>
                    <a:lnTo>
                      <a:pt x="604" y="222"/>
                    </a:lnTo>
                    <a:lnTo>
                      <a:pt x="616" y="227"/>
                    </a:lnTo>
                    <a:lnTo>
                      <a:pt x="619" y="232"/>
                    </a:lnTo>
                    <a:lnTo>
                      <a:pt x="626" y="240"/>
                    </a:lnTo>
                    <a:lnTo>
                      <a:pt x="635" y="246"/>
                    </a:lnTo>
                    <a:lnTo>
                      <a:pt x="643" y="251"/>
                    </a:lnTo>
                    <a:lnTo>
                      <a:pt x="652" y="251"/>
                    </a:lnTo>
                    <a:lnTo>
                      <a:pt x="662" y="252"/>
                    </a:lnTo>
                    <a:lnTo>
                      <a:pt x="671" y="261"/>
                    </a:lnTo>
                    <a:lnTo>
                      <a:pt x="674" y="277"/>
                    </a:lnTo>
                    <a:lnTo>
                      <a:pt x="672" y="289"/>
                    </a:lnTo>
                    <a:lnTo>
                      <a:pt x="671" y="299"/>
                    </a:lnTo>
                    <a:lnTo>
                      <a:pt x="666" y="307"/>
                    </a:lnTo>
                    <a:lnTo>
                      <a:pt x="662" y="316"/>
                    </a:lnTo>
                    <a:lnTo>
                      <a:pt x="652" y="330"/>
                    </a:lnTo>
                    <a:lnTo>
                      <a:pt x="642" y="345"/>
                    </a:lnTo>
                    <a:lnTo>
                      <a:pt x="636" y="349"/>
                    </a:lnTo>
                    <a:lnTo>
                      <a:pt x="633" y="356"/>
                    </a:lnTo>
                    <a:lnTo>
                      <a:pt x="624" y="363"/>
                    </a:lnTo>
                    <a:lnTo>
                      <a:pt x="617" y="369"/>
                    </a:lnTo>
                    <a:lnTo>
                      <a:pt x="612" y="375"/>
                    </a:lnTo>
                    <a:lnTo>
                      <a:pt x="612" y="385"/>
                    </a:lnTo>
                    <a:lnTo>
                      <a:pt x="614" y="395"/>
                    </a:lnTo>
                    <a:lnTo>
                      <a:pt x="616" y="405"/>
                    </a:lnTo>
                    <a:lnTo>
                      <a:pt x="614" y="418"/>
                    </a:lnTo>
                    <a:lnTo>
                      <a:pt x="614" y="430"/>
                    </a:lnTo>
                    <a:lnTo>
                      <a:pt x="612" y="431"/>
                    </a:lnTo>
                    <a:lnTo>
                      <a:pt x="611" y="435"/>
                    </a:lnTo>
                    <a:lnTo>
                      <a:pt x="605" y="440"/>
                    </a:lnTo>
                    <a:lnTo>
                      <a:pt x="604" y="447"/>
                    </a:lnTo>
                    <a:lnTo>
                      <a:pt x="602" y="455"/>
                    </a:lnTo>
                    <a:lnTo>
                      <a:pt x="602" y="464"/>
                    </a:lnTo>
                    <a:lnTo>
                      <a:pt x="592" y="478"/>
                    </a:lnTo>
                    <a:lnTo>
                      <a:pt x="583" y="491"/>
                    </a:lnTo>
                    <a:lnTo>
                      <a:pt x="581" y="497"/>
                    </a:lnTo>
                    <a:lnTo>
                      <a:pt x="581" y="502"/>
                    </a:lnTo>
                    <a:lnTo>
                      <a:pt x="571" y="510"/>
                    </a:lnTo>
                    <a:lnTo>
                      <a:pt x="559" y="516"/>
                    </a:lnTo>
                    <a:lnTo>
                      <a:pt x="545" y="516"/>
                    </a:lnTo>
                    <a:lnTo>
                      <a:pt x="535" y="519"/>
                    </a:lnTo>
                    <a:lnTo>
                      <a:pt x="530" y="521"/>
                    </a:lnTo>
                    <a:lnTo>
                      <a:pt x="528" y="524"/>
                    </a:lnTo>
                    <a:lnTo>
                      <a:pt x="518" y="529"/>
                    </a:lnTo>
                    <a:lnTo>
                      <a:pt x="509" y="533"/>
                    </a:lnTo>
                    <a:lnTo>
                      <a:pt x="500" y="534"/>
                    </a:lnTo>
                    <a:lnTo>
                      <a:pt x="495" y="543"/>
                    </a:lnTo>
                    <a:lnTo>
                      <a:pt x="487" y="548"/>
                    </a:lnTo>
                    <a:lnTo>
                      <a:pt x="480" y="553"/>
                    </a:lnTo>
                    <a:lnTo>
                      <a:pt x="475" y="564"/>
                    </a:lnTo>
                    <a:lnTo>
                      <a:pt x="475" y="577"/>
                    </a:lnTo>
                    <a:lnTo>
                      <a:pt x="475" y="602"/>
                    </a:lnTo>
                    <a:lnTo>
                      <a:pt x="461" y="610"/>
                    </a:lnTo>
                    <a:lnTo>
                      <a:pt x="454" y="626"/>
                    </a:lnTo>
                    <a:lnTo>
                      <a:pt x="454" y="626"/>
                    </a:lnTo>
                    <a:lnTo>
                      <a:pt x="451" y="632"/>
                    </a:lnTo>
                    <a:lnTo>
                      <a:pt x="447" y="641"/>
                    </a:lnTo>
                    <a:lnTo>
                      <a:pt x="439" y="648"/>
                    </a:lnTo>
                    <a:lnTo>
                      <a:pt x="433" y="655"/>
                    </a:lnTo>
                    <a:lnTo>
                      <a:pt x="425" y="660"/>
                    </a:lnTo>
                    <a:lnTo>
                      <a:pt x="420" y="670"/>
                    </a:lnTo>
                    <a:lnTo>
                      <a:pt x="413" y="682"/>
                    </a:lnTo>
                    <a:lnTo>
                      <a:pt x="406" y="694"/>
                    </a:lnTo>
                    <a:lnTo>
                      <a:pt x="396" y="705"/>
                    </a:lnTo>
                    <a:lnTo>
                      <a:pt x="382" y="710"/>
                    </a:lnTo>
                    <a:lnTo>
                      <a:pt x="368" y="706"/>
                    </a:lnTo>
                    <a:lnTo>
                      <a:pt x="359" y="705"/>
                    </a:lnTo>
                    <a:lnTo>
                      <a:pt x="347" y="701"/>
                    </a:lnTo>
                    <a:lnTo>
                      <a:pt x="337" y="700"/>
                    </a:lnTo>
                    <a:lnTo>
                      <a:pt x="334" y="700"/>
                    </a:lnTo>
                    <a:lnTo>
                      <a:pt x="334" y="701"/>
                    </a:lnTo>
                    <a:lnTo>
                      <a:pt x="337" y="706"/>
                    </a:lnTo>
                    <a:lnTo>
                      <a:pt x="342" y="710"/>
                    </a:lnTo>
                    <a:lnTo>
                      <a:pt x="346" y="717"/>
                    </a:lnTo>
                    <a:lnTo>
                      <a:pt x="349" y="725"/>
                    </a:lnTo>
                    <a:lnTo>
                      <a:pt x="353" y="730"/>
                    </a:lnTo>
                    <a:lnTo>
                      <a:pt x="358" y="737"/>
                    </a:lnTo>
                    <a:lnTo>
                      <a:pt x="356" y="744"/>
                    </a:lnTo>
                    <a:lnTo>
                      <a:pt x="356" y="751"/>
                    </a:lnTo>
                    <a:lnTo>
                      <a:pt x="349" y="758"/>
                    </a:lnTo>
                    <a:lnTo>
                      <a:pt x="342" y="767"/>
                    </a:lnTo>
                    <a:lnTo>
                      <a:pt x="327" y="772"/>
                    </a:lnTo>
                    <a:lnTo>
                      <a:pt x="311" y="777"/>
                    </a:lnTo>
                    <a:lnTo>
                      <a:pt x="303" y="775"/>
                    </a:lnTo>
                    <a:lnTo>
                      <a:pt x="294" y="775"/>
                    </a:lnTo>
                    <a:lnTo>
                      <a:pt x="286" y="775"/>
                    </a:lnTo>
                    <a:lnTo>
                      <a:pt x="282" y="777"/>
                    </a:lnTo>
                    <a:lnTo>
                      <a:pt x="277" y="782"/>
                    </a:lnTo>
                    <a:lnTo>
                      <a:pt x="277" y="791"/>
                    </a:lnTo>
                    <a:lnTo>
                      <a:pt x="277" y="798"/>
                    </a:lnTo>
                    <a:lnTo>
                      <a:pt x="277" y="806"/>
                    </a:lnTo>
                    <a:lnTo>
                      <a:pt x="277" y="806"/>
                    </a:lnTo>
                    <a:lnTo>
                      <a:pt x="277" y="808"/>
                    </a:lnTo>
                    <a:lnTo>
                      <a:pt x="277" y="811"/>
                    </a:lnTo>
                    <a:lnTo>
                      <a:pt x="272" y="815"/>
                    </a:lnTo>
                    <a:lnTo>
                      <a:pt x="265" y="818"/>
                    </a:lnTo>
                    <a:lnTo>
                      <a:pt x="253" y="815"/>
                    </a:lnTo>
                    <a:lnTo>
                      <a:pt x="243" y="811"/>
                    </a:lnTo>
                    <a:lnTo>
                      <a:pt x="237" y="813"/>
                    </a:lnTo>
                    <a:lnTo>
                      <a:pt x="237" y="816"/>
                    </a:lnTo>
                    <a:lnTo>
                      <a:pt x="237" y="822"/>
                    </a:lnTo>
                    <a:lnTo>
                      <a:pt x="239" y="828"/>
                    </a:lnTo>
                    <a:lnTo>
                      <a:pt x="243" y="834"/>
                    </a:lnTo>
                    <a:lnTo>
                      <a:pt x="248" y="837"/>
                    </a:lnTo>
                    <a:lnTo>
                      <a:pt x="251" y="835"/>
                    </a:lnTo>
                    <a:lnTo>
                      <a:pt x="255" y="834"/>
                    </a:lnTo>
                    <a:lnTo>
                      <a:pt x="256" y="835"/>
                    </a:lnTo>
                    <a:lnTo>
                      <a:pt x="260" y="839"/>
                    </a:lnTo>
                    <a:lnTo>
                      <a:pt x="256" y="842"/>
                    </a:lnTo>
                    <a:lnTo>
                      <a:pt x="255" y="846"/>
                    </a:lnTo>
                    <a:lnTo>
                      <a:pt x="246" y="842"/>
                    </a:lnTo>
                    <a:lnTo>
                      <a:pt x="241" y="841"/>
                    </a:lnTo>
                    <a:lnTo>
                      <a:pt x="243" y="846"/>
                    </a:lnTo>
                    <a:lnTo>
                      <a:pt x="248" y="847"/>
                    </a:lnTo>
                    <a:lnTo>
                      <a:pt x="237" y="861"/>
                    </a:lnTo>
                    <a:lnTo>
                      <a:pt x="234" y="878"/>
                    </a:lnTo>
                    <a:lnTo>
                      <a:pt x="227" y="884"/>
                    </a:lnTo>
                    <a:lnTo>
                      <a:pt x="220" y="885"/>
                    </a:lnTo>
                    <a:lnTo>
                      <a:pt x="210" y="890"/>
                    </a:lnTo>
                    <a:lnTo>
                      <a:pt x="206" y="904"/>
                    </a:lnTo>
                    <a:lnTo>
                      <a:pt x="208" y="913"/>
                    </a:lnTo>
                    <a:lnTo>
                      <a:pt x="217" y="918"/>
                    </a:lnTo>
                    <a:lnTo>
                      <a:pt x="224" y="921"/>
                    </a:lnTo>
                    <a:lnTo>
                      <a:pt x="229" y="932"/>
                    </a:lnTo>
                    <a:lnTo>
                      <a:pt x="225" y="939"/>
                    </a:lnTo>
                    <a:lnTo>
                      <a:pt x="220" y="945"/>
                    </a:lnTo>
                    <a:lnTo>
                      <a:pt x="213" y="949"/>
                    </a:lnTo>
                    <a:lnTo>
                      <a:pt x="208" y="954"/>
                    </a:lnTo>
                    <a:lnTo>
                      <a:pt x="205" y="961"/>
                    </a:lnTo>
                    <a:lnTo>
                      <a:pt x="203" y="971"/>
                    </a:lnTo>
                    <a:lnTo>
                      <a:pt x="194" y="976"/>
                    </a:lnTo>
                    <a:lnTo>
                      <a:pt x="187" y="980"/>
                    </a:lnTo>
                    <a:lnTo>
                      <a:pt x="181" y="990"/>
                    </a:lnTo>
                    <a:lnTo>
                      <a:pt x="179" y="1004"/>
                    </a:lnTo>
                    <a:lnTo>
                      <a:pt x="181" y="1009"/>
                    </a:lnTo>
                    <a:lnTo>
                      <a:pt x="186" y="1014"/>
                    </a:lnTo>
                    <a:lnTo>
                      <a:pt x="189" y="1019"/>
                    </a:lnTo>
                    <a:lnTo>
                      <a:pt x="193" y="1031"/>
                    </a:lnTo>
                    <a:lnTo>
                      <a:pt x="196" y="1042"/>
                    </a:lnTo>
                    <a:lnTo>
                      <a:pt x="201" y="1050"/>
                    </a:lnTo>
                    <a:lnTo>
                      <a:pt x="208" y="1055"/>
                    </a:lnTo>
                    <a:lnTo>
                      <a:pt x="218" y="1062"/>
                    </a:lnTo>
                    <a:lnTo>
                      <a:pt x="229" y="1068"/>
                    </a:lnTo>
                    <a:lnTo>
                      <a:pt x="239" y="1073"/>
                    </a:lnTo>
                    <a:lnTo>
                      <a:pt x="236" y="1073"/>
                    </a:lnTo>
                    <a:lnTo>
                      <a:pt x="232" y="1073"/>
                    </a:lnTo>
                    <a:lnTo>
                      <a:pt x="217" y="1078"/>
                    </a:lnTo>
                    <a:lnTo>
                      <a:pt x="206" y="1083"/>
                    </a:lnTo>
                    <a:lnTo>
                      <a:pt x="203" y="1083"/>
                    </a:lnTo>
                    <a:lnTo>
                      <a:pt x="201" y="1083"/>
                    </a:lnTo>
                    <a:lnTo>
                      <a:pt x="198" y="1083"/>
                    </a:lnTo>
                    <a:lnTo>
                      <a:pt x="196" y="1085"/>
                    </a:lnTo>
                    <a:lnTo>
                      <a:pt x="189" y="1085"/>
                    </a:lnTo>
                    <a:lnTo>
                      <a:pt x="182" y="1085"/>
                    </a:lnTo>
                    <a:lnTo>
                      <a:pt x="174" y="1081"/>
                    </a:lnTo>
                    <a:lnTo>
                      <a:pt x="172" y="1076"/>
                    </a:lnTo>
                    <a:lnTo>
                      <a:pt x="169" y="1071"/>
                    </a:lnTo>
                    <a:lnTo>
                      <a:pt x="167" y="1069"/>
                    </a:lnTo>
                    <a:lnTo>
                      <a:pt x="153" y="1064"/>
                    </a:lnTo>
                    <a:lnTo>
                      <a:pt x="148" y="1057"/>
                    </a:lnTo>
                    <a:lnTo>
                      <a:pt x="141" y="1057"/>
                    </a:lnTo>
                    <a:lnTo>
                      <a:pt x="138" y="1057"/>
                    </a:lnTo>
                    <a:lnTo>
                      <a:pt x="132" y="1054"/>
                    </a:lnTo>
                    <a:lnTo>
                      <a:pt x="132" y="1050"/>
                    </a:lnTo>
                    <a:lnTo>
                      <a:pt x="120" y="1049"/>
                    </a:lnTo>
                    <a:lnTo>
                      <a:pt x="115" y="1045"/>
                    </a:lnTo>
                    <a:lnTo>
                      <a:pt x="110" y="1040"/>
                    </a:lnTo>
                    <a:lnTo>
                      <a:pt x="107" y="1037"/>
                    </a:lnTo>
                    <a:lnTo>
                      <a:pt x="105" y="1033"/>
                    </a:lnTo>
                    <a:lnTo>
                      <a:pt x="103" y="1031"/>
                    </a:lnTo>
                    <a:lnTo>
                      <a:pt x="107" y="1026"/>
                    </a:lnTo>
                    <a:lnTo>
                      <a:pt x="112" y="1023"/>
                    </a:lnTo>
                    <a:lnTo>
                      <a:pt x="110" y="1021"/>
                    </a:lnTo>
                    <a:lnTo>
                      <a:pt x="108" y="1021"/>
                    </a:lnTo>
                    <a:lnTo>
                      <a:pt x="110" y="1016"/>
                    </a:lnTo>
                    <a:lnTo>
                      <a:pt x="112" y="1012"/>
                    </a:lnTo>
                    <a:lnTo>
                      <a:pt x="108" y="1004"/>
                    </a:lnTo>
                    <a:lnTo>
                      <a:pt x="105" y="1000"/>
                    </a:lnTo>
                    <a:lnTo>
                      <a:pt x="100" y="997"/>
                    </a:lnTo>
                    <a:lnTo>
                      <a:pt x="98" y="992"/>
                    </a:lnTo>
                    <a:lnTo>
                      <a:pt x="98" y="987"/>
                    </a:lnTo>
                    <a:lnTo>
                      <a:pt x="98" y="985"/>
                    </a:lnTo>
                    <a:lnTo>
                      <a:pt x="96" y="975"/>
                    </a:lnTo>
                    <a:lnTo>
                      <a:pt x="95" y="964"/>
                    </a:lnTo>
                    <a:lnTo>
                      <a:pt x="91" y="954"/>
                    </a:lnTo>
                    <a:lnTo>
                      <a:pt x="91" y="947"/>
                    </a:lnTo>
                    <a:lnTo>
                      <a:pt x="96" y="937"/>
                    </a:lnTo>
                    <a:lnTo>
                      <a:pt x="101" y="927"/>
                    </a:lnTo>
                    <a:lnTo>
                      <a:pt x="98" y="916"/>
                    </a:lnTo>
                    <a:lnTo>
                      <a:pt x="95" y="908"/>
                    </a:lnTo>
                    <a:lnTo>
                      <a:pt x="95" y="904"/>
                    </a:lnTo>
                    <a:lnTo>
                      <a:pt x="96" y="904"/>
                    </a:lnTo>
                    <a:lnTo>
                      <a:pt x="96" y="899"/>
                    </a:lnTo>
                    <a:lnTo>
                      <a:pt x="100" y="897"/>
                    </a:lnTo>
                    <a:lnTo>
                      <a:pt x="107" y="902"/>
                    </a:lnTo>
                    <a:lnTo>
                      <a:pt x="114" y="908"/>
                    </a:lnTo>
                    <a:lnTo>
                      <a:pt x="131" y="832"/>
                    </a:lnTo>
                    <a:lnTo>
                      <a:pt x="131" y="825"/>
                    </a:lnTo>
                    <a:lnTo>
                      <a:pt x="127" y="823"/>
                    </a:lnTo>
                    <a:lnTo>
                      <a:pt x="126" y="825"/>
                    </a:lnTo>
                    <a:lnTo>
                      <a:pt x="120" y="827"/>
                    </a:lnTo>
                    <a:lnTo>
                      <a:pt x="117" y="830"/>
                    </a:lnTo>
                    <a:lnTo>
                      <a:pt x="112" y="823"/>
                    </a:lnTo>
                    <a:lnTo>
                      <a:pt x="110" y="813"/>
                    </a:lnTo>
                    <a:lnTo>
                      <a:pt x="112" y="801"/>
                    </a:lnTo>
                    <a:lnTo>
                      <a:pt x="115" y="789"/>
                    </a:lnTo>
                    <a:lnTo>
                      <a:pt x="119" y="787"/>
                    </a:lnTo>
                    <a:lnTo>
                      <a:pt x="120" y="787"/>
                    </a:lnTo>
                    <a:lnTo>
                      <a:pt x="119" y="782"/>
                    </a:lnTo>
                    <a:lnTo>
                      <a:pt x="117" y="780"/>
                    </a:lnTo>
                    <a:lnTo>
                      <a:pt x="115" y="777"/>
                    </a:lnTo>
                    <a:lnTo>
                      <a:pt x="115" y="772"/>
                    </a:lnTo>
                    <a:lnTo>
                      <a:pt x="115" y="767"/>
                    </a:lnTo>
                    <a:lnTo>
                      <a:pt x="115" y="763"/>
                    </a:lnTo>
                    <a:lnTo>
                      <a:pt x="119" y="744"/>
                    </a:lnTo>
                    <a:lnTo>
                      <a:pt x="127" y="732"/>
                    </a:lnTo>
                    <a:lnTo>
                      <a:pt x="129" y="725"/>
                    </a:lnTo>
                    <a:lnTo>
                      <a:pt x="132" y="718"/>
                    </a:lnTo>
                    <a:lnTo>
                      <a:pt x="134" y="717"/>
                    </a:lnTo>
                    <a:lnTo>
                      <a:pt x="138" y="715"/>
                    </a:lnTo>
                    <a:lnTo>
                      <a:pt x="141" y="698"/>
                    </a:lnTo>
                    <a:lnTo>
                      <a:pt x="144" y="682"/>
                    </a:lnTo>
                    <a:lnTo>
                      <a:pt x="143" y="645"/>
                    </a:lnTo>
                    <a:lnTo>
                      <a:pt x="143" y="632"/>
                    </a:lnTo>
                    <a:lnTo>
                      <a:pt x="146" y="620"/>
                    </a:lnTo>
                    <a:lnTo>
                      <a:pt x="146" y="605"/>
                    </a:lnTo>
                    <a:lnTo>
                      <a:pt x="151" y="595"/>
                    </a:lnTo>
                    <a:lnTo>
                      <a:pt x="155" y="583"/>
                    </a:lnTo>
                    <a:lnTo>
                      <a:pt x="158" y="571"/>
                    </a:lnTo>
                    <a:lnTo>
                      <a:pt x="158" y="569"/>
                    </a:lnTo>
                    <a:lnTo>
                      <a:pt x="158" y="567"/>
                    </a:lnTo>
                    <a:lnTo>
                      <a:pt x="158" y="557"/>
                    </a:lnTo>
                    <a:lnTo>
                      <a:pt x="162" y="548"/>
                    </a:lnTo>
                    <a:lnTo>
                      <a:pt x="162" y="538"/>
                    </a:lnTo>
                    <a:lnTo>
                      <a:pt x="162" y="533"/>
                    </a:lnTo>
                    <a:lnTo>
                      <a:pt x="162" y="529"/>
                    </a:lnTo>
                    <a:lnTo>
                      <a:pt x="162" y="526"/>
                    </a:lnTo>
                    <a:lnTo>
                      <a:pt x="162" y="519"/>
                    </a:lnTo>
                    <a:lnTo>
                      <a:pt x="163" y="512"/>
                    </a:lnTo>
                    <a:lnTo>
                      <a:pt x="163" y="504"/>
                    </a:lnTo>
                    <a:lnTo>
                      <a:pt x="165" y="498"/>
                    </a:lnTo>
                    <a:lnTo>
                      <a:pt x="163" y="490"/>
                    </a:lnTo>
                    <a:lnTo>
                      <a:pt x="163" y="478"/>
                    </a:lnTo>
                    <a:lnTo>
                      <a:pt x="162" y="464"/>
                    </a:lnTo>
                    <a:lnTo>
                      <a:pt x="162" y="457"/>
                    </a:lnTo>
                    <a:lnTo>
                      <a:pt x="151" y="442"/>
                    </a:lnTo>
                    <a:lnTo>
                      <a:pt x="139" y="433"/>
                    </a:lnTo>
                    <a:lnTo>
                      <a:pt x="129" y="428"/>
                    </a:lnTo>
                    <a:lnTo>
                      <a:pt x="120" y="424"/>
                    </a:lnTo>
                    <a:lnTo>
                      <a:pt x="112" y="418"/>
                    </a:lnTo>
                    <a:lnTo>
                      <a:pt x="105" y="414"/>
                    </a:lnTo>
                    <a:lnTo>
                      <a:pt x="95" y="409"/>
                    </a:lnTo>
                    <a:lnTo>
                      <a:pt x="86" y="405"/>
                    </a:lnTo>
                    <a:lnTo>
                      <a:pt x="79" y="399"/>
                    </a:lnTo>
                    <a:lnTo>
                      <a:pt x="74" y="393"/>
                    </a:lnTo>
                    <a:lnTo>
                      <a:pt x="71" y="387"/>
                    </a:lnTo>
                    <a:lnTo>
                      <a:pt x="72" y="378"/>
                    </a:lnTo>
                    <a:lnTo>
                      <a:pt x="67" y="368"/>
                    </a:lnTo>
                    <a:lnTo>
                      <a:pt x="62" y="359"/>
                    </a:lnTo>
                    <a:lnTo>
                      <a:pt x="53" y="342"/>
                    </a:lnTo>
                    <a:lnTo>
                      <a:pt x="45" y="326"/>
                    </a:lnTo>
                    <a:lnTo>
                      <a:pt x="40" y="311"/>
                    </a:lnTo>
                    <a:lnTo>
                      <a:pt x="34" y="299"/>
                    </a:lnTo>
                    <a:lnTo>
                      <a:pt x="31" y="295"/>
                    </a:lnTo>
                    <a:lnTo>
                      <a:pt x="28" y="295"/>
                    </a:lnTo>
                    <a:lnTo>
                      <a:pt x="22" y="287"/>
                    </a:lnTo>
                    <a:lnTo>
                      <a:pt x="21" y="280"/>
                    </a:lnTo>
                    <a:lnTo>
                      <a:pt x="17" y="278"/>
                    </a:lnTo>
                    <a:lnTo>
                      <a:pt x="14" y="277"/>
                    </a:lnTo>
                    <a:lnTo>
                      <a:pt x="3" y="264"/>
                    </a:lnTo>
                    <a:lnTo>
                      <a:pt x="0" y="252"/>
                    </a:lnTo>
                    <a:lnTo>
                      <a:pt x="2" y="242"/>
                    </a:lnTo>
                    <a:lnTo>
                      <a:pt x="7" y="237"/>
                    </a:lnTo>
                    <a:lnTo>
                      <a:pt x="14" y="227"/>
                    </a:lnTo>
                    <a:lnTo>
                      <a:pt x="22" y="218"/>
                    </a:lnTo>
                    <a:lnTo>
                      <a:pt x="17" y="216"/>
                    </a:lnTo>
                    <a:lnTo>
                      <a:pt x="14" y="218"/>
                    </a:lnTo>
                    <a:lnTo>
                      <a:pt x="7" y="211"/>
                    </a:lnTo>
                    <a:lnTo>
                      <a:pt x="7" y="201"/>
                    </a:lnTo>
                    <a:lnTo>
                      <a:pt x="7" y="192"/>
                    </a:lnTo>
                    <a:lnTo>
                      <a:pt x="12" y="187"/>
                    </a:lnTo>
                    <a:lnTo>
                      <a:pt x="15" y="180"/>
                    </a:lnTo>
                    <a:lnTo>
                      <a:pt x="17" y="170"/>
                    </a:lnTo>
                    <a:lnTo>
                      <a:pt x="24" y="166"/>
                    </a:lnTo>
                    <a:lnTo>
                      <a:pt x="31" y="161"/>
                    </a:lnTo>
                    <a:lnTo>
                      <a:pt x="34" y="153"/>
                    </a:lnTo>
                    <a:lnTo>
                      <a:pt x="38" y="148"/>
                    </a:lnTo>
                    <a:lnTo>
                      <a:pt x="43" y="139"/>
                    </a:lnTo>
                    <a:lnTo>
                      <a:pt x="50" y="136"/>
                    </a:lnTo>
                    <a:lnTo>
                      <a:pt x="55" y="132"/>
                    </a:lnTo>
                    <a:lnTo>
                      <a:pt x="60" y="125"/>
                    </a:lnTo>
                    <a:lnTo>
                      <a:pt x="57" y="123"/>
                    </a:lnTo>
                    <a:lnTo>
                      <a:pt x="55" y="122"/>
                    </a:lnTo>
                    <a:lnTo>
                      <a:pt x="57" y="117"/>
                    </a:lnTo>
                    <a:lnTo>
                      <a:pt x="57"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1" name="Freeform 293"/>
              <p:cNvSpPr>
                <a:spLocks/>
              </p:cNvSpPr>
              <p:nvPr/>
            </p:nvSpPr>
            <p:spPr bwMode="auto">
              <a:xfrm>
                <a:off x="2518569" y="3440113"/>
                <a:ext cx="14288" cy="15875"/>
              </a:xfrm>
              <a:custGeom>
                <a:avLst/>
                <a:gdLst/>
                <a:ahLst/>
                <a:cxnLst>
                  <a:cxn ang="0">
                    <a:pos x="4" y="0"/>
                  </a:cxn>
                  <a:cxn ang="0">
                    <a:pos x="7" y="2"/>
                  </a:cxn>
                  <a:cxn ang="0">
                    <a:pos x="9" y="7"/>
                  </a:cxn>
                  <a:cxn ang="0">
                    <a:pos x="7" y="8"/>
                  </a:cxn>
                  <a:cxn ang="0">
                    <a:pos x="5" y="10"/>
                  </a:cxn>
                  <a:cxn ang="0">
                    <a:pos x="0" y="7"/>
                  </a:cxn>
                  <a:cxn ang="0">
                    <a:pos x="0" y="0"/>
                  </a:cxn>
                  <a:cxn ang="0">
                    <a:pos x="4" y="0"/>
                  </a:cxn>
                </a:cxnLst>
                <a:rect l="0" t="0" r="r" b="b"/>
                <a:pathLst>
                  <a:path w="9" h="10">
                    <a:moveTo>
                      <a:pt x="4" y="0"/>
                    </a:moveTo>
                    <a:lnTo>
                      <a:pt x="7" y="2"/>
                    </a:lnTo>
                    <a:lnTo>
                      <a:pt x="9" y="7"/>
                    </a:lnTo>
                    <a:lnTo>
                      <a:pt x="7" y="8"/>
                    </a:lnTo>
                    <a:lnTo>
                      <a:pt x="5" y="10"/>
                    </a:lnTo>
                    <a:lnTo>
                      <a:pt x="0" y="7"/>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2" name="Freeform 294"/>
              <p:cNvSpPr>
                <a:spLocks/>
              </p:cNvSpPr>
              <p:nvPr/>
            </p:nvSpPr>
            <p:spPr bwMode="auto">
              <a:xfrm>
                <a:off x="2507457" y="3394075"/>
                <a:ext cx="22225" cy="7937"/>
              </a:xfrm>
              <a:custGeom>
                <a:avLst/>
                <a:gdLst/>
                <a:ahLst/>
                <a:cxnLst>
                  <a:cxn ang="0">
                    <a:pos x="0" y="5"/>
                  </a:cxn>
                  <a:cxn ang="0">
                    <a:pos x="2" y="1"/>
                  </a:cxn>
                  <a:cxn ang="0">
                    <a:pos x="7" y="0"/>
                  </a:cxn>
                  <a:cxn ang="0">
                    <a:pos x="11" y="1"/>
                  </a:cxn>
                  <a:cxn ang="0">
                    <a:pos x="14" y="5"/>
                  </a:cxn>
                  <a:cxn ang="0">
                    <a:pos x="6" y="5"/>
                  </a:cxn>
                  <a:cxn ang="0">
                    <a:pos x="0" y="5"/>
                  </a:cxn>
                </a:cxnLst>
                <a:rect l="0" t="0" r="r" b="b"/>
                <a:pathLst>
                  <a:path w="14" h="5">
                    <a:moveTo>
                      <a:pt x="0" y="5"/>
                    </a:moveTo>
                    <a:lnTo>
                      <a:pt x="2" y="1"/>
                    </a:lnTo>
                    <a:lnTo>
                      <a:pt x="7" y="0"/>
                    </a:lnTo>
                    <a:lnTo>
                      <a:pt x="11" y="1"/>
                    </a:lnTo>
                    <a:lnTo>
                      <a:pt x="14" y="5"/>
                    </a:lnTo>
                    <a:lnTo>
                      <a:pt x="6" y="5"/>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3" name="Freeform 295"/>
              <p:cNvSpPr>
                <a:spLocks/>
              </p:cNvSpPr>
              <p:nvPr/>
            </p:nvSpPr>
            <p:spPr bwMode="auto">
              <a:xfrm>
                <a:off x="2543969" y="3403600"/>
                <a:ext cx="4763" cy="6350"/>
              </a:xfrm>
              <a:custGeom>
                <a:avLst/>
                <a:gdLst/>
                <a:ahLst/>
                <a:cxnLst>
                  <a:cxn ang="0">
                    <a:pos x="3" y="4"/>
                  </a:cxn>
                  <a:cxn ang="0">
                    <a:pos x="0" y="2"/>
                  </a:cxn>
                  <a:cxn ang="0">
                    <a:pos x="0" y="0"/>
                  </a:cxn>
                  <a:cxn ang="0">
                    <a:pos x="3" y="4"/>
                  </a:cxn>
                </a:cxnLst>
                <a:rect l="0" t="0" r="r" b="b"/>
                <a:pathLst>
                  <a:path w="3" h="4">
                    <a:moveTo>
                      <a:pt x="3" y="4"/>
                    </a:moveTo>
                    <a:lnTo>
                      <a:pt x="0" y="2"/>
                    </a:lnTo>
                    <a:lnTo>
                      <a:pt x="0" y="0"/>
                    </a:lnTo>
                    <a:lnTo>
                      <a:pt x="3"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4" name="Freeform 296"/>
              <p:cNvSpPr>
                <a:spLocks/>
              </p:cNvSpPr>
              <p:nvPr/>
            </p:nvSpPr>
            <p:spPr bwMode="auto">
              <a:xfrm>
                <a:off x="2624932" y="3524250"/>
                <a:ext cx="17463" cy="14287"/>
              </a:xfrm>
              <a:custGeom>
                <a:avLst/>
                <a:gdLst/>
                <a:ahLst/>
                <a:cxnLst>
                  <a:cxn ang="0">
                    <a:pos x="0" y="5"/>
                  </a:cxn>
                  <a:cxn ang="0">
                    <a:pos x="0" y="9"/>
                  </a:cxn>
                  <a:cxn ang="0">
                    <a:pos x="2" y="9"/>
                  </a:cxn>
                  <a:cxn ang="0">
                    <a:pos x="6" y="7"/>
                  </a:cxn>
                  <a:cxn ang="0">
                    <a:pos x="11" y="5"/>
                  </a:cxn>
                  <a:cxn ang="0">
                    <a:pos x="11" y="0"/>
                  </a:cxn>
                  <a:cxn ang="0">
                    <a:pos x="6" y="4"/>
                  </a:cxn>
                  <a:cxn ang="0">
                    <a:pos x="0" y="5"/>
                  </a:cxn>
                </a:cxnLst>
                <a:rect l="0" t="0" r="r" b="b"/>
                <a:pathLst>
                  <a:path w="11" h="9">
                    <a:moveTo>
                      <a:pt x="0" y="5"/>
                    </a:moveTo>
                    <a:lnTo>
                      <a:pt x="0" y="9"/>
                    </a:lnTo>
                    <a:lnTo>
                      <a:pt x="2" y="9"/>
                    </a:lnTo>
                    <a:lnTo>
                      <a:pt x="6" y="7"/>
                    </a:lnTo>
                    <a:lnTo>
                      <a:pt x="11" y="5"/>
                    </a:lnTo>
                    <a:lnTo>
                      <a:pt x="11" y="0"/>
                    </a:lnTo>
                    <a:lnTo>
                      <a:pt x="6" y="4"/>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5" name="Freeform 297"/>
              <p:cNvSpPr>
                <a:spLocks/>
              </p:cNvSpPr>
              <p:nvPr/>
            </p:nvSpPr>
            <p:spPr bwMode="auto">
              <a:xfrm>
                <a:off x="1456532" y="2787650"/>
                <a:ext cx="1323975" cy="649287"/>
              </a:xfrm>
              <a:custGeom>
                <a:avLst/>
                <a:gdLst/>
                <a:ahLst/>
                <a:cxnLst>
                  <a:cxn ang="0">
                    <a:pos x="642" y="289"/>
                  </a:cxn>
                  <a:cxn ang="0">
                    <a:pos x="626" y="337"/>
                  </a:cxn>
                  <a:cxn ang="0">
                    <a:pos x="638" y="368"/>
                  </a:cxn>
                  <a:cxn ang="0">
                    <a:pos x="626" y="404"/>
                  </a:cxn>
                  <a:cxn ang="0">
                    <a:pos x="600" y="347"/>
                  </a:cxn>
                  <a:cxn ang="0">
                    <a:pos x="559" y="330"/>
                  </a:cxn>
                  <a:cxn ang="0">
                    <a:pos x="530" y="325"/>
                  </a:cxn>
                  <a:cxn ang="0">
                    <a:pos x="506" y="339"/>
                  </a:cxn>
                  <a:cxn ang="0">
                    <a:pos x="473" y="335"/>
                  </a:cxn>
                  <a:cxn ang="0">
                    <a:pos x="441" y="335"/>
                  </a:cxn>
                  <a:cxn ang="0">
                    <a:pos x="410" y="356"/>
                  </a:cxn>
                  <a:cxn ang="0">
                    <a:pos x="392" y="390"/>
                  </a:cxn>
                  <a:cxn ang="0">
                    <a:pos x="358" y="370"/>
                  </a:cxn>
                  <a:cxn ang="0">
                    <a:pos x="332" y="332"/>
                  </a:cxn>
                  <a:cxn ang="0">
                    <a:pos x="306" y="347"/>
                  </a:cxn>
                  <a:cxn ang="0">
                    <a:pos x="275" y="313"/>
                  </a:cxn>
                  <a:cxn ang="0">
                    <a:pos x="238" y="308"/>
                  </a:cxn>
                  <a:cxn ang="0">
                    <a:pos x="86" y="270"/>
                  </a:cxn>
                  <a:cxn ang="0">
                    <a:pos x="47" y="234"/>
                  </a:cxn>
                  <a:cxn ang="0">
                    <a:pos x="17" y="186"/>
                  </a:cxn>
                  <a:cxn ang="0">
                    <a:pos x="5" y="141"/>
                  </a:cxn>
                  <a:cxn ang="0">
                    <a:pos x="5" y="82"/>
                  </a:cxn>
                  <a:cxn ang="0">
                    <a:pos x="2" y="22"/>
                  </a:cxn>
                  <a:cxn ang="0">
                    <a:pos x="29" y="17"/>
                  </a:cxn>
                  <a:cxn ang="0">
                    <a:pos x="435" y="5"/>
                  </a:cxn>
                  <a:cxn ang="0">
                    <a:pos x="494" y="20"/>
                  </a:cxn>
                  <a:cxn ang="0">
                    <a:pos x="470" y="51"/>
                  </a:cxn>
                  <a:cxn ang="0">
                    <a:pos x="494" y="53"/>
                  </a:cxn>
                  <a:cxn ang="0">
                    <a:pos x="527" y="41"/>
                  </a:cxn>
                  <a:cxn ang="0">
                    <a:pos x="551" y="50"/>
                  </a:cxn>
                  <a:cxn ang="0">
                    <a:pos x="573" y="62"/>
                  </a:cxn>
                  <a:cxn ang="0">
                    <a:pos x="530" y="86"/>
                  </a:cxn>
                  <a:cxn ang="0">
                    <a:pos x="530" y="115"/>
                  </a:cxn>
                  <a:cxn ang="0">
                    <a:pos x="549" y="131"/>
                  </a:cxn>
                  <a:cxn ang="0">
                    <a:pos x="552" y="94"/>
                  </a:cxn>
                  <a:cxn ang="0">
                    <a:pos x="570" y="70"/>
                  </a:cxn>
                  <a:cxn ang="0">
                    <a:pos x="595" y="74"/>
                  </a:cxn>
                  <a:cxn ang="0">
                    <a:pos x="604" y="96"/>
                  </a:cxn>
                  <a:cxn ang="0">
                    <a:pos x="599" y="136"/>
                  </a:cxn>
                  <a:cxn ang="0">
                    <a:pos x="654" y="124"/>
                  </a:cxn>
                  <a:cxn ang="0">
                    <a:pos x="668" y="110"/>
                  </a:cxn>
                  <a:cxn ang="0">
                    <a:pos x="712" y="86"/>
                  </a:cxn>
                  <a:cxn ang="0">
                    <a:pos x="757" y="74"/>
                  </a:cxn>
                  <a:cxn ang="0">
                    <a:pos x="783" y="67"/>
                  </a:cxn>
                  <a:cxn ang="0">
                    <a:pos x="814" y="34"/>
                  </a:cxn>
                  <a:cxn ang="0">
                    <a:pos x="834" y="82"/>
                  </a:cxn>
                  <a:cxn ang="0">
                    <a:pos x="798" y="96"/>
                  </a:cxn>
                  <a:cxn ang="0">
                    <a:pos x="783" y="129"/>
                  </a:cxn>
                  <a:cxn ang="0">
                    <a:pos x="795" y="139"/>
                  </a:cxn>
                  <a:cxn ang="0">
                    <a:pos x="748" y="146"/>
                  </a:cxn>
                  <a:cxn ang="0">
                    <a:pos x="747" y="151"/>
                  </a:cxn>
                  <a:cxn ang="0">
                    <a:pos x="733" y="160"/>
                  </a:cxn>
                  <a:cxn ang="0">
                    <a:pos x="721" y="184"/>
                  </a:cxn>
                  <a:cxn ang="0">
                    <a:pos x="719" y="192"/>
                  </a:cxn>
                  <a:cxn ang="0">
                    <a:pos x="705" y="211"/>
                  </a:cxn>
                  <a:cxn ang="0">
                    <a:pos x="700" y="187"/>
                  </a:cxn>
                  <a:cxn ang="0">
                    <a:pos x="700" y="217"/>
                  </a:cxn>
                  <a:cxn ang="0">
                    <a:pos x="705" y="225"/>
                  </a:cxn>
                  <a:cxn ang="0">
                    <a:pos x="704" y="239"/>
                  </a:cxn>
                  <a:cxn ang="0">
                    <a:pos x="699" y="254"/>
                  </a:cxn>
                  <a:cxn ang="0">
                    <a:pos x="678" y="268"/>
                  </a:cxn>
                </a:cxnLst>
                <a:rect l="0" t="0" r="r" b="b"/>
                <a:pathLst>
                  <a:path w="834" h="409">
                    <a:moveTo>
                      <a:pt x="678" y="268"/>
                    </a:moveTo>
                    <a:lnTo>
                      <a:pt x="668" y="272"/>
                    </a:lnTo>
                    <a:lnTo>
                      <a:pt x="659" y="277"/>
                    </a:lnTo>
                    <a:lnTo>
                      <a:pt x="649" y="282"/>
                    </a:lnTo>
                    <a:lnTo>
                      <a:pt x="642" y="289"/>
                    </a:lnTo>
                    <a:lnTo>
                      <a:pt x="633" y="294"/>
                    </a:lnTo>
                    <a:lnTo>
                      <a:pt x="628" y="304"/>
                    </a:lnTo>
                    <a:lnTo>
                      <a:pt x="625" y="315"/>
                    </a:lnTo>
                    <a:lnTo>
                      <a:pt x="625" y="328"/>
                    </a:lnTo>
                    <a:lnTo>
                      <a:pt x="626" y="337"/>
                    </a:lnTo>
                    <a:lnTo>
                      <a:pt x="631" y="345"/>
                    </a:lnTo>
                    <a:lnTo>
                      <a:pt x="635" y="354"/>
                    </a:lnTo>
                    <a:lnTo>
                      <a:pt x="638" y="366"/>
                    </a:lnTo>
                    <a:lnTo>
                      <a:pt x="638" y="364"/>
                    </a:lnTo>
                    <a:lnTo>
                      <a:pt x="638" y="368"/>
                    </a:lnTo>
                    <a:lnTo>
                      <a:pt x="642" y="376"/>
                    </a:lnTo>
                    <a:lnTo>
                      <a:pt x="645" y="388"/>
                    </a:lnTo>
                    <a:lnTo>
                      <a:pt x="642" y="402"/>
                    </a:lnTo>
                    <a:lnTo>
                      <a:pt x="633" y="409"/>
                    </a:lnTo>
                    <a:lnTo>
                      <a:pt x="626" y="404"/>
                    </a:lnTo>
                    <a:lnTo>
                      <a:pt x="623" y="395"/>
                    </a:lnTo>
                    <a:lnTo>
                      <a:pt x="614" y="385"/>
                    </a:lnTo>
                    <a:lnTo>
                      <a:pt x="607" y="376"/>
                    </a:lnTo>
                    <a:lnTo>
                      <a:pt x="602" y="361"/>
                    </a:lnTo>
                    <a:lnTo>
                      <a:pt x="600" y="347"/>
                    </a:lnTo>
                    <a:lnTo>
                      <a:pt x="594" y="333"/>
                    </a:lnTo>
                    <a:lnTo>
                      <a:pt x="583" y="330"/>
                    </a:lnTo>
                    <a:lnTo>
                      <a:pt x="578" y="333"/>
                    </a:lnTo>
                    <a:lnTo>
                      <a:pt x="573" y="337"/>
                    </a:lnTo>
                    <a:lnTo>
                      <a:pt x="559" y="330"/>
                    </a:lnTo>
                    <a:lnTo>
                      <a:pt x="545" y="325"/>
                    </a:lnTo>
                    <a:lnTo>
                      <a:pt x="537" y="327"/>
                    </a:lnTo>
                    <a:lnTo>
                      <a:pt x="533" y="328"/>
                    </a:lnTo>
                    <a:lnTo>
                      <a:pt x="530" y="327"/>
                    </a:lnTo>
                    <a:lnTo>
                      <a:pt x="530" y="325"/>
                    </a:lnTo>
                    <a:lnTo>
                      <a:pt x="516" y="327"/>
                    </a:lnTo>
                    <a:lnTo>
                      <a:pt x="502" y="328"/>
                    </a:lnTo>
                    <a:lnTo>
                      <a:pt x="506" y="328"/>
                    </a:lnTo>
                    <a:lnTo>
                      <a:pt x="509" y="328"/>
                    </a:lnTo>
                    <a:lnTo>
                      <a:pt x="506" y="339"/>
                    </a:lnTo>
                    <a:lnTo>
                      <a:pt x="509" y="345"/>
                    </a:lnTo>
                    <a:lnTo>
                      <a:pt x="499" y="345"/>
                    </a:lnTo>
                    <a:lnTo>
                      <a:pt x="489" y="342"/>
                    </a:lnTo>
                    <a:lnTo>
                      <a:pt x="480" y="337"/>
                    </a:lnTo>
                    <a:lnTo>
                      <a:pt x="473" y="335"/>
                    </a:lnTo>
                    <a:lnTo>
                      <a:pt x="468" y="337"/>
                    </a:lnTo>
                    <a:lnTo>
                      <a:pt x="466" y="339"/>
                    </a:lnTo>
                    <a:lnTo>
                      <a:pt x="458" y="335"/>
                    </a:lnTo>
                    <a:lnTo>
                      <a:pt x="451" y="333"/>
                    </a:lnTo>
                    <a:lnTo>
                      <a:pt x="441" y="335"/>
                    </a:lnTo>
                    <a:lnTo>
                      <a:pt x="434" y="340"/>
                    </a:lnTo>
                    <a:lnTo>
                      <a:pt x="428" y="345"/>
                    </a:lnTo>
                    <a:lnTo>
                      <a:pt x="423" y="352"/>
                    </a:lnTo>
                    <a:lnTo>
                      <a:pt x="416" y="354"/>
                    </a:lnTo>
                    <a:lnTo>
                      <a:pt x="410" y="356"/>
                    </a:lnTo>
                    <a:lnTo>
                      <a:pt x="401" y="359"/>
                    </a:lnTo>
                    <a:lnTo>
                      <a:pt x="396" y="366"/>
                    </a:lnTo>
                    <a:lnTo>
                      <a:pt x="392" y="376"/>
                    </a:lnTo>
                    <a:lnTo>
                      <a:pt x="392" y="388"/>
                    </a:lnTo>
                    <a:lnTo>
                      <a:pt x="392" y="390"/>
                    </a:lnTo>
                    <a:lnTo>
                      <a:pt x="394" y="394"/>
                    </a:lnTo>
                    <a:lnTo>
                      <a:pt x="379" y="390"/>
                    </a:lnTo>
                    <a:lnTo>
                      <a:pt x="370" y="387"/>
                    </a:lnTo>
                    <a:lnTo>
                      <a:pt x="363" y="378"/>
                    </a:lnTo>
                    <a:lnTo>
                      <a:pt x="358" y="370"/>
                    </a:lnTo>
                    <a:lnTo>
                      <a:pt x="355" y="361"/>
                    </a:lnTo>
                    <a:lnTo>
                      <a:pt x="351" y="352"/>
                    </a:lnTo>
                    <a:lnTo>
                      <a:pt x="346" y="342"/>
                    </a:lnTo>
                    <a:lnTo>
                      <a:pt x="341" y="337"/>
                    </a:lnTo>
                    <a:lnTo>
                      <a:pt x="332" y="332"/>
                    </a:lnTo>
                    <a:lnTo>
                      <a:pt x="324" y="332"/>
                    </a:lnTo>
                    <a:lnTo>
                      <a:pt x="317" y="333"/>
                    </a:lnTo>
                    <a:lnTo>
                      <a:pt x="313" y="339"/>
                    </a:lnTo>
                    <a:lnTo>
                      <a:pt x="310" y="344"/>
                    </a:lnTo>
                    <a:lnTo>
                      <a:pt x="306" y="347"/>
                    </a:lnTo>
                    <a:lnTo>
                      <a:pt x="298" y="344"/>
                    </a:lnTo>
                    <a:lnTo>
                      <a:pt x="291" y="337"/>
                    </a:lnTo>
                    <a:lnTo>
                      <a:pt x="286" y="328"/>
                    </a:lnTo>
                    <a:lnTo>
                      <a:pt x="282" y="323"/>
                    </a:lnTo>
                    <a:lnTo>
                      <a:pt x="275" y="313"/>
                    </a:lnTo>
                    <a:lnTo>
                      <a:pt x="269" y="308"/>
                    </a:lnTo>
                    <a:lnTo>
                      <a:pt x="258" y="302"/>
                    </a:lnTo>
                    <a:lnTo>
                      <a:pt x="248" y="301"/>
                    </a:lnTo>
                    <a:lnTo>
                      <a:pt x="238" y="301"/>
                    </a:lnTo>
                    <a:lnTo>
                      <a:pt x="238" y="308"/>
                    </a:lnTo>
                    <a:lnTo>
                      <a:pt x="196" y="308"/>
                    </a:lnTo>
                    <a:lnTo>
                      <a:pt x="141" y="290"/>
                    </a:lnTo>
                    <a:lnTo>
                      <a:pt x="109" y="290"/>
                    </a:lnTo>
                    <a:lnTo>
                      <a:pt x="100" y="278"/>
                    </a:lnTo>
                    <a:lnTo>
                      <a:pt x="86" y="270"/>
                    </a:lnTo>
                    <a:lnTo>
                      <a:pt x="71" y="261"/>
                    </a:lnTo>
                    <a:lnTo>
                      <a:pt x="57" y="256"/>
                    </a:lnTo>
                    <a:lnTo>
                      <a:pt x="54" y="251"/>
                    </a:lnTo>
                    <a:lnTo>
                      <a:pt x="54" y="246"/>
                    </a:lnTo>
                    <a:lnTo>
                      <a:pt x="47" y="234"/>
                    </a:lnTo>
                    <a:lnTo>
                      <a:pt x="40" y="223"/>
                    </a:lnTo>
                    <a:lnTo>
                      <a:pt x="35" y="213"/>
                    </a:lnTo>
                    <a:lnTo>
                      <a:pt x="35" y="201"/>
                    </a:lnTo>
                    <a:lnTo>
                      <a:pt x="26" y="196"/>
                    </a:lnTo>
                    <a:lnTo>
                      <a:pt x="17" y="186"/>
                    </a:lnTo>
                    <a:lnTo>
                      <a:pt x="9" y="174"/>
                    </a:lnTo>
                    <a:lnTo>
                      <a:pt x="4" y="161"/>
                    </a:lnTo>
                    <a:lnTo>
                      <a:pt x="4" y="156"/>
                    </a:lnTo>
                    <a:lnTo>
                      <a:pt x="9" y="153"/>
                    </a:lnTo>
                    <a:lnTo>
                      <a:pt x="5" y="141"/>
                    </a:lnTo>
                    <a:lnTo>
                      <a:pt x="5" y="131"/>
                    </a:lnTo>
                    <a:lnTo>
                      <a:pt x="4" y="119"/>
                    </a:lnTo>
                    <a:lnTo>
                      <a:pt x="4" y="110"/>
                    </a:lnTo>
                    <a:lnTo>
                      <a:pt x="2" y="96"/>
                    </a:lnTo>
                    <a:lnTo>
                      <a:pt x="5" y="82"/>
                    </a:lnTo>
                    <a:lnTo>
                      <a:pt x="9" y="65"/>
                    </a:lnTo>
                    <a:lnTo>
                      <a:pt x="12" y="53"/>
                    </a:lnTo>
                    <a:lnTo>
                      <a:pt x="5" y="39"/>
                    </a:lnTo>
                    <a:lnTo>
                      <a:pt x="0" y="26"/>
                    </a:lnTo>
                    <a:lnTo>
                      <a:pt x="2" y="22"/>
                    </a:lnTo>
                    <a:lnTo>
                      <a:pt x="7" y="22"/>
                    </a:lnTo>
                    <a:lnTo>
                      <a:pt x="16" y="24"/>
                    </a:lnTo>
                    <a:lnTo>
                      <a:pt x="23" y="31"/>
                    </a:lnTo>
                    <a:lnTo>
                      <a:pt x="26" y="24"/>
                    </a:lnTo>
                    <a:lnTo>
                      <a:pt x="29" y="17"/>
                    </a:lnTo>
                    <a:lnTo>
                      <a:pt x="26" y="10"/>
                    </a:lnTo>
                    <a:lnTo>
                      <a:pt x="23" y="5"/>
                    </a:lnTo>
                    <a:lnTo>
                      <a:pt x="428" y="5"/>
                    </a:lnTo>
                    <a:lnTo>
                      <a:pt x="428" y="0"/>
                    </a:lnTo>
                    <a:lnTo>
                      <a:pt x="435" y="5"/>
                    </a:lnTo>
                    <a:lnTo>
                      <a:pt x="442" y="12"/>
                    </a:lnTo>
                    <a:lnTo>
                      <a:pt x="466" y="12"/>
                    </a:lnTo>
                    <a:lnTo>
                      <a:pt x="473" y="17"/>
                    </a:lnTo>
                    <a:lnTo>
                      <a:pt x="484" y="20"/>
                    </a:lnTo>
                    <a:lnTo>
                      <a:pt x="494" y="20"/>
                    </a:lnTo>
                    <a:lnTo>
                      <a:pt x="509" y="22"/>
                    </a:lnTo>
                    <a:lnTo>
                      <a:pt x="499" y="27"/>
                    </a:lnTo>
                    <a:lnTo>
                      <a:pt x="489" y="34"/>
                    </a:lnTo>
                    <a:lnTo>
                      <a:pt x="478" y="39"/>
                    </a:lnTo>
                    <a:lnTo>
                      <a:pt x="470" y="51"/>
                    </a:lnTo>
                    <a:lnTo>
                      <a:pt x="477" y="51"/>
                    </a:lnTo>
                    <a:lnTo>
                      <a:pt x="480" y="48"/>
                    </a:lnTo>
                    <a:lnTo>
                      <a:pt x="487" y="48"/>
                    </a:lnTo>
                    <a:lnTo>
                      <a:pt x="489" y="51"/>
                    </a:lnTo>
                    <a:lnTo>
                      <a:pt x="494" y="53"/>
                    </a:lnTo>
                    <a:lnTo>
                      <a:pt x="501" y="50"/>
                    </a:lnTo>
                    <a:lnTo>
                      <a:pt x="508" y="46"/>
                    </a:lnTo>
                    <a:lnTo>
                      <a:pt x="516" y="39"/>
                    </a:lnTo>
                    <a:lnTo>
                      <a:pt x="530" y="34"/>
                    </a:lnTo>
                    <a:lnTo>
                      <a:pt x="527" y="41"/>
                    </a:lnTo>
                    <a:lnTo>
                      <a:pt x="525" y="48"/>
                    </a:lnTo>
                    <a:lnTo>
                      <a:pt x="535" y="48"/>
                    </a:lnTo>
                    <a:lnTo>
                      <a:pt x="537" y="51"/>
                    </a:lnTo>
                    <a:lnTo>
                      <a:pt x="544" y="53"/>
                    </a:lnTo>
                    <a:lnTo>
                      <a:pt x="551" y="50"/>
                    </a:lnTo>
                    <a:lnTo>
                      <a:pt x="557" y="48"/>
                    </a:lnTo>
                    <a:lnTo>
                      <a:pt x="571" y="51"/>
                    </a:lnTo>
                    <a:lnTo>
                      <a:pt x="587" y="55"/>
                    </a:lnTo>
                    <a:lnTo>
                      <a:pt x="587" y="62"/>
                    </a:lnTo>
                    <a:lnTo>
                      <a:pt x="573" y="62"/>
                    </a:lnTo>
                    <a:lnTo>
                      <a:pt x="563" y="62"/>
                    </a:lnTo>
                    <a:lnTo>
                      <a:pt x="552" y="63"/>
                    </a:lnTo>
                    <a:lnTo>
                      <a:pt x="542" y="69"/>
                    </a:lnTo>
                    <a:lnTo>
                      <a:pt x="533" y="77"/>
                    </a:lnTo>
                    <a:lnTo>
                      <a:pt x="530" y="86"/>
                    </a:lnTo>
                    <a:lnTo>
                      <a:pt x="537" y="81"/>
                    </a:lnTo>
                    <a:lnTo>
                      <a:pt x="544" y="79"/>
                    </a:lnTo>
                    <a:lnTo>
                      <a:pt x="537" y="88"/>
                    </a:lnTo>
                    <a:lnTo>
                      <a:pt x="533" y="101"/>
                    </a:lnTo>
                    <a:lnTo>
                      <a:pt x="530" y="115"/>
                    </a:lnTo>
                    <a:lnTo>
                      <a:pt x="530" y="129"/>
                    </a:lnTo>
                    <a:lnTo>
                      <a:pt x="533" y="136"/>
                    </a:lnTo>
                    <a:lnTo>
                      <a:pt x="542" y="139"/>
                    </a:lnTo>
                    <a:lnTo>
                      <a:pt x="545" y="136"/>
                    </a:lnTo>
                    <a:lnTo>
                      <a:pt x="549" y="131"/>
                    </a:lnTo>
                    <a:lnTo>
                      <a:pt x="551" y="122"/>
                    </a:lnTo>
                    <a:lnTo>
                      <a:pt x="552" y="117"/>
                    </a:lnTo>
                    <a:lnTo>
                      <a:pt x="552" y="106"/>
                    </a:lnTo>
                    <a:lnTo>
                      <a:pt x="552" y="101"/>
                    </a:lnTo>
                    <a:lnTo>
                      <a:pt x="552" y="94"/>
                    </a:lnTo>
                    <a:lnTo>
                      <a:pt x="552" y="88"/>
                    </a:lnTo>
                    <a:lnTo>
                      <a:pt x="552" y="81"/>
                    </a:lnTo>
                    <a:lnTo>
                      <a:pt x="557" y="79"/>
                    </a:lnTo>
                    <a:lnTo>
                      <a:pt x="566" y="74"/>
                    </a:lnTo>
                    <a:lnTo>
                      <a:pt x="570" y="70"/>
                    </a:lnTo>
                    <a:lnTo>
                      <a:pt x="571" y="65"/>
                    </a:lnTo>
                    <a:lnTo>
                      <a:pt x="576" y="65"/>
                    </a:lnTo>
                    <a:lnTo>
                      <a:pt x="580" y="65"/>
                    </a:lnTo>
                    <a:lnTo>
                      <a:pt x="588" y="70"/>
                    </a:lnTo>
                    <a:lnTo>
                      <a:pt x="595" y="74"/>
                    </a:lnTo>
                    <a:lnTo>
                      <a:pt x="599" y="81"/>
                    </a:lnTo>
                    <a:lnTo>
                      <a:pt x="595" y="89"/>
                    </a:lnTo>
                    <a:lnTo>
                      <a:pt x="594" y="100"/>
                    </a:lnTo>
                    <a:lnTo>
                      <a:pt x="599" y="98"/>
                    </a:lnTo>
                    <a:lnTo>
                      <a:pt x="604" y="96"/>
                    </a:lnTo>
                    <a:lnTo>
                      <a:pt x="606" y="105"/>
                    </a:lnTo>
                    <a:lnTo>
                      <a:pt x="611" y="112"/>
                    </a:lnTo>
                    <a:lnTo>
                      <a:pt x="602" y="120"/>
                    </a:lnTo>
                    <a:lnTo>
                      <a:pt x="599" y="129"/>
                    </a:lnTo>
                    <a:lnTo>
                      <a:pt x="599" y="136"/>
                    </a:lnTo>
                    <a:lnTo>
                      <a:pt x="606" y="141"/>
                    </a:lnTo>
                    <a:lnTo>
                      <a:pt x="616" y="137"/>
                    </a:lnTo>
                    <a:lnTo>
                      <a:pt x="630" y="134"/>
                    </a:lnTo>
                    <a:lnTo>
                      <a:pt x="643" y="127"/>
                    </a:lnTo>
                    <a:lnTo>
                      <a:pt x="654" y="124"/>
                    </a:lnTo>
                    <a:lnTo>
                      <a:pt x="650" y="115"/>
                    </a:lnTo>
                    <a:lnTo>
                      <a:pt x="649" y="112"/>
                    </a:lnTo>
                    <a:lnTo>
                      <a:pt x="652" y="112"/>
                    </a:lnTo>
                    <a:lnTo>
                      <a:pt x="656" y="112"/>
                    </a:lnTo>
                    <a:lnTo>
                      <a:pt x="668" y="110"/>
                    </a:lnTo>
                    <a:lnTo>
                      <a:pt x="683" y="110"/>
                    </a:lnTo>
                    <a:lnTo>
                      <a:pt x="695" y="105"/>
                    </a:lnTo>
                    <a:lnTo>
                      <a:pt x="702" y="96"/>
                    </a:lnTo>
                    <a:lnTo>
                      <a:pt x="704" y="93"/>
                    </a:lnTo>
                    <a:lnTo>
                      <a:pt x="712" y="86"/>
                    </a:lnTo>
                    <a:lnTo>
                      <a:pt x="719" y="77"/>
                    </a:lnTo>
                    <a:lnTo>
                      <a:pt x="724" y="76"/>
                    </a:lnTo>
                    <a:lnTo>
                      <a:pt x="735" y="74"/>
                    </a:lnTo>
                    <a:lnTo>
                      <a:pt x="752" y="74"/>
                    </a:lnTo>
                    <a:lnTo>
                      <a:pt x="757" y="74"/>
                    </a:lnTo>
                    <a:lnTo>
                      <a:pt x="764" y="74"/>
                    </a:lnTo>
                    <a:lnTo>
                      <a:pt x="769" y="72"/>
                    </a:lnTo>
                    <a:lnTo>
                      <a:pt x="776" y="72"/>
                    </a:lnTo>
                    <a:lnTo>
                      <a:pt x="779" y="70"/>
                    </a:lnTo>
                    <a:lnTo>
                      <a:pt x="783" y="67"/>
                    </a:lnTo>
                    <a:lnTo>
                      <a:pt x="786" y="58"/>
                    </a:lnTo>
                    <a:lnTo>
                      <a:pt x="791" y="50"/>
                    </a:lnTo>
                    <a:lnTo>
                      <a:pt x="795" y="39"/>
                    </a:lnTo>
                    <a:lnTo>
                      <a:pt x="803" y="33"/>
                    </a:lnTo>
                    <a:lnTo>
                      <a:pt x="814" y="34"/>
                    </a:lnTo>
                    <a:lnTo>
                      <a:pt x="824" y="36"/>
                    </a:lnTo>
                    <a:lnTo>
                      <a:pt x="826" y="46"/>
                    </a:lnTo>
                    <a:lnTo>
                      <a:pt x="828" y="58"/>
                    </a:lnTo>
                    <a:lnTo>
                      <a:pt x="829" y="70"/>
                    </a:lnTo>
                    <a:lnTo>
                      <a:pt x="834" y="82"/>
                    </a:lnTo>
                    <a:lnTo>
                      <a:pt x="828" y="89"/>
                    </a:lnTo>
                    <a:lnTo>
                      <a:pt x="819" y="91"/>
                    </a:lnTo>
                    <a:lnTo>
                      <a:pt x="812" y="89"/>
                    </a:lnTo>
                    <a:lnTo>
                      <a:pt x="807" y="91"/>
                    </a:lnTo>
                    <a:lnTo>
                      <a:pt x="798" y="96"/>
                    </a:lnTo>
                    <a:lnTo>
                      <a:pt x="790" y="103"/>
                    </a:lnTo>
                    <a:lnTo>
                      <a:pt x="783" y="112"/>
                    </a:lnTo>
                    <a:lnTo>
                      <a:pt x="781" y="125"/>
                    </a:lnTo>
                    <a:lnTo>
                      <a:pt x="781" y="127"/>
                    </a:lnTo>
                    <a:lnTo>
                      <a:pt x="783" y="129"/>
                    </a:lnTo>
                    <a:lnTo>
                      <a:pt x="785" y="134"/>
                    </a:lnTo>
                    <a:lnTo>
                      <a:pt x="788" y="139"/>
                    </a:lnTo>
                    <a:lnTo>
                      <a:pt x="791" y="137"/>
                    </a:lnTo>
                    <a:lnTo>
                      <a:pt x="795" y="136"/>
                    </a:lnTo>
                    <a:lnTo>
                      <a:pt x="795" y="139"/>
                    </a:lnTo>
                    <a:lnTo>
                      <a:pt x="783" y="139"/>
                    </a:lnTo>
                    <a:lnTo>
                      <a:pt x="778" y="139"/>
                    </a:lnTo>
                    <a:lnTo>
                      <a:pt x="767" y="143"/>
                    </a:lnTo>
                    <a:lnTo>
                      <a:pt x="759" y="144"/>
                    </a:lnTo>
                    <a:lnTo>
                      <a:pt x="748" y="146"/>
                    </a:lnTo>
                    <a:lnTo>
                      <a:pt x="740" y="151"/>
                    </a:lnTo>
                    <a:lnTo>
                      <a:pt x="745" y="151"/>
                    </a:lnTo>
                    <a:lnTo>
                      <a:pt x="750" y="149"/>
                    </a:lnTo>
                    <a:lnTo>
                      <a:pt x="757" y="151"/>
                    </a:lnTo>
                    <a:lnTo>
                      <a:pt x="747" y="151"/>
                    </a:lnTo>
                    <a:lnTo>
                      <a:pt x="738" y="153"/>
                    </a:lnTo>
                    <a:lnTo>
                      <a:pt x="735" y="153"/>
                    </a:lnTo>
                    <a:lnTo>
                      <a:pt x="731" y="153"/>
                    </a:lnTo>
                    <a:lnTo>
                      <a:pt x="731" y="156"/>
                    </a:lnTo>
                    <a:lnTo>
                      <a:pt x="733" y="160"/>
                    </a:lnTo>
                    <a:lnTo>
                      <a:pt x="735" y="163"/>
                    </a:lnTo>
                    <a:lnTo>
                      <a:pt x="731" y="167"/>
                    </a:lnTo>
                    <a:lnTo>
                      <a:pt x="728" y="174"/>
                    </a:lnTo>
                    <a:lnTo>
                      <a:pt x="724" y="180"/>
                    </a:lnTo>
                    <a:lnTo>
                      <a:pt x="721" y="184"/>
                    </a:lnTo>
                    <a:lnTo>
                      <a:pt x="719" y="182"/>
                    </a:lnTo>
                    <a:lnTo>
                      <a:pt x="717" y="180"/>
                    </a:lnTo>
                    <a:lnTo>
                      <a:pt x="716" y="184"/>
                    </a:lnTo>
                    <a:lnTo>
                      <a:pt x="717" y="187"/>
                    </a:lnTo>
                    <a:lnTo>
                      <a:pt x="719" y="192"/>
                    </a:lnTo>
                    <a:lnTo>
                      <a:pt x="716" y="196"/>
                    </a:lnTo>
                    <a:lnTo>
                      <a:pt x="712" y="203"/>
                    </a:lnTo>
                    <a:lnTo>
                      <a:pt x="709" y="210"/>
                    </a:lnTo>
                    <a:lnTo>
                      <a:pt x="707" y="213"/>
                    </a:lnTo>
                    <a:lnTo>
                      <a:pt x="705" y="211"/>
                    </a:lnTo>
                    <a:lnTo>
                      <a:pt x="705" y="210"/>
                    </a:lnTo>
                    <a:lnTo>
                      <a:pt x="705" y="206"/>
                    </a:lnTo>
                    <a:lnTo>
                      <a:pt x="705" y="204"/>
                    </a:lnTo>
                    <a:lnTo>
                      <a:pt x="702" y="196"/>
                    </a:lnTo>
                    <a:lnTo>
                      <a:pt x="700" y="187"/>
                    </a:lnTo>
                    <a:lnTo>
                      <a:pt x="699" y="191"/>
                    </a:lnTo>
                    <a:lnTo>
                      <a:pt x="700" y="194"/>
                    </a:lnTo>
                    <a:lnTo>
                      <a:pt x="700" y="203"/>
                    </a:lnTo>
                    <a:lnTo>
                      <a:pt x="702" y="213"/>
                    </a:lnTo>
                    <a:lnTo>
                      <a:pt x="700" y="217"/>
                    </a:lnTo>
                    <a:lnTo>
                      <a:pt x="702" y="220"/>
                    </a:lnTo>
                    <a:lnTo>
                      <a:pt x="704" y="220"/>
                    </a:lnTo>
                    <a:lnTo>
                      <a:pt x="705" y="220"/>
                    </a:lnTo>
                    <a:lnTo>
                      <a:pt x="705" y="222"/>
                    </a:lnTo>
                    <a:lnTo>
                      <a:pt x="705" y="225"/>
                    </a:lnTo>
                    <a:lnTo>
                      <a:pt x="702" y="229"/>
                    </a:lnTo>
                    <a:lnTo>
                      <a:pt x="699" y="232"/>
                    </a:lnTo>
                    <a:lnTo>
                      <a:pt x="702" y="234"/>
                    </a:lnTo>
                    <a:lnTo>
                      <a:pt x="705" y="235"/>
                    </a:lnTo>
                    <a:lnTo>
                      <a:pt x="704" y="239"/>
                    </a:lnTo>
                    <a:lnTo>
                      <a:pt x="699" y="241"/>
                    </a:lnTo>
                    <a:lnTo>
                      <a:pt x="699" y="246"/>
                    </a:lnTo>
                    <a:lnTo>
                      <a:pt x="704" y="249"/>
                    </a:lnTo>
                    <a:lnTo>
                      <a:pt x="700" y="251"/>
                    </a:lnTo>
                    <a:lnTo>
                      <a:pt x="699" y="254"/>
                    </a:lnTo>
                    <a:lnTo>
                      <a:pt x="690" y="256"/>
                    </a:lnTo>
                    <a:lnTo>
                      <a:pt x="686" y="260"/>
                    </a:lnTo>
                    <a:lnTo>
                      <a:pt x="680" y="263"/>
                    </a:lnTo>
                    <a:lnTo>
                      <a:pt x="676" y="266"/>
                    </a:lnTo>
                    <a:lnTo>
                      <a:pt x="678" y="26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6" name="Freeform 298"/>
              <p:cNvSpPr>
                <a:spLocks/>
              </p:cNvSpPr>
              <p:nvPr/>
            </p:nvSpPr>
            <p:spPr bwMode="auto">
              <a:xfrm>
                <a:off x="1085057" y="1992313"/>
                <a:ext cx="1955800" cy="1011237"/>
              </a:xfrm>
              <a:custGeom>
                <a:avLst/>
                <a:gdLst/>
                <a:ahLst/>
                <a:cxnLst>
                  <a:cxn ang="0">
                    <a:pos x="1096" y="570"/>
                  </a:cxn>
                  <a:cxn ang="0">
                    <a:pos x="1091" y="607"/>
                  </a:cxn>
                  <a:cxn ang="0">
                    <a:pos x="1149" y="568"/>
                  </a:cxn>
                  <a:cxn ang="0">
                    <a:pos x="1103" y="527"/>
                  </a:cxn>
                  <a:cxn ang="0">
                    <a:pos x="1092" y="499"/>
                  </a:cxn>
                  <a:cxn ang="0">
                    <a:pos x="1067" y="499"/>
                  </a:cxn>
                  <a:cxn ang="0">
                    <a:pos x="1172" y="479"/>
                  </a:cxn>
                  <a:cxn ang="0">
                    <a:pos x="1218" y="410"/>
                  </a:cxn>
                  <a:cxn ang="0">
                    <a:pos x="1187" y="408"/>
                  </a:cxn>
                  <a:cxn ang="0">
                    <a:pos x="1165" y="370"/>
                  </a:cxn>
                  <a:cxn ang="0">
                    <a:pos x="1127" y="319"/>
                  </a:cxn>
                  <a:cxn ang="0">
                    <a:pos x="1089" y="293"/>
                  </a:cxn>
                  <a:cxn ang="0">
                    <a:pos x="1031" y="281"/>
                  </a:cxn>
                  <a:cxn ang="0">
                    <a:pos x="969" y="231"/>
                  </a:cxn>
                  <a:cxn ang="0">
                    <a:pos x="903" y="243"/>
                  </a:cxn>
                  <a:cxn ang="0">
                    <a:pos x="907" y="300"/>
                  </a:cxn>
                  <a:cxn ang="0">
                    <a:pos x="917" y="374"/>
                  </a:cxn>
                  <a:cxn ang="0">
                    <a:pos x="891" y="458"/>
                  </a:cxn>
                  <a:cxn ang="0">
                    <a:pos x="841" y="391"/>
                  </a:cxn>
                  <a:cxn ang="0">
                    <a:pos x="705" y="348"/>
                  </a:cxn>
                  <a:cxn ang="0">
                    <a:pos x="666" y="308"/>
                  </a:cxn>
                  <a:cxn ang="0">
                    <a:pos x="695" y="227"/>
                  </a:cxn>
                  <a:cxn ang="0">
                    <a:pos x="697" y="202"/>
                  </a:cxn>
                  <a:cxn ang="0">
                    <a:pos x="738" y="195"/>
                  </a:cxn>
                  <a:cxn ang="0">
                    <a:pos x="733" y="152"/>
                  </a:cxn>
                  <a:cxn ang="0">
                    <a:pos x="785" y="140"/>
                  </a:cxn>
                  <a:cxn ang="0">
                    <a:pos x="845" y="131"/>
                  </a:cxn>
                  <a:cxn ang="0">
                    <a:pos x="857" y="78"/>
                  </a:cxn>
                  <a:cxn ang="0">
                    <a:pos x="798" y="64"/>
                  </a:cxn>
                  <a:cxn ang="0">
                    <a:pos x="757" y="104"/>
                  </a:cxn>
                  <a:cxn ang="0">
                    <a:pos x="735" y="78"/>
                  </a:cxn>
                  <a:cxn ang="0">
                    <a:pos x="700" y="50"/>
                  </a:cxn>
                  <a:cxn ang="0">
                    <a:pos x="659" y="0"/>
                  </a:cxn>
                  <a:cxn ang="0">
                    <a:pos x="642" y="52"/>
                  </a:cxn>
                  <a:cxn ang="0">
                    <a:pos x="668" y="93"/>
                  </a:cxn>
                  <a:cxn ang="0">
                    <a:pos x="638" y="92"/>
                  </a:cxn>
                  <a:cxn ang="0">
                    <a:pos x="582" y="105"/>
                  </a:cxn>
                  <a:cxn ang="0">
                    <a:pos x="487" y="76"/>
                  </a:cxn>
                  <a:cxn ang="0">
                    <a:pos x="482" y="97"/>
                  </a:cxn>
                  <a:cxn ang="0">
                    <a:pos x="427" y="102"/>
                  </a:cxn>
                  <a:cxn ang="0">
                    <a:pos x="367" y="95"/>
                  </a:cxn>
                  <a:cxn ang="0">
                    <a:pos x="343" y="80"/>
                  </a:cxn>
                  <a:cxn ang="0">
                    <a:pos x="253" y="59"/>
                  </a:cxn>
                  <a:cxn ang="0">
                    <a:pos x="184" y="40"/>
                  </a:cxn>
                  <a:cxn ang="0">
                    <a:pos x="131" y="52"/>
                  </a:cxn>
                  <a:cxn ang="0">
                    <a:pos x="85" y="68"/>
                  </a:cxn>
                  <a:cxn ang="0">
                    <a:pos x="28" y="71"/>
                  </a:cxn>
                  <a:cxn ang="0">
                    <a:pos x="19" y="281"/>
                  </a:cxn>
                  <a:cxn ang="0">
                    <a:pos x="78" y="291"/>
                  </a:cxn>
                  <a:cxn ang="0">
                    <a:pos x="134" y="360"/>
                  </a:cxn>
                  <a:cxn ang="0">
                    <a:pos x="150" y="411"/>
                  </a:cxn>
                  <a:cxn ang="0">
                    <a:pos x="183" y="448"/>
                  </a:cxn>
                  <a:cxn ang="0">
                    <a:pos x="232" y="492"/>
                  </a:cxn>
                  <a:cxn ang="0">
                    <a:pos x="700" y="513"/>
                  </a:cxn>
                  <a:cxn ang="0">
                    <a:pos x="771" y="515"/>
                  </a:cxn>
                  <a:cxn ang="0">
                    <a:pos x="807" y="540"/>
                  </a:cxn>
                  <a:cxn ang="0">
                    <a:pos x="876" y="587"/>
                  </a:cxn>
                  <a:cxn ang="0">
                    <a:pos x="833" y="630"/>
                  </a:cxn>
                  <a:cxn ang="0">
                    <a:pos x="883" y="626"/>
                  </a:cxn>
                  <a:cxn ang="0">
                    <a:pos x="912" y="601"/>
                  </a:cxn>
                  <a:cxn ang="0">
                    <a:pos x="991" y="575"/>
                  </a:cxn>
                  <a:cxn ang="0">
                    <a:pos x="1037" y="534"/>
                  </a:cxn>
                </a:cxnLst>
                <a:rect l="0" t="0" r="r" b="b"/>
                <a:pathLst>
                  <a:path w="1232" h="637">
                    <a:moveTo>
                      <a:pt x="1067" y="580"/>
                    </a:moveTo>
                    <a:lnTo>
                      <a:pt x="1067" y="578"/>
                    </a:lnTo>
                    <a:lnTo>
                      <a:pt x="1068" y="578"/>
                    </a:lnTo>
                    <a:lnTo>
                      <a:pt x="1072" y="578"/>
                    </a:lnTo>
                    <a:lnTo>
                      <a:pt x="1074" y="578"/>
                    </a:lnTo>
                    <a:lnTo>
                      <a:pt x="1080" y="578"/>
                    </a:lnTo>
                    <a:lnTo>
                      <a:pt x="1086" y="577"/>
                    </a:lnTo>
                    <a:lnTo>
                      <a:pt x="1091" y="577"/>
                    </a:lnTo>
                    <a:lnTo>
                      <a:pt x="1096" y="570"/>
                    </a:lnTo>
                    <a:lnTo>
                      <a:pt x="1105" y="566"/>
                    </a:lnTo>
                    <a:lnTo>
                      <a:pt x="1105" y="573"/>
                    </a:lnTo>
                    <a:lnTo>
                      <a:pt x="1111" y="575"/>
                    </a:lnTo>
                    <a:lnTo>
                      <a:pt x="1101" y="575"/>
                    </a:lnTo>
                    <a:lnTo>
                      <a:pt x="1091" y="580"/>
                    </a:lnTo>
                    <a:lnTo>
                      <a:pt x="1084" y="585"/>
                    </a:lnTo>
                    <a:lnTo>
                      <a:pt x="1082" y="594"/>
                    </a:lnTo>
                    <a:lnTo>
                      <a:pt x="1086" y="602"/>
                    </a:lnTo>
                    <a:lnTo>
                      <a:pt x="1091" y="607"/>
                    </a:lnTo>
                    <a:lnTo>
                      <a:pt x="1094" y="604"/>
                    </a:lnTo>
                    <a:lnTo>
                      <a:pt x="1099" y="599"/>
                    </a:lnTo>
                    <a:lnTo>
                      <a:pt x="1106" y="594"/>
                    </a:lnTo>
                    <a:lnTo>
                      <a:pt x="1115" y="590"/>
                    </a:lnTo>
                    <a:lnTo>
                      <a:pt x="1122" y="587"/>
                    </a:lnTo>
                    <a:lnTo>
                      <a:pt x="1134" y="582"/>
                    </a:lnTo>
                    <a:lnTo>
                      <a:pt x="1146" y="577"/>
                    </a:lnTo>
                    <a:lnTo>
                      <a:pt x="1153" y="573"/>
                    </a:lnTo>
                    <a:lnTo>
                      <a:pt x="1149" y="568"/>
                    </a:lnTo>
                    <a:lnTo>
                      <a:pt x="1144" y="566"/>
                    </a:lnTo>
                    <a:lnTo>
                      <a:pt x="1139" y="566"/>
                    </a:lnTo>
                    <a:lnTo>
                      <a:pt x="1135" y="566"/>
                    </a:lnTo>
                    <a:lnTo>
                      <a:pt x="1123" y="563"/>
                    </a:lnTo>
                    <a:lnTo>
                      <a:pt x="1111" y="558"/>
                    </a:lnTo>
                    <a:lnTo>
                      <a:pt x="1101" y="549"/>
                    </a:lnTo>
                    <a:lnTo>
                      <a:pt x="1098" y="540"/>
                    </a:lnTo>
                    <a:lnTo>
                      <a:pt x="1099" y="534"/>
                    </a:lnTo>
                    <a:lnTo>
                      <a:pt x="1103" y="527"/>
                    </a:lnTo>
                    <a:lnTo>
                      <a:pt x="1098" y="527"/>
                    </a:lnTo>
                    <a:lnTo>
                      <a:pt x="1091" y="527"/>
                    </a:lnTo>
                    <a:lnTo>
                      <a:pt x="1094" y="521"/>
                    </a:lnTo>
                    <a:lnTo>
                      <a:pt x="1101" y="520"/>
                    </a:lnTo>
                    <a:lnTo>
                      <a:pt x="1108" y="515"/>
                    </a:lnTo>
                    <a:lnTo>
                      <a:pt x="1111" y="509"/>
                    </a:lnTo>
                    <a:lnTo>
                      <a:pt x="1108" y="503"/>
                    </a:lnTo>
                    <a:lnTo>
                      <a:pt x="1101" y="501"/>
                    </a:lnTo>
                    <a:lnTo>
                      <a:pt x="1092" y="499"/>
                    </a:lnTo>
                    <a:lnTo>
                      <a:pt x="1086" y="501"/>
                    </a:lnTo>
                    <a:lnTo>
                      <a:pt x="1068" y="503"/>
                    </a:lnTo>
                    <a:lnTo>
                      <a:pt x="1058" y="509"/>
                    </a:lnTo>
                    <a:lnTo>
                      <a:pt x="1048" y="515"/>
                    </a:lnTo>
                    <a:lnTo>
                      <a:pt x="1037" y="520"/>
                    </a:lnTo>
                    <a:lnTo>
                      <a:pt x="1043" y="511"/>
                    </a:lnTo>
                    <a:lnTo>
                      <a:pt x="1049" y="508"/>
                    </a:lnTo>
                    <a:lnTo>
                      <a:pt x="1056" y="504"/>
                    </a:lnTo>
                    <a:lnTo>
                      <a:pt x="1067" y="499"/>
                    </a:lnTo>
                    <a:lnTo>
                      <a:pt x="1070" y="489"/>
                    </a:lnTo>
                    <a:lnTo>
                      <a:pt x="1079" y="484"/>
                    </a:lnTo>
                    <a:lnTo>
                      <a:pt x="1091" y="480"/>
                    </a:lnTo>
                    <a:lnTo>
                      <a:pt x="1103" y="480"/>
                    </a:lnTo>
                    <a:lnTo>
                      <a:pt x="1115" y="480"/>
                    </a:lnTo>
                    <a:lnTo>
                      <a:pt x="1129" y="482"/>
                    </a:lnTo>
                    <a:lnTo>
                      <a:pt x="1144" y="482"/>
                    </a:lnTo>
                    <a:lnTo>
                      <a:pt x="1160" y="482"/>
                    </a:lnTo>
                    <a:lnTo>
                      <a:pt x="1172" y="479"/>
                    </a:lnTo>
                    <a:lnTo>
                      <a:pt x="1184" y="470"/>
                    </a:lnTo>
                    <a:lnTo>
                      <a:pt x="1194" y="463"/>
                    </a:lnTo>
                    <a:lnTo>
                      <a:pt x="1209" y="458"/>
                    </a:lnTo>
                    <a:lnTo>
                      <a:pt x="1225" y="451"/>
                    </a:lnTo>
                    <a:lnTo>
                      <a:pt x="1232" y="442"/>
                    </a:lnTo>
                    <a:lnTo>
                      <a:pt x="1228" y="427"/>
                    </a:lnTo>
                    <a:lnTo>
                      <a:pt x="1223" y="418"/>
                    </a:lnTo>
                    <a:lnTo>
                      <a:pt x="1220" y="415"/>
                    </a:lnTo>
                    <a:lnTo>
                      <a:pt x="1218" y="410"/>
                    </a:lnTo>
                    <a:lnTo>
                      <a:pt x="1218" y="405"/>
                    </a:lnTo>
                    <a:lnTo>
                      <a:pt x="1206" y="410"/>
                    </a:lnTo>
                    <a:lnTo>
                      <a:pt x="1194" y="415"/>
                    </a:lnTo>
                    <a:lnTo>
                      <a:pt x="1178" y="417"/>
                    </a:lnTo>
                    <a:lnTo>
                      <a:pt x="1170" y="420"/>
                    </a:lnTo>
                    <a:lnTo>
                      <a:pt x="1166" y="418"/>
                    </a:lnTo>
                    <a:lnTo>
                      <a:pt x="1165" y="417"/>
                    </a:lnTo>
                    <a:lnTo>
                      <a:pt x="1173" y="411"/>
                    </a:lnTo>
                    <a:lnTo>
                      <a:pt x="1187" y="408"/>
                    </a:lnTo>
                    <a:lnTo>
                      <a:pt x="1199" y="403"/>
                    </a:lnTo>
                    <a:lnTo>
                      <a:pt x="1206" y="398"/>
                    </a:lnTo>
                    <a:lnTo>
                      <a:pt x="1204" y="394"/>
                    </a:lnTo>
                    <a:lnTo>
                      <a:pt x="1203" y="393"/>
                    </a:lnTo>
                    <a:lnTo>
                      <a:pt x="1190" y="391"/>
                    </a:lnTo>
                    <a:lnTo>
                      <a:pt x="1178" y="389"/>
                    </a:lnTo>
                    <a:lnTo>
                      <a:pt x="1168" y="382"/>
                    </a:lnTo>
                    <a:lnTo>
                      <a:pt x="1165" y="372"/>
                    </a:lnTo>
                    <a:lnTo>
                      <a:pt x="1165" y="370"/>
                    </a:lnTo>
                    <a:lnTo>
                      <a:pt x="1149" y="365"/>
                    </a:lnTo>
                    <a:lnTo>
                      <a:pt x="1139" y="358"/>
                    </a:lnTo>
                    <a:lnTo>
                      <a:pt x="1144" y="355"/>
                    </a:lnTo>
                    <a:lnTo>
                      <a:pt x="1148" y="348"/>
                    </a:lnTo>
                    <a:lnTo>
                      <a:pt x="1144" y="341"/>
                    </a:lnTo>
                    <a:lnTo>
                      <a:pt x="1144" y="334"/>
                    </a:lnTo>
                    <a:lnTo>
                      <a:pt x="1137" y="329"/>
                    </a:lnTo>
                    <a:lnTo>
                      <a:pt x="1132" y="325"/>
                    </a:lnTo>
                    <a:lnTo>
                      <a:pt x="1127" y="319"/>
                    </a:lnTo>
                    <a:lnTo>
                      <a:pt x="1127" y="313"/>
                    </a:lnTo>
                    <a:lnTo>
                      <a:pt x="1125" y="305"/>
                    </a:lnTo>
                    <a:lnTo>
                      <a:pt x="1120" y="298"/>
                    </a:lnTo>
                    <a:lnTo>
                      <a:pt x="1111" y="291"/>
                    </a:lnTo>
                    <a:lnTo>
                      <a:pt x="1110" y="284"/>
                    </a:lnTo>
                    <a:lnTo>
                      <a:pt x="1105" y="281"/>
                    </a:lnTo>
                    <a:lnTo>
                      <a:pt x="1101" y="279"/>
                    </a:lnTo>
                    <a:lnTo>
                      <a:pt x="1092" y="282"/>
                    </a:lnTo>
                    <a:lnTo>
                      <a:pt x="1089" y="293"/>
                    </a:lnTo>
                    <a:lnTo>
                      <a:pt x="1086" y="298"/>
                    </a:lnTo>
                    <a:lnTo>
                      <a:pt x="1079" y="308"/>
                    </a:lnTo>
                    <a:lnTo>
                      <a:pt x="1068" y="315"/>
                    </a:lnTo>
                    <a:lnTo>
                      <a:pt x="1060" y="319"/>
                    </a:lnTo>
                    <a:lnTo>
                      <a:pt x="1049" y="313"/>
                    </a:lnTo>
                    <a:lnTo>
                      <a:pt x="1043" y="308"/>
                    </a:lnTo>
                    <a:lnTo>
                      <a:pt x="1036" y="303"/>
                    </a:lnTo>
                    <a:lnTo>
                      <a:pt x="1032" y="293"/>
                    </a:lnTo>
                    <a:lnTo>
                      <a:pt x="1031" y="281"/>
                    </a:lnTo>
                    <a:lnTo>
                      <a:pt x="1031" y="272"/>
                    </a:lnTo>
                    <a:lnTo>
                      <a:pt x="1024" y="264"/>
                    </a:lnTo>
                    <a:lnTo>
                      <a:pt x="1013" y="262"/>
                    </a:lnTo>
                    <a:lnTo>
                      <a:pt x="1003" y="258"/>
                    </a:lnTo>
                    <a:lnTo>
                      <a:pt x="1000" y="250"/>
                    </a:lnTo>
                    <a:lnTo>
                      <a:pt x="989" y="245"/>
                    </a:lnTo>
                    <a:lnTo>
                      <a:pt x="984" y="239"/>
                    </a:lnTo>
                    <a:lnTo>
                      <a:pt x="976" y="233"/>
                    </a:lnTo>
                    <a:lnTo>
                      <a:pt x="969" y="231"/>
                    </a:lnTo>
                    <a:lnTo>
                      <a:pt x="962" y="233"/>
                    </a:lnTo>
                    <a:lnTo>
                      <a:pt x="955" y="236"/>
                    </a:lnTo>
                    <a:lnTo>
                      <a:pt x="943" y="233"/>
                    </a:lnTo>
                    <a:lnTo>
                      <a:pt x="934" y="231"/>
                    </a:lnTo>
                    <a:lnTo>
                      <a:pt x="926" y="227"/>
                    </a:lnTo>
                    <a:lnTo>
                      <a:pt x="917" y="227"/>
                    </a:lnTo>
                    <a:lnTo>
                      <a:pt x="905" y="229"/>
                    </a:lnTo>
                    <a:lnTo>
                      <a:pt x="902" y="239"/>
                    </a:lnTo>
                    <a:lnTo>
                      <a:pt x="903" y="243"/>
                    </a:lnTo>
                    <a:lnTo>
                      <a:pt x="907" y="248"/>
                    </a:lnTo>
                    <a:lnTo>
                      <a:pt x="908" y="253"/>
                    </a:lnTo>
                    <a:lnTo>
                      <a:pt x="903" y="262"/>
                    </a:lnTo>
                    <a:lnTo>
                      <a:pt x="902" y="265"/>
                    </a:lnTo>
                    <a:lnTo>
                      <a:pt x="905" y="272"/>
                    </a:lnTo>
                    <a:lnTo>
                      <a:pt x="908" y="277"/>
                    </a:lnTo>
                    <a:lnTo>
                      <a:pt x="914" y="284"/>
                    </a:lnTo>
                    <a:lnTo>
                      <a:pt x="910" y="293"/>
                    </a:lnTo>
                    <a:lnTo>
                      <a:pt x="907" y="300"/>
                    </a:lnTo>
                    <a:lnTo>
                      <a:pt x="898" y="303"/>
                    </a:lnTo>
                    <a:lnTo>
                      <a:pt x="895" y="307"/>
                    </a:lnTo>
                    <a:lnTo>
                      <a:pt x="903" y="319"/>
                    </a:lnTo>
                    <a:lnTo>
                      <a:pt x="912" y="331"/>
                    </a:lnTo>
                    <a:lnTo>
                      <a:pt x="915" y="336"/>
                    </a:lnTo>
                    <a:lnTo>
                      <a:pt x="920" y="344"/>
                    </a:lnTo>
                    <a:lnTo>
                      <a:pt x="922" y="355"/>
                    </a:lnTo>
                    <a:lnTo>
                      <a:pt x="924" y="367"/>
                    </a:lnTo>
                    <a:lnTo>
                      <a:pt x="917" y="374"/>
                    </a:lnTo>
                    <a:lnTo>
                      <a:pt x="907" y="386"/>
                    </a:lnTo>
                    <a:lnTo>
                      <a:pt x="893" y="394"/>
                    </a:lnTo>
                    <a:lnTo>
                      <a:pt x="883" y="399"/>
                    </a:lnTo>
                    <a:lnTo>
                      <a:pt x="891" y="408"/>
                    </a:lnTo>
                    <a:lnTo>
                      <a:pt x="895" y="422"/>
                    </a:lnTo>
                    <a:lnTo>
                      <a:pt x="896" y="436"/>
                    </a:lnTo>
                    <a:lnTo>
                      <a:pt x="900" y="446"/>
                    </a:lnTo>
                    <a:lnTo>
                      <a:pt x="895" y="449"/>
                    </a:lnTo>
                    <a:lnTo>
                      <a:pt x="891" y="458"/>
                    </a:lnTo>
                    <a:lnTo>
                      <a:pt x="883" y="461"/>
                    </a:lnTo>
                    <a:lnTo>
                      <a:pt x="876" y="463"/>
                    </a:lnTo>
                    <a:lnTo>
                      <a:pt x="865" y="453"/>
                    </a:lnTo>
                    <a:lnTo>
                      <a:pt x="855" y="444"/>
                    </a:lnTo>
                    <a:lnTo>
                      <a:pt x="847" y="434"/>
                    </a:lnTo>
                    <a:lnTo>
                      <a:pt x="845" y="423"/>
                    </a:lnTo>
                    <a:lnTo>
                      <a:pt x="845" y="410"/>
                    </a:lnTo>
                    <a:lnTo>
                      <a:pt x="845" y="401"/>
                    </a:lnTo>
                    <a:lnTo>
                      <a:pt x="841" y="391"/>
                    </a:lnTo>
                    <a:lnTo>
                      <a:pt x="834" y="386"/>
                    </a:lnTo>
                    <a:lnTo>
                      <a:pt x="802" y="386"/>
                    </a:lnTo>
                    <a:lnTo>
                      <a:pt x="786" y="375"/>
                    </a:lnTo>
                    <a:lnTo>
                      <a:pt x="771" y="367"/>
                    </a:lnTo>
                    <a:lnTo>
                      <a:pt x="754" y="360"/>
                    </a:lnTo>
                    <a:lnTo>
                      <a:pt x="738" y="355"/>
                    </a:lnTo>
                    <a:lnTo>
                      <a:pt x="728" y="348"/>
                    </a:lnTo>
                    <a:lnTo>
                      <a:pt x="716" y="344"/>
                    </a:lnTo>
                    <a:lnTo>
                      <a:pt x="705" y="348"/>
                    </a:lnTo>
                    <a:lnTo>
                      <a:pt x="697" y="351"/>
                    </a:lnTo>
                    <a:lnTo>
                      <a:pt x="695" y="338"/>
                    </a:lnTo>
                    <a:lnTo>
                      <a:pt x="692" y="325"/>
                    </a:lnTo>
                    <a:lnTo>
                      <a:pt x="685" y="315"/>
                    </a:lnTo>
                    <a:lnTo>
                      <a:pt x="678" y="312"/>
                    </a:lnTo>
                    <a:lnTo>
                      <a:pt x="671" y="313"/>
                    </a:lnTo>
                    <a:lnTo>
                      <a:pt x="666" y="317"/>
                    </a:lnTo>
                    <a:lnTo>
                      <a:pt x="666" y="312"/>
                    </a:lnTo>
                    <a:lnTo>
                      <a:pt x="666" y="308"/>
                    </a:lnTo>
                    <a:lnTo>
                      <a:pt x="666" y="301"/>
                    </a:lnTo>
                    <a:lnTo>
                      <a:pt x="666" y="295"/>
                    </a:lnTo>
                    <a:lnTo>
                      <a:pt x="666" y="279"/>
                    </a:lnTo>
                    <a:lnTo>
                      <a:pt x="669" y="269"/>
                    </a:lnTo>
                    <a:lnTo>
                      <a:pt x="675" y="258"/>
                    </a:lnTo>
                    <a:lnTo>
                      <a:pt x="683" y="250"/>
                    </a:lnTo>
                    <a:lnTo>
                      <a:pt x="685" y="243"/>
                    </a:lnTo>
                    <a:lnTo>
                      <a:pt x="690" y="236"/>
                    </a:lnTo>
                    <a:lnTo>
                      <a:pt x="695" y="227"/>
                    </a:lnTo>
                    <a:lnTo>
                      <a:pt x="700" y="224"/>
                    </a:lnTo>
                    <a:lnTo>
                      <a:pt x="707" y="222"/>
                    </a:lnTo>
                    <a:lnTo>
                      <a:pt x="714" y="221"/>
                    </a:lnTo>
                    <a:lnTo>
                      <a:pt x="721" y="219"/>
                    </a:lnTo>
                    <a:lnTo>
                      <a:pt x="724" y="214"/>
                    </a:lnTo>
                    <a:lnTo>
                      <a:pt x="721" y="209"/>
                    </a:lnTo>
                    <a:lnTo>
                      <a:pt x="712" y="205"/>
                    </a:lnTo>
                    <a:lnTo>
                      <a:pt x="704" y="203"/>
                    </a:lnTo>
                    <a:lnTo>
                      <a:pt x="697" y="202"/>
                    </a:lnTo>
                    <a:lnTo>
                      <a:pt x="697" y="200"/>
                    </a:lnTo>
                    <a:lnTo>
                      <a:pt x="699" y="198"/>
                    </a:lnTo>
                    <a:lnTo>
                      <a:pt x="705" y="198"/>
                    </a:lnTo>
                    <a:lnTo>
                      <a:pt x="714" y="200"/>
                    </a:lnTo>
                    <a:lnTo>
                      <a:pt x="728" y="205"/>
                    </a:lnTo>
                    <a:lnTo>
                      <a:pt x="731" y="203"/>
                    </a:lnTo>
                    <a:lnTo>
                      <a:pt x="733" y="200"/>
                    </a:lnTo>
                    <a:lnTo>
                      <a:pt x="735" y="197"/>
                    </a:lnTo>
                    <a:lnTo>
                      <a:pt x="738" y="195"/>
                    </a:lnTo>
                    <a:lnTo>
                      <a:pt x="740" y="195"/>
                    </a:lnTo>
                    <a:lnTo>
                      <a:pt x="748" y="195"/>
                    </a:lnTo>
                    <a:lnTo>
                      <a:pt x="762" y="188"/>
                    </a:lnTo>
                    <a:lnTo>
                      <a:pt x="776" y="176"/>
                    </a:lnTo>
                    <a:lnTo>
                      <a:pt x="776" y="169"/>
                    </a:lnTo>
                    <a:lnTo>
                      <a:pt x="762" y="166"/>
                    </a:lnTo>
                    <a:lnTo>
                      <a:pt x="750" y="164"/>
                    </a:lnTo>
                    <a:lnTo>
                      <a:pt x="740" y="159"/>
                    </a:lnTo>
                    <a:lnTo>
                      <a:pt x="733" y="152"/>
                    </a:lnTo>
                    <a:lnTo>
                      <a:pt x="736" y="152"/>
                    </a:lnTo>
                    <a:lnTo>
                      <a:pt x="743" y="152"/>
                    </a:lnTo>
                    <a:lnTo>
                      <a:pt x="752" y="159"/>
                    </a:lnTo>
                    <a:lnTo>
                      <a:pt x="766" y="164"/>
                    </a:lnTo>
                    <a:lnTo>
                      <a:pt x="771" y="160"/>
                    </a:lnTo>
                    <a:lnTo>
                      <a:pt x="779" y="157"/>
                    </a:lnTo>
                    <a:lnTo>
                      <a:pt x="785" y="152"/>
                    </a:lnTo>
                    <a:lnTo>
                      <a:pt x="788" y="147"/>
                    </a:lnTo>
                    <a:lnTo>
                      <a:pt x="785" y="140"/>
                    </a:lnTo>
                    <a:lnTo>
                      <a:pt x="785" y="136"/>
                    </a:lnTo>
                    <a:lnTo>
                      <a:pt x="797" y="141"/>
                    </a:lnTo>
                    <a:lnTo>
                      <a:pt x="807" y="147"/>
                    </a:lnTo>
                    <a:lnTo>
                      <a:pt x="814" y="143"/>
                    </a:lnTo>
                    <a:lnTo>
                      <a:pt x="824" y="141"/>
                    </a:lnTo>
                    <a:lnTo>
                      <a:pt x="824" y="135"/>
                    </a:lnTo>
                    <a:lnTo>
                      <a:pt x="831" y="140"/>
                    </a:lnTo>
                    <a:lnTo>
                      <a:pt x="834" y="138"/>
                    </a:lnTo>
                    <a:lnTo>
                      <a:pt x="845" y="131"/>
                    </a:lnTo>
                    <a:lnTo>
                      <a:pt x="855" y="123"/>
                    </a:lnTo>
                    <a:lnTo>
                      <a:pt x="860" y="116"/>
                    </a:lnTo>
                    <a:lnTo>
                      <a:pt x="853" y="107"/>
                    </a:lnTo>
                    <a:lnTo>
                      <a:pt x="848" y="102"/>
                    </a:lnTo>
                    <a:lnTo>
                      <a:pt x="847" y="97"/>
                    </a:lnTo>
                    <a:lnTo>
                      <a:pt x="847" y="93"/>
                    </a:lnTo>
                    <a:lnTo>
                      <a:pt x="848" y="88"/>
                    </a:lnTo>
                    <a:lnTo>
                      <a:pt x="857" y="83"/>
                    </a:lnTo>
                    <a:lnTo>
                      <a:pt x="857" y="78"/>
                    </a:lnTo>
                    <a:lnTo>
                      <a:pt x="857" y="71"/>
                    </a:lnTo>
                    <a:lnTo>
                      <a:pt x="847" y="68"/>
                    </a:lnTo>
                    <a:lnTo>
                      <a:pt x="841" y="64"/>
                    </a:lnTo>
                    <a:lnTo>
                      <a:pt x="834" y="59"/>
                    </a:lnTo>
                    <a:lnTo>
                      <a:pt x="824" y="57"/>
                    </a:lnTo>
                    <a:lnTo>
                      <a:pt x="817" y="56"/>
                    </a:lnTo>
                    <a:lnTo>
                      <a:pt x="812" y="54"/>
                    </a:lnTo>
                    <a:lnTo>
                      <a:pt x="802" y="56"/>
                    </a:lnTo>
                    <a:lnTo>
                      <a:pt x="798" y="64"/>
                    </a:lnTo>
                    <a:lnTo>
                      <a:pt x="802" y="71"/>
                    </a:lnTo>
                    <a:lnTo>
                      <a:pt x="807" y="78"/>
                    </a:lnTo>
                    <a:lnTo>
                      <a:pt x="800" y="83"/>
                    </a:lnTo>
                    <a:lnTo>
                      <a:pt x="791" y="88"/>
                    </a:lnTo>
                    <a:lnTo>
                      <a:pt x="788" y="100"/>
                    </a:lnTo>
                    <a:lnTo>
                      <a:pt x="783" y="114"/>
                    </a:lnTo>
                    <a:lnTo>
                      <a:pt x="773" y="117"/>
                    </a:lnTo>
                    <a:lnTo>
                      <a:pt x="764" y="112"/>
                    </a:lnTo>
                    <a:lnTo>
                      <a:pt x="757" y="104"/>
                    </a:lnTo>
                    <a:lnTo>
                      <a:pt x="755" y="98"/>
                    </a:lnTo>
                    <a:lnTo>
                      <a:pt x="759" y="92"/>
                    </a:lnTo>
                    <a:lnTo>
                      <a:pt x="764" y="86"/>
                    </a:lnTo>
                    <a:lnTo>
                      <a:pt x="761" y="81"/>
                    </a:lnTo>
                    <a:lnTo>
                      <a:pt x="755" y="74"/>
                    </a:lnTo>
                    <a:lnTo>
                      <a:pt x="748" y="69"/>
                    </a:lnTo>
                    <a:lnTo>
                      <a:pt x="745" y="68"/>
                    </a:lnTo>
                    <a:lnTo>
                      <a:pt x="736" y="69"/>
                    </a:lnTo>
                    <a:lnTo>
                      <a:pt x="735" y="78"/>
                    </a:lnTo>
                    <a:lnTo>
                      <a:pt x="731" y="85"/>
                    </a:lnTo>
                    <a:lnTo>
                      <a:pt x="724" y="90"/>
                    </a:lnTo>
                    <a:lnTo>
                      <a:pt x="723" y="78"/>
                    </a:lnTo>
                    <a:lnTo>
                      <a:pt x="714" y="71"/>
                    </a:lnTo>
                    <a:lnTo>
                      <a:pt x="716" y="66"/>
                    </a:lnTo>
                    <a:lnTo>
                      <a:pt x="719" y="64"/>
                    </a:lnTo>
                    <a:lnTo>
                      <a:pt x="704" y="61"/>
                    </a:lnTo>
                    <a:lnTo>
                      <a:pt x="693" y="57"/>
                    </a:lnTo>
                    <a:lnTo>
                      <a:pt x="700" y="50"/>
                    </a:lnTo>
                    <a:lnTo>
                      <a:pt x="705" y="43"/>
                    </a:lnTo>
                    <a:lnTo>
                      <a:pt x="702" y="37"/>
                    </a:lnTo>
                    <a:lnTo>
                      <a:pt x="697" y="35"/>
                    </a:lnTo>
                    <a:lnTo>
                      <a:pt x="692" y="31"/>
                    </a:lnTo>
                    <a:lnTo>
                      <a:pt x="690" y="28"/>
                    </a:lnTo>
                    <a:lnTo>
                      <a:pt x="687" y="16"/>
                    </a:lnTo>
                    <a:lnTo>
                      <a:pt x="681" y="9"/>
                    </a:lnTo>
                    <a:lnTo>
                      <a:pt x="671" y="2"/>
                    </a:lnTo>
                    <a:lnTo>
                      <a:pt x="659" y="0"/>
                    </a:lnTo>
                    <a:lnTo>
                      <a:pt x="652" y="4"/>
                    </a:lnTo>
                    <a:lnTo>
                      <a:pt x="654" y="13"/>
                    </a:lnTo>
                    <a:lnTo>
                      <a:pt x="644" y="13"/>
                    </a:lnTo>
                    <a:lnTo>
                      <a:pt x="640" y="19"/>
                    </a:lnTo>
                    <a:lnTo>
                      <a:pt x="642" y="26"/>
                    </a:lnTo>
                    <a:lnTo>
                      <a:pt x="644" y="33"/>
                    </a:lnTo>
                    <a:lnTo>
                      <a:pt x="640" y="37"/>
                    </a:lnTo>
                    <a:lnTo>
                      <a:pt x="637" y="43"/>
                    </a:lnTo>
                    <a:lnTo>
                      <a:pt x="642" y="52"/>
                    </a:lnTo>
                    <a:lnTo>
                      <a:pt x="654" y="56"/>
                    </a:lnTo>
                    <a:lnTo>
                      <a:pt x="664" y="59"/>
                    </a:lnTo>
                    <a:lnTo>
                      <a:pt x="671" y="68"/>
                    </a:lnTo>
                    <a:lnTo>
                      <a:pt x="669" y="76"/>
                    </a:lnTo>
                    <a:lnTo>
                      <a:pt x="668" y="83"/>
                    </a:lnTo>
                    <a:lnTo>
                      <a:pt x="673" y="80"/>
                    </a:lnTo>
                    <a:lnTo>
                      <a:pt x="678" y="78"/>
                    </a:lnTo>
                    <a:lnTo>
                      <a:pt x="676" y="88"/>
                    </a:lnTo>
                    <a:lnTo>
                      <a:pt x="668" y="93"/>
                    </a:lnTo>
                    <a:lnTo>
                      <a:pt x="661" y="95"/>
                    </a:lnTo>
                    <a:lnTo>
                      <a:pt x="656" y="98"/>
                    </a:lnTo>
                    <a:lnTo>
                      <a:pt x="652" y="104"/>
                    </a:lnTo>
                    <a:lnTo>
                      <a:pt x="652" y="114"/>
                    </a:lnTo>
                    <a:lnTo>
                      <a:pt x="644" y="112"/>
                    </a:lnTo>
                    <a:lnTo>
                      <a:pt x="642" y="107"/>
                    </a:lnTo>
                    <a:lnTo>
                      <a:pt x="644" y="100"/>
                    </a:lnTo>
                    <a:lnTo>
                      <a:pt x="644" y="95"/>
                    </a:lnTo>
                    <a:lnTo>
                      <a:pt x="638" y="92"/>
                    </a:lnTo>
                    <a:lnTo>
                      <a:pt x="633" y="92"/>
                    </a:lnTo>
                    <a:lnTo>
                      <a:pt x="626" y="90"/>
                    </a:lnTo>
                    <a:lnTo>
                      <a:pt x="621" y="90"/>
                    </a:lnTo>
                    <a:lnTo>
                      <a:pt x="611" y="93"/>
                    </a:lnTo>
                    <a:lnTo>
                      <a:pt x="609" y="105"/>
                    </a:lnTo>
                    <a:lnTo>
                      <a:pt x="601" y="105"/>
                    </a:lnTo>
                    <a:lnTo>
                      <a:pt x="594" y="105"/>
                    </a:lnTo>
                    <a:lnTo>
                      <a:pt x="587" y="105"/>
                    </a:lnTo>
                    <a:lnTo>
                      <a:pt x="582" y="105"/>
                    </a:lnTo>
                    <a:lnTo>
                      <a:pt x="573" y="105"/>
                    </a:lnTo>
                    <a:lnTo>
                      <a:pt x="564" y="105"/>
                    </a:lnTo>
                    <a:lnTo>
                      <a:pt x="554" y="104"/>
                    </a:lnTo>
                    <a:lnTo>
                      <a:pt x="544" y="102"/>
                    </a:lnTo>
                    <a:lnTo>
                      <a:pt x="533" y="100"/>
                    </a:lnTo>
                    <a:lnTo>
                      <a:pt x="523" y="98"/>
                    </a:lnTo>
                    <a:lnTo>
                      <a:pt x="508" y="88"/>
                    </a:lnTo>
                    <a:lnTo>
                      <a:pt x="499" y="76"/>
                    </a:lnTo>
                    <a:lnTo>
                      <a:pt x="487" y="76"/>
                    </a:lnTo>
                    <a:lnTo>
                      <a:pt x="475" y="78"/>
                    </a:lnTo>
                    <a:lnTo>
                      <a:pt x="463" y="81"/>
                    </a:lnTo>
                    <a:lnTo>
                      <a:pt x="460" y="90"/>
                    </a:lnTo>
                    <a:lnTo>
                      <a:pt x="461" y="93"/>
                    </a:lnTo>
                    <a:lnTo>
                      <a:pt x="466" y="95"/>
                    </a:lnTo>
                    <a:lnTo>
                      <a:pt x="480" y="92"/>
                    </a:lnTo>
                    <a:lnTo>
                      <a:pt x="494" y="88"/>
                    </a:lnTo>
                    <a:lnTo>
                      <a:pt x="490" y="93"/>
                    </a:lnTo>
                    <a:lnTo>
                      <a:pt x="482" y="97"/>
                    </a:lnTo>
                    <a:lnTo>
                      <a:pt x="473" y="98"/>
                    </a:lnTo>
                    <a:lnTo>
                      <a:pt x="470" y="107"/>
                    </a:lnTo>
                    <a:lnTo>
                      <a:pt x="472" y="116"/>
                    </a:lnTo>
                    <a:lnTo>
                      <a:pt x="473" y="123"/>
                    </a:lnTo>
                    <a:lnTo>
                      <a:pt x="461" y="116"/>
                    </a:lnTo>
                    <a:lnTo>
                      <a:pt x="453" y="105"/>
                    </a:lnTo>
                    <a:lnTo>
                      <a:pt x="444" y="102"/>
                    </a:lnTo>
                    <a:lnTo>
                      <a:pt x="434" y="102"/>
                    </a:lnTo>
                    <a:lnTo>
                      <a:pt x="427" y="102"/>
                    </a:lnTo>
                    <a:lnTo>
                      <a:pt x="420" y="102"/>
                    </a:lnTo>
                    <a:lnTo>
                      <a:pt x="411" y="102"/>
                    </a:lnTo>
                    <a:lnTo>
                      <a:pt x="398" y="104"/>
                    </a:lnTo>
                    <a:lnTo>
                      <a:pt x="384" y="107"/>
                    </a:lnTo>
                    <a:lnTo>
                      <a:pt x="372" y="105"/>
                    </a:lnTo>
                    <a:lnTo>
                      <a:pt x="367" y="104"/>
                    </a:lnTo>
                    <a:lnTo>
                      <a:pt x="365" y="100"/>
                    </a:lnTo>
                    <a:lnTo>
                      <a:pt x="365" y="98"/>
                    </a:lnTo>
                    <a:lnTo>
                      <a:pt x="367" y="95"/>
                    </a:lnTo>
                    <a:lnTo>
                      <a:pt x="372" y="95"/>
                    </a:lnTo>
                    <a:lnTo>
                      <a:pt x="377" y="93"/>
                    </a:lnTo>
                    <a:lnTo>
                      <a:pt x="382" y="93"/>
                    </a:lnTo>
                    <a:lnTo>
                      <a:pt x="374" y="81"/>
                    </a:lnTo>
                    <a:lnTo>
                      <a:pt x="367" y="78"/>
                    </a:lnTo>
                    <a:lnTo>
                      <a:pt x="361" y="76"/>
                    </a:lnTo>
                    <a:lnTo>
                      <a:pt x="358" y="76"/>
                    </a:lnTo>
                    <a:lnTo>
                      <a:pt x="351" y="78"/>
                    </a:lnTo>
                    <a:lnTo>
                      <a:pt x="343" y="80"/>
                    </a:lnTo>
                    <a:lnTo>
                      <a:pt x="331" y="78"/>
                    </a:lnTo>
                    <a:lnTo>
                      <a:pt x="320" y="76"/>
                    </a:lnTo>
                    <a:lnTo>
                      <a:pt x="312" y="71"/>
                    </a:lnTo>
                    <a:lnTo>
                      <a:pt x="303" y="68"/>
                    </a:lnTo>
                    <a:lnTo>
                      <a:pt x="293" y="62"/>
                    </a:lnTo>
                    <a:lnTo>
                      <a:pt x="284" y="59"/>
                    </a:lnTo>
                    <a:lnTo>
                      <a:pt x="274" y="57"/>
                    </a:lnTo>
                    <a:lnTo>
                      <a:pt x="265" y="57"/>
                    </a:lnTo>
                    <a:lnTo>
                      <a:pt x="253" y="59"/>
                    </a:lnTo>
                    <a:lnTo>
                      <a:pt x="243" y="62"/>
                    </a:lnTo>
                    <a:lnTo>
                      <a:pt x="234" y="57"/>
                    </a:lnTo>
                    <a:lnTo>
                      <a:pt x="231" y="49"/>
                    </a:lnTo>
                    <a:lnTo>
                      <a:pt x="220" y="56"/>
                    </a:lnTo>
                    <a:lnTo>
                      <a:pt x="212" y="62"/>
                    </a:lnTo>
                    <a:lnTo>
                      <a:pt x="203" y="57"/>
                    </a:lnTo>
                    <a:lnTo>
                      <a:pt x="195" y="50"/>
                    </a:lnTo>
                    <a:lnTo>
                      <a:pt x="188" y="42"/>
                    </a:lnTo>
                    <a:lnTo>
                      <a:pt x="184" y="40"/>
                    </a:lnTo>
                    <a:lnTo>
                      <a:pt x="177" y="42"/>
                    </a:lnTo>
                    <a:lnTo>
                      <a:pt x="176" y="47"/>
                    </a:lnTo>
                    <a:lnTo>
                      <a:pt x="172" y="50"/>
                    </a:lnTo>
                    <a:lnTo>
                      <a:pt x="167" y="54"/>
                    </a:lnTo>
                    <a:lnTo>
                      <a:pt x="162" y="52"/>
                    </a:lnTo>
                    <a:lnTo>
                      <a:pt x="159" y="47"/>
                    </a:lnTo>
                    <a:lnTo>
                      <a:pt x="146" y="49"/>
                    </a:lnTo>
                    <a:lnTo>
                      <a:pt x="140" y="50"/>
                    </a:lnTo>
                    <a:lnTo>
                      <a:pt x="131" y="52"/>
                    </a:lnTo>
                    <a:lnTo>
                      <a:pt x="122" y="57"/>
                    </a:lnTo>
                    <a:lnTo>
                      <a:pt x="116" y="59"/>
                    </a:lnTo>
                    <a:lnTo>
                      <a:pt x="110" y="62"/>
                    </a:lnTo>
                    <a:lnTo>
                      <a:pt x="104" y="64"/>
                    </a:lnTo>
                    <a:lnTo>
                      <a:pt x="100" y="64"/>
                    </a:lnTo>
                    <a:lnTo>
                      <a:pt x="91" y="59"/>
                    </a:lnTo>
                    <a:lnTo>
                      <a:pt x="88" y="61"/>
                    </a:lnTo>
                    <a:lnTo>
                      <a:pt x="86" y="64"/>
                    </a:lnTo>
                    <a:lnTo>
                      <a:pt x="85" y="68"/>
                    </a:lnTo>
                    <a:lnTo>
                      <a:pt x="73" y="68"/>
                    </a:lnTo>
                    <a:lnTo>
                      <a:pt x="67" y="69"/>
                    </a:lnTo>
                    <a:lnTo>
                      <a:pt x="64" y="71"/>
                    </a:lnTo>
                    <a:lnTo>
                      <a:pt x="66" y="74"/>
                    </a:lnTo>
                    <a:lnTo>
                      <a:pt x="67" y="78"/>
                    </a:lnTo>
                    <a:lnTo>
                      <a:pt x="69" y="81"/>
                    </a:lnTo>
                    <a:lnTo>
                      <a:pt x="57" y="80"/>
                    </a:lnTo>
                    <a:lnTo>
                      <a:pt x="43" y="78"/>
                    </a:lnTo>
                    <a:lnTo>
                      <a:pt x="28" y="71"/>
                    </a:lnTo>
                    <a:lnTo>
                      <a:pt x="12" y="66"/>
                    </a:lnTo>
                    <a:lnTo>
                      <a:pt x="9" y="62"/>
                    </a:lnTo>
                    <a:lnTo>
                      <a:pt x="5" y="59"/>
                    </a:lnTo>
                    <a:lnTo>
                      <a:pt x="2" y="59"/>
                    </a:lnTo>
                    <a:lnTo>
                      <a:pt x="0" y="59"/>
                    </a:lnTo>
                    <a:lnTo>
                      <a:pt x="0" y="279"/>
                    </a:lnTo>
                    <a:lnTo>
                      <a:pt x="4" y="279"/>
                    </a:lnTo>
                    <a:lnTo>
                      <a:pt x="12" y="281"/>
                    </a:lnTo>
                    <a:lnTo>
                      <a:pt x="19" y="281"/>
                    </a:lnTo>
                    <a:lnTo>
                      <a:pt x="28" y="286"/>
                    </a:lnTo>
                    <a:lnTo>
                      <a:pt x="31" y="291"/>
                    </a:lnTo>
                    <a:lnTo>
                      <a:pt x="38" y="298"/>
                    </a:lnTo>
                    <a:lnTo>
                      <a:pt x="45" y="303"/>
                    </a:lnTo>
                    <a:lnTo>
                      <a:pt x="54" y="307"/>
                    </a:lnTo>
                    <a:lnTo>
                      <a:pt x="61" y="300"/>
                    </a:lnTo>
                    <a:lnTo>
                      <a:pt x="67" y="295"/>
                    </a:lnTo>
                    <a:lnTo>
                      <a:pt x="71" y="293"/>
                    </a:lnTo>
                    <a:lnTo>
                      <a:pt x="78" y="291"/>
                    </a:lnTo>
                    <a:lnTo>
                      <a:pt x="86" y="300"/>
                    </a:lnTo>
                    <a:lnTo>
                      <a:pt x="95" y="308"/>
                    </a:lnTo>
                    <a:lnTo>
                      <a:pt x="102" y="319"/>
                    </a:lnTo>
                    <a:lnTo>
                      <a:pt x="112" y="332"/>
                    </a:lnTo>
                    <a:lnTo>
                      <a:pt x="116" y="334"/>
                    </a:lnTo>
                    <a:lnTo>
                      <a:pt x="119" y="339"/>
                    </a:lnTo>
                    <a:lnTo>
                      <a:pt x="122" y="348"/>
                    </a:lnTo>
                    <a:lnTo>
                      <a:pt x="129" y="358"/>
                    </a:lnTo>
                    <a:lnTo>
                      <a:pt x="134" y="360"/>
                    </a:lnTo>
                    <a:lnTo>
                      <a:pt x="141" y="363"/>
                    </a:lnTo>
                    <a:lnTo>
                      <a:pt x="150" y="370"/>
                    </a:lnTo>
                    <a:lnTo>
                      <a:pt x="155" y="382"/>
                    </a:lnTo>
                    <a:lnTo>
                      <a:pt x="152" y="387"/>
                    </a:lnTo>
                    <a:lnTo>
                      <a:pt x="148" y="393"/>
                    </a:lnTo>
                    <a:lnTo>
                      <a:pt x="148" y="394"/>
                    </a:lnTo>
                    <a:lnTo>
                      <a:pt x="150" y="399"/>
                    </a:lnTo>
                    <a:lnTo>
                      <a:pt x="148" y="405"/>
                    </a:lnTo>
                    <a:lnTo>
                      <a:pt x="150" y="411"/>
                    </a:lnTo>
                    <a:lnTo>
                      <a:pt x="150" y="417"/>
                    </a:lnTo>
                    <a:lnTo>
                      <a:pt x="157" y="422"/>
                    </a:lnTo>
                    <a:lnTo>
                      <a:pt x="162" y="422"/>
                    </a:lnTo>
                    <a:lnTo>
                      <a:pt x="167" y="425"/>
                    </a:lnTo>
                    <a:lnTo>
                      <a:pt x="169" y="432"/>
                    </a:lnTo>
                    <a:lnTo>
                      <a:pt x="172" y="441"/>
                    </a:lnTo>
                    <a:lnTo>
                      <a:pt x="174" y="441"/>
                    </a:lnTo>
                    <a:lnTo>
                      <a:pt x="179" y="444"/>
                    </a:lnTo>
                    <a:lnTo>
                      <a:pt x="183" y="448"/>
                    </a:lnTo>
                    <a:lnTo>
                      <a:pt x="186" y="451"/>
                    </a:lnTo>
                    <a:lnTo>
                      <a:pt x="188" y="458"/>
                    </a:lnTo>
                    <a:lnTo>
                      <a:pt x="191" y="466"/>
                    </a:lnTo>
                    <a:lnTo>
                      <a:pt x="196" y="472"/>
                    </a:lnTo>
                    <a:lnTo>
                      <a:pt x="208" y="475"/>
                    </a:lnTo>
                    <a:lnTo>
                      <a:pt x="210" y="479"/>
                    </a:lnTo>
                    <a:lnTo>
                      <a:pt x="219" y="482"/>
                    </a:lnTo>
                    <a:lnTo>
                      <a:pt x="226" y="484"/>
                    </a:lnTo>
                    <a:lnTo>
                      <a:pt x="232" y="492"/>
                    </a:lnTo>
                    <a:lnTo>
                      <a:pt x="239" y="497"/>
                    </a:lnTo>
                    <a:lnTo>
                      <a:pt x="251" y="504"/>
                    </a:lnTo>
                    <a:lnTo>
                      <a:pt x="253" y="504"/>
                    </a:lnTo>
                    <a:lnTo>
                      <a:pt x="257" y="506"/>
                    </a:lnTo>
                    <a:lnTo>
                      <a:pt x="662" y="506"/>
                    </a:lnTo>
                    <a:lnTo>
                      <a:pt x="662" y="501"/>
                    </a:lnTo>
                    <a:lnTo>
                      <a:pt x="669" y="506"/>
                    </a:lnTo>
                    <a:lnTo>
                      <a:pt x="676" y="513"/>
                    </a:lnTo>
                    <a:lnTo>
                      <a:pt x="700" y="513"/>
                    </a:lnTo>
                    <a:lnTo>
                      <a:pt x="707" y="518"/>
                    </a:lnTo>
                    <a:lnTo>
                      <a:pt x="718" y="521"/>
                    </a:lnTo>
                    <a:lnTo>
                      <a:pt x="728" y="521"/>
                    </a:lnTo>
                    <a:lnTo>
                      <a:pt x="743" y="523"/>
                    </a:lnTo>
                    <a:lnTo>
                      <a:pt x="748" y="521"/>
                    </a:lnTo>
                    <a:lnTo>
                      <a:pt x="755" y="521"/>
                    </a:lnTo>
                    <a:lnTo>
                      <a:pt x="759" y="513"/>
                    </a:lnTo>
                    <a:lnTo>
                      <a:pt x="764" y="509"/>
                    </a:lnTo>
                    <a:lnTo>
                      <a:pt x="771" y="515"/>
                    </a:lnTo>
                    <a:lnTo>
                      <a:pt x="776" y="521"/>
                    </a:lnTo>
                    <a:lnTo>
                      <a:pt x="776" y="516"/>
                    </a:lnTo>
                    <a:lnTo>
                      <a:pt x="778" y="515"/>
                    </a:lnTo>
                    <a:lnTo>
                      <a:pt x="781" y="515"/>
                    </a:lnTo>
                    <a:lnTo>
                      <a:pt x="785" y="516"/>
                    </a:lnTo>
                    <a:lnTo>
                      <a:pt x="793" y="523"/>
                    </a:lnTo>
                    <a:lnTo>
                      <a:pt x="802" y="528"/>
                    </a:lnTo>
                    <a:lnTo>
                      <a:pt x="807" y="534"/>
                    </a:lnTo>
                    <a:lnTo>
                      <a:pt x="807" y="540"/>
                    </a:lnTo>
                    <a:lnTo>
                      <a:pt x="810" y="549"/>
                    </a:lnTo>
                    <a:lnTo>
                      <a:pt x="819" y="554"/>
                    </a:lnTo>
                    <a:lnTo>
                      <a:pt x="829" y="558"/>
                    </a:lnTo>
                    <a:lnTo>
                      <a:pt x="840" y="559"/>
                    </a:lnTo>
                    <a:lnTo>
                      <a:pt x="850" y="566"/>
                    </a:lnTo>
                    <a:lnTo>
                      <a:pt x="864" y="566"/>
                    </a:lnTo>
                    <a:lnTo>
                      <a:pt x="872" y="571"/>
                    </a:lnTo>
                    <a:lnTo>
                      <a:pt x="877" y="583"/>
                    </a:lnTo>
                    <a:lnTo>
                      <a:pt x="876" y="587"/>
                    </a:lnTo>
                    <a:lnTo>
                      <a:pt x="872" y="589"/>
                    </a:lnTo>
                    <a:lnTo>
                      <a:pt x="862" y="583"/>
                    </a:lnTo>
                    <a:lnTo>
                      <a:pt x="859" y="580"/>
                    </a:lnTo>
                    <a:lnTo>
                      <a:pt x="855" y="587"/>
                    </a:lnTo>
                    <a:lnTo>
                      <a:pt x="853" y="599"/>
                    </a:lnTo>
                    <a:lnTo>
                      <a:pt x="848" y="607"/>
                    </a:lnTo>
                    <a:lnTo>
                      <a:pt x="845" y="613"/>
                    </a:lnTo>
                    <a:lnTo>
                      <a:pt x="836" y="621"/>
                    </a:lnTo>
                    <a:lnTo>
                      <a:pt x="833" y="630"/>
                    </a:lnTo>
                    <a:lnTo>
                      <a:pt x="836" y="633"/>
                    </a:lnTo>
                    <a:lnTo>
                      <a:pt x="841" y="637"/>
                    </a:lnTo>
                    <a:lnTo>
                      <a:pt x="845" y="633"/>
                    </a:lnTo>
                    <a:lnTo>
                      <a:pt x="848" y="632"/>
                    </a:lnTo>
                    <a:lnTo>
                      <a:pt x="855" y="626"/>
                    </a:lnTo>
                    <a:lnTo>
                      <a:pt x="867" y="626"/>
                    </a:lnTo>
                    <a:lnTo>
                      <a:pt x="874" y="626"/>
                    </a:lnTo>
                    <a:lnTo>
                      <a:pt x="879" y="628"/>
                    </a:lnTo>
                    <a:lnTo>
                      <a:pt x="883" y="626"/>
                    </a:lnTo>
                    <a:lnTo>
                      <a:pt x="888" y="625"/>
                    </a:lnTo>
                    <a:lnTo>
                      <a:pt x="886" y="620"/>
                    </a:lnTo>
                    <a:lnTo>
                      <a:pt x="884" y="616"/>
                    </a:lnTo>
                    <a:lnTo>
                      <a:pt x="883" y="613"/>
                    </a:lnTo>
                    <a:lnTo>
                      <a:pt x="881" y="611"/>
                    </a:lnTo>
                    <a:lnTo>
                      <a:pt x="883" y="607"/>
                    </a:lnTo>
                    <a:lnTo>
                      <a:pt x="888" y="607"/>
                    </a:lnTo>
                    <a:lnTo>
                      <a:pt x="896" y="604"/>
                    </a:lnTo>
                    <a:lnTo>
                      <a:pt x="912" y="601"/>
                    </a:lnTo>
                    <a:lnTo>
                      <a:pt x="924" y="597"/>
                    </a:lnTo>
                    <a:lnTo>
                      <a:pt x="936" y="597"/>
                    </a:lnTo>
                    <a:lnTo>
                      <a:pt x="938" y="594"/>
                    </a:lnTo>
                    <a:lnTo>
                      <a:pt x="946" y="587"/>
                    </a:lnTo>
                    <a:lnTo>
                      <a:pt x="953" y="578"/>
                    </a:lnTo>
                    <a:lnTo>
                      <a:pt x="958" y="577"/>
                    </a:lnTo>
                    <a:lnTo>
                      <a:pt x="969" y="575"/>
                    </a:lnTo>
                    <a:lnTo>
                      <a:pt x="986" y="575"/>
                    </a:lnTo>
                    <a:lnTo>
                      <a:pt x="991" y="575"/>
                    </a:lnTo>
                    <a:lnTo>
                      <a:pt x="998" y="575"/>
                    </a:lnTo>
                    <a:lnTo>
                      <a:pt x="1003" y="573"/>
                    </a:lnTo>
                    <a:lnTo>
                      <a:pt x="1010" y="573"/>
                    </a:lnTo>
                    <a:lnTo>
                      <a:pt x="1013" y="571"/>
                    </a:lnTo>
                    <a:lnTo>
                      <a:pt x="1017" y="568"/>
                    </a:lnTo>
                    <a:lnTo>
                      <a:pt x="1020" y="559"/>
                    </a:lnTo>
                    <a:lnTo>
                      <a:pt x="1025" y="551"/>
                    </a:lnTo>
                    <a:lnTo>
                      <a:pt x="1029" y="540"/>
                    </a:lnTo>
                    <a:lnTo>
                      <a:pt x="1037" y="534"/>
                    </a:lnTo>
                    <a:lnTo>
                      <a:pt x="1048" y="535"/>
                    </a:lnTo>
                    <a:lnTo>
                      <a:pt x="1058" y="537"/>
                    </a:lnTo>
                    <a:lnTo>
                      <a:pt x="1060" y="547"/>
                    </a:lnTo>
                    <a:lnTo>
                      <a:pt x="1062" y="558"/>
                    </a:lnTo>
                    <a:lnTo>
                      <a:pt x="1062" y="568"/>
                    </a:lnTo>
                    <a:lnTo>
                      <a:pt x="1067" y="580"/>
                    </a:lnTo>
                    <a:lnTo>
                      <a:pt x="1067" y="5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7" name="Freeform 299"/>
              <p:cNvSpPr>
                <a:spLocks/>
              </p:cNvSpPr>
              <p:nvPr/>
            </p:nvSpPr>
            <p:spPr bwMode="auto">
              <a:xfrm>
                <a:off x="473869" y="2020888"/>
                <a:ext cx="857250" cy="614362"/>
              </a:xfrm>
              <a:custGeom>
                <a:avLst/>
                <a:gdLst/>
                <a:ahLst/>
                <a:cxnLst>
                  <a:cxn ang="0">
                    <a:pos x="397" y="263"/>
                  </a:cxn>
                  <a:cxn ang="0">
                    <a:pos x="423" y="280"/>
                  </a:cxn>
                  <a:cxn ang="0">
                    <a:pos x="452" y="277"/>
                  </a:cxn>
                  <a:cxn ang="0">
                    <a:pos x="480" y="290"/>
                  </a:cxn>
                  <a:cxn ang="0">
                    <a:pos x="504" y="321"/>
                  </a:cxn>
                  <a:cxn ang="0">
                    <a:pos x="526" y="345"/>
                  </a:cxn>
                  <a:cxn ang="0">
                    <a:pos x="533" y="375"/>
                  </a:cxn>
                  <a:cxn ang="0">
                    <a:pos x="513" y="368"/>
                  </a:cxn>
                  <a:cxn ang="0">
                    <a:pos x="506" y="352"/>
                  </a:cxn>
                  <a:cxn ang="0">
                    <a:pos x="482" y="337"/>
                  </a:cxn>
                  <a:cxn ang="0">
                    <a:pos x="490" y="321"/>
                  </a:cxn>
                  <a:cxn ang="0">
                    <a:pos x="468" y="321"/>
                  </a:cxn>
                  <a:cxn ang="0">
                    <a:pos x="464" y="306"/>
                  </a:cxn>
                  <a:cxn ang="0">
                    <a:pos x="442" y="307"/>
                  </a:cxn>
                  <a:cxn ang="0">
                    <a:pos x="418" y="289"/>
                  </a:cxn>
                  <a:cxn ang="0">
                    <a:pos x="372" y="271"/>
                  </a:cxn>
                  <a:cxn ang="0">
                    <a:pos x="303" y="254"/>
                  </a:cxn>
                  <a:cxn ang="0">
                    <a:pos x="277" y="256"/>
                  </a:cxn>
                  <a:cxn ang="0">
                    <a:pos x="241" y="285"/>
                  </a:cxn>
                  <a:cxn ang="0">
                    <a:pos x="225" y="282"/>
                  </a:cxn>
                  <a:cxn ang="0">
                    <a:pos x="229" y="264"/>
                  </a:cxn>
                  <a:cxn ang="0">
                    <a:pos x="251" y="247"/>
                  </a:cxn>
                  <a:cxn ang="0">
                    <a:pos x="231" y="249"/>
                  </a:cxn>
                  <a:cxn ang="0">
                    <a:pos x="200" y="294"/>
                  </a:cxn>
                  <a:cxn ang="0">
                    <a:pos x="169" y="323"/>
                  </a:cxn>
                  <a:cxn ang="0">
                    <a:pos x="138" y="347"/>
                  </a:cxn>
                  <a:cxn ang="0">
                    <a:pos x="100" y="366"/>
                  </a:cxn>
                  <a:cxn ang="0">
                    <a:pos x="53" y="385"/>
                  </a:cxn>
                  <a:cxn ang="0">
                    <a:pos x="72" y="368"/>
                  </a:cxn>
                  <a:cxn ang="0">
                    <a:pos x="112" y="342"/>
                  </a:cxn>
                  <a:cxn ang="0">
                    <a:pos x="151" y="316"/>
                  </a:cxn>
                  <a:cxn ang="0">
                    <a:pos x="162" y="294"/>
                  </a:cxn>
                  <a:cxn ang="0">
                    <a:pos x="131" y="295"/>
                  </a:cxn>
                  <a:cxn ang="0">
                    <a:pos x="112" y="297"/>
                  </a:cxn>
                  <a:cxn ang="0">
                    <a:pos x="102" y="299"/>
                  </a:cxn>
                  <a:cxn ang="0">
                    <a:pos x="83" y="297"/>
                  </a:cxn>
                  <a:cxn ang="0">
                    <a:pos x="81" y="275"/>
                  </a:cxn>
                  <a:cxn ang="0">
                    <a:pos x="60" y="277"/>
                  </a:cxn>
                  <a:cxn ang="0">
                    <a:pos x="38" y="256"/>
                  </a:cxn>
                  <a:cxn ang="0">
                    <a:pos x="24" y="239"/>
                  </a:cxn>
                  <a:cxn ang="0">
                    <a:pos x="48" y="206"/>
                  </a:cxn>
                  <a:cxn ang="0">
                    <a:pos x="93" y="191"/>
                  </a:cxn>
                  <a:cxn ang="0">
                    <a:pos x="95" y="170"/>
                  </a:cxn>
                  <a:cxn ang="0">
                    <a:pos x="89" y="166"/>
                  </a:cxn>
                  <a:cxn ang="0">
                    <a:pos x="46" y="170"/>
                  </a:cxn>
                  <a:cxn ang="0">
                    <a:pos x="14" y="156"/>
                  </a:cxn>
                  <a:cxn ang="0">
                    <a:pos x="0" y="144"/>
                  </a:cxn>
                  <a:cxn ang="0">
                    <a:pos x="46" y="122"/>
                  </a:cxn>
                  <a:cxn ang="0">
                    <a:pos x="65" y="132"/>
                  </a:cxn>
                  <a:cxn ang="0">
                    <a:pos x="81" y="122"/>
                  </a:cxn>
                  <a:cxn ang="0">
                    <a:pos x="52" y="103"/>
                  </a:cxn>
                  <a:cxn ang="0">
                    <a:pos x="33" y="84"/>
                  </a:cxn>
                  <a:cxn ang="0">
                    <a:pos x="19" y="70"/>
                  </a:cxn>
                  <a:cxn ang="0">
                    <a:pos x="77" y="34"/>
                  </a:cxn>
                  <a:cxn ang="0">
                    <a:pos x="115" y="15"/>
                  </a:cxn>
                  <a:cxn ang="0">
                    <a:pos x="157" y="0"/>
                  </a:cxn>
                  <a:cxn ang="0">
                    <a:pos x="167" y="13"/>
                  </a:cxn>
                  <a:cxn ang="0">
                    <a:pos x="193" y="12"/>
                  </a:cxn>
                  <a:cxn ang="0">
                    <a:pos x="272" y="22"/>
                  </a:cxn>
                  <a:cxn ang="0">
                    <a:pos x="329" y="36"/>
                  </a:cxn>
                  <a:cxn ang="0">
                    <a:pos x="368" y="34"/>
                  </a:cxn>
                  <a:cxn ang="0">
                    <a:pos x="385" y="41"/>
                  </a:cxn>
                </a:cxnLst>
                <a:rect l="0" t="0" r="r" b="b"/>
                <a:pathLst>
                  <a:path w="540" h="387">
                    <a:moveTo>
                      <a:pt x="385" y="41"/>
                    </a:moveTo>
                    <a:lnTo>
                      <a:pt x="385" y="261"/>
                    </a:lnTo>
                    <a:lnTo>
                      <a:pt x="389" y="261"/>
                    </a:lnTo>
                    <a:lnTo>
                      <a:pt x="397" y="263"/>
                    </a:lnTo>
                    <a:lnTo>
                      <a:pt x="404" y="263"/>
                    </a:lnTo>
                    <a:lnTo>
                      <a:pt x="413" y="268"/>
                    </a:lnTo>
                    <a:lnTo>
                      <a:pt x="416" y="273"/>
                    </a:lnTo>
                    <a:lnTo>
                      <a:pt x="423" y="280"/>
                    </a:lnTo>
                    <a:lnTo>
                      <a:pt x="430" y="285"/>
                    </a:lnTo>
                    <a:lnTo>
                      <a:pt x="439" y="289"/>
                    </a:lnTo>
                    <a:lnTo>
                      <a:pt x="446" y="282"/>
                    </a:lnTo>
                    <a:lnTo>
                      <a:pt x="452" y="277"/>
                    </a:lnTo>
                    <a:lnTo>
                      <a:pt x="456" y="275"/>
                    </a:lnTo>
                    <a:lnTo>
                      <a:pt x="463" y="273"/>
                    </a:lnTo>
                    <a:lnTo>
                      <a:pt x="471" y="282"/>
                    </a:lnTo>
                    <a:lnTo>
                      <a:pt x="480" y="290"/>
                    </a:lnTo>
                    <a:lnTo>
                      <a:pt x="487" y="301"/>
                    </a:lnTo>
                    <a:lnTo>
                      <a:pt x="497" y="314"/>
                    </a:lnTo>
                    <a:lnTo>
                      <a:pt x="501" y="316"/>
                    </a:lnTo>
                    <a:lnTo>
                      <a:pt x="504" y="321"/>
                    </a:lnTo>
                    <a:lnTo>
                      <a:pt x="507" y="330"/>
                    </a:lnTo>
                    <a:lnTo>
                      <a:pt x="514" y="340"/>
                    </a:lnTo>
                    <a:lnTo>
                      <a:pt x="519" y="342"/>
                    </a:lnTo>
                    <a:lnTo>
                      <a:pt x="526" y="345"/>
                    </a:lnTo>
                    <a:lnTo>
                      <a:pt x="535" y="352"/>
                    </a:lnTo>
                    <a:lnTo>
                      <a:pt x="540" y="364"/>
                    </a:lnTo>
                    <a:lnTo>
                      <a:pt x="537" y="369"/>
                    </a:lnTo>
                    <a:lnTo>
                      <a:pt x="533" y="375"/>
                    </a:lnTo>
                    <a:lnTo>
                      <a:pt x="530" y="375"/>
                    </a:lnTo>
                    <a:lnTo>
                      <a:pt x="528" y="375"/>
                    </a:lnTo>
                    <a:lnTo>
                      <a:pt x="519" y="371"/>
                    </a:lnTo>
                    <a:lnTo>
                      <a:pt x="513" y="368"/>
                    </a:lnTo>
                    <a:lnTo>
                      <a:pt x="507" y="362"/>
                    </a:lnTo>
                    <a:lnTo>
                      <a:pt x="506" y="359"/>
                    </a:lnTo>
                    <a:lnTo>
                      <a:pt x="506" y="356"/>
                    </a:lnTo>
                    <a:lnTo>
                      <a:pt x="506" y="352"/>
                    </a:lnTo>
                    <a:lnTo>
                      <a:pt x="501" y="344"/>
                    </a:lnTo>
                    <a:lnTo>
                      <a:pt x="492" y="344"/>
                    </a:lnTo>
                    <a:lnTo>
                      <a:pt x="483" y="340"/>
                    </a:lnTo>
                    <a:lnTo>
                      <a:pt x="482" y="337"/>
                    </a:lnTo>
                    <a:lnTo>
                      <a:pt x="485" y="332"/>
                    </a:lnTo>
                    <a:lnTo>
                      <a:pt x="490" y="328"/>
                    </a:lnTo>
                    <a:lnTo>
                      <a:pt x="490" y="323"/>
                    </a:lnTo>
                    <a:lnTo>
                      <a:pt x="490" y="321"/>
                    </a:lnTo>
                    <a:lnTo>
                      <a:pt x="482" y="325"/>
                    </a:lnTo>
                    <a:lnTo>
                      <a:pt x="476" y="328"/>
                    </a:lnTo>
                    <a:lnTo>
                      <a:pt x="471" y="325"/>
                    </a:lnTo>
                    <a:lnTo>
                      <a:pt x="468" y="321"/>
                    </a:lnTo>
                    <a:lnTo>
                      <a:pt x="470" y="313"/>
                    </a:lnTo>
                    <a:lnTo>
                      <a:pt x="473" y="309"/>
                    </a:lnTo>
                    <a:lnTo>
                      <a:pt x="468" y="304"/>
                    </a:lnTo>
                    <a:lnTo>
                      <a:pt x="464" y="306"/>
                    </a:lnTo>
                    <a:lnTo>
                      <a:pt x="454" y="302"/>
                    </a:lnTo>
                    <a:lnTo>
                      <a:pt x="449" y="299"/>
                    </a:lnTo>
                    <a:lnTo>
                      <a:pt x="446" y="304"/>
                    </a:lnTo>
                    <a:lnTo>
                      <a:pt x="442" y="307"/>
                    </a:lnTo>
                    <a:lnTo>
                      <a:pt x="432" y="304"/>
                    </a:lnTo>
                    <a:lnTo>
                      <a:pt x="427" y="299"/>
                    </a:lnTo>
                    <a:lnTo>
                      <a:pt x="421" y="292"/>
                    </a:lnTo>
                    <a:lnTo>
                      <a:pt x="418" y="289"/>
                    </a:lnTo>
                    <a:lnTo>
                      <a:pt x="406" y="282"/>
                    </a:lnTo>
                    <a:lnTo>
                      <a:pt x="394" y="278"/>
                    </a:lnTo>
                    <a:lnTo>
                      <a:pt x="382" y="275"/>
                    </a:lnTo>
                    <a:lnTo>
                      <a:pt x="372" y="271"/>
                    </a:lnTo>
                    <a:lnTo>
                      <a:pt x="344" y="271"/>
                    </a:lnTo>
                    <a:lnTo>
                      <a:pt x="330" y="266"/>
                    </a:lnTo>
                    <a:lnTo>
                      <a:pt x="317" y="261"/>
                    </a:lnTo>
                    <a:lnTo>
                      <a:pt x="303" y="254"/>
                    </a:lnTo>
                    <a:lnTo>
                      <a:pt x="296" y="246"/>
                    </a:lnTo>
                    <a:lnTo>
                      <a:pt x="286" y="249"/>
                    </a:lnTo>
                    <a:lnTo>
                      <a:pt x="275" y="252"/>
                    </a:lnTo>
                    <a:lnTo>
                      <a:pt x="277" y="256"/>
                    </a:lnTo>
                    <a:lnTo>
                      <a:pt x="280" y="259"/>
                    </a:lnTo>
                    <a:lnTo>
                      <a:pt x="270" y="268"/>
                    </a:lnTo>
                    <a:lnTo>
                      <a:pt x="256" y="277"/>
                    </a:lnTo>
                    <a:lnTo>
                      <a:pt x="241" y="285"/>
                    </a:lnTo>
                    <a:lnTo>
                      <a:pt x="231" y="289"/>
                    </a:lnTo>
                    <a:lnTo>
                      <a:pt x="225" y="287"/>
                    </a:lnTo>
                    <a:lnTo>
                      <a:pt x="225" y="285"/>
                    </a:lnTo>
                    <a:lnTo>
                      <a:pt x="225" y="282"/>
                    </a:lnTo>
                    <a:lnTo>
                      <a:pt x="229" y="280"/>
                    </a:lnTo>
                    <a:lnTo>
                      <a:pt x="227" y="277"/>
                    </a:lnTo>
                    <a:lnTo>
                      <a:pt x="229" y="275"/>
                    </a:lnTo>
                    <a:lnTo>
                      <a:pt x="229" y="264"/>
                    </a:lnTo>
                    <a:lnTo>
                      <a:pt x="234" y="259"/>
                    </a:lnTo>
                    <a:lnTo>
                      <a:pt x="239" y="252"/>
                    </a:lnTo>
                    <a:lnTo>
                      <a:pt x="251" y="251"/>
                    </a:lnTo>
                    <a:lnTo>
                      <a:pt x="251" y="247"/>
                    </a:lnTo>
                    <a:lnTo>
                      <a:pt x="251" y="246"/>
                    </a:lnTo>
                    <a:lnTo>
                      <a:pt x="246" y="246"/>
                    </a:lnTo>
                    <a:lnTo>
                      <a:pt x="244" y="246"/>
                    </a:lnTo>
                    <a:lnTo>
                      <a:pt x="231" y="249"/>
                    </a:lnTo>
                    <a:lnTo>
                      <a:pt x="217" y="261"/>
                    </a:lnTo>
                    <a:lnTo>
                      <a:pt x="203" y="275"/>
                    </a:lnTo>
                    <a:lnTo>
                      <a:pt x="200" y="290"/>
                    </a:lnTo>
                    <a:lnTo>
                      <a:pt x="200" y="294"/>
                    </a:lnTo>
                    <a:lnTo>
                      <a:pt x="200" y="297"/>
                    </a:lnTo>
                    <a:lnTo>
                      <a:pt x="193" y="309"/>
                    </a:lnTo>
                    <a:lnTo>
                      <a:pt x="177" y="318"/>
                    </a:lnTo>
                    <a:lnTo>
                      <a:pt x="169" y="323"/>
                    </a:lnTo>
                    <a:lnTo>
                      <a:pt x="163" y="330"/>
                    </a:lnTo>
                    <a:lnTo>
                      <a:pt x="155" y="335"/>
                    </a:lnTo>
                    <a:lnTo>
                      <a:pt x="146" y="342"/>
                    </a:lnTo>
                    <a:lnTo>
                      <a:pt x="138" y="347"/>
                    </a:lnTo>
                    <a:lnTo>
                      <a:pt x="131" y="354"/>
                    </a:lnTo>
                    <a:lnTo>
                      <a:pt x="122" y="357"/>
                    </a:lnTo>
                    <a:lnTo>
                      <a:pt x="112" y="362"/>
                    </a:lnTo>
                    <a:lnTo>
                      <a:pt x="100" y="366"/>
                    </a:lnTo>
                    <a:lnTo>
                      <a:pt x="89" y="369"/>
                    </a:lnTo>
                    <a:lnTo>
                      <a:pt x="77" y="373"/>
                    </a:lnTo>
                    <a:lnTo>
                      <a:pt x="65" y="380"/>
                    </a:lnTo>
                    <a:lnTo>
                      <a:pt x="53" y="385"/>
                    </a:lnTo>
                    <a:lnTo>
                      <a:pt x="41" y="387"/>
                    </a:lnTo>
                    <a:lnTo>
                      <a:pt x="52" y="378"/>
                    </a:lnTo>
                    <a:lnTo>
                      <a:pt x="65" y="376"/>
                    </a:lnTo>
                    <a:lnTo>
                      <a:pt x="72" y="368"/>
                    </a:lnTo>
                    <a:lnTo>
                      <a:pt x="81" y="359"/>
                    </a:lnTo>
                    <a:lnTo>
                      <a:pt x="93" y="356"/>
                    </a:lnTo>
                    <a:lnTo>
                      <a:pt x="105" y="352"/>
                    </a:lnTo>
                    <a:lnTo>
                      <a:pt x="112" y="342"/>
                    </a:lnTo>
                    <a:lnTo>
                      <a:pt x="124" y="335"/>
                    </a:lnTo>
                    <a:lnTo>
                      <a:pt x="134" y="330"/>
                    </a:lnTo>
                    <a:lnTo>
                      <a:pt x="146" y="325"/>
                    </a:lnTo>
                    <a:lnTo>
                      <a:pt x="151" y="316"/>
                    </a:lnTo>
                    <a:lnTo>
                      <a:pt x="158" y="307"/>
                    </a:lnTo>
                    <a:lnTo>
                      <a:pt x="162" y="299"/>
                    </a:lnTo>
                    <a:lnTo>
                      <a:pt x="170" y="294"/>
                    </a:lnTo>
                    <a:lnTo>
                      <a:pt x="162" y="294"/>
                    </a:lnTo>
                    <a:lnTo>
                      <a:pt x="153" y="297"/>
                    </a:lnTo>
                    <a:lnTo>
                      <a:pt x="145" y="301"/>
                    </a:lnTo>
                    <a:lnTo>
                      <a:pt x="136" y="297"/>
                    </a:lnTo>
                    <a:lnTo>
                      <a:pt x="131" y="295"/>
                    </a:lnTo>
                    <a:lnTo>
                      <a:pt x="127" y="301"/>
                    </a:lnTo>
                    <a:lnTo>
                      <a:pt x="127" y="306"/>
                    </a:lnTo>
                    <a:lnTo>
                      <a:pt x="117" y="301"/>
                    </a:lnTo>
                    <a:lnTo>
                      <a:pt x="112" y="297"/>
                    </a:lnTo>
                    <a:lnTo>
                      <a:pt x="107" y="294"/>
                    </a:lnTo>
                    <a:lnTo>
                      <a:pt x="102" y="290"/>
                    </a:lnTo>
                    <a:lnTo>
                      <a:pt x="102" y="294"/>
                    </a:lnTo>
                    <a:lnTo>
                      <a:pt x="102" y="299"/>
                    </a:lnTo>
                    <a:lnTo>
                      <a:pt x="96" y="299"/>
                    </a:lnTo>
                    <a:lnTo>
                      <a:pt x="91" y="301"/>
                    </a:lnTo>
                    <a:lnTo>
                      <a:pt x="88" y="302"/>
                    </a:lnTo>
                    <a:lnTo>
                      <a:pt x="83" y="297"/>
                    </a:lnTo>
                    <a:lnTo>
                      <a:pt x="83" y="290"/>
                    </a:lnTo>
                    <a:lnTo>
                      <a:pt x="83" y="283"/>
                    </a:lnTo>
                    <a:lnTo>
                      <a:pt x="83" y="280"/>
                    </a:lnTo>
                    <a:lnTo>
                      <a:pt x="81" y="275"/>
                    </a:lnTo>
                    <a:lnTo>
                      <a:pt x="79" y="273"/>
                    </a:lnTo>
                    <a:lnTo>
                      <a:pt x="72" y="277"/>
                    </a:lnTo>
                    <a:lnTo>
                      <a:pt x="69" y="280"/>
                    </a:lnTo>
                    <a:lnTo>
                      <a:pt x="60" y="277"/>
                    </a:lnTo>
                    <a:lnTo>
                      <a:pt x="50" y="270"/>
                    </a:lnTo>
                    <a:lnTo>
                      <a:pt x="40" y="261"/>
                    </a:lnTo>
                    <a:lnTo>
                      <a:pt x="34" y="258"/>
                    </a:lnTo>
                    <a:lnTo>
                      <a:pt x="38" y="256"/>
                    </a:lnTo>
                    <a:lnTo>
                      <a:pt x="41" y="256"/>
                    </a:lnTo>
                    <a:lnTo>
                      <a:pt x="36" y="249"/>
                    </a:lnTo>
                    <a:lnTo>
                      <a:pt x="29" y="244"/>
                    </a:lnTo>
                    <a:lnTo>
                      <a:pt x="24" y="239"/>
                    </a:lnTo>
                    <a:lnTo>
                      <a:pt x="22" y="234"/>
                    </a:lnTo>
                    <a:lnTo>
                      <a:pt x="26" y="221"/>
                    </a:lnTo>
                    <a:lnTo>
                      <a:pt x="36" y="213"/>
                    </a:lnTo>
                    <a:lnTo>
                      <a:pt x="48" y="206"/>
                    </a:lnTo>
                    <a:lnTo>
                      <a:pt x="60" y="206"/>
                    </a:lnTo>
                    <a:lnTo>
                      <a:pt x="67" y="203"/>
                    </a:lnTo>
                    <a:lnTo>
                      <a:pt x="81" y="197"/>
                    </a:lnTo>
                    <a:lnTo>
                      <a:pt x="93" y="191"/>
                    </a:lnTo>
                    <a:lnTo>
                      <a:pt x="100" y="185"/>
                    </a:lnTo>
                    <a:lnTo>
                      <a:pt x="95" y="179"/>
                    </a:lnTo>
                    <a:lnTo>
                      <a:pt x="89" y="173"/>
                    </a:lnTo>
                    <a:lnTo>
                      <a:pt x="95" y="170"/>
                    </a:lnTo>
                    <a:lnTo>
                      <a:pt x="98" y="173"/>
                    </a:lnTo>
                    <a:lnTo>
                      <a:pt x="98" y="166"/>
                    </a:lnTo>
                    <a:lnTo>
                      <a:pt x="93" y="165"/>
                    </a:lnTo>
                    <a:lnTo>
                      <a:pt x="89" y="166"/>
                    </a:lnTo>
                    <a:lnTo>
                      <a:pt x="79" y="170"/>
                    </a:lnTo>
                    <a:lnTo>
                      <a:pt x="69" y="175"/>
                    </a:lnTo>
                    <a:lnTo>
                      <a:pt x="57" y="172"/>
                    </a:lnTo>
                    <a:lnTo>
                      <a:pt x="46" y="170"/>
                    </a:lnTo>
                    <a:lnTo>
                      <a:pt x="31" y="170"/>
                    </a:lnTo>
                    <a:lnTo>
                      <a:pt x="21" y="170"/>
                    </a:lnTo>
                    <a:lnTo>
                      <a:pt x="17" y="161"/>
                    </a:lnTo>
                    <a:lnTo>
                      <a:pt x="14" y="156"/>
                    </a:lnTo>
                    <a:lnTo>
                      <a:pt x="14" y="153"/>
                    </a:lnTo>
                    <a:lnTo>
                      <a:pt x="16" y="151"/>
                    </a:lnTo>
                    <a:lnTo>
                      <a:pt x="5" y="149"/>
                    </a:lnTo>
                    <a:lnTo>
                      <a:pt x="0" y="144"/>
                    </a:lnTo>
                    <a:lnTo>
                      <a:pt x="9" y="137"/>
                    </a:lnTo>
                    <a:lnTo>
                      <a:pt x="22" y="132"/>
                    </a:lnTo>
                    <a:lnTo>
                      <a:pt x="34" y="127"/>
                    </a:lnTo>
                    <a:lnTo>
                      <a:pt x="46" y="122"/>
                    </a:lnTo>
                    <a:lnTo>
                      <a:pt x="55" y="122"/>
                    </a:lnTo>
                    <a:lnTo>
                      <a:pt x="55" y="129"/>
                    </a:lnTo>
                    <a:lnTo>
                      <a:pt x="60" y="132"/>
                    </a:lnTo>
                    <a:lnTo>
                      <a:pt x="65" y="132"/>
                    </a:lnTo>
                    <a:lnTo>
                      <a:pt x="74" y="132"/>
                    </a:lnTo>
                    <a:lnTo>
                      <a:pt x="81" y="132"/>
                    </a:lnTo>
                    <a:lnTo>
                      <a:pt x="88" y="132"/>
                    </a:lnTo>
                    <a:lnTo>
                      <a:pt x="81" y="122"/>
                    </a:lnTo>
                    <a:lnTo>
                      <a:pt x="76" y="117"/>
                    </a:lnTo>
                    <a:lnTo>
                      <a:pt x="65" y="111"/>
                    </a:lnTo>
                    <a:lnTo>
                      <a:pt x="57" y="108"/>
                    </a:lnTo>
                    <a:lnTo>
                      <a:pt x="52" y="103"/>
                    </a:lnTo>
                    <a:lnTo>
                      <a:pt x="48" y="98"/>
                    </a:lnTo>
                    <a:lnTo>
                      <a:pt x="45" y="91"/>
                    </a:lnTo>
                    <a:lnTo>
                      <a:pt x="41" y="87"/>
                    </a:lnTo>
                    <a:lnTo>
                      <a:pt x="33" y="84"/>
                    </a:lnTo>
                    <a:lnTo>
                      <a:pt x="26" y="82"/>
                    </a:lnTo>
                    <a:lnTo>
                      <a:pt x="17" y="79"/>
                    </a:lnTo>
                    <a:lnTo>
                      <a:pt x="16" y="77"/>
                    </a:lnTo>
                    <a:lnTo>
                      <a:pt x="19" y="70"/>
                    </a:lnTo>
                    <a:lnTo>
                      <a:pt x="22" y="63"/>
                    </a:lnTo>
                    <a:lnTo>
                      <a:pt x="52" y="63"/>
                    </a:lnTo>
                    <a:lnTo>
                      <a:pt x="62" y="48"/>
                    </a:lnTo>
                    <a:lnTo>
                      <a:pt x="77" y="34"/>
                    </a:lnTo>
                    <a:lnTo>
                      <a:pt x="86" y="27"/>
                    </a:lnTo>
                    <a:lnTo>
                      <a:pt x="95" y="22"/>
                    </a:lnTo>
                    <a:lnTo>
                      <a:pt x="105" y="17"/>
                    </a:lnTo>
                    <a:lnTo>
                      <a:pt x="115" y="15"/>
                    </a:lnTo>
                    <a:lnTo>
                      <a:pt x="124" y="13"/>
                    </a:lnTo>
                    <a:lnTo>
                      <a:pt x="134" y="13"/>
                    </a:lnTo>
                    <a:lnTo>
                      <a:pt x="145" y="5"/>
                    </a:lnTo>
                    <a:lnTo>
                      <a:pt x="157" y="0"/>
                    </a:lnTo>
                    <a:lnTo>
                      <a:pt x="163" y="1"/>
                    </a:lnTo>
                    <a:lnTo>
                      <a:pt x="172" y="7"/>
                    </a:lnTo>
                    <a:lnTo>
                      <a:pt x="169" y="10"/>
                    </a:lnTo>
                    <a:lnTo>
                      <a:pt x="167" y="13"/>
                    </a:lnTo>
                    <a:lnTo>
                      <a:pt x="174" y="12"/>
                    </a:lnTo>
                    <a:lnTo>
                      <a:pt x="181" y="7"/>
                    </a:lnTo>
                    <a:lnTo>
                      <a:pt x="186" y="8"/>
                    </a:lnTo>
                    <a:lnTo>
                      <a:pt x="193" y="12"/>
                    </a:lnTo>
                    <a:lnTo>
                      <a:pt x="217" y="12"/>
                    </a:lnTo>
                    <a:lnTo>
                      <a:pt x="224" y="17"/>
                    </a:lnTo>
                    <a:lnTo>
                      <a:pt x="232" y="22"/>
                    </a:lnTo>
                    <a:lnTo>
                      <a:pt x="272" y="22"/>
                    </a:lnTo>
                    <a:lnTo>
                      <a:pt x="282" y="27"/>
                    </a:lnTo>
                    <a:lnTo>
                      <a:pt x="298" y="32"/>
                    </a:lnTo>
                    <a:lnTo>
                      <a:pt x="313" y="34"/>
                    </a:lnTo>
                    <a:lnTo>
                      <a:pt x="329" y="36"/>
                    </a:lnTo>
                    <a:lnTo>
                      <a:pt x="341" y="32"/>
                    </a:lnTo>
                    <a:lnTo>
                      <a:pt x="353" y="31"/>
                    </a:lnTo>
                    <a:lnTo>
                      <a:pt x="361" y="31"/>
                    </a:lnTo>
                    <a:lnTo>
                      <a:pt x="368" y="34"/>
                    </a:lnTo>
                    <a:lnTo>
                      <a:pt x="375" y="38"/>
                    </a:lnTo>
                    <a:lnTo>
                      <a:pt x="385" y="41"/>
                    </a:lnTo>
                    <a:lnTo>
                      <a:pt x="385" y="39"/>
                    </a:lnTo>
                    <a:lnTo>
                      <a:pt x="385"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8" name="Freeform 300"/>
              <p:cNvSpPr>
                <a:spLocks/>
              </p:cNvSpPr>
              <p:nvPr/>
            </p:nvSpPr>
            <p:spPr bwMode="auto">
              <a:xfrm>
                <a:off x="1246982" y="2568575"/>
                <a:ext cx="38100" cy="55562"/>
              </a:xfrm>
              <a:custGeom>
                <a:avLst/>
                <a:gdLst/>
                <a:ahLst/>
                <a:cxnLst>
                  <a:cxn ang="0">
                    <a:pos x="10" y="14"/>
                  </a:cxn>
                  <a:cxn ang="0">
                    <a:pos x="3" y="11"/>
                  </a:cxn>
                  <a:cxn ang="0">
                    <a:pos x="0" y="14"/>
                  </a:cxn>
                  <a:cxn ang="0">
                    <a:pos x="0" y="5"/>
                  </a:cxn>
                  <a:cxn ang="0">
                    <a:pos x="2" y="2"/>
                  </a:cxn>
                  <a:cxn ang="0">
                    <a:pos x="5" y="0"/>
                  </a:cxn>
                  <a:cxn ang="0">
                    <a:pos x="12" y="4"/>
                  </a:cxn>
                  <a:cxn ang="0">
                    <a:pos x="12" y="11"/>
                  </a:cxn>
                  <a:cxn ang="0">
                    <a:pos x="17" y="17"/>
                  </a:cxn>
                  <a:cxn ang="0">
                    <a:pos x="20" y="23"/>
                  </a:cxn>
                  <a:cxn ang="0">
                    <a:pos x="24" y="30"/>
                  </a:cxn>
                  <a:cxn ang="0">
                    <a:pos x="22" y="33"/>
                  </a:cxn>
                  <a:cxn ang="0">
                    <a:pos x="20" y="35"/>
                  </a:cxn>
                  <a:cxn ang="0">
                    <a:pos x="12" y="30"/>
                  </a:cxn>
                  <a:cxn ang="0">
                    <a:pos x="10" y="24"/>
                  </a:cxn>
                  <a:cxn ang="0">
                    <a:pos x="8" y="17"/>
                  </a:cxn>
                  <a:cxn ang="0">
                    <a:pos x="10" y="14"/>
                  </a:cxn>
                </a:cxnLst>
                <a:rect l="0" t="0" r="r" b="b"/>
                <a:pathLst>
                  <a:path w="24" h="35">
                    <a:moveTo>
                      <a:pt x="10" y="14"/>
                    </a:moveTo>
                    <a:lnTo>
                      <a:pt x="3" y="11"/>
                    </a:lnTo>
                    <a:lnTo>
                      <a:pt x="0" y="14"/>
                    </a:lnTo>
                    <a:lnTo>
                      <a:pt x="0" y="5"/>
                    </a:lnTo>
                    <a:lnTo>
                      <a:pt x="2" y="2"/>
                    </a:lnTo>
                    <a:lnTo>
                      <a:pt x="5" y="0"/>
                    </a:lnTo>
                    <a:lnTo>
                      <a:pt x="12" y="4"/>
                    </a:lnTo>
                    <a:lnTo>
                      <a:pt x="12" y="11"/>
                    </a:lnTo>
                    <a:lnTo>
                      <a:pt x="17" y="17"/>
                    </a:lnTo>
                    <a:lnTo>
                      <a:pt x="20" y="23"/>
                    </a:lnTo>
                    <a:lnTo>
                      <a:pt x="24" y="30"/>
                    </a:lnTo>
                    <a:lnTo>
                      <a:pt x="22" y="33"/>
                    </a:lnTo>
                    <a:lnTo>
                      <a:pt x="20" y="35"/>
                    </a:lnTo>
                    <a:lnTo>
                      <a:pt x="12" y="30"/>
                    </a:lnTo>
                    <a:lnTo>
                      <a:pt x="10" y="24"/>
                    </a:lnTo>
                    <a:lnTo>
                      <a:pt x="8" y="17"/>
                    </a:lnTo>
                    <a:lnTo>
                      <a:pt x="1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9" name="Freeform 301"/>
              <p:cNvSpPr>
                <a:spLocks/>
              </p:cNvSpPr>
              <p:nvPr/>
            </p:nvSpPr>
            <p:spPr bwMode="auto">
              <a:xfrm>
                <a:off x="1186657" y="2508250"/>
                <a:ext cx="34925" cy="66675"/>
              </a:xfrm>
              <a:custGeom>
                <a:avLst/>
                <a:gdLst/>
                <a:ahLst/>
                <a:cxnLst>
                  <a:cxn ang="0">
                    <a:pos x="17" y="21"/>
                  </a:cxn>
                  <a:cxn ang="0">
                    <a:pos x="19" y="21"/>
                  </a:cxn>
                  <a:cxn ang="0">
                    <a:pos x="22" y="21"/>
                  </a:cxn>
                  <a:cxn ang="0">
                    <a:pos x="22" y="31"/>
                  </a:cxn>
                  <a:cxn ang="0">
                    <a:pos x="21" y="42"/>
                  </a:cxn>
                  <a:cxn ang="0">
                    <a:pos x="14" y="31"/>
                  </a:cxn>
                  <a:cxn ang="0">
                    <a:pos x="14" y="21"/>
                  </a:cxn>
                  <a:cxn ang="0">
                    <a:pos x="3" y="16"/>
                  </a:cxn>
                  <a:cxn ang="0">
                    <a:pos x="0" y="6"/>
                  </a:cxn>
                  <a:cxn ang="0">
                    <a:pos x="2" y="0"/>
                  </a:cxn>
                  <a:cxn ang="0">
                    <a:pos x="5" y="0"/>
                  </a:cxn>
                  <a:cxn ang="0">
                    <a:pos x="10" y="0"/>
                  </a:cxn>
                  <a:cxn ang="0">
                    <a:pos x="17" y="0"/>
                  </a:cxn>
                  <a:cxn ang="0">
                    <a:pos x="15" y="7"/>
                  </a:cxn>
                  <a:cxn ang="0">
                    <a:pos x="15" y="13"/>
                  </a:cxn>
                  <a:cxn ang="0">
                    <a:pos x="15" y="16"/>
                  </a:cxn>
                  <a:cxn ang="0">
                    <a:pos x="17" y="21"/>
                  </a:cxn>
                </a:cxnLst>
                <a:rect l="0" t="0" r="r" b="b"/>
                <a:pathLst>
                  <a:path w="22" h="42">
                    <a:moveTo>
                      <a:pt x="17" y="21"/>
                    </a:moveTo>
                    <a:lnTo>
                      <a:pt x="19" y="21"/>
                    </a:lnTo>
                    <a:lnTo>
                      <a:pt x="22" y="21"/>
                    </a:lnTo>
                    <a:lnTo>
                      <a:pt x="22" y="31"/>
                    </a:lnTo>
                    <a:lnTo>
                      <a:pt x="21" y="42"/>
                    </a:lnTo>
                    <a:lnTo>
                      <a:pt x="14" y="31"/>
                    </a:lnTo>
                    <a:lnTo>
                      <a:pt x="14" y="21"/>
                    </a:lnTo>
                    <a:lnTo>
                      <a:pt x="3" y="16"/>
                    </a:lnTo>
                    <a:lnTo>
                      <a:pt x="0" y="6"/>
                    </a:lnTo>
                    <a:lnTo>
                      <a:pt x="2" y="0"/>
                    </a:lnTo>
                    <a:lnTo>
                      <a:pt x="5" y="0"/>
                    </a:lnTo>
                    <a:lnTo>
                      <a:pt x="10" y="0"/>
                    </a:lnTo>
                    <a:lnTo>
                      <a:pt x="17" y="0"/>
                    </a:lnTo>
                    <a:lnTo>
                      <a:pt x="15" y="7"/>
                    </a:lnTo>
                    <a:lnTo>
                      <a:pt x="15" y="13"/>
                    </a:lnTo>
                    <a:lnTo>
                      <a:pt x="15" y="16"/>
                    </a:lnTo>
                    <a:lnTo>
                      <a:pt x="17"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0" name="Freeform 302"/>
              <p:cNvSpPr>
                <a:spLocks/>
              </p:cNvSpPr>
              <p:nvPr/>
            </p:nvSpPr>
            <p:spPr bwMode="auto">
              <a:xfrm>
                <a:off x="1577182" y="1905000"/>
                <a:ext cx="420688" cy="222250"/>
              </a:xfrm>
              <a:custGeom>
                <a:avLst/>
                <a:gdLst/>
                <a:ahLst/>
                <a:cxnLst>
                  <a:cxn ang="0">
                    <a:pos x="239" y="111"/>
                  </a:cxn>
                  <a:cxn ang="0">
                    <a:pos x="241" y="117"/>
                  </a:cxn>
                  <a:cxn ang="0">
                    <a:pos x="248" y="124"/>
                  </a:cxn>
                  <a:cxn ang="0">
                    <a:pos x="246" y="131"/>
                  </a:cxn>
                  <a:cxn ang="0">
                    <a:pos x="230" y="135"/>
                  </a:cxn>
                  <a:cxn ang="0">
                    <a:pos x="208" y="133"/>
                  </a:cxn>
                  <a:cxn ang="0">
                    <a:pos x="189" y="123"/>
                  </a:cxn>
                  <a:cxn ang="0">
                    <a:pos x="174" y="123"/>
                  </a:cxn>
                  <a:cxn ang="0">
                    <a:pos x="158" y="131"/>
                  </a:cxn>
                  <a:cxn ang="0">
                    <a:pos x="137" y="135"/>
                  </a:cxn>
                  <a:cxn ang="0">
                    <a:pos x="115" y="140"/>
                  </a:cxn>
                  <a:cxn ang="0">
                    <a:pos x="94" y="140"/>
                  </a:cxn>
                  <a:cxn ang="0">
                    <a:pos x="79" y="135"/>
                  </a:cxn>
                  <a:cxn ang="0">
                    <a:pos x="69" y="124"/>
                  </a:cxn>
                  <a:cxn ang="0">
                    <a:pos x="53" y="123"/>
                  </a:cxn>
                  <a:cxn ang="0">
                    <a:pos x="33" y="117"/>
                  </a:cxn>
                  <a:cxn ang="0">
                    <a:pos x="33" y="100"/>
                  </a:cxn>
                  <a:cxn ang="0">
                    <a:pos x="58" y="95"/>
                  </a:cxn>
                  <a:cxn ang="0">
                    <a:pos x="82" y="95"/>
                  </a:cxn>
                  <a:cxn ang="0">
                    <a:pos x="84" y="90"/>
                  </a:cxn>
                  <a:cxn ang="0">
                    <a:pos x="62" y="90"/>
                  </a:cxn>
                  <a:cxn ang="0">
                    <a:pos x="38" y="90"/>
                  </a:cxn>
                  <a:cxn ang="0">
                    <a:pos x="15" y="86"/>
                  </a:cxn>
                  <a:cxn ang="0">
                    <a:pos x="14" y="73"/>
                  </a:cxn>
                  <a:cxn ang="0">
                    <a:pos x="26" y="69"/>
                  </a:cxn>
                  <a:cxn ang="0">
                    <a:pos x="22" y="68"/>
                  </a:cxn>
                  <a:cxn ang="0">
                    <a:pos x="3" y="64"/>
                  </a:cxn>
                  <a:cxn ang="0">
                    <a:pos x="0" y="49"/>
                  </a:cxn>
                  <a:cxn ang="0">
                    <a:pos x="14" y="31"/>
                  </a:cxn>
                  <a:cxn ang="0">
                    <a:pos x="34" y="21"/>
                  </a:cxn>
                  <a:cxn ang="0">
                    <a:pos x="53" y="16"/>
                  </a:cxn>
                  <a:cxn ang="0">
                    <a:pos x="67" y="18"/>
                  </a:cxn>
                  <a:cxn ang="0">
                    <a:pos x="70" y="28"/>
                  </a:cxn>
                  <a:cxn ang="0">
                    <a:pos x="77" y="28"/>
                  </a:cxn>
                  <a:cxn ang="0">
                    <a:pos x="94" y="25"/>
                  </a:cxn>
                  <a:cxn ang="0">
                    <a:pos x="105" y="31"/>
                  </a:cxn>
                  <a:cxn ang="0">
                    <a:pos x="117" y="37"/>
                  </a:cxn>
                  <a:cxn ang="0">
                    <a:pos x="124" y="30"/>
                  </a:cxn>
                  <a:cxn ang="0">
                    <a:pos x="134" y="26"/>
                  </a:cxn>
                  <a:cxn ang="0">
                    <a:pos x="151" y="42"/>
                  </a:cxn>
                  <a:cxn ang="0">
                    <a:pos x="153" y="52"/>
                  </a:cxn>
                  <a:cxn ang="0">
                    <a:pos x="160" y="61"/>
                  </a:cxn>
                  <a:cxn ang="0">
                    <a:pos x="167" y="55"/>
                  </a:cxn>
                  <a:cxn ang="0">
                    <a:pos x="158" y="37"/>
                  </a:cxn>
                  <a:cxn ang="0">
                    <a:pos x="155" y="21"/>
                  </a:cxn>
                  <a:cxn ang="0">
                    <a:pos x="163" y="14"/>
                  </a:cxn>
                  <a:cxn ang="0">
                    <a:pos x="179" y="14"/>
                  </a:cxn>
                  <a:cxn ang="0">
                    <a:pos x="177" y="9"/>
                  </a:cxn>
                  <a:cxn ang="0">
                    <a:pos x="193" y="0"/>
                  </a:cxn>
                  <a:cxn ang="0">
                    <a:pos x="211" y="12"/>
                  </a:cxn>
                  <a:cxn ang="0">
                    <a:pos x="199" y="28"/>
                  </a:cxn>
                  <a:cxn ang="0">
                    <a:pos x="206" y="52"/>
                  </a:cxn>
                  <a:cxn ang="0">
                    <a:pos x="213" y="71"/>
                  </a:cxn>
                  <a:cxn ang="0">
                    <a:pos x="236" y="92"/>
                  </a:cxn>
                  <a:cxn ang="0">
                    <a:pos x="265" y="107"/>
                  </a:cxn>
                  <a:cxn ang="0">
                    <a:pos x="246" y="111"/>
                  </a:cxn>
                </a:cxnLst>
                <a:rect l="0" t="0" r="r" b="b"/>
                <a:pathLst>
                  <a:path w="265" h="140">
                    <a:moveTo>
                      <a:pt x="246" y="111"/>
                    </a:moveTo>
                    <a:lnTo>
                      <a:pt x="239" y="111"/>
                    </a:lnTo>
                    <a:lnTo>
                      <a:pt x="239" y="116"/>
                    </a:lnTo>
                    <a:lnTo>
                      <a:pt x="241" y="117"/>
                    </a:lnTo>
                    <a:lnTo>
                      <a:pt x="246" y="119"/>
                    </a:lnTo>
                    <a:lnTo>
                      <a:pt x="248" y="124"/>
                    </a:lnTo>
                    <a:lnTo>
                      <a:pt x="251" y="126"/>
                    </a:lnTo>
                    <a:lnTo>
                      <a:pt x="246" y="131"/>
                    </a:lnTo>
                    <a:lnTo>
                      <a:pt x="239" y="135"/>
                    </a:lnTo>
                    <a:lnTo>
                      <a:pt x="230" y="135"/>
                    </a:lnTo>
                    <a:lnTo>
                      <a:pt x="222" y="136"/>
                    </a:lnTo>
                    <a:lnTo>
                      <a:pt x="208" y="133"/>
                    </a:lnTo>
                    <a:lnTo>
                      <a:pt x="199" y="128"/>
                    </a:lnTo>
                    <a:lnTo>
                      <a:pt x="189" y="123"/>
                    </a:lnTo>
                    <a:lnTo>
                      <a:pt x="180" y="121"/>
                    </a:lnTo>
                    <a:lnTo>
                      <a:pt x="174" y="123"/>
                    </a:lnTo>
                    <a:lnTo>
                      <a:pt x="168" y="129"/>
                    </a:lnTo>
                    <a:lnTo>
                      <a:pt x="158" y="131"/>
                    </a:lnTo>
                    <a:lnTo>
                      <a:pt x="148" y="135"/>
                    </a:lnTo>
                    <a:lnTo>
                      <a:pt x="137" y="135"/>
                    </a:lnTo>
                    <a:lnTo>
                      <a:pt x="131" y="140"/>
                    </a:lnTo>
                    <a:lnTo>
                      <a:pt x="115" y="140"/>
                    </a:lnTo>
                    <a:lnTo>
                      <a:pt x="105" y="140"/>
                    </a:lnTo>
                    <a:lnTo>
                      <a:pt x="94" y="140"/>
                    </a:lnTo>
                    <a:lnTo>
                      <a:pt x="86" y="140"/>
                    </a:lnTo>
                    <a:lnTo>
                      <a:pt x="79" y="135"/>
                    </a:lnTo>
                    <a:lnTo>
                      <a:pt x="76" y="128"/>
                    </a:lnTo>
                    <a:lnTo>
                      <a:pt x="69" y="124"/>
                    </a:lnTo>
                    <a:lnTo>
                      <a:pt x="62" y="123"/>
                    </a:lnTo>
                    <a:lnTo>
                      <a:pt x="53" y="123"/>
                    </a:lnTo>
                    <a:lnTo>
                      <a:pt x="48" y="124"/>
                    </a:lnTo>
                    <a:lnTo>
                      <a:pt x="33" y="117"/>
                    </a:lnTo>
                    <a:lnTo>
                      <a:pt x="24" y="107"/>
                    </a:lnTo>
                    <a:lnTo>
                      <a:pt x="33" y="100"/>
                    </a:lnTo>
                    <a:lnTo>
                      <a:pt x="45" y="97"/>
                    </a:lnTo>
                    <a:lnTo>
                      <a:pt x="58" y="95"/>
                    </a:lnTo>
                    <a:lnTo>
                      <a:pt x="74" y="95"/>
                    </a:lnTo>
                    <a:lnTo>
                      <a:pt x="82" y="95"/>
                    </a:lnTo>
                    <a:lnTo>
                      <a:pt x="91" y="95"/>
                    </a:lnTo>
                    <a:lnTo>
                      <a:pt x="84" y="90"/>
                    </a:lnTo>
                    <a:lnTo>
                      <a:pt x="77" y="90"/>
                    </a:lnTo>
                    <a:lnTo>
                      <a:pt x="62" y="90"/>
                    </a:lnTo>
                    <a:lnTo>
                      <a:pt x="51" y="90"/>
                    </a:lnTo>
                    <a:lnTo>
                      <a:pt x="38" y="90"/>
                    </a:lnTo>
                    <a:lnTo>
                      <a:pt x="26" y="90"/>
                    </a:lnTo>
                    <a:lnTo>
                      <a:pt x="15" y="86"/>
                    </a:lnTo>
                    <a:lnTo>
                      <a:pt x="12" y="80"/>
                    </a:lnTo>
                    <a:lnTo>
                      <a:pt x="14" y="73"/>
                    </a:lnTo>
                    <a:lnTo>
                      <a:pt x="19" y="71"/>
                    </a:lnTo>
                    <a:lnTo>
                      <a:pt x="26" y="69"/>
                    </a:lnTo>
                    <a:lnTo>
                      <a:pt x="33" y="69"/>
                    </a:lnTo>
                    <a:lnTo>
                      <a:pt x="22" y="68"/>
                    </a:lnTo>
                    <a:lnTo>
                      <a:pt x="14" y="69"/>
                    </a:lnTo>
                    <a:lnTo>
                      <a:pt x="3" y="64"/>
                    </a:lnTo>
                    <a:lnTo>
                      <a:pt x="0" y="59"/>
                    </a:lnTo>
                    <a:lnTo>
                      <a:pt x="0" y="49"/>
                    </a:lnTo>
                    <a:lnTo>
                      <a:pt x="7" y="40"/>
                    </a:lnTo>
                    <a:lnTo>
                      <a:pt x="14" y="31"/>
                    </a:lnTo>
                    <a:lnTo>
                      <a:pt x="24" y="26"/>
                    </a:lnTo>
                    <a:lnTo>
                      <a:pt x="34" y="21"/>
                    </a:lnTo>
                    <a:lnTo>
                      <a:pt x="45" y="18"/>
                    </a:lnTo>
                    <a:lnTo>
                      <a:pt x="53" y="16"/>
                    </a:lnTo>
                    <a:lnTo>
                      <a:pt x="64" y="16"/>
                    </a:lnTo>
                    <a:lnTo>
                      <a:pt x="67" y="18"/>
                    </a:lnTo>
                    <a:lnTo>
                      <a:pt x="69" y="23"/>
                    </a:lnTo>
                    <a:lnTo>
                      <a:pt x="70" y="28"/>
                    </a:lnTo>
                    <a:lnTo>
                      <a:pt x="72" y="33"/>
                    </a:lnTo>
                    <a:lnTo>
                      <a:pt x="77" y="28"/>
                    </a:lnTo>
                    <a:lnTo>
                      <a:pt x="88" y="25"/>
                    </a:lnTo>
                    <a:lnTo>
                      <a:pt x="94" y="25"/>
                    </a:lnTo>
                    <a:lnTo>
                      <a:pt x="101" y="28"/>
                    </a:lnTo>
                    <a:lnTo>
                      <a:pt x="105" y="31"/>
                    </a:lnTo>
                    <a:lnTo>
                      <a:pt x="110" y="40"/>
                    </a:lnTo>
                    <a:lnTo>
                      <a:pt x="117" y="37"/>
                    </a:lnTo>
                    <a:lnTo>
                      <a:pt x="125" y="37"/>
                    </a:lnTo>
                    <a:lnTo>
                      <a:pt x="124" y="30"/>
                    </a:lnTo>
                    <a:lnTo>
                      <a:pt x="124" y="26"/>
                    </a:lnTo>
                    <a:lnTo>
                      <a:pt x="134" y="26"/>
                    </a:lnTo>
                    <a:lnTo>
                      <a:pt x="144" y="31"/>
                    </a:lnTo>
                    <a:lnTo>
                      <a:pt x="151" y="42"/>
                    </a:lnTo>
                    <a:lnTo>
                      <a:pt x="151" y="45"/>
                    </a:lnTo>
                    <a:lnTo>
                      <a:pt x="153" y="52"/>
                    </a:lnTo>
                    <a:lnTo>
                      <a:pt x="153" y="57"/>
                    </a:lnTo>
                    <a:lnTo>
                      <a:pt x="160" y="61"/>
                    </a:lnTo>
                    <a:lnTo>
                      <a:pt x="163" y="57"/>
                    </a:lnTo>
                    <a:lnTo>
                      <a:pt x="167" y="55"/>
                    </a:lnTo>
                    <a:lnTo>
                      <a:pt x="162" y="47"/>
                    </a:lnTo>
                    <a:lnTo>
                      <a:pt x="158" y="37"/>
                    </a:lnTo>
                    <a:lnTo>
                      <a:pt x="155" y="26"/>
                    </a:lnTo>
                    <a:lnTo>
                      <a:pt x="155" y="21"/>
                    </a:lnTo>
                    <a:lnTo>
                      <a:pt x="156" y="14"/>
                    </a:lnTo>
                    <a:lnTo>
                      <a:pt x="163" y="14"/>
                    </a:lnTo>
                    <a:lnTo>
                      <a:pt x="170" y="14"/>
                    </a:lnTo>
                    <a:lnTo>
                      <a:pt x="179" y="14"/>
                    </a:lnTo>
                    <a:lnTo>
                      <a:pt x="177" y="11"/>
                    </a:lnTo>
                    <a:lnTo>
                      <a:pt x="177" y="9"/>
                    </a:lnTo>
                    <a:lnTo>
                      <a:pt x="182" y="2"/>
                    </a:lnTo>
                    <a:lnTo>
                      <a:pt x="193" y="0"/>
                    </a:lnTo>
                    <a:lnTo>
                      <a:pt x="205" y="2"/>
                    </a:lnTo>
                    <a:lnTo>
                      <a:pt x="211" y="12"/>
                    </a:lnTo>
                    <a:lnTo>
                      <a:pt x="205" y="19"/>
                    </a:lnTo>
                    <a:lnTo>
                      <a:pt x="199" y="28"/>
                    </a:lnTo>
                    <a:lnTo>
                      <a:pt x="201" y="40"/>
                    </a:lnTo>
                    <a:lnTo>
                      <a:pt x="206" y="52"/>
                    </a:lnTo>
                    <a:lnTo>
                      <a:pt x="210" y="61"/>
                    </a:lnTo>
                    <a:lnTo>
                      <a:pt x="213" y="71"/>
                    </a:lnTo>
                    <a:lnTo>
                      <a:pt x="218" y="81"/>
                    </a:lnTo>
                    <a:lnTo>
                      <a:pt x="236" y="92"/>
                    </a:lnTo>
                    <a:lnTo>
                      <a:pt x="253" y="98"/>
                    </a:lnTo>
                    <a:lnTo>
                      <a:pt x="265" y="107"/>
                    </a:lnTo>
                    <a:lnTo>
                      <a:pt x="254" y="111"/>
                    </a:lnTo>
                    <a:lnTo>
                      <a:pt x="246" y="1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1" name="Freeform 303"/>
              <p:cNvSpPr>
                <a:spLocks/>
              </p:cNvSpPr>
              <p:nvPr/>
            </p:nvSpPr>
            <p:spPr bwMode="auto">
              <a:xfrm>
                <a:off x="1421607" y="1873250"/>
                <a:ext cx="234950" cy="152400"/>
              </a:xfrm>
              <a:custGeom>
                <a:avLst/>
                <a:gdLst/>
                <a:ahLst/>
                <a:cxnLst>
                  <a:cxn ang="0">
                    <a:pos x="31" y="91"/>
                  </a:cxn>
                  <a:cxn ang="0">
                    <a:pos x="27" y="86"/>
                  </a:cxn>
                  <a:cxn ang="0">
                    <a:pos x="24" y="81"/>
                  </a:cxn>
                  <a:cxn ang="0">
                    <a:pos x="17" y="77"/>
                  </a:cxn>
                  <a:cxn ang="0">
                    <a:pos x="10" y="75"/>
                  </a:cxn>
                  <a:cxn ang="0">
                    <a:pos x="2" y="72"/>
                  </a:cxn>
                  <a:cxn ang="0">
                    <a:pos x="0" y="70"/>
                  </a:cxn>
                  <a:cxn ang="0">
                    <a:pos x="3" y="57"/>
                  </a:cxn>
                  <a:cxn ang="0">
                    <a:pos x="12" y="46"/>
                  </a:cxn>
                  <a:cxn ang="0">
                    <a:pos x="19" y="34"/>
                  </a:cxn>
                  <a:cxn ang="0">
                    <a:pos x="24" y="22"/>
                  </a:cxn>
                  <a:cxn ang="0">
                    <a:pos x="20" y="12"/>
                  </a:cxn>
                  <a:cxn ang="0">
                    <a:pos x="17" y="3"/>
                  </a:cxn>
                  <a:cxn ang="0">
                    <a:pos x="33" y="0"/>
                  </a:cxn>
                  <a:cxn ang="0">
                    <a:pos x="48" y="3"/>
                  </a:cxn>
                  <a:cxn ang="0">
                    <a:pos x="55" y="0"/>
                  </a:cxn>
                  <a:cxn ang="0">
                    <a:pos x="69" y="0"/>
                  </a:cxn>
                  <a:cxn ang="0">
                    <a:pos x="81" y="5"/>
                  </a:cxn>
                  <a:cxn ang="0">
                    <a:pos x="94" y="10"/>
                  </a:cxn>
                  <a:cxn ang="0">
                    <a:pos x="103" y="10"/>
                  </a:cxn>
                  <a:cxn ang="0">
                    <a:pos x="112" y="8"/>
                  </a:cxn>
                  <a:cxn ang="0">
                    <a:pos x="120" y="8"/>
                  </a:cxn>
                  <a:cxn ang="0">
                    <a:pos x="134" y="14"/>
                  </a:cxn>
                  <a:cxn ang="0">
                    <a:pos x="143" y="20"/>
                  </a:cxn>
                  <a:cxn ang="0">
                    <a:pos x="148" y="31"/>
                  </a:cxn>
                  <a:cxn ang="0">
                    <a:pos x="143" y="32"/>
                  </a:cxn>
                  <a:cxn ang="0">
                    <a:pos x="132" y="36"/>
                  </a:cxn>
                  <a:cxn ang="0">
                    <a:pos x="122" y="38"/>
                  </a:cxn>
                  <a:cxn ang="0">
                    <a:pos x="117" y="41"/>
                  </a:cxn>
                  <a:cxn ang="0">
                    <a:pos x="103" y="46"/>
                  </a:cxn>
                  <a:cxn ang="0">
                    <a:pos x="89" y="58"/>
                  </a:cxn>
                  <a:cxn ang="0">
                    <a:pos x="81" y="69"/>
                  </a:cxn>
                  <a:cxn ang="0">
                    <a:pos x="77" y="81"/>
                  </a:cxn>
                  <a:cxn ang="0">
                    <a:pos x="70" y="84"/>
                  </a:cxn>
                  <a:cxn ang="0">
                    <a:pos x="58" y="89"/>
                  </a:cxn>
                  <a:cxn ang="0">
                    <a:pos x="46" y="93"/>
                  </a:cxn>
                  <a:cxn ang="0">
                    <a:pos x="39" y="96"/>
                  </a:cxn>
                  <a:cxn ang="0">
                    <a:pos x="34" y="93"/>
                  </a:cxn>
                  <a:cxn ang="0">
                    <a:pos x="31" y="91"/>
                  </a:cxn>
                </a:cxnLst>
                <a:rect l="0" t="0" r="r" b="b"/>
                <a:pathLst>
                  <a:path w="148" h="96">
                    <a:moveTo>
                      <a:pt x="31" y="91"/>
                    </a:moveTo>
                    <a:lnTo>
                      <a:pt x="27" y="86"/>
                    </a:lnTo>
                    <a:lnTo>
                      <a:pt x="24" y="81"/>
                    </a:lnTo>
                    <a:lnTo>
                      <a:pt x="17" y="77"/>
                    </a:lnTo>
                    <a:lnTo>
                      <a:pt x="10" y="75"/>
                    </a:lnTo>
                    <a:lnTo>
                      <a:pt x="2" y="72"/>
                    </a:lnTo>
                    <a:lnTo>
                      <a:pt x="0" y="70"/>
                    </a:lnTo>
                    <a:lnTo>
                      <a:pt x="3" y="57"/>
                    </a:lnTo>
                    <a:lnTo>
                      <a:pt x="12" y="46"/>
                    </a:lnTo>
                    <a:lnTo>
                      <a:pt x="19" y="34"/>
                    </a:lnTo>
                    <a:lnTo>
                      <a:pt x="24" y="22"/>
                    </a:lnTo>
                    <a:lnTo>
                      <a:pt x="20" y="12"/>
                    </a:lnTo>
                    <a:lnTo>
                      <a:pt x="17" y="3"/>
                    </a:lnTo>
                    <a:lnTo>
                      <a:pt x="33" y="0"/>
                    </a:lnTo>
                    <a:lnTo>
                      <a:pt x="48" y="3"/>
                    </a:lnTo>
                    <a:lnTo>
                      <a:pt x="55" y="0"/>
                    </a:lnTo>
                    <a:lnTo>
                      <a:pt x="69" y="0"/>
                    </a:lnTo>
                    <a:lnTo>
                      <a:pt x="81" y="5"/>
                    </a:lnTo>
                    <a:lnTo>
                      <a:pt x="94" y="10"/>
                    </a:lnTo>
                    <a:lnTo>
                      <a:pt x="103" y="10"/>
                    </a:lnTo>
                    <a:lnTo>
                      <a:pt x="112" y="8"/>
                    </a:lnTo>
                    <a:lnTo>
                      <a:pt x="120" y="8"/>
                    </a:lnTo>
                    <a:lnTo>
                      <a:pt x="134" y="14"/>
                    </a:lnTo>
                    <a:lnTo>
                      <a:pt x="143" y="20"/>
                    </a:lnTo>
                    <a:lnTo>
                      <a:pt x="148" y="31"/>
                    </a:lnTo>
                    <a:lnTo>
                      <a:pt x="143" y="32"/>
                    </a:lnTo>
                    <a:lnTo>
                      <a:pt x="132" y="36"/>
                    </a:lnTo>
                    <a:lnTo>
                      <a:pt x="122" y="38"/>
                    </a:lnTo>
                    <a:lnTo>
                      <a:pt x="117" y="41"/>
                    </a:lnTo>
                    <a:lnTo>
                      <a:pt x="103" y="46"/>
                    </a:lnTo>
                    <a:lnTo>
                      <a:pt x="89" y="58"/>
                    </a:lnTo>
                    <a:lnTo>
                      <a:pt x="81" y="69"/>
                    </a:lnTo>
                    <a:lnTo>
                      <a:pt x="77" y="81"/>
                    </a:lnTo>
                    <a:lnTo>
                      <a:pt x="70" y="84"/>
                    </a:lnTo>
                    <a:lnTo>
                      <a:pt x="58" y="89"/>
                    </a:lnTo>
                    <a:lnTo>
                      <a:pt x="46" y="93"/>
                    </a:lnTo>
                    <a:lnTo>
                      <a:pt x="39" y="96"/>
                    </a:lnTo>
                    <a:lnTo>
                      <a:pt x="34" y="93"/>
                    </a:lnTo>
                    <a:lnTo>
                      <a:pt x="31"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2" name="Freeform 304"/>
              <p:cNvSpPr>
                <a:spLocks/>
              </p:cNvSpPr>
              <p:nvPr/>
            </p:nvSpPr>
            <p:spPr bwMode="auto">
              <a:xfrm>
                <a:off x="1607344" y="1760538"/>
                <a:ext cx="284163" cy="117475"/>
              </a:xfrm>
              <a:custGeom>
                <a:avLst/>
                <a:gdLst/>
                <a:ahLst/>
                <a:cxnLst>
                  <a:cxn ang="0">
                    <a:pos x="51" y="71"/>
                  </a:cxn>
                  <a:cxn ang="0">
                    <a:pos x="51" y="61"/>
                  </a:cxn>
                  <a:cxn ang="0">
                    <a:pos x="55" y="55"/>
                  </a:cxn>
                  <a:cxn ang="0">
                    <a:pos x="48" y="52"/>
                  </a:cxn>
                  <a:cxn ang="0">
                    <a:pos x="34" y="57"/>
                  </a:cxn>
                  <a:cxn ang="0">
                    <a:pos x="15" y="57"/>
                  </a:cxn>
                  <a:cxn ang="0">
                    <a:pos x="2" y="52"/>
                  </a:cxn>
                  <a:cxn ang="0">
                    <a:pos x="0" y="43"/>
                  </a:cxn>
                  <a:cxn ang="0">
                    <a:pos x="7" y="38"/>
                  </a:cxn>
                  <a:cxn ang="0">
                    <a:pos x="26" y="38"/>
                  </a:cxn>
                  <a:cxn ang="0">
                    <a:pos x="24" y="38"/>
                  </a:cxn>
                  <a:cxn ang="0">
                    <a:pos x="14" y="26"/>
                  </a:cxn>
                  <a:cxn ang="0">
                    <a:pos x="22" y="26"/>
                  </a:cxn>
                  <a:cxn ang="0">
                    <a:pos x="31" y="28"/>
                  </a:cxn>
                  <a:cxn ang="0">
                    <a:pos x="45" y="30"/>
                  </a:cxn>
                  <a:cxn ang="0">
                    <a:pos x="19" y="24"/>
                  </a:cxn>
                  <a:cxn ang="0">
                    <a:pos x="29" y="19"/>
                  </a:cxn>
                  <a:cxn ang="0">
                    <a:pos x="43" y="21"/>
                  </a:cxn>
                  <a:cxn ang="0">
                    <a:pos x="27" y="14"/>
                  </a:cxn>
                  <a:cxn ang="0">
                    <a:pos x="43" y="14"/>
                  </a:cxn>
                  <a:cxn ang="0">
                    <a:pos x="51" y="21"/>
                  </a:cxn>
                  <a:cxn ang="0">
                    <a:pos x="63" y="21"/>
                  </a:cxn>
                  <a:cxn ang="0">
                    <a:pos x="84" y="31"/>
                  </a:cxn>
                  <a:cxn ang="0">
                    <a:pos x="112" y="42"/>
                  </a:cxn>
                  <a:cxn ang="0">
                    <a:pos x="124" y="35"/>
                  </a:cxn>
                  <a:cxn ang="0">
                    <a:pos x="113" y="33"/>
                  </a:cxn>
                  <a:cxn ang="0">
                    <a:pos x="118" y="31"/>
                  </a:cxn>
                  <a:cxn ang="0">
                    <a:pos x="110" y="21"/>
                  </a:cxn>
                  <a:cxn ang="0">
                    <a:pos x="106" y="11"/>
                  </a:cxn>
                  <a:cxn ang="0">
                    <a:pos x="117" y="2"/>
                  </a:cxn>
                  <a:cxn ang="0">
                    <a:pos x="129" y="2"/>
                  </a:cxn>
                  <a:cxn ang="0">
                    <a:pos x="132" y="7"/>
                  </a:cxn>
                  <a:cxn ang="0">
                    <a:pos x="139" y="23"/>
                  </a:cxn>
                  <a:cxn ang="0">
                    <a:pos x="158" y="26"/>
                  </a:cxn>
                  <a:cxn ang="0">
                    <a:pos x="174" y="26"/>
                  </a:cxn>
                  <a:cxn ang="0">
                    <a:pos x="175" y="42"/>
                  </a:cxn>
                  <a:cxn ang="0">
                    <a:pos x="165" y="55"/>
                  </a:cxn>
                  <a:cxn ang="0">
                    <a:pos x="155" y="59"/>
                  </a:cxn>
                  <a:cxn ang="0">
                    <a:pos x="132" y="57"/>
                  </a:cxn>
                  <a:cxn ang="0">
                    <a:pos x="122" y="59"/>
                  </a:cxn>
                  <a:cxn ang="0">
                    <a:pos x="100" y="64"/>
                  </a:cxn>
                  <a:cxn ang="0">
                    <a:pos x="77" y="71"/>
                  </a:cxn>
                </a:cxnLst>
                <a:rect l="0" t="0" r="r" b="b"/>
                <a:pathLst>
                  <a:path w="179" h="74">
                    <a:moveTo>
                      <a:pt x="62" y="74"/>
                    </a:moveTo>
                    <a:lnTo>
                      <a:pt x="51" y="71"/>
                    </a:lnTo>
                    <a:lnTo>
                      <a:pt x="48" y="67"/>
                    </a:lnTo>
                    <a:lnTo>
                      <a:pt x="51" y="61"/>
                    </a:lnTo>
                    <a:lnTo>
                      <a:pt x="62" y="61"/>
                    </a:lnTo>
                    <a:lnTo>
                      <a:pt x="55" y="55"/>
                    </a:lnTo>
                    <a:lnTo>
                      <a:pt x="53" y="48"/>
                    </a:lnTo>
                    <a:lnTo>
                      <a:pt x="48" y="52"/>
                    </a:lnTo>
                    <a:lnTo>
                      <a:pt x="48" y="55"/>
                    </a:lnTo>
                    <a:lnTo>
                      <a:pt x="34" y="57"/>
                    </a:lnTo>
                    <a:lnTo>
                      <a:pt x="26" y="59"/>
                    </a:lnTo>
                    <a:lnTo>
                      <a:pt x="15" y="57"/>
                    </a:lnTo>
                    <a:lnTo>
                      <a:pt x="8" y="55"/>
                    </a:lnTo>
                    <a:lnTo>
                      <a:pt x="2" y="52"/>
                    </a:lnTo>
                    <a:lnTo>
                      <a:pt x="0" y="48"/>
                    </a:lnTo>
                    <a:lnTo>
                      <a:pt x="0" y="43"/>
                    </a:lnTo>
                    <a:lnTo>
                      <a:pt x="0" y="42"/>
                    </a:lnTo>
                    <a:lnTo>
                      <a:pt x="7" y="38"/>
                    </a:lnTo>
                    <a:lnTo>
                      <a:pt x="14" y="36"/>
                    </a:lnTo>
                    <a:lnTo>
                      <a:pt x="26" y="38"/>
                    </a:lnTo>
                    <a:lnTo>
                      <a:pt x="36" y="42"/>
                    </a:lnTo>
                    <a:lnTo>
                      <a:pt x="24" y="38"/>
                    </a:lnTo>
                    <a:lnTo>
                      <a:pt x="14" y="35"/>
                    </a:lnTo>
                    <a:lnTo>
                      <a:pt x="14" y="26"/>
                    </a:lnTo>
                    <a:lnTo>
                      <a:pt x="19" y="26"/>
                    </a:lnTo>
                    <a:lnTo>
                      <a:pt x="22" y="26"/>
                    </a:lnTo>
                    <a:lnTo>
                      <a:pt x="24" y="26"/>
                    </a:lnTo>
                    <a:lnTo>
                      <a:pt x="31" y="28"/>
                    </a:lnTo>
                    <a:lnTo>
                      <a:pt x="38" y="28"/>
                    </a:lnTo>
                    <a:lnTo>
                      <a:pt x="45" y="30"/>
                    </a:lnTo>
                    <a:lnTo>
                      <a:pt x="29" y="28"/>
                    </a:lnTo>
                    <a:lnTo>
                      <a:pt x="19" y="24"/>
                    </a:lnTo>
                    <a:lnTo>
                      <a:pt x="22" y="19"/>
                    </a:lnTo>
                    <a:lnTo>
                      <a:pt x="29" y="19"/>
                    </a:lnTo>
                    <a:lnTo>
                      <a:pt x="36" y="19"/>
                    </a:lnTo>
                    <a:lnTo>
                      <a:pt x="43" y="21"/>
                    </a:lnTo>
                    <a:lnTo>
                      <a:pt x="32" y="19"/>
                    </a:lnTo>
                    <a:lnTo>
                      <a:pt x="27" y="14"/>
                    </a:lnTo>
                    <a:lnTo>
                      <a:pt x="36" y="12"/>
                    </a:lnTo>
                    <a:lnTo>
                      <a:pt x="43" y="14"/>
                    </a:lnTo>
                    <a:lnTo>
                      <a:pt x="48" y="14"/>
                    </a:lnTo>
                    <a:lnTo>
                      <a:pt x="51" y="21"/>
                    </a:lnTo>
                    <a:lnTo>
                      <a:pt x="60" y="21"/>
                    </a:lnTo>
                    <a:lnTo>
                      <a:pt x="63" y="21"/>
                    </a:lnTo>
                    <a:lnTo>
                      <a:pt x="74" y="23"/>
                    </a:lnTo>
                    <a:lnTo>
                      <a:pt x="84" y="31"/>
                    </a:lnTo>
                    <a:lnTo>
                      <a:pt x="94" y="38"/>
                    </a:lnTo>
                    <a:lnTo>
                      <a:pt x="112" y="42"/>
                    </a:lnTo>
                    <a:lnTo>
                      <a:pt x="118" y="38"/>
                    </a:lnTo>
                    <a:lnTo>
                      <a:pt x="124" y="35"/>
                    </a:lnTo>
                    <a:lnTo>
                      <a:pt x="117" y="33"/>
                    </a:lnTo>
                    <a:lnTo>
                      <a:pt x="113" y="33"/>
                    </a:lnTo>
                    <a:lnTo>
                      <a:pt x="115" y="31"/>
                    </a:lnTo>
                    <a:lnTo>
                      <a:pt x="118" y="31"/>
                    </a:lnTo>
                    <a:lnTo>
                      <a:pt x="118" y="24"/>
                    </a:lnTo>
                    <a:lnTo>
                      <a:pt x="110" y="21"/>
                    </a:lnTo>
                    <a:lnTo>
                      <a:pt x="105" y="16"/>
                    </a:lnTo>
                    <a:lnTo>
                      <a:pt x="106" y="11"/>
                    </a:lnTo>
                    <a:lnTo>
                      <a:pt x="112" y="5"/>
                    </a:lnTo>
                    <a:lnTo>
                      <a:pt x="117" y="2"/>
                    </a:lnTo>
                    <a:lnTo>
                      <a:pt x="124" y="0"/>
                    </a:lnTo>
                    <a:lnTo>
                      <a:pt x="129" y="2"/>
                    </a:lnTo>
                    <a:lnTo>
                      <a:pt x="134" y="4"/>
                    </a:lnTo>
                    <a:lnTo>
                      <a:pt x="132" y="7"/>
                    </a:lnTo>
                    <a:lnTo>
                      <a:pt x="134" y="11"/>
                    </a:lnTo>
                    <a:lnTo>
                      <a:pt x="139" y="23"/>
                    </a:lnTo>
                    <a:lnTo>
                      <a:pt x="153" y="30"/>
                    </a:lnTo>
                    <a:lnTo>
                      <a:pt x="158" y="26"/>
                    </a:lnTo>
                    <a:lnTo>
                      <a:pt x="167" y="23"/>
                    </a:lnTo>
                    <a:lnTo>
                      <a:pt x="174" y="26"/>
                    </a:lnTo>
                    <a:lnTo>
                      <a:pt x="179" y="36"/>
                    </a:lnTo>
                    <a:lnTo>
                      <a:pt x="175" y="42"/>
                    </a:lnTo>
                    <a:lnTo>
                      <a:pt x="172" y="50"/>
                    </a:lnTo>
                    <a:lnTo>
                      <a:pt x="165" y="55"/>
                    </a:lnTo>
                    <a:lnTo>
                      <a:pt x="161" y="59"/>
                    </a:lnTo>
                    <a:lnTo>
                      <a:pt x="155" y="59"/>
                    </a:lnTo>
                    <a:lnTo>
                      <a:pt x="143" y="59"/>
                    </a:lnTo>
                    <a:lnTo>
                      <a:pt x="132" y="57"/>
                    </a:lnTo>
                    <a:lnTo>
                      <a:pt x="129" y="59"/>
                    </a:lnTo>
                    <a:lnTo>
                      <a:pt x="122" y="59"/>
                    </a:lnTo>
                    <a:lnTo>
                      <a:pt x="112" y="62"/>
                    </a:lnTo>
                    <a:lnTo>
                      <a:pt x="100" y="64"/>
                    </a:lnTo>
                    <a:lnTo>
                      <a:pt x="94" y="67"/>
                    </a:lnTo>
                    <a:lnTo>
                      <a:pt x="77" y="71"/>
                    </a:lnTo>
                    <a:lnTo>
                      <a:pt x="62" y="7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3" name="Freeform 305"/>
              <p:cNvSpPr>
                <a:spLocks/>
              </p:cNvSpPr>
              <p:nvPr/>
            </p:nvSpPr>
            <p:spPr bwMode="auto">
              <a:xfrm>
                <a:off x="1569244" y="1801813"/>
                <a:ext cx="38100" cy="30162"/>
              </a:xfrm>
              <a:custGeom>
                <a:avLst/>
                <a:gdLst/>
                <a:ahLst/>
                <a:cxnLst>
                  <a:cxn ang="0">
                    <a:pos x="8" y="19"/>
                  </a:cxn>
                  <a:cxn ang="0">
                    <a:pos x="1" y="16"/>
                  </a:cxn>
                  <a:cxn ang="0">
                    <a:pos x="0" y="12"/>
                  </a:cxn>
                  <a:cxn ang="0">
                    <a:pos x="1" y="5"/>
                  </a:cxn>
                  <a:cxn ang="0">
                    <a:pos x="8" y="2"/>
                  </a:cxn>
                  <a:cxn ang="0">
                    <a:pos x="17" y="0"/>
                  </a:cxn>
                  <a:cxn ang="0">
                    <a:pos x="24" y="0"/>
                  </a:cxn>
                  <a:cxn ang="0">
                    <a:pos x="17" y="12"/>
                  </a:cxn>
                  <a:cxn ang="0">
                    <a:pos x="8" y="19"/>
                  </a:cxn>
                </a:cxnLst>
                <a:rect l="0" t="0" r="r" b="b"/>
                <a:pathLst>
                  <a:path w="24" h="19">
                    <a:moveTo>
                      <a:pt x="8" y="19"/>
                    </a:moveTo>
                    <a:lnTo>
                      <a:pt x="1" y="16"/>
                    </a:lnTo>
                    <a:lnTo>
                      <a:pt x="0" y="12"/>
                    </a:lnTo>
                    <a:lnTo>
                      <a:pt x="1" y="5"/>
                    </a:lnTo>
                    <a:lnTo>
                      <a:pt x="8" y="2"/>
                    </a:lnTo>
                    <a:lnTo>
                      <a:pt x="17" y="0"/>
                    </a:lnTo>
                    <a:lnTo>
                      <a:pt x="24" y="0"/>
                    </a:lnTo>
                    <a:lnTo>
                      <a:pt x="17" y="12"/>
                    </a:lnTo>
                    <a:lnTo>
                      <a:pt x="8"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4" name="Freeform 306"/>
              <p:cNvSpPr>
                <a:spLocks/>
              </p:cNvSpPr>
              <p:nvPr/>
            </p:nvSpPr>
            <p:spPr bwMode="auto">
              <a:xfrm>
                <a:off x="1669257" y="1760538"/>
                <a:ext cx="28575" cy="11112"/>
              </a:xfrm>
              <a:custGeom>
                <a:avLst/>
                <a:gdLst/>
                <a:ahLst/>
                <a:cxnLst>
                  <a:cxn ang="0">
                    <a:pos x="7" y="7"/>
                  </a:cxn>
                  <a:cxn ang="0">
                    <a:pos x="2" y="5"/>
                  </a:cxn>
                  <a:cxn ang="0">
                    <a:pos x="0" y="0"/>
                  </a:cxn>
                  <a:cxn ang="0">
                    <a:pos x="18" y="0"/>
                  </a:cxn>
                  <a:cxn ang="0">
                    <a:pos x="18" y="7"/>
                  </a:cxn>
                  <a:cxn ang="0">
                    <a:pos x="11" y="7"/>
                  </a:cxn>
                  <a:cxn ang="0">
                    <a:pos x="7" y="7"/>
                  </a:cxn>
                </a:cxnLst>
                <a:rect l="0" t="0" r="r" b="b"/>
                <a:pathLst>
                  <a:path w="18" h="7">
                    <a:moveTo>
                      <a:pt x="7" y="7"/>
                    </a:moveTo>
                    <a:lnTo>
                      <a:pt x="2" y="5"/>
                    </a:lnTo>
                    <a:lnTo>
                      <a:pt x="0" y="0"/>
                    </a:lnTo>
                    <a:lnTo>
                      <a:pt x="18" y="0"/>
                    </a:lnTo>
                    <a:lnTo>
                      <a:pt x="18" y="7"/>
                    </a:lnTo>
                    <a:lnTo>
                      <a:pt x="11" y="7"/>
                    </a:lnTo>
                    <a:lnTo>
                      <a:pt x="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5" name="Freeform 307"/>
              <p:cNvSpPr>
                <a:spLocks/>
              </p:cNvSpPr>
              <p:nvPr/>
            </p:nvSpPr>
            <p:spPr bwMode="auto">
              <a:xfrm>
                <a:off x="1486694" y="1730375"/>
                <a:ext cx="161925" cy="85725"/>
              </a:xfrm>
              <a:custGeom>
                <a:avLst/>
                <a:gdLst/>
                <a:ahLst/>
                <a:cxnLst>
                  <a:cxn ang="0">
                    <a:pos x="102" y="6"/>
                  </a:cxn>
                  <a:cxn ang="0">
                    <a:pos x="98" y="9"/>
                  </a:cxn>
                  <a:cxn ang="0">
                    <a:pos x="95" y="14"/>
                  </a:cxn>
                  <a:cxn ang="0">
                    <a:pos x="96" y="19"/>
                  </a:cxn>
                  <a:cxn ang="0">
                    <a:pos x="100" y="24"/>
                  </a:cxn>
                  <a:cxn ang="0">
                    <a:pos x="78" y="40"/>
                  </a:cxn>
                  <a:cxn ang="0">
                    <a:pos x="69" y="33"/>
                  </a:cxn>
                  <a:cxn ang="0">
                    <a:pos x="65" y="26"/>
                  </a:cxn>
                  <a:cxn ang="0">
                    <a:pos x="59" y="37"/>
                  </a:cxn>
                  <a:cxn ang="0">
                    <a:pos x="48" y="42"/>
                  </a:cxn>
                  <a:cxn ang="0">
                    <a:pos x="43" y="49"/>
                  </a:cxn>
                  <a:cxn ang="0">
                    <a:pos x="36" y="54"/>
                  </a:cxn>
                  <a:cxn ang="0">
                    <a:pos x="31" y="49"/>
                  </a:cxn>
                  <a:cxn ang="0">
                    <a:pos x="28" y="45"/>
                  </a:cxn>
                  <a:cxn ang="0">
                    <a:pos x="21" y="45"/>
                  </a:cxn>
                  <a:cxn ang="0">
                    <a:pos x="14" y="45"/>
                  </a:cxn>
                  <a:cxn ang="0">
                    <a:pos x="9" y="47"/>
                  </a:cxn>
                  <a:cxn ang="0">
                    <a:pos x="5" y="50"/>
                  </a:cxn>
                  <a:cxn ang="0">
                    <a:pos x="2" y="45"/>
                  </a:cxn>
                  <a:cxn ang="0">
                    <a:pos x="0" y="42"/>
                  </a:cxn>
                  <a:cxn ang="0">
                    <a:pos x="4" y="37"/>
                  </a:cxn>
                  <a:cxn ang="0">
                    <a:pos x="12" y="33"/>
                  </a:cxn>
                  <a:cxn ang="0">
                    <a:pos x="22" y="28"/>
                  </a:cxn>
                  <a:cxn ang="0">
                    <a:pos x="36" y="23"/>
                  </a:cxn>
                  <a:cxn ang="0">
                    <a:pos x="41" y="16"/>
                  </a:cxn>
                  <a:cxn ang="0">
                    <a:pos x="47" y="11"/>
                  </a:cxn>
                  <a:cxn ang="0">
                    <a:pos x="52" y="6"/>
                  </a:cxn>
                  <a:cxn ang="0">
                    <a:pos x="62" y="4"/>
                  </a:cxn>
                  <a:cxn ang="0">
                    <a:pos x="65" y="4"/>
                  </a:cxn>
                  <a:cxn ang="0">
                    <a:pos x="71" y="6"/>
                  </a:cxn>
                  <a:cxn ang="0">
                    <a:pos x="74" y="4"/>
                  </a:cxn>
                  <a:cxn ang="0">
                    <a:pos x="86" y="2"/>
                  </a:cxn>
                  <a:cxn ang="0">
                    <a:pos x="96" y="0"/>
                  </a:cxn>
                  <a:cxn ang="0">
                    <a:pos x="102" y="6"/>
                  </a:cxn>
                </a:cxnLst>
                <a:rect l="0" t="0" r="r" b="b"/>
                <a:pathLst>
                  <a:path w="102" h="54">
                    <a:moveTo>
                      <a:pt x="102" y="6"/>
                    </a:moveTo>
                    <a:lnTo>
                      <a:pt x="98" y="9"/>
                    </a:lnTo>
                    <a:lnTo>
                      <a:pt x="95" y="14"/>
                    </a:lnTo>
                    <a:lnTo>
                      <a:pt x="96" y="19"/>
                    </a:lnTo>
                    <a:lnTo>
                      <a:pt x="100" y="24"/>
                    </a:lnTo>
                    <a:lnTo>
                      <a:pt x="78" y="40"/>
                    </a:lnTo>
                    <a:lnTo>
                      <a:pt x="69" y="33"/>
                    </a:lnTo>
                    <a:lnTo>
                      <a:pt x="65" y="26"/>
                    </a:lnTo>
                    <a:lnTo>
                      <a:pt x="59" y="37"/>
                    </a:lnTo>
                    <a:lnTo>
                      <a:pt x="48" y="42"/>
                    </a:lnTo>
                    <a:lnTo>
                      <a:pt x="43" y="49"/>
                    </a:lnTo>
                    <a:lnTo>
                      <a:pt x="36" y="54"/>
                    </a:lnTo>
                    <a:lnTo>
                      <a:pt x="31" y="49"/>
                    </a:lnTo>
                    <a:lnTo>
                      <a:pt x="28" y="45"/>
                    </a:lnTo>
                    <a:lnTo>
                      <a:pt x="21" y="45"/>
                    </a:lnTo>
                    <a:lnTo>
                      <a:pt x="14" y="45"/>
                    </a:lnTo>
                    <a:lnTo>
                      <a:pt x="9" y="47"/>
                    </a:lnTo>
                    <a:lnTo>
                      <a:pt x="5" y="50"/>
                    </a:lnTo>
                    <a:lnTo>
                      <a:pt x="2" y="45"/>
                    </a:lnTo>
                    <a:lnTo>
                      <a:pt x="0" y="42"/>
                    </a:lnTo>
                    <a:lnTo>
                      <a:pt x="4" y="37"/>
                    </a:lnTo>
                    <a:lnTo>
                      <a:pt x="12" y="33"/>
                    </a:lnTo>
                    <a:lnTo>
                      <a:pt x="22" y="28"/>
                    </a:lnTo>
                    <a:lnTo>
                      <a:pt x="36" y="23"/>
                    </a:lnTo>
                    <a:lnTo>
                      <a:pt x="41" y="16"/>
                    </a:lnTo>
                    <a:lnTo>
                      <a:pt x="47" y="11"/>
                    </a:lnTo>
                    <a:lnTo>
                      <a:pt x="52" y="6"/>
                    </a:lnTo>
                    <a:lnTo>
                      <a:pt x="62" y="4"/>
                    </a:lnTo>
                    <a:lnTo>
                      <a:pt x="65" y="4"/>
                    </a:lnTo>
                    <a:lnTo>
                      <a:pt x="71" y="6"/>
                    </a:lnTo>
                    <a:lnTo>
                      <a:pt x="74" y="4"/>
                    </a:lnTo>
                    <a:lnTo>
                      <a:pt x="86" y="2"/>
                    </a:lnTo>
                    <a:lnTo>
                      <a:pt x="96" y="0"/>
                    </a:lnTo>
                    <a:lnTo>
                      <a:pt x="102"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6" name="Freeform 308"/>
              <p:cNvSpPr>
                <a:spLocks/>
              </p:cNvSpPr>
              <p:nvPr/>
            </p:nvSpPr>
            <p:spPr bwMode="auto">
              <a:xfrm>
                <a:off x="1702594" y="1668463"/>
                <a:ext cx="92075" cy="26987"/>
              </a:xfrm>
              <a:custGeom>
                <a:avLst/>
                <a:gdLst/>
                <a:ahLst/>
                <a:cxnLst>
                  <a:cxn ang="0">
                    <a:pos x="22" y="17"/>
                  </a:cxn>
                  <a:cxn ang="0">
                    <a:pos x="15" y="15"/>
                  </a:cxn>
                  <a:cxn ang="0">
                    <a:pos x="10" y="14"/>
                  </a:cxn>
                  <a:cxn ang="0">
                    <a:pos x="3" y="15"/>
                  </a:cxn>
                  <a:cxn ang="0">
                    <a:pos x="0" y="17"/>
                  </a:cxn>
                  <a:cxn ang="0">
                    <a:pos x="3" y="10"/>
                  </a:cxn>
                  <a:cxn ang="0">
                    <a:pos x="15" y="5"/>
                  </a:cxn>
                  <a:cxn ang="0">
                    <a:pos x="28" y="0"/>
                  </a:cxn>
                  <a:cxn ang="0">
                    <a:pos x="36" y="0"/>
                  </a:cxn>
                  <a:cxn ang="0">
                    <a:pos x="50" y="3"/>
                  </a:cxn>
                  <a:cxn ang="0">
                    <a:pos x="58" y="12"/>
                  </a:cxn>
                  <a:cxn ang="0">
                    <a:pos x="52" y="15"/>
                  </a:cxn>
                  <a:cxn ang="0">
                    <a:pos x="45" y="17"/>
                  </a:cxn>
                  <a:cxn ang="0">
                    <a:pos x="36" y="17"/>
                  </a:cxn>
                  <a:cxn ang="0">
                    <a:pos x="33" y="17"/>
                  </a:cxn>
                  <a:cxn ang="0">
                    <a:pos x="28" y="17"/>
                  </a:cxn>
                  <a:cxn ang="0">
                    <a:pos x="22" y="17"/>
                  </a:cxn>
                </a:cxnLst>
                <a:rect l="0" t="0" r="r" b="b"/>
                <a:pathLst>
                  <a:path w="58" h="17">
                    <a:moveTo>
                      <a:pt x="22" y="17"/>
                    </a:moveTo>
                    <a:lnTo>
                      <a:pt x="15" y="15"/>
                    </a:lnTo>
                    <a:lnTo>
                      <a:pt x="10" y="14"/>
                    </a:lnTo>
                    <a:lnTo>
                      <a:pt x="3" y="15"/>
                    </a:lnTo>
                    <a:lnTo>
                      <a:pt x="0" y="17"/>
                    </a:lnTo>
                    <a:lnTo>
                      <a:pt x="3" y="10"/>
                    </a:lnTo>
                    <a:lnTo>
                      <a:pt x="15" y="5"/>
                    </a:lnTo>
                    <a:lnTo>
                      <a:pt x="28" y="0"/>
                    </a:lnTo>
                    <a:lnTo>
                      <a:pt x="36" y="0"/>
                    </a:lnTo>
                    <a:lnTo>
                      <a:pt x="50" y="3"/>
                    </a:lnTo>
                    <a:lnTo>
                      <a:pt x="58" y="12"/>
                    </a:lnTo>
                    <a:lnTo>
                      <a:pt x="52" y="15"/>
                    </a:lnTo>
                    <a:lnTo>
                      <a:pt x="45" y="17"/>
                    </a:lnTo>
                    <a:lnTo>
                      <a:pt x="36" y="17"/>
                    </a:lnTo>
                    <a:lnTo>
                      <a:pt x="33" y="17"/>
                    </a:lnTo>
                    <a:lnTo>
                      <a:pt x="28" y="17"/>
                    </a:lnTo>
                    <a:lnTo>
                      <a:pt x="22"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7" name="Freeform 309"/>
              <p:cNvSpPr>
                <a:spLocks/>
              </p:cNvSpPr>
              <p:nvPr/>
            </p:nvSpPr>
            <p:spPr bwMode="auto">
              <a:xfrm>
                <a:off x="1705769" y="1700213"/>
                <a:ext cx="79375" cy="41275"/>
              </a:xfrm>
              <a:custGeom>
                <a:avLst/>
                <a:gdLst/>
                <a:ahLst/>
                <a:cxnLst>
                  <a:cxn ang="0">
                    <a:pos x="43" y="11"/>
                  </a:cxn>
                  <a:cxn ang="0">
                    <a:pos x="39" y="16"/>
                  </a:cxn>
                  <a:cxn ang="0">
                    <a:pos x="32" y="21"/>
                  </a:cxn>
                  <a:cxn ang="0">
                    <a:pos x="24" y="25"/>
                  </a:cxn>
                  <a:cxn ang="0">
                    <a:pos x="15" y="26"/>
                  </a:cxn>
                  <a:cxn ang="0">
                    <a:pos x="5" y="21"/>
                  </a:cxn>
                  <a:cxn ang="0">
                    <a:pos x="0" y="13"/>
                  </a:cxn>
                  <a:cxn ang="0">
                    <a:pos x="3" y="4"/>
                  </a:cxn>
                  <a:cxn ang="0">
                    <a:pos x="15" y="0"/>
                  </a:cxn>
                  <a:cxn ang="0">
                    <a:pos x="29" y="0"/>
                  </a:cxn>
                  <a:cxn ang="0">
                    <a:pos x="41" y="0"/>
                  </a:cxn>
                  <a:cxn ang="0">
                    <a:pos x="46" y="2"/>
                  </a:cxn>
                  <a:cxn ang="0">
                    <a:pos x="50" y="6"/>
                  </a:cxn>
                  <a:cxn ang="0">
                    <a:pos x="39" y="9"/>
                  </a:cxn>
                  <a:cxn ang="0">
                    <a:pos x="29" y="11"/>
                  </a:cxn>
                  <a:cxn ang="0">
                    <a:pos x="43" y="11"/>
                  </a:cxn>
                </a:cxnLst>
                <a:rect l="0" t="0" r="r" b="b"/>
                <a:pathLst>
                  <a:path w="50" h="26">
                    <a:moveTo>
                      <a:pt x="43" y="11"/>
                    </a:moveTo>
                    <a:lnTo>
                      <a:pt x="39" y="16"/>
                    </a:lnTo>
                    <a:lnTo>
                      <a:pt x="32" y="21"/>
                    </a:lnTo>
                    <a:lnTo>
                      <a:pt x="24" y="25"/>
                    </a:lnTo>
                    <a:lnTo>
                      <a:pt x="15" y="26"/>
                    </a:lnTo>
                    <a:lnTo>
                      <a:pt x="5" y="21"/>
                    </a:lnTo>
                    <a:lnTo>
                      <a:pt x="0" y="13"/>
                    </a:lnTo>
                    <a:lnTo>
                      <a:pt x="3" y="4"/>
                    </a:lnTo>
                    <a:lnTo>
                      <a:pt x="15" y="0"/>
                    </a:lnTo>
                    <a:lnTo>
                      <a:pt x="29" y="0"/>
                    </a:lnTo>
                    <a:lnTo>
                      <a:pt x="41" y="0"/>
                    </a:lnTo>
                    <a:lnTo>
                      <a:pt x="46" y="2"/>
                    </a:lnTo>
                    <a:lnTo>
                      <a:pt x="50" y="6"/>
                    </a:lnTo>
                    <a:lnTo>
                      <a:pt x="39" y="9"/>
                    </a:lnTo>
                    <a:lnTo>
                      <a:pt x="29" y="11"/>
                    </a:lnTo>
                    <a:lnTo>
                      <a:pt x="43"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8" name="Freeform 310"/>
              <p:cNvSpPr>
                <a:spLocks/>
              </p:cNvSpPr>
              <p:nvPr/>
            </p:nvSpPr>
            <p:spPr bwMode="auto">
              <a:xfrm>
                <a:off x="1667669" y="1703388"/>
                <a:ext cx="26988" cy="22225"/>
              </a:xfrm>
              <a:custGeom>
                <a:avLst/>
                <a:gdLst/>
                <a:ahLst/>
                <a:cxnLst>
                  <a:cxn ang="0">
                    <a:pos x="17" y="9"/>
                  </a:cxn>
                  <a:cxn ang="0">
                    <a:pos x="13" y="12"/>
                  </a:cxn>
                  <a:cxn ang="0">
                    <a:pos x="10" y="14"/>
                  </a:cxn>
                  <a:cxn ang="0">
                    <a:pos x="1" y="11"/>
                  </a:cxn>
                  <a:cxn ang="0">
                    <a:pos x="0" y="7"/>
                  </a:cxn>
                  <a:cxn ang="0">
                    <a:pos x="1" y="0"/>
                  </a:cxn>
                  <a:cxn ang="0">
                    <a:pos x="7" y="2"/>
                  </a:cxn>
                  <a:cxn ang="0">
                    <a:pos x="12" y="5"/>
                  </a:cxn>
                  <a:cxn ang="0">
                    <a:pos x="17" y="9"/>
                  </a:cxn>
                </a:cxnLst>
                <a:rect l="0" t="0" r="r" b="b"/>
                <a:pathLst>
                  <a:path w="17" h="14">
                    <a:moveTo>
                      <a:pt x="17" y="9"/>
                    </a:moveTo>
                    <a:lnTo>
                      <a:pt x="13" y="12"/>
                    </a:lnTo>
                    <a:lnTo>
                      <a:pt x="10" y="14"/>
                    </a:lnTo>
                    <a:lnTo>
                      <a:pt x="1" y="11"/>
                    </a:lnTo>
                    <a:lnTo>
                      <a:pt x="0" y="7"/>
                    </a:lnTo>
                    <a:lnTo>
                      <a:pt x="1" y="0"/>
                    </a:lnTo>
                    <a:lnTo>
                      <a:pt x="7" y="2"/>
                    </a:lnTo>
                    <a:lnTo>
                      <a:pt x="12" y="5"/>
                    </a:lnTo>
                    <a:lnTo>
                      <a:pt x="17" y="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9" name="Freeform 311"/>
              <p:cNvSpPr>
                <a:spLocks/>
              </p:cNvSpPr>
              <p:nvPr/>
            </p:nvSpPr>
            <p:spPr bwMode="auto">
              <a:xfrm>
                <a:off x="1964532" y="1905000"/>
                <a:ext cx="136525" cy="109537"/>
              </a:xfrm>
              <a:custGeom>
                <a:avLst/>
                <a:gdLst/>
                <a:ahLst/>
                <a:cxnLst>
                  <a:cxn ang="0">
                    <a:pos x="76" y="26"/>
                  </a:cxn>
                  <a:cxn ang="0">
                    <a:pos x="74" y="30"/>
                  </a:cxn>
                  <a:cxn ang="0">
                    <a:pos x="74" y="33"/>
                  </a:cxn>
                  <a:cxn ang="0">
                    <a:pos x="79" y="33"/>
                  </a:cxn>
                  <a:cxn ang="0">
                    <a:pos x="86" y="37"/>
                  </a:cxn>
                  <a:cxn ang="0">
                    <a:pos x="84" y="43"/>
                  </a:cxn>
                  <a:cxn ang="0">
                    <a:pos x="83" y="50"/>
                  </a:cxn>
                  <a:cxn ang="0">
                    <a:pos x="81" y="54"/>
                  </a:cxn>
                  <a:cxn ang="0">
                    <a:pos x="81" y="57"/>
                  </a:cxn>
                  <a:cxn ang="0">
                    <a:pos x="74" y="59"/>
                  </a:cxn>
                  <a:cxn ang="0">
                    <a:pos x="65" y="62"/>
                  </a:cxn>
                  <a:cxn ang="0">
                    <a:pos x="60" y="66"/>
                  </a:cxn>
                  <a:cxn ang="0">
                    <a:pos x="55" y="69"/>
                  </a:cxn>
                  <a:cxn ang="0">
                    <a:pos x="48" y="66"/>
                  </a:cxn>
                  <a:cxn ang="0">
                    <a:pos x="45" y="61"/>
                  </a:cxn>
                  <a:cxn ang="0">
                    <a:pos x="33" y="52"/>
                  </a:cxn>
                  <a:cxn ang="0">
                    <a:pos x="22" y="47"/>
                  </a:cxn>
                  <a:cxn ang="0">
                    <a:pos x="10" y="42"/>
                  </a:cxn>
                  <a:cxn ang="0">
                    <a:pos x="0" y="35"/>
                  </a:cxn>
                  <a:cxn ang="0">
                    <a:pos x="0" y="26"/>
                  </a:cxn>
                  <a:cxn ang="0">
                    <a:pos x="10" y="28"/>
                  </a:cxn>
                  <a:cxn ang="0">
                    <a:pos x="22" y="31"/>
                  </a:cxn>
                  <a:cxn ang="0">
                    <a:pos x="26" y="31"/>
                  </a:cxn>
                  <a:cxn ang="0">
                    <a:pos x="31" y="31"/>
                  </a:cxn>
                  <a:cxn ang="0">
                    <a:pos x="31" y="18"/>
                  </a:cxn>
                  <a:cxn ang="0">
                    <a:pos x="19" y="16"/>
                  </a:cxn>
                  <a:cxn ang="0">
                    <a:pos x="14" y="12"/>
                  </a:cxn>
                  <a:cxn ang="0">
                    <a:pos x="16" y="9"/>
                  </a:cxn>
                  <a:cxn ang="0">
                    <a:pos x="17" y="7"/>
                  </a:cxn>
                  <a:cxn ang="0">
                    <a:pos x="31" y="0"/>
                  </a:cxn>
                  <a:cxn ang="0">
                    <a:pos x="48" y="2"/>
                  </a:cxn>
                  <a:cxn ang="0">
                    <a:pos x="60" y="2"/>
                  </a:cxn>
                  <a:cxn ang="0">
                    <a:pos x="69" y="2"/>
                  </a:cxn>
                  <a:cxn ang="0">
                    <a:pos x="71" y="2"/>
                  </a:cxn>
                  <a:cxn ang="0">
                    <a:pos x="72" y="6"/>
                  </a:cxn>
                  <a:cxn ang="0">
                    <a:pos x="65" y="18"/>
                  </a:cxn>
                  <a:cxn ang="0">
                    <a:pos x="57" y="25"/>
                  </a:cxn>
                  <a:cxn ang="0">
                    <a:pos x="60" y="23"/>
                  </a:cxn>
                  <a:cxn ang="0">
                    <a:pos x="67" y="23"/>
                  </a:cxn>
                  <a:cxn ang="0">
                    <a:pos x="72" y="21"/>
                  </a:cxn>
                  <a:cxn ang="0">
                    <a:pos x="76" y="26"/>
                  </a:cxn>
                </a:cxnLst>
                <a:rect l="0" t="0" r="r" b="b"/>
                <a:pathLst>
                  <a:path w="86" h="69">
                    <a:moveTo>
                      <a:pt x="76" y="26"/>
                    </a:moveTo>
                    <a:lnTo>
                      <a:pt x="74" y="30"/>
                    </a:lnTo>
                    <a:lnTo>
                      <a:pt x="74" y="33"/>
                    </a:lnTo>
                    <a:lnTo>
                      <a:pt x="79" y="33"/>
                    </a:lnTo>
                    <a:lnTo>
                      <a:pt x="86" y="37"/>
                    </a:lnTo>
                    <a:lnTo>
                      <a:pt x="84" y="43"/>
                    </a:lnTo>
                    <a:lnTo>
                      <a:pt x="83" y="50"/>
                    </a:lnTo>
                    <a:lnTo>
                      <a:pt x="81" y="54"/>
                    </a:lnTo>
                    <a:lnTo>
                      <a:pt x="81" y="57"/>
                    </a:lnTo>
                    <a:lnTo>
                      <a:pt x="74" y="59"/>
                    </a:lnTo>
                    <a:lnTo>
                      <a:pt x="65" y="62"/>
                    </a:lnTo>
                    <a:lnTo>
                      <a:pt x="60" y="66"/>
                    </a:lnTo>
                    <a:lnTo>
                      <a:pt x="55" y="69"/>
                    </a:lnTo>
                    <a:lnTo>
                      <a:pt x="48" y="66"/>
                    </a:lnTo>
                    <a:lnTo>
                      <a:pt x="45" y="61"/>
                    </a:lnTo>
                    <a:lnTo>
                      <a:pt x="33" y="52"/>
                    </a:lnTo>
                    <a:lnTo>
                      <a:pt x="22" y="47"/>
                    </a:lnTo>
                    <a:lnTo>
                      <a:pt x="10" y="42"/>
                    </a:lnTo>
                    <a:lnTo>
                      <a:pt x="0" y="35"/>
                    </a:lnTo>
                    <a:lnTo>
                      <a:pt x="0" y="26"/>
                    </a:lnTo>
                    <a:lnTo>
                      <a:pt x="10" y="28"/>
                    </a:lnTo>
                    <a:lnTo>
                      <a:pt x="22" y="31"/>
                    </a:lnTo>
                    <a:lnTo>
                      <a:pt x="26" y="31"/>
                    </a:lnTo>
                    <a:lnTo>
                      <a:pt x="31" y="31"/>
                    </a:lnTo>
                    <a:lnTo>
                      <a:pt x="31" y="18"/>
                    </a:lnTo>
                    <a:lnTo>
                      <a:pt x="19" y="16"/>
                    </a:lnTo>
                    <a:lnTo>
                      <a:pt x="14" y="12"/>
                    </a:lnTo>
                    <a:lnTo>
                      <a:pt x="16" y="9"/>
                    </a:lnTo>
                    <a:lnTo>
                      <a:pt x="17" y="7"/>
                    </a:lnTo>
                    <a:lnTo>
                      <a:pt x="31" y="0"/>
                    </a:lnTo>
                    <a:lnTo>
                      <a:pt x="48" y="2"/>
                    </a:lnTo>
                    <a:lnTo>
                      <a:pt x="60" y="2"/>
                    </a:lnTo>
                    <a:lnTo>
                      <a:pt x="69" y="2"/>
                    </a:lnTo>
                    <a:lnTo>
                      <a:pt x="71" y="2"/>
                    </a:lnTo>
                    <a:lnTo>
                      <a:pt x="72" y="6"/>
                    </a:lnTo>
                    <a:lnTo>
                      <a:pt x="65" y="18"/>
                    </a:lnTo>
                    <a:lnTo>
                      <a:pt x="57" y="25"/>
                    </a:lnTo>
                    <a:lnTo>
                      <a:pt x="60" y="23"/>
                    </a:lnTo>
                    <a:lnTo>
                      <a:pt x="67" y="23"/>
                    </a:lnTo>
                    <a:lnTo>
                      <a:pt x="72" y="21"/>
                    </a:lnTo>
                    <a:lnTo>
                      <a:pt x="76"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0" name="Freeform 312"/>
              <p:cNvSpPr>
                <a:spLocks/>
              </p:cNvSpPr>
              <p:nvPr/>
            </p:nvSpPr>
            <p:spPr bwMode="auto">
              <a:xfrm>
                <a:off x="1915319" y="1771650"/>
                <a:ext cx="152400" cy="76200"/>
              </a:xfrm>
              <a:custGeom>
                <a:avLst/>
                <a:gdLst/>
                <a:ahLst/>
                <a:cxnLst>
                  <a:cxn ang="0">
                    <a:pos x="4" y="12"/>
                  </a:cxn>
                  <a:cxn ang="0">
                    <a:pos x="0" y="7"/>
                  </a:cxn>
                  <a:cxn ang="0">
                    <a:pos x="0" y="2"/>
                  </a:cxn>
                  <a:cxn ang="0">
                    <a:pos x="2" y="2"/>
                  </a:cxn>
                  <a:cxn ang="0">
                    <a:pos x="5" y="2"/>
                  </a:cxn>
                  <a:cxn ang="0">
                    <a:pos x="14" y="5"/>
                  </a:cxn>
                  <a:cxn ang="0">
                    <a:pos x="24" y="14"/>
                  </a:cxn>
                  <a:cxn ang="0">
                    <a:pos x="31" y="21"/>
                  </a:cxn>
                  <a:cxn ang="0">
                    <a:pos x="43" y="23"/>
                  </a:cxn>
                  <a:cxn ang="0">
                    <a:pos x="36" y="17"/>
                  </a:cxn>
                  <a:cxn ang="0">
                    <a:pos x="33" y="14"/>
                  </a:cxn>
                  <a:cxn ang="0">
                    <a:pos x="33" y="9"/>
                  </a:cxn>
                  <a:cxn ang="0">
                    <a:pos x="40" y="9"/>
                  </a:cxn>
                  <a:cxn ang="0">
                    <a:pos x="47" y="14"/>
                  </a:cxn>
                  <a:cxn ang="0">
                    <a:pos x="52" y="16"/>
                  </a:cxn>
                  <a:cxn ang="0">
                    <a:pos x="62" y="19"/>
                  </a:cxn>
                  <a:cxn ang="0">
                    <a:pos x="62" y="9"/>
                  </a:cxn>
                  <a:cxn ang="0">
                    <a:pos x="48" y="7"/>
                  </a:cxn>
                  <a:cxn ang="0">
                    <a:pos x="43" y="2"/>
                  </a:cxn>
                  <a:cxn ang="0">
                    <a:pos x="47" y="0"/>
                  </a:cxn>
                  <a:cxn ang="0">
                    <a:pos x="52" y="0"/>
                  </a:cxn>
                  <a:cxn ang="0">
                    <a:pos x="62" y="2"/>
                  </a:cxn>
                  <a:cxn ang="0">
                    <a:pos x="76" y="5"/>
                  </a:cxn>
                  <a:cxn ang="0">
                    <a:pos x="79" y="4"/>
                  </a:cxn>
                  <a:cxn ang="0">
                    <a:pos x="86" y="2"/>
                  </a:cxn>
                  <a:cxn ang="0">
                    <a:pos x="93" y="5"/>
                  </a:cxn>
                  <a:cxn ang="0">
                    <a:pos x="96" y="14"/>
                  </a:cxn>
                  <a:cxn ang="0">
                    <a:pos x="95" y="21"/>
                  </a:cxn>
                  <a:cxn ang="0">
                    <a:pos x="93" y="29"/>
                  </a:cxn>
                  <a:cxn ang="0">
                    <a:pos x="90" y="36"/>
                  </a:cxn>
                  <a:cxn ang="0">
                    <a:pos x="91" y="47"/>
                  </a:cxn>
                  <a:cxn ang="0">
                    <a:pos x="78" y="47"/>
                  </a:cxn>
                  <a:cxn ang="0">
                    <a:pos x="71" y="48"/>
                  </a:cxn>
                  <a:cxn ang="0">
                    <a:pos x="66" y="48"/>
                  </a:cxn>
                  <a:cxn ang="0">
                    <a:pos x="62" y="48"/>
                  </a:cxn>
                  <a:cxn ang="0">
                    <a:pos x="57" y="47"/>
                  </a:cxn>
                  <a:cxn ang="0">
                    <a:pos x="55" y="47"/>
                  </a:cxn>
                  <a:cxn ang="0">
                    <a:pos x="55" y="43"/>
                  </a:cxn>
                  <a:cxn ang="0">
                    <a:pos x="59" y="41"/>
                  </a:cxn>
                  <a:cxn ang="0">
                    <a:pos x="59" y="38"/>
                  </a:cxn>
                  <a:cxn ang="0">
                    <a:pos x="59" y="36"/>
                  </a:cxn>
                  <a:cxn ang="0">
                    <a:pos x="64" y="31"/>
                  </a:cxn>
                  <a:cxn ang="0">
                    <a:pos x="71" y="29"/>
                  </a:cxn>
                  <a:cxn ang="0">
                    <a:pos x="67" y="28"/>
                  </a:cxn>
                  <a:cxn ang="0">
                    <a:pos x="66" y="28"/>
                  </a:cxn>
                  <a:cxn ang="0">
                    <a:pos x="55" y="28"/>
                  </a:cxn>
                  <a:cxn ang="0">
                    <a:pos x="47" y="29"/>
                  </a:cxn>
                  <a:cxn ang="0">
                    <a:pos x="36" y="31"/>
                  </a:cxn>
                  <a:cxn ang="0">
                    <a:pos x="28" y="33"/>
                  </a:cxn>
                  <a:cxn ang="0">
                    <a:pos x="23" y="29"/>
                  </a:cxn>
                  <a:cxn ang="0">
                    <a:pos x="23" y="26"/>
                  </a:cxn>
                  <a:cxn ang="0">
                    <a:pos x="14" y="26"/>
                  </a:cxn>
                  <a:cxn ang="0">
                    <a:pos x="14" y="21"/>
                  </a:cxn>
                  <a:cxn ang="0">
                    <a:pos x="5" y="19"/>
                  </a:cxn>
                  <a:cxn ang="0">
                    <a:pos x="0" y="16"/>
                  </a:cxn>
                  <a:cxn ang="0">
                    <a:pos x="0" y="7"/>
                  </a:cxn>
                  <a:cxn ang="0">
                    <a:pos x="4" y="12"/>
                  </a:cxn>
                </a:cxnLst>
                <a:rect l="0" t="0" r="r" b="b"/>
                <a:pathLst>
                  <a:path w="96" h="48">
                    <a:moveTo>
                      <a:pt x="4" y="12"/>
                    </a:moveTo>
                    <a:lnTo>
                      <a:pt x="0" y="7"/>
                    </a:lnTo>
                    <a:lnTo>
                      <a:pt x="0" y="2"/>
                    </a:lnTo>
                    <a:lnTo>
                      <a:pt x="2" y="2"/>
                    </a:lnTo>
                    <a:lnTo>
                      <a:pt x="5" y="2"/>
                    </a:lnTo>
                    <a:lnTo>
                      <a:pt x="14" y="5"/>
                    </a:lnTo>
                    <a:lnTo>
                      <a:pt x="24" y="14"/>
                    </a:lnTo>
                    <a:lnTo>
                      <a:pt x="31" y="21"/>
                    </a:lnTo>
                    <a:lnTo>
                      <a:pt x="43" y="23"/>
                    </a:lnTo>
                    <a:lnTo>
                      <a:pt x="36" y="17"/>
                    </a:lnTo>
                    <a:lnTo>
                      <a:pt x="33" y="14"/>
                    </a:lnTo>
                    <a:lnTo>
                      <a:pt x="33" y="9"/>
                    </a:lnTo>
                    <a:lnTo>
                      <a:pt x="40" y="9"/>
                    </a:lnTo>
                    <a:lnTo>
                      <a:pt x="47" y="14"/>
                    </a:lnTo>
                    <a:lnTo>
                      <a:pt x="52" y="16"/>
                    </a:lnTo>
                    <a:lnTo>
                      <a:pt x="62" y="19"/>
                    </a:lnTo>
                    <a:lnTo>
                      <a:pt x="62" y="9"/>
                    </a:lnTo>
                    <a:lnTo>
                      <a:pt x="48" y="7"/>
                    </a:lnTo>
                    <a:lnTo>
                      <a:pt x="43" y="2"/>
                    </a:lnTo>
                    <a:lnTo>
                      <a:pt x="47" y="0"/>
                    </a:lnTo>
                    <a:lnTo>
                      <a:pt x="52" y="0"/>
                    </a:lnTo>
                    <a:lnTo>
                      <a:pt x="62" y="2"/>
                    </a:lnTo>
                    <a:lnTo>
                      <a:pt x="76" y="5"/>
                    </a:lnTo>
                    <a:lnTo>
                      <a:pt x="79" y="4"/>
                    </a:lnTo>
                    <a:lnTo>
                      <a:pt x="86" y="2"/>
                    </a:lnTo>
                    <a:lnTo>
                      <a:pt x="93" y="5"/>
                    </a:lnTo>
                    <a:lnTo>
                      <a:pt x="96" y="14"/>
                    </a:lnTo>
                    <a:lnTo>
                      <a:pt x="95" y="21"/>
                    </a:lnTo>
                    <a:lnTo>
                      <a:pt x="93" y="29"/>
                    </a:lnTo>
                    <a:lnTo>
                      <a:pt x="90" y="36"/>
                    </a:lnTo>
                    <a:lnTo>
                      <a:pt x="91" y="47"/>
                    </a:lnTo>
                    <a:lnTo>
                      <a:pt x="78" y="47"/>
                    </a:lnTo>
                    <a:lnTo>
                      <a:pt x="71" y="48"/>
                    </a:lnTo>
                    <a:lnTo>
                      <a:pt x="66" y="48"/>
                    </a:lnTo>
                    <a:lnTo>
                      <a:pt x="62" y="48"/>
                    </a:lnTo>
                    <a:lnTo>
                      <a:pt x="57" y="47"/>
                    </a:lnTo>
                    <a:lnTo>
                      <a:pt x="55" y="47"/>
                    </a:lnTo>
                    <a:lnTo>
                      <a:pt x="55" y="43"/>
                    </a:lnTo>
                    <a:lnTo>
                      <a:pt x="59" y="41"/>
                    </a:lnTo>
                    <a:lnTo>
                      <a:pt x="59" y="38"/>
                    </a:lnTo>
                    <a:lnTo>
                      <a:pt x="59" y="36"/>
                    </a:lnTo>
                    <a:lnTo>
                      <a:pt x="64" y="31"/>
                    </a:lnTo>
                    <a:lnTo>
                      <a:pt x="71" y="29"/>
                    </a:lnTo>
                    <a:lnTo>
                      <a:pt x="67" y="28"/>
                    </a:lnTo>
                    <a:lnTo>
                      <a:pt x="66" y="28"/>
                    </a:lnTo>
                    <a:lnTo>
                      <a:pt x="55" y="28"/>
                    </a:lnTo>
                    <a:lnTo>
                      <a:pt x="47" y="29"/>
                    </a:lnTo>
                    <a:lnTo>
                      <a:pt x="36" y="31"/>
                    </a:lnTo>
                    <a:lnTo>
                      <a:pt x="28" y="33"/>
                    </a:lnTo>
                    <a:lnTo>
                      <a:pt x="23" y="29"/>
                    </a:lnTo>
                    <a:lnTo>
                      <a:pt x="23" y="26"/>
                    </a:lnTo>
                    <a:lnTo>
                      <a:pt x="14" y="26"/>
                    </a:lnTo>
                    <a:lnTo>
                      <a:pt x="14" y="21"/>
                    </a:lnTo>
                    <a:lnTo>
                      <a:pt x="5" y="19"/>
                    </a:lnTo>
                    <a:lnTo>
                      <a:pt x="0" y="16"/>
                    </a:lnTo>
                    <a:lnTo>
                      <a:pt x="0" y="7"/>
                    </a:lnTo>
                    <a:lnTo>
                      <a:pt x="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1" name="Freeform 313"/>
              <p:cNvSpPr>
                <a:spLocks/>
              </p:cNvSpPr>
              <p:nvPr/>
            </p:nvSpPr>
            <p:spPr bwMode="auto">
              <a:xfrm>
                <a:off x="2029619" y="2078038"/>
                <a:ext cx="90488" cy="53975"/>
              </a:xfrm>
              <a:custGeom>
                <a:avLst/>
                <a:gdLst/>
                <a:ahLst/>
                <a:cxnLst>
                  <a:cxn ang="0">
                    <a:pos x="45" y="34"/>
                  </a:cxn>
                  <a:cxn ang="0">
                    <a:pos x="35" y="31"/>
                  </a:cxn>
                  <a:cxn ang="0">
                    <a:pos x="19" y="26"/>
                  </a:cxn>
                  <a:cxn ang="0">
                    <a:pos x="6" y="20"/>
                  </a:cxn>
                  <a:cxn ang="0">
                    <a:pos x="0" y="19"/>
                  </a:cxn>
                  <a:cxn ang="0">
                    <a:pos x="6" y="15"/>
                  </a:cxn>
                  <a:cxn ang="0">
                    <a:pos x="12" y="17"/>
                  </a:cxn>
                  <a:cxn ang="0">
                    <a:pos x="14" y="12"/>
                  </a:cxn>
                  <a:cxn ang="0">
                    <a:pos x="16" y="7"/>
                  </a:cxn>
                  <a:cxn ang="0">
                    <a:pos x="19" y="2"/>
                  </a:cxn>
                  <a:cxn ang="0">
                    <a:pos x="26" y="0"/>
                  </a:cxn>
                  <a:cxn ang="0">
                    <a:pos x="33" y="2"/>
                  </a:cxn>
                  <a:cxn ang="0">
                    <a:pos x="43" y="10"/>
                  </a:cxn>
                  <a:cxn ang="0">
                    <a:pos x="52" y="17"/>
                  </a:cxn>
                  <a:cxn ang="0">
                    <a:pos x="57" y="26"/>
                  </a:cxn>
                  <a:cxn ang="0">
                    <a:pos x="50" y="31"/>
                  </a:cxn>
                  <a:cxn ang="0">
                    <a:pos x="45" y="34"/>
                  </a:cxn>
                </a:cxnLst>
                <a:rect l="0" t="0" r="r" b="b"/>
                <a:pathLst>
                  <a:path w="57" h="34">
                    <a:moveTo>
                      <a:pt x="45" y="34"/>
                    </a:moveTo>
                    <a:lnTo>
                      <a:pt x="35" y="31"/>
                    </a:lnTo>
                    <a:lnTo>
                      <a:pt x="19" y="26"/>
                    </a:lnTo>
                    <a:lnTo>
                      <a:pt x="6" y="20"/>
                    </a:lnTo>
                    <a:lnTo>
                      <a:pt x="0" y="19"/>
                    </a:lnTo>
                    <a:lnTo>
                      <a:pt x="6" y="15"/>
                    </a:lnTo>
                    <a:lnTo>
                      <a:pt x="12" y="17"/>
                    </a:lnTo>
                    <a:lnTo>
                      <a:pt x="14" y="12"/>
                    </a:lnTo>
                    <a:lnTo>
                      <a:pt x="16" y="7"/>
                    </a:lnTo>
                    <a:lnTo>
                      <a:pt x="19" y="2"/>
                    </a:lnTo>
                    <a:lnTo>
                      <a:pt x="26" y="0"/>
                    </a:lnTo>
                    <a:lnTo>
                      <a:pt x="33" y="2"/>
                    </a:lnTo>
                    <a:lnTo>
                      <a:pt x="43" y="10"/>
                    </a:lnTo>
                    <a:lnTo>
                      <a:pt x="52" y="17"/>
                    </a:lnTo>
                    <a:lnTo>
                      <a:pt x="57" y="26"/>
                    </a:lnTo>
                    <a:lnTo>
                      <a:pt x="50" y="31"/>
                    </a:lnTo>
                    <a:lnTo>
                      <a:pt x="45" y="3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2" name="Freeform 314"/>
              <p:cNvSpPr>
                <a:spLocks/>
              </p:cNvSpPr>
              <p:nvPr/>
            </p:nvSpPr>
            <p:spPr bwMode="auto">
              <a:xfrm>
                <a:off x="2116932" y="1889125"/>
                <a:ext cx="117475" cy="95250"/>
              </a:xfrm>
              <a:custGeom>
                <a:avLst/>
                <a:gdLst/>
                <a:ahLst/>
                <a:cxnLst>
                  <a:cxn ang="0">
                    <a:pos x="74" y="12"/>
                  </a:cxn>
                  <a:cxn ang="0">
                    <a:pos x="69" y="16"/>
                  </a:cxn>
                  <a:cxn ang="0">
                    <a:pos x="66" y="21"/>
                  </a:cxn>
                  <a:cxn ang="0">
                    <a:pos x="59" y="26"/>
                  </a:cxn>
                  <a:cxn ang="0">
                    <a:pos x="54" y="33"/>
                  </a:cxn>
                  <a:cxn ang="0">
                    <a:pos x="45" y="38"/>
                  </a:cxn>
                  <a:cxn ang="0">
                    <a:pos x="37" y="41"/>
                  </a:cxn>
                  <a:cxn ang="0">
                    <a:pos x="26" y="38"/>
                  </a:cxn>
                  <a:cxn ang="0">
                    <a:pos x="23" y="45"/>
                  </a:cxn>
                  <a:cxn ang="0">
                    <a:pos x="30" y="45"/>
                  </a:cxn>
                  <a:cxn ang="0">
                    <a:pos x="25" y="53"/>
                  </a:cxn>
                  <a:cxn ang="0">
                    <a:pos x="18" y="60"/>
                  </a:cxn>
                  <a:cxn ang="0">
                    <a:pos x="7" y="60"/>
                  </a:cxn>
                  <a:cxn ang="0">
                    <a:pos x="7" y="52"/>
                  </a:cxn>
                  <a:cxn ang="0">
                    <a:pos x="7" y="47"/>
                  </a:cxn>
                  <a:cxn ang="0">
                    <a:pos x="2" y="35"/>
                  </a:cxn>
                  <a:cxn ang="0">
                    <a:pos x="0" y="22"/>
                  </a:cxn>
                  <a:cxn ang="0">
                    <a:pos x="0" y="12"/>
                  </a:cxn>
                  <a:cxn ang="0">
                    <a:pos x="6" y="12"/>
                  </a:cxn>
                  <a:cxn ang="0">
                    <a:pos x="12" y="12"/>
                  </a:cxn>
                  <a:cxn ang="0">
                    <a:pos x="11" y="10"/>
                  </a:cxn>
                  <a:cxn ang="0">
                    <a:pos x="12" y="9"/>
                  </a:cxn>
                  <a:cxn ang="0">
                    <a:pos x="14" y="4"/>
                  </a:cxn>
                  <a:cxn ang="0">
                    <a:pos x="26" y="0"/>
                  </a:cxn>
                  <a:cxn ang="0">
                    <a:pos x="38" y="0"/>
                  </a:cxn>
                  <a:cxn ang="0">
                    <a:pos x="50" y="4"/>
                  </a:cxn>
                  <a:cxn ang="0">
                    <a:pos x="61" y="5"/>
                  </a:cxn>
                  <a:cxn ang="0">
                    <a:pos x="74" y="7"/>
                  </a:cxn>
                  <a:cxn ang="0">
                    <a:pos x="74" y="9"/>
                  </a:cxn>
                  <a:cxn ang="0">
                    <a:pos x="74" y="12"/>
                  </a:cxn>
                </a:cxnLst>
                <a:rect l="0" t="0" r="r" b="b"/>
                <a:pathLst>
                  <a:path w="74" h="60">
                    <a:moveTo>
                      <a:pt x="74" y="12"/>
                    </a:moveTo>
                    <a:lnTo>
                      <a:pt x="69" y="16"/>
                    </a:lnTo>
                    <a:lnTo>
                      <a:pt x="66" y="21"/>
                    </a:lnTo>
                    <a:lnTo>
                      <a:pt x="59" y="26"/>
                    </a:lnTo>
                    <a:lnTo>
                      <a:pt x="54" y="33"/>
                    </a:lnTo>
                    <a:lnTo>
                      <a:pt x="45" y="38"/>
                    </a:lnTo>
                    <a:lnTo>
                      <a:pt x="37" y="41"/>
                    </a:lnTo>
                    <a:lnTo>
                      <a:pt x="26" y="38"/>
                    </a:lnTo>
                    <a:lnTo>
                      <a:pt x="23" y="45"/>
                    </a:lnTo>
                    <a:lnTo>
                      <a:pt x="30" y="45"/>
                    </a:lnTo>
                    <a:lnTo>
                      <a:pt x="25" y="53"/>
                    </a:lnTo>
                    <a:lnTo>
                      <a:pt x="18" y="60"/>
                    </a:lnTo>
                    <a:lnTo>
                      <a:pt x="7" y="60"/>
                    </a:lnTo>
                    <a:lnTo>
                      <a:pt x="7" y="52"/>
                    </a:lnTo>
                    <a:lnTo>
                      <a:pt x="7" y="47"/>
                    </a:lnTo>
                    <a:lnTo>
                      <a:pt x="2" y="35"/>
                    </a:lnTo>
                    <a:lnTo>
                      <a:pt x="0" y="22"/>
                    </a:lnTo>
                    <a:lnTo>
                      <a:pt x="0" y="12"/>
                    </a:lnTo>
                    <a:lnTo>
                      <a:pt x="6" y="12"/>
                    </a:lnTo>
                    <a:lnTo>
                      <a:pt x="12" y="12"/>
                    </a:lnTo>
                    <a:lnTo>
                      <a:pt x="11" y="10"/>
                    </a:lnTo>
                    <a:lnTo>
                      <a:pt x="12" y="9"/>
                    </a:lnTo>
                    <a:lnTo>
                      <a:pt x="14" y="4"/>
                    </a:lnTo>
                    <a:lnTo>
                      <a:pt x="26" y="0"/>
                    </a:lnTo>
                    <a:lnTo>
                      <a:pt x="38" y="0"/>
                    </a:lnTo>
                    <a:lnTo>
                      <a:pt x="50" y="4"/>
                    </a:lnTo>
                    <a:lnTo>
                      <a:pt x="61" y="5"/>
                    </a:lnTo>
                    <a:lnTo>
                      <a:pt x="74" y="7"/>
                    </a:lnTo>
                    <a:lnTo>
                      <a:pt x="74" y="9"/>
                    </a:lnTo>
                    <a:lnTo>
                      <a:pt x="7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3" name="Freeform 315"/>
              <p:cNvSpPr>
                <a:spLocks/>
              </p:cNvSpPr>
              <p:nvPr/>
            </p:nvSpPr>
            <p:spPr bwMode="auto">
              <a:xfrm>
                <a:off x="1874044" y="1717675"/>
                <a:ext cx="41275" cy="31750"/>
              </a:xfrm>
              <a:custGeom>
                <a:avLst/>
                <a:gdLst/>
                <a:ahLst/>
                <a:cxnLst>
                  <a:cxn ang="0">
                    <a:pos x="26" y="15"/>
                  </a:cxn>
                  <a:cxn ang="0">
                    <a:pos x="23" y="19"/>
                  </a:cxn>
                  <a:cxn ang="0">
                    <a:pos x="19" y="20"/>
                  </a:cxn>
                  <a:cxn ang="0">
                    <a:pos x="12" y="17"/>
                  </a:cxn>
                  <a:cxn ang="0">
                    <a:pos x="7" y="12"/>
                  </a:cxn>
                  <a:cxn ang="0">
                    <a:pos x="0" y="5"/>
                  </a:cxn>
                  <a:cxn ang="0">
                    <a:pos x="0" y="0"/>
                  </a:cxn>
                  <a:cxn ang="0">
                    <a:pos x="7" y="0"/>
                  </a:cxn>
                  <a:cxn ang="0">
                    <a:pos x="14" y="5"/>
                  </a:cxn>
                  <a:cxn ang="0">
                    <a:pos x="19" y="10"/>
                  </a:cxn>
                  <a:cxn ang="0">
                    <a:pos x="26" y="15"/>
                  </a:cxn>
                </a:cxnLst>
                <a:rect l="0" t="0" r="r" b="b"/>
                <a:pathLst>
                  <a:path w="26" h="20">
                    <a:moveTo>
                      <a:pt x="26" y="15"/>
                    </a:moveTo>
                    <a:lnTo>
                      <a:pt x="23" y="19"/>
                    </a:lnTo>
                    <a:lnTo>
                      <a:pt x="19" y="20"/>
                    </a:lnTo>
                    <a:lnTo>
                      <a:pt x="12" y="17"/>
                    </a:lnTo>
                    <a:lnTo>
                      <a:pt x="7" y="12"/>
                    </a:lnTo>
                    <a:lnTo>
                      <a:pt x="0" y="5"/>
                    </a:lnTo>
                    <a:lnTo>
                      <a:pt x="0" y="0"/>
                    </a:lnTo>
                    <a:lnTo>
                      <a:pt x="7" y="0"/>
                    </a:lnTo>
                    <a:lnTo>
                      <a:pt x="14" y="5"/>
                    </a:lnTo>
                    <a:lnTo>
                      <a:pt x="19" y="10"/>
                    </a:lnTo>
                    <a:lnTo>
                      <a:pt x="26" y="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4" name="Freeform 316"/>
              <p:cNvSpPr>
                <a:spLocks/>
              </p:cNvSpPr>
              <p:nvPr/>
            </p:nvSpPr>
            <p:spPr bwMode="auto">
              <a:xfrm>
                <a:off x="1899444" y="1827213"/>
                <a:ext cx="26988" cy="20637"/>
              </a:xfrm>
              <a:custGeom>
                <a:avLst/>
                <a:gdLst/>
                <a:ahLst/>
                <a:cxnLst>
                  <a:cxn ang="0">
                    <a:pos x="14" y="0"/>
                  </a:cxn>
                  <a:cxn ang="0">
                    <a:pos x="15" y="3"/>
                  </a:cxn>
                  <a:cxn ang="0">
                    <a:pos x="17" y="6"/>
                  </a:cxn>
                  <a:cxn ang="0">
                    <a:pos x="14" y="12"/>
                  </a:cxn>
                  <a:cxn ang="0">
                    <a:pos x="10" y="13"/>
                  </a:cxn>
                  <a:cxn ang="0">
                    <a:pos x="3" y="13"/>
                  </a:cxn>
                  <a:cxn ang="0">
                    <a:pos x="0" y="13"/>
                  </a:cxn>
                  <a:cxn ang="0">
                    <a:pos x="3" y="3"/>
                  </a:cxn>
                  <a:cxn ang="0">
                    <a:pos x="14" y="0"/>
                  </a:cxn>
                </a:cxnLst>
                <a:rect l="0" t="0" r="r" b="b"/>
                <a:pathLst>
                  <a:path w="17" h="13">
                    <a:moveTo>
                      <a:pt x="14" y="0"/>
                    </a:moveTo>
                    <a:lnTo>
                      <a:pt x="15" y="3"/>
                    </a:lnTo>
                    <a:lnTo>
                      <a:pt x="17" y="6"/>
                    </a:lnTo>
                    <a:lnTo>
                      <a:pt x="14" y="12"/>
                    </a:lnTo>
                    <a:lnTo>
                      <a:pt x="10" y="13"/>
                    </a:lnTo>
                    <a:lnTo>
                      <a:pt x="3" y="13"/>
                    </a:lnTo>
                    <a:lnTo>
                      <a:pt x="0" y="13"/>
                    </a:lnTo>
                    <a:lnTo>
                      <a:pt x="3" y="3"/>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5" name="Freeform 317"/>
              <p:cNvSpPr>
                <a:spLocks/>
              </p:cNvSpPr>
              <p:nvPr/>
            </p:nvSpPr>
            <p:spPr bwMode="auto">
              <a:xfrm>
                <a:off x="1885157" y="1638300"/>
                <a:ext cx="150813" cy="79375"/>
              </a:xfrm>
              <a:custGeom>
                <a:avLst/>
                <a:gdLst/>
                <a:ahLst/>
                <a:cxnLst>
                  <a:cxn ang="0">
                    <a:pos x="62" y="36"/>
                  </a:cxn>
                  <a:cxn ang="0">
                    <a:pos x="50" y="34"/>
                  </a:cxn>
                  <a:cxn ang="0">
                    <a:pos x="38" y="34"/>
                  </a:cxn>
                  <a:cxn ang="0">
                    <a:pos x="31" y="31"/>
                  </a:cxn>
                  <a:cxn ang="0">
                    <a:pos x="23" y="33"/>
                  </a:cxn>
                  <a:cxn ang="0">
                    <a:pos x="12" y="31"/>
                  </a:cxn>
                  <a:cxn ang="0">
                    <a:pos x="9" y="29"/>
                  </a:cxn>
                  <a:cxn ang="0">
                    <a:pos x="14" y="24"/>
                  </a:cxn>
                  <a:cxn ang="0">
                    <a:pos x="23" y="22"/>
                  </a:cxn>
                  <a:cxn ang="0">
                    <a:pos x="23" y="19"/>
                  </a:cxn>
                  <a:cxn ang="0">
                    <a:pos x="23" y="17"/>
                  </a:cxn>
                  <a:cxn ang="0">
                    <a:pos x="11" y="17"/>
                  </a:cxn>
                  <a:cxn ang="0">
                    <a:pos x="5" y="17"/>
                  </a:cxn>
                  <a:cxn ang="0">
                    <a:pos x="7" y="14"/>
                  </a:cxn>
                  <a:cxn ang="0">
                    <a:pos x="9" y="12"/>
                  </a:cxn>
                  <a:cxn ang="0">
                    <a:pos x="2" y="10"/>
                  </a:cxn>
                  <a:cxn ang="0">
                    <a:pos x="0" y="3"/>
                  </a:cxn>
                  <a:cxn ang="0">
                    <a:pos x="9" y="2"/>
                  </a:cxn>
                  <a:cxn ang="0">
                    <a:pos x="17" y="0"/>
                  </a:cxn>
                  <a:cxn ang="0">
                    <a:pos x="28" y="3"/>
                  </a:cxn>
                  <a:cxn ang="0">
                    <a:pos x="36" y="9"/>
                  </a:cxn>
                  <a:cxn ang="0">
                    <a:pos x="40" y="7"/>
                  </a:cxn>
                  <a:cxn ang="0">
                    <a:pos x="47" y="5"/>
                  </a:cxn>
                  <a:cxn ang="0">
                    <a:pos x="55" y="10"/>
                  </a:cxn>
                  <a:cxn ang="0">
                    <a:pos x="60" y="17"/>
                  </a:cxn>
                  <a:cxn ang="0">
                    <a:pos x="64" y="14"/>
                  </a:cxn>
                  <a:cxn ang="0">
                    <a:pos x="69" y="12"/>
                  </a:cxn>
                  <a:cxn ang="0">
                    <a:pos x="78" y="17"/>
                  </a:cxn>
                  <a:cxn ang="0">
                    <a:pos x="85" y="24"/>
                  </a:cxn>
                  <a:cxn ang="0">
                    <a:pos x="81" y="26"/>
                  </a:cxn>
                  <a:cxn ang="0">
                    <a:pos x="81" y="29"/>
                  </a:cxn>
                  <a:cxn ang="0">
                    <a:pos x="88" y="34"/>
                  </a:cxn>
                  <a:cxn ang="0">
                    <a:pos x="95" y="43"/>
                  </a:cxn>
                  <a:cxn ang="0">
                    <a:pos x="91" y="48"/>
                  </a:cxn>
                  <a:cxn ang="0">
                    <a:pos x="85" y="50"/>
                  </a:cxn>
                  <a:cxn ang="0">
                    <a:pos x="76" y="46"/>
                  </a:cxn>
                  <a:cxn ang="0">
                    <a:pos x="72" y="43"/>
                  </a:cxn>
                  <a:cxn ang="0">
                    <a:pos x="67" y="38"/>
                  </a:cxn>
                  <a:cxn ang="0">
                    <a:pos x="62" y="36"/>
                  </a:cxn>
                </a:cxnLst>
                <a:rect l="0" t="0" r="r" b="b"/>
                <a:pathLst>
                  <a:path w="95" h="50">
                    <a:moveTo>
                      <a:pt x="62" y="36"/>
                    </a:moveTo>
                    <a:lnTo>
                      <a:pt x="50" y="34"/>
                    </a:lnTo>
                    <a:lnTo>
                      <a:pt x="38" y="34"/>
                    </a:lnTo>
                    <a:lnTo>
                      <a:pt x="31" y="31"/>
                    </a:lnTo>
                    <a:lnTo>
                      <a:pt x="23" y="33"/>
                    </a:lnTo>
                    <a:lnTo>
                      <a:pt x="12" y="31"/>
                    </a:lnTo>
                    <a:lnTo>
                      <a:pt x="9" y="29"/>
                    </a:lnTo>
                    <a:lnTo>
                      <a:pt x="14" y="24"/>
                    </a:lnTo>
                    <a:lnTo>
                      <a:pt x="23" y="22"/>
                    </a:lnTo>
                    <a:lnTo>
                      <a:pt x="23" y="19"/>
                    </a:lnTo>
                    <a:lnTo>
                      <a:pt x="23" y="17"/>
                    </a:lnTo>
                    <a:lnTo>
                      <a:pt x="11" y="17"/>
                    </a:lnTo>
                    <a:lnTo>
                      <a:pt x="5" y="17"/>
                    </a:lnTo>
                    <a:lnTo>
                      <a:pt x="7" y="14"/>
                    </a:lnTo>
                    <a:lnTo>
                      <a:pt x="9" y="12"/>
                    </a:lnTo>
                    <a:lnTo>
                      <a:pt x="2" y="10"/>
                    </a:lnTo>
                    <a:lnTo>
                      <a:pt x="0" y="3"/>
                    </a:lnTo>
                    <a:lnTo>
                      <a:pt x="9" y="2"/>
                    </a:lnTo>
                    <a:lnTo>
                      <a:pt x="17" y="0"/>
                    </a:lnTo>
                    <a:lnTo>
                      <a:pt x="28" y="3"/>
                    </a:lnTo>
                    <a:lnTo>
                      <a:pt x="36" y="9"/>
                    </a:lnTo>
                    <a:lnTo>
                      <a:pt x="40" y="7"/>
                    </a:lnTo>
                    <a:lnTo>
                      <a:pt x="47" y="5"/>
                    </a:lnTo>
                    <a:lnTo>
                      <a:pt x="55" y="10"/>
                    </a:lnTo>
                    <a:lnTo>
                      <a:pt x="60" y="17"/>
                    </a:lnTo>
                    <a:lnTo>
                      <a:pt x="64" y="14"/>
                    </a:lnTo>
                    <a:lnTo>
                      <a:pt x="69" y="12"/>
                    </a:lnTo>
                    <a:lnTo>
                      <a:pt x="78" y="17"/>
                    </a:lnTo>
                    <a:lnTo>
                      <a:pt x="85" y="24"/>
                    </a:lnTo>
                    <a:lnTo>
                      <a:pt x="81" y="26"/>
                    </a:lnTo>
                    <a:lnTo>
                      <a:pt x="81" y="29"/>
                    </a:lnTo>
                    <a:lnTo>
                      <a:pt x="88" y="34"/>
                    </a:lnTo>
                    <a:lnTo>
                      <a:pt x="95" y="43"/>
                    </a:lnTo>
                    <a:lnTo>
                      <a:pt x="91" y="48"/>
                    </a:lnTo>
                    <a:lnTo>
                      <a:pt x="85" y="50"/>
                    </a:lnTo>
                    <a:lnTo>
                      <a:pt x="76" y="46"/>
                    </a:lnTo>
                    <a:lnTo>
                      <a:pt x="72" y="43"/>
                    </a:lnTo>
                    <a:lnTo>
                      <a:pt x="67" y="38"/>
                    </a:lnTo>
                    <a:lnTo>
                      <a:pt x="62"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6" name="Freeform 318"/>
              <p:cNvSpPr>
                <a:spLocks/>
              </p:cNvSpPr>
              <p:nvPr/>
            </p:nvSpPr>
            <p:spPr bwMode="auto">
              <a:xfrm>
                <a:off x="1956594" y="1706563"/>
                <a:ext cx="30163" cy="11112"/>
              </a:xfrm>
              <a:custGeom>
                <a:avLst/>
                <a:gdLst/>
                <a:ahLst/>
                <a:cxnLst>
                  <a:cxn ang="0">
                    <a:pos x="2" y="7"/>
                  </a:cxn>
                  <a:cxn ang="0">
                    <a:pos x="0" y="3"/>
                  </a:cxn>
                  <a:cxn ang="0">
                    <a:pos x="7" y="0"/>
                  </a:cxn>
                  <a:cxn ang="0">
                    <a:pos x="12" y="0"/>
                  </a:cxn>
                  <a:cxn ang="0">
                    <a:pos x="19" y="3"/>
                  </a:cxn>
                  <a:cxn ang="0">
                    <a:pos x="10" y="5"/>
                  </a:cxn>
                  <a:cxn ang="0">
                    <a:pos x="2" y="7"/>
                  </a:cxn>
                </a:cxnLst>
                <a:rect l="0" t="0" r="r" b="b"/>
                <a:pathLst>
                  <a:path w="19" h="7">
                    <a:moveTo>
                      <a:pt x="2" y="7"/>
                    </a:moveTo>
                    <a:lnTo>
                      <a:pt x="0" y="3"/>
                    </a:lnTo>
                    <a:lnTo>
                      <a:pt x="7" y="0"/>
                    </a:lnTo>
                    <a:lnTo>
                      <a:pt x="12" y="0"/>
                    </a:lnTo>
                    <a:lnTo>
                      <a:pt x="19" y="3"/>
                    </a:lnTo>
                    <a:lnTo>
                      <a:pt x="10" y="5"/>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7" name="Freeform 319"/>
              <p:cNvSpPr>
                <a:spLocks/>
              </p:cNvSpPr>
              <p:nvPr/>
            </p:nvSpPr>
            <p:spPr bwMode="auto">
              <a:xfrm>
                <a:off x="2089944" y="1752600"/>
                <a:ext cx="396875" cy="123825"/>
              </a:xfrm>
              <a:custGeom>
                <a:avLst/>
                <a:gdLst/>
                <a:ahLst/>
                <a:cxnLst>
                  <a:cxn ang="0">
                    <a:pos x="244" y="53"/>
                  </a:cxn>
                  <a:cxn ang="0">
                    <a:pos x="246" y="59"/>
                  </a:cxn>
                  <a:cxn ang="0">
                    <a:pos x="244" y="69"/>
                  </a:cxn>
                  <a:cxn ang="0">
                    <a:pos x="220" y="76"/>
                  </a:cxn>
                  <a:cxn ang="0">
                    <a:pos x="200" y="74"/>
                  </a:cxn>
                  <a:cxn ang="0">
                    <a:pos x="189" y="71"/>
                  </a:cxn>
                  <a:cxn ang="0">
                    <a:pos x="145" y="76"/>
                  </a:cxn>
                  <a:cxn ang="0">
                    <a:pos x="126" y="76"/>
                  </a:cxn>
                  <a:cxn ang="0">
                    <a:pos x="119" y="69"/>
                  </a:cxn>
                  <a:cxn ang="0">
                    <a:pos x="105" y="72"/>
                  </a:cxn>
                  <a:cxn ang="0">
                    <a:pos x="86" y="74"/>
                  </a:cxn>
                  <a:cxn ang="0">
                    <a:pos x="66" y="60"/>
                  </a:cxn>
                  <a:cxn ang="0">
                    <a:pos x="64" y="48"/>
                  </a:cxn>
                  <a:cxn ang="0">
                    <a:pos x="57" y="33"/>
                  </a:cxn>
                  <a:cxn ang="0">
                    <a:pos x="43" y="23"/>
                  </a:cxn>
                  <a:cxn ang="0">
                    <a:pos x="28" y="23"/>
                  </a:cxn>
                  <a:cxn ang="0">
                    <a:pos x="4" y="10"/>
                  </a:cxn>
                  <a:cxn ang="0">
                    <a:pos x="5" y="0"/>
                  </a:cxn>
                  <a:cxn ang="0">
                    <a:pos x="28" y="2"/>
                  </a:cxn>
                  <a:cxn ang="0">
                    <a:pos x="48" y="14"/>
                  </a:cxn>
                  <a:cxn ang="0">
                    <a:pos x="66" y="16"/>
                  </a:cxn>
                  <a:cxn ang="0">
                    <a:pos x="76" y="14"/>
                  </a:cxn>
                  <a:cxn ang="0">
                    <a:pos x="79" y="19"/>
                  </a:cxn>
                  <a:cxn ang="0">
                    <a:pos x="95" y="24"/>
                  </a:cxn>
                  <a:cxn ang="0">
                    <a:pos x="83" y="29"/>
                  </a:cxn>
                  <a:cxn ang="0">
                    <a:pos x="91" y="38"/>
                  </a:cxn>
                  <a:cxn ang="0">
                    <a:pos x="105" y="41"/>
                  </a:cxn>
                  <a:cxn ang="0">
                    <a:pos x="102" y="43"/>
                  </a:cxn>
                  <a:cxn ang="0">
                    <a:pos x="110" y="47"/>
                  </a:cxn>
                  <a:cxn ang="0">
                    <a:pos x="145" y="52"/>
                  </a:cxn>
                  <a:cxn ang="0">
                    <a:pos x="162" y="48"/>
                  </a:cxn>
                  <a:cxn ang="0">
                    <a:pos x="177" y="45"/>
                  </a:cxn>
                  <a:cxn ang="0">
                    <a:pos x="189" y="40"/>
                  </a:cxn>
                  <a:cxn ang="0">
                    <a:pos x="208" y="40"/>
                  </a:cxn>
                  <a:cxn ang="0">
                    <a:pos x="234" y="41"/>
                  </a:cxn>
                  <a:cxn ang="0">
                    <a:pos x="250" y="53"/>
                  </a:cxn>
                  <a:cxn ang="0">
                    <a:pos x="244" y="53"/>
                  </a:cxn>
                </a:cxnLst>
                <a:rect l="0" t="0" r="r" b="b"/>
                <a:pathLst>
                  <a:path w="250" h="78">
                    <a:moveTo>
                      <a:pt x="248" y="52"/>
                    </a:moveTo>
                    <a:lnTo>
                      <a:pt x="244" y="53"/>
                    </a:lnTo>
                    <a:lnTo>
                      <a:pt x="243" y="59"/>
                    </a:lnTo>
                    <a:lnTo>
                      <a:pt x="246" y="59"/>
                    </a:lnTo>
                    <a:lnTo>
                      <a:pt x="250" y="60"/>
                    </a:lnTo>
                    <a:lnTo>
                      <a:pt x="244" y="69"/>
                    </a:lnTo>
                    <a:lnTo>
                      <a:pt x="234" y="74"/>
                    </a:lnTo>
                    <a:lnTo>
                      <a:pt x="220" y="76"/>
                    </a:lnTo>
                    <a:lnTo>
                      <a:pt x="207" y="78"/>
                    </a:lnTo>
                    <a:lnTo>
                      <a:pt x="200" y="74"/>
                    </a:lnTo>
                    <a:lnTo>
                      <a:pt x="198" y="69"/>
                    </a:lnTo>
                    <a:lnTo>
                      <a:pt x="189" y="71"/>
                    </a:lnTo>
                    <a:lnTo>
                      <a:pt x="184" y="76"/>
                    </a:lnTo>
                    <a:lnTo>
                      <a:pt x="145" y="76"/>
                    </a:lnTo>
                    <a:lnTo>
                      <a:pt x="134" y="76"/>
                    </a:lnTo>
                    <a:lnTo>
                      <a:pt x="126" y="76"/>
                    </a:lnTo>
                    <a:lnTo>
                      <a:pt x="119" y="72"/>
                    </a:lnTo>
                    <a:lnTo>
                      <a:pt x="119" y="69"/>
                    </a:lnTo>
                    <a:lnTo>
                      <a:pt x="112" y="69"/>
                    </a:lnTo>
                    <a:lnTo>
                      <a:pt x="105" y="72"/>
                    </a:lnTo>
                    <a:lnTo>
                      <a:pt x="98" y="78"/>
                    </a:lnTo>
                    <a:lnTo>
                      <a:pt x="86" y="74"/>
                    </a:lnTo>
                    <a:lnTo>
                      <a:pt x="76" y="69"/>
                    </a:lnTo>
                    <a:lnTo>
                      <a:pt x="66" y="60"/>
                    </a:lnTo>
                    <a:lnTo>
                      <a:pt x="62" y="53"/>
                    </a:lnTo>
                    <a:lnTo>
                      <a:pt x="64" y="48"/>
                    </a:lnTo>
                    <a:lnTo>
                      <a:pt x="67" y="47"/>
                    </a:lnTo>
                    <a:lnTo>
                      <a:pt x="57" y="33"/>
                    </a:lnTo>
                    <a:lnTo>
                      <a:pt x="48" y="21"/>
                    </a:lnTo>
                    <a:lnTo>
                      <a:pt x="43" y="23"/>
                    </a:lnTo>
                    <a:lnTo>
                      <a:pt x="38" y="26"/>
                    </a:lnTo>
                    <a:lnTo>
                      <a:pt x="28" y="23"/>
                    </a:lnTo>
                    <a:lnTo>
                      <a:pt x="16" y="17"/>
                    </a:lnTo>
                    <a:lnTo>
                      <a:pt x="4" y="10"/>
                    </a:lnTo>
                    <a:lnTo>
                      <a:pt x="0" y="7"/>
                    </a:lnTo>
                    <a:lnTo>
                      <a:pt x="5" y="0"/>
                    </a:lnTo>
                    <a:lnTo>
                      <a:pt x="16" y="0"/>
                    </a:lnTo>
                    <a:lnTo>
                      <a:pt x="28" y="2"/>
                    </a:lnTo>
                    <a:lnTo>
                      <a:pt x="40" y="9"/>
                    </a:lnTo>
                    <a:lnTo>
                      <a:pt x="48" y="14"/>
                    </a:lnTo>
                    <a:lnTo>
                      <a:pt x="60" y="17"/>
                    </a:lnTo>
                    <a:lnTo>
                      <a:pt x="66" y="16"/>
                    </a:lnTo>
                    <a:lnTo>
                      <a:pt x="71" y="14"/>
                    </a:lnTo>
                    <a:lnTo>
                      <a:pt x="76" y="14"/>
                    </a:lnTo>
                    <a:lnTo>
                      <a:pt x="79" y="14"/>
                    </a:lnTo>
                    <a:lnTo>
                      <a:pt x="79" y="19"/>
                    </a:lnTo>
                    <a:lnTo>
                      <a:pt x="88" y="23"/>
                    </a:lnTo>
                    <a:lnTo>
                      <a:pt x="95" y="24"/>
                    </a:lnTo>
                    <a:lnTo>
                      <a:pt x="103" y="29"/>
                    </a:lnTo>
                    <a:lnTo>
                      <a:pt x="83" y="29"/>
                    </a:lnTo>
                    <a:lnTo>
                      <a:pt x="86" y="35"/>
                    </a:lnTo>
                    <a:lnTo>
                      <a:pt x="91" y="38"/>
                    </a:lnTo>
                    <a:lnTo>
                      <a:pt x="98" y="38"/>
                    </a:lnTo>
                    <a:lnTo>
                      <a:pt x="105" y="41"/>
                    </a:lnTo>
                    <a:lnTo>
                      <a:pt x="103" y="41"/>
                    </a:lnTo>
                    <a:lnTo>
                      <a:pt x="102" y="43"/>
                    </a:lnTo>
                    <a:lnTo>
                      <a:pt x="105" y="47"/>
                    </a:lnTo>
                    <a:lnTo>
                      <a:pt x="110" y="47"/>
                    </a:lnTo>
                    <a:lnTo>
                      <a:pt x="128" y="48"/>
                    </a:lnTo>
                    <a:lnTo>
                      <a:pt x="145" y="52"/>
                    </a:lnTo>
                    <a:lnTo>
                      <a:pt x="153" y="50"/>
                    </a:lnTo>
                    <a:lnTo>
                      <a:pt x="162" y="48"/>
                    </a:lnTo>
                    <a:lnTo>
                      <a:pt x="169" y="47"/>
                    </a:lnTo>
                    <a:lnTo>
                      <a:pt x="177" y="45"/>
                    </a:lnTo>
                    <a:lnTo>
                      <a:pt x="183" y="41"/>
                    </a:lnTo>
                    <a:lnTo>
                      <a:pt x="189" y="40"/>
                    </a:lnTo>
                    <a:lnTo>
                      <a:pt x="198" y="40"/>
                    </a:lnTo>
                    <a:lnTo>
                      <a:pt x="208" y="40"/>
                    </a:lnTo>
                    <a:lnTo>
                      <a:pt x="222" y="40"/>
                    </a:lnTo>
                    <a:lnTo>
                      <a:pt x="234" y="41"/>
                    </a:lnTo>
                    <a:lnTo>
                      <a:pt x="243" y="45"/>
                    </a:lnTo>
                    <a:lnTo>
                      <a:pt x="250" y="53"/>
                    </a:lnTo>
                    <a:lnTo>
                      <a:pt x="246" y="53"/>
                    </a:lnTo>
                    <a:lnTo>
                      <a:pt x="244" y="53"/>
                    </a:lnTo>
                    <a:lnTo>
                      <a:pt x="248" y="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8" name="Freeform 320"/>
              <p:cNvSpPr>
                <a:spLocks/>
              </p:cNvSpPr>
              <p:nvPr/>
            </p:nvSpPr>
            <p:spPr bwMode="auto">
              <a:xfrm>
                <a:off x="2096294" y="1817688"/>
                <a:ext cx="69850" cy="52387"/>
              </a:xfrm>
              <a:custGeom>
                <a:avLst/>
                <a:gdLst/>
                <a:ahLst/>
                <a:cxnLst>
                  <a:cxn ang="0">
                    <a:pos x="7" y="12"/>
                  </a:cxn>
                  <a:cxn ang="0">
                    <a:pos x="12" y="6"/>
                  </a:cxn>
                  <a:cxn ang="0">
                    <a:pos x="22" y="0"/>
                  </a:cxn>
                  <a:cxn ang="0">
                    <a:pos x="27" y="0"/>
                  </a:cxn>
                  <a:cxn ang="0">
                    <a:pos x="36" y="6"/>
                  </a:cxn>
                  <a:cxn ang="0">
                    <a:pos x="41" y="11"/>
                  </a:cxn>
                  <a:cxn ang="0">
                    <a:pos x="44" y="18"/>
                  </a:cxn>
                  <a:cxn ang="0">
                    <a:pos x="41" y="28"/>
                  </a:cxn>
                  <a:cxn ang="0">
                    <a:pos x="34" y="33"/>
                  </a:cxn>
                  <a:cxn ang="0">
                    <a:pos x="27" y="30"/>
                  </a:cxn>
                  <a:cxn ang="0">
                    <a:pos x="15" y="26"/>
                  </a:cxn>
                  <a:cxn ang="0">
                    <a:pos x="3" y="21"/>
                  </a:cxn>
                  <a:cxn ang="0">
                    <a:pos x="0" y="19"/>
                  </a:cxn>
                  <a:cxn ang="0">
                    <a:pos x="3" y="12"/>
                  </a:cxn>
                  <a:cxn ang="0">
                    <a:pos x="7" y="12"/>
                  </a:cxn>
                </a:cxnLst>
                <a:rect l="0" t="0" r="r" b="b"/>
                <a:pathLst>
                  <a:path w="44" h="33">
                    <a:moveTo>
                      <a:pt x="7" y="12"/>
                    </a:moveTo>
                    <a:lnTo>
                      <a:pt x="12" y="6"/>
                    </a:lnTo>
                    <a:lnTo>
                      <a:pt x="22" y="0"/>
                    </a:lnTo>
                    <a:lnTo>
                      <a:pt x="27" y="0"/>
                    </a:lnTo>
                    <a:lnTo>
                      <a:pt x="36" y="6"/>
                    </a:lnTo>
                    <a:lnTo>
                      <a:pt x="41" y="11"/>
                    </a:lnTo>
                    <a:lnTo>
                      <a:pt x="44" y="18"/>
                    </a:lnTo>
                    <a:lnTo>
                      <a:pt x="41" y="28"/>
                    </a:lnTo>
                    <a:lnTo>
                      <a:pt x="34" y="33"/>
                    </a:lnTo>
                    <a:lnTo>
                      <a:pt x="27" y="30"/>
                    </a:lnTo>
                    <a:lnTo>
                      <a:pt x="15" y="26"/>
                    </a:lnTo>
                    <a:lnTo>
                      <a:pt x="3" y="21"/>
                    </a:lnTo>
                    <a:lnTo>
                      <a:pt x="0" y="19"/>
                    </a:lnTo>
                    <a:lnTo>
                      <a:pt x="3" y="12"/>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9" name="Freeform 321"/>
              <p:cNvSpPr>
                <a:spLocks/>
              </p:cNvSpPr>
              <p:nvPr/>
            </p:nvSpPr>
            <p:spPr bwMode="auto">
              <a:xfrm>
                <a:off x="2104232" y="1717675"/>
                <a:ext cx="61913" cy="19050"/>
              </a:xfrm>
              <a:custGeom>
                <a:avLst/>
                <a:gdLst/>
                <a:ahLst/>
                <a:cxnLst>
                  <a:cxn ang="0">
                    <a:pos x="34" y="0"/>
                  </a:cxn>
                  <a:cxn ang="0">
                    <a:pos x="36" y="0"/>
                  </a:cxn>
                  <a:cxn ang="0">
                    <a:pos x="39" y="0"/>
                  </a:cxn>
                  <a:cxn ang="0">
                    <a:pos x="39" y="3"/>
                  </a:cxn>
                  <a:cxn ang="0">
                    <a:pos x="39" y="7"/>
                  </a:cxn>
                  <a:cxn ang="0">
                    <a:pos x="38" y="10"/>
                  </a:cxn>
                  <a:cxn ang="0">
                    <a:pos x="33" y="12"/>
                  </a:cxn>
                  <a:cxn ang="0">
                    <a:pos x="26" y="10"/>
                  </a:cxn>
                  <a:cxn ang="0">
                    <a:pos x="14" y="8"/>
                  </a:cxn>
                  <a:cxn ang="0">
                    <a:pos x="3" y="7"/>
                  </a:cxn>
                  <a:cxn ang="0">
                    <a:pos x="0" y="7"/>
                  </a:cxn>
                  <a:cxn ang="0">
                    <a:pos x="5" y="2"/>
                  </a:cxn>
                  <a:cxn ang="0">
                    <a:pos x="14" y="0"/>
                  </a:cxn>
                  <a:cxn ang="0">
                    <a:pos x="24" y="0"/>
                  </a:cxn>
                  <a:cxn ang="0">
                    <a:pos x="34" y="0"/>
                  </a:cxn>
                </a:cxnLst>
                <a:rect l="0" t="0" r="r" b="b"/>
                <a:pathLst>
                  <a:path w="39" h="12">
                    <a:moveTo>
                      <a:pt x="34" y="0"/>
                    </a:moveTo>
                    <a:lnTo>
                      <a:pt x="36" y="0"/>
                    </a:lnTo>
                    <a:lnTo>
                      <a:pt x="39" y="0"/>
                    </a:lnTo>
                    <a:lnTo>
                      <a:pt x="39" y="3"/>
                    </a:lnTo>
                    <a:lnTo>
                      <a:pt x="39" y="7"/>
                    </a:lnTo>
                    <a:lnTo>
                      <a:pt x="38" y="10"/>
                    </a:lnTo>
                    <a:lnTo>
                      <a:pt x="33" y="12"/>
                    </a:lnTo>
                    <a:lnTo>
                      <a:pt x="26" y="10"/>
                    </a:lnTo>
                    <a:lnTo>
                      <a:pt x="14" y="8"/>
                    </a:lnTo>
                    <a:lnTo>
                      <a:pt x="3" y="7"/>
                    </a:lnTo>
                    <a:lnTo>
                      <a:pt x="0" y="7"/>
                    </a:lnTo>
                    <a:lnTo>
                      <a:pt x="5" y="2"/>
                    </a:lnTo>
                    <a:lnTo>
                      <a:pt x="14" y="0"/>
                    </a:lnTo>
                    <a:lnTo>
                      <a:pt x="24" y="0"/>
                    </a:lnTo>
                    <a:lnTo>
                      <a:pt x="3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0" name="Freeform 322"/>
              <p:cNvSpPr>
                <a:spLocks/>
              </p:cNvSpPr>
              <p:nvPr/>
            </p:nvSpPr>
            <p:spPr bwMode="auto">
              <a:xfrm>
                <a:off x="2058194" y="1657350"/>
                <a:ext cx="73025" cy="53975"/>
              </a:xfrm>
              <a:custGeom>
                <a:avLst/>
                <a:gdLst/>
                <a:ahLst/>
                <a:cxnLst>
                  <a:cxn ang="0">
                    <a:pos x="10" y="33"/>
                  </a:cxn>
                  <a:cxn ang="0">
                    <a:pos x="12" y="27"/>
                  </a:cxn>
                  <a:cxn ang="0">
                    <a:pos x="15" y="27"/>
                  </a:cxn>
                  <a:cxn ang="0">
                    <a:pos x="5" y="17"/>
                  </a:cxn>
                  <a:cxn ang="0">
                    <a:pos x="0" y="9"/>
                  </a:cxn>
                  <a:cxn ang="0">
                    <a:pos x="3" y="2"/>
                  </a:cxn>
                  <a:cxn ang="0">
                    <a:pos x="10" y="0"/>
                  </a:cxn>
                  <a:cxn ang="0">
                    <a:pos x="17" y="5"/>
                  </a:cxn>
                  <a:cxn ang="0">
                    <a:pos x="29" y="9"/>
                  </a:cxn>
                  <a:cxn ang="0">
                    <a:pos x="31" y="12"/>
                  </a:cxn>
                  <a:cxn ang="0">
                    <a:pos x="37" y="14"/>
                  </a:cxn>
                  <a:cxn ang="0">
                    <a:pos x="43" y="14"/>
                  </a:cxn>
                  <a:cxn ang="0">
                    <a:pos x="46" y="19"/>
                  </a:cxn>
                  <a:cxn ang="0">
                    <a:pos x="44" y="24"/>
                  </a:cxn>
                  <a:cxn ang="0">
                    <a:pos x="46" y="33"/>
                  </a:cxn>
                  <a:cxn ang="0">
                    <a:pos x="32" y="33"/>
                  </a:cxn>
                  <a:cxn ang="0">
                    <a:pos x="20" y="34"/>
                  </a:cxn>
                  <a:cxn ang="0">
                    <a:pos x="12" y="34"/>
                  </a:cxn>
                  <a:cxn ang="0">
                    <a:pos x="10" y="33"/>
                  </a:cxn>
                </a:cxnLst>
                <a:rect l="0" t="0" r="r" b="b"/>
                <a:pathLst>
                  <a:path w="46" h="34">
                    <a:moveTo>
                      <a:pt x="10" y="33"/>
                    </a:moveTo>
                    <a:lnTo>
                      <a:pt x="12" y="27"/>
                    </a:lnTo>
                    <a:lnTo>
                      <a:pt x="15" y="27"/>
                    </a:lnTo>
                    <a:lnTo>
                      <a:pt x="5" y="17"/>
                    </a:lnTo>
                    <a:lnTo>
                      <a:pt x="0" y="9"/>
                    </a:lnTo>
                    <a:lnTo>
                      <a:pt x="3" y="2"/>
                    </a:lnTo>
                    <a:lnTo>
                      <a:pt x="10" y="0"/>
                    </a:lnTo>
                    <a:lnTo>
                      <a:pt x="17" y="5"/>
                    </a:lnTo>
                    <a:lnTo>
                      <a:pt x="29" y="9"/>
                    </a:lnTo>
                    <a:lnTo>
                      <a:pt x="31" y="12"/>
                    </a:lnTo>
                    <a:lnTo>
                      <a:pt x="37" y="14"/>
                    </a:lnTo>
                    <a:lnTo>
                      <a:pt x="43" y="14"/>
                    </a:lnTo>
                    <a:lnTo>
                      <a:pt x="46" y="19"/>
                    </a:lnTo>
                    <a:lnTo>
                      <a:pt x="44" y="24"/>
                    </a:lnTo>
                    <a:lnTo>
                      <a:pt x="46" y="33"/>
                    </a:lnTo>
                    <a:lnTo>
                      <a:pt x="32" y="33"/>
                    </a:lnTo>
                    <a:lnTo>
                      <a:pt x="20" y="34"/>
                    </a:lnTo>
                    <a:lnTo>
                      <a:pt x="12" y="34"/>
                    </a:lnTo>
                    <a:lnTo>
                      <a:pt x="10"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1" name="Freeform 323"/>
              <p:cNvSpPr>
                <a:spLocks/>
              </p:cNvSpPr>
              <p:nvPr/>
            </p:nvSpPr>
            <p:spPr bwMode="auto">
              <a:xfrm>
                <a:off x="2028032" y="1603375"/>
                <a:ext cx="30163" cy="15875"/>
              </a:xfrm>
              <a:custGeom>
                <a:avLst/>
                <a:gdLst/>
                <a:ahLst/>
                <a:cxnLst>
                  <a:cxn ang="0">
                    <a:pos x="19" y="0"/>
                  </a:cxn>
                  <a:cxn ang="0">
                    <a:pos x="19" y="10"/>
                  </a:cxn>
                  <a:cxn ang="0">
                    <a:pos x="10" y="10"/>
                  </a:cxn>
                  <a:cxn ang="0">
                    <a:pos x="3" y="6"/>
                  </a:cxn>
                  <a:cxn ang="0">
                    <a:pos x="0" y="0"/>
                  </a:cxn>
                  <a:cxn ang="0">
                    <a:pos x="10" y="0"/>
                  </a:cxn>
                  <a:cxn ang="0">
                    <a:pos x="19" y="0"/>
                  </a:cxn>
                </a:cxnLst>
                <a:rect l="0" t="0" r="r" b="b"/>
                <a:pathLst>
                  <a:path w="19" h="10">
                    <a:moveTo>
                      <a:pt x="19" y="0"/>
                    </a:moveTo>
                    <a:lnTo>
                      <a:pt x="19" y="10"/>
                    </a:lnTo>
                    <a:lnTo>
                      <a:pt x="10" y="10"/>
                    </a:lnTo>
                    <a:lnTo>
                      <a:pt x="3" y="6"/>
                    </a:lnTo>
                    <a:lnTo>
                      <a:pt x="0" y="0"/>
                    </a:lnTo>
                    <a:lnTo>
                      <a:pt x="10"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2" name="Freeform 324"/>
              <p:cNvSpPr>
                <a:spLocks/>
              </p:cNvSpPr>
              <p:nvPr/>
            </p:nvSpPr>
            <p:spPr bwMode="auto">
              <a:xfrm>
                <a:off x="2108994" y="1531938"/>
                <a:ext cx="249238" cy="168275"/>
              </a:xfrm>
              <a:custGeom>
                <a:avLst/>
                <a:gdLst/>
                <a:ahLst/>
                <a:cxnLst>
                  <a:cxn ang="0">
                    <a:pos x="112" y="43"/>
                  </a:cxn>
                  <a:cxn ang="0">
                    <a:pos x="109" y="33"/>
                  </a:cxn>
                  <a:cxn ang="0">
                    <a:pos x="114" y="33"/>
                  </a:cxn>
                  <a:cxn ang="0">
                    <a:pos x="121" y="41"/>
                  </a:cxn>
                  <a:cxn ang="0">
                    <a:pos x="128" y="48"/>
                  </a:cxn>
                  <a:cxn ang="0">
                    <a:pos x="124" y="57"/>
                  </a:cxn>
                  <a:cxn ang="0">
                    <a:pos x="133" y="57"/>
                  </a:cxn>
                  <a:cxn ang="0">
                    <a:pos x="157" y="64"/>
                  </a:cxn>
                  <a:cxn ang="0">
                    <a:pos x="157" y="70"/>
                  </a:cxn>
                  <a:cxn ang="0">
                    <a:pos x="145" y="74"/>
                  </a:cxn>
                  <a:cxn ang="0">
                    <a:pos x="131" y="81"/>
                  </a:cxn>
                  <a:cxn ang="0">
                    <a:pos x="121" y="89"/>
                  </a:cxn>
                  <a:cxn ang="0">
                    <a:pos x="112" y="79"/>
                  </a:cxn>
                  <a:cxn ang="0">
                    <a:pos x="107" y="88"/>
                  </a:cxn>
                  <a:cxn ang="0">
                    <a:pos x="114" y="96"/>
                  </a:cxn>
                  <a:cxn ang="0">
                    <a:pos x="103" y="103"/>
                  </a:cxn>
                  <a:cxn ang="0">
                    <a:pos x="86" y="94"/>
                  </a:cxn>
                  <a:cxn ang="0">
                    <a:pos x="74" y="106"/>
                  </a:cxn>
                  <a:cxn ang="0">
                    <a:pos x="54" y="96"/>
                  </a:cxn>
                  <a:cxn ang="0">
                    <a:pos x="60" y="93"/>
                  </a:cxn>
                  <a:cxn ang="0">
                    <a:pos x="45" y="89"/>
                  </a:cxn>
                  <a:cxn ang="0">
                    <a:pos x="36" y="81"/>
                  </a:cxn>
                  <a:cxn ang="0">
                    <a:pos x="54" y="72"/>
                  </a:cxn>
                  <a:cxn ang="0">
                    <a:pos x="76" y="70"/>
                  </a:cxn>
                  <a:cxn ang="0">
                    <a:pos x="55" y="67"/>
                  </a:cxn>
                  <a:cxn ang="0">
                    <a:pos x="40" y="70"/>
                  </a:cxn>
                  <a:cxn ang="0">
                    <a:pos x="33" y="64"/>
                  </a:cxn>
                  <a:cxn ang="0">
                    <a:pos x="23" y="69"/>
                  </a:cxn>
                  <a:cxn ang="0">
                    <a:pos x="17" y="64"/>
                  </a:cxn>
                  <a:cxn ang="0">
                    <a:pos x="30" y="57"/>
                  </a:cxn>
                  <a:cxn ang="0">
                    <a:pos x="9" y="53"/>
                  </a:cxn>
                  <a:cxn ang="0">
                    <a:pos x="0" y="41"/>
                  </a:cxn>
                  <a:cxn ang="0">
                    <a:pos x="14" y="43"/>
                  </a:cxn>
                  <a:cxn ang="0">
                    <a:pos x="24" y="43"/>
                  </a:cxn>
                  <a:cxn ang="0">
                    <a:pos x="21" y="38"/>
                  </a:cxn>
                  <a:cxn ang="0">
                    <a:pos x="7" y="33"/>
                  </a:cxn>
                  <a:cxn ang="0">
                    <a:pos x="9" y="26"/>
                  </a:cxn>
                  <a:cxn ang="0">
                    <a:pos x="24" y="27"/>
                  </a:cxn>
                  <a:cxn ang="0">
                    <a:pos x="33" y="26"/>
                  </a:cxn>
                  <a:cxn ang="0">
                    <a:pos x="28" y="22"/>
                  </a:cxn>
                  <a:cxn ang="0">
                    <a:pos x="17" y="19"/>
                  </a:cxn>
                  <a:cxn ang="0">
                    <a:pos x="23" y="10"/>
                  </a:cxn>
                  <a:cxn ang="0">
                    <a:pos x="43" y="10"/>
                  </a:cxn>
                  <a:cxn ang="0">
                    <a:pos x="28" y="0"/>
                  </a:cxn>
                  <a:cxn ang="0">
                    <a:pos x="60" y="5"/>
                  </a:cxn>
                  <a:cxn ang="0">
                    <a:pos x="67" y="15"/>
                  </a:cxn>
                  <a:cxn ang="0">
                    <a:pos x="76" y="27"/>
                  </a:cxn>
                  <a:cxn ang="0">
                    <a:pos x="97" y="29"/>
                  </a:cxn>
                  <a:cxn ang="0">
                    <a:pos x="105" y="43"/>
                  </a:cxn>
                </a:cxnLst>
                <a:rect l="0" t="0" r="r" b="b"/>
                <a:pathLst>
                  <a:path w="157" h="106">
                    <a:moveTo>
                      <a:pt x="105" y="43"/>
                    </a:moveTo>
                    <a:lnTo>
                      <a:pt x="112" y="43"/>
                    </a:lnTo>
                    <a:lnTo>
                      <a:pt x="112" y="36"/>
                    </a:lnTo>
                    <a:lnTo>
                      <a:pt x="109" y="33"/>
                    </a:lnTo>
                    <a:lnTo>
                      <a:pt x="110" y="33"/>
                    </a:lnTo>
                    <a:lnTo>
                      <a:pt x="114" y="33"/>
                    </a:lnTo>
                    <a:lnTo>
                      <a:pt x="119" y="34"/>
                    </a:lnTo>
                    <a:lnTo>
                      <a:pt x="121" y="41"/>
                    </a:lnTo>
                    <a:lnTo>
                      <a:pt x="124" y="45"/>
                    </a:lnTo>
                    <a:lnTo>
                      <a:pt x="128" y="48"/>
                    </a:lnTo>
                    <a:lnTo>
                      <a:pt x="126" y="51"/>
                    </a:lnTo>
                    <a:lnTo>
                      <a:pt x="124" y="57"/>
                    </a:lnTo>
                    <a:lnTo>
                      <a:pt x="128" y="58"/>
                    </a:lnTo>
                    <a:lnTo>
                      <a:pt x="133" y="57"/>
                    </a:lnTo>
                    <a:lnTo>
                      <a:pt x="143" y="58"/>
                    </a:lnTo>
                    <a:lnTo>
                      <a:pt x="157" y="64"/>
                    </a:lnTo>
                    <a:lnTo>
                      <a:pt x="157" y="67"/>
                    </a:lnTo>
                    <a:lnTo>
                      <a:pt x="157" y="70"/>
                    </a:lnTo>
                    <a:lnTo>
                      <a:pt x="150" y="72"/>
                    </a:lnTo>
                    <a:lnTo>
                      <a:pt x="145" y="74"/>
                    </a:lnTo>
                    <a:lnTo>
                      <a:pt x="136" y="76"/>
                    </a:lnTo>
                    <a:lnTo>
                      <a:pt x="131" y="81"/>
                    </a:lnTo>
                    <a:lnTo>
                      <a:pt x="126" y="86"/>
                    </a:lnTo>
                    <a:lnTo>
                      <a:pt x="121" y="89"/>
                    </a:lnTo>
                    <a:lnTo>
                      <a:pt x="114" y="86"/>
                    </a:lnTo>
                    <a:lnTo>
                      <a:pt x="112" y="79"/>
                    </a:lnTo>
                    <a:lnTo>
                      <a:pt x="109" y="82"/>
                    </a:lnTo>
                    <a:lnTo>
                      <a:pt x="107" y="88"/>
                    </a:lnTo>
                    <a:lnTo>
                      <a:pt x="110" y="91"/>
                    </a:lnTo>
                    <a:lnTo>
                      <a:pt x="114" y="96"/>
                    </a:lnTo>
                    <a:lnTo>
                      <a:pt x="103" y="96"/>
                    </a:lnTo>
                    <a:lnTo>
                      <a:pt x="103" y="103"/>
                    </a:lnTo>
                    <a:lnTo>
                      <a:pt x="95" y="100"/>
                    </a:lnTo>
                    <a:lnTo>
                      <a:pt x="86" y="94"/>
                    </a:lnTo>
                    <a:lnTo>
                      <a:pt x="83" y="103"/>
                    </a:lnTo>
                    <a:lnTo>
                      <a:pt x="74" y="106"/>
                    </a:lnTo>
                    <a:lnTo>
                      <a:pt x="60" y="103"/>
                    </a:lnTo>
                    <a:lnTo>
                      <a:pt x="54" y="96"/>
                    </a:lnTo>
                    <a:lnTo>
                      <a:pt x="57" y="94"/>
                    </a:lnTo>
                    <a:lnTo>
                      <a:pt x="60" y="93"/>
                    </a:lnTo>
                    <a:lnTo>
                      <a:pt x="52" y="91"/>
                    </a:lnTo>
                    <a:lnTo>
                      <a:pt x="45" y="89"/>
                    </a:lnTo>
                    <a:lnTo>
                      <a:pt x="38" y="84"/>
                    </a:lnTo>
                    <a:lnTo>
                      <a:pt x="36" y="81"/>
                    </a:lnTo>
                    <a:lnTo>
                      <a:pt x="40" y="74"/>
                    </a:lnTo>
                    <a:lnTo>
                      <a:pt x="54" y="72"/>
                    </a:lnTo>
                    <a:lnTo>
                      <a:pt x="66" y="70"/>
                    </a:lnTo>
                    <a:lnTo>
                      <a:pt x="76" y="70"/>
                    </a:lnTo>
                    <a:lnTo>
                      <a:pt x="64" y="67"/>
                    </a:lnTo>
                    <a:lnTo>
                      <a:pt x="55" y="67"/>
                    </a:lnTo>
                    <a:lnTo>
                      <a:pt x="45" y="69"/>
                    </a:lnTo>
                    <a:lnTo>
                      <a:pt x="40" y="70"/>
                    </a:lnTo>
                    <a:lnTo>
                      <a:pt x="35" y="67"/>
                    </a:lnTo>
                    <a:lnTo>
                      <a:pt x="33" y="64"/>
                    </a:lnTo>
                    <a:lnTo>
                      <a:pt x="26" y="65"/>
                    </a:lnTo>
                    <a:lnTo>
                      <a:pt x="23" y="69"/>
                    </a:lnTo>
                    <a:lnTo>
                      <a:pt x="17" y="65"/>
                    </a:lnTo>
                    <a:lnTo>
                      <a:pt x="17" y="64"/>
                    </a:lnTo>
                    <a:lnTo>
                      <a:pt x="23" y="60"/>
                    </a:lnTo>
                    <a:lnTo>
                      <a:pt x="30" y="57"/>
                    </a:lnTo>
                    <a:lnTo>
                      <a:pt x="17" y="55"/>
                    </a:lnTo>
                    <a:lnTo>
                      <a:pt x="9" y="53"/>
                    </a:lnTo>
                    <a:lnTo>
                      <a:pt x="2" y="48"/>
                    </a:lnTo>
                    <a:lnTo>
                      <a:pt x="0" y="41"/>
                    </a:lnTo>
                    <a:lnTo>
                      <a:pt x="7" y="41"/>
                    </a:lnTo>
                    <a:lnTo>
                      <a:pt x="14" y="43"/>
                    </a:lnTo>
                    <a:lnTo>
                      <a:pt x="23" y="45"/>
                    </a:lnTo>
                    <a:lnTo>
                      <a:pt x="24" y="43"/>
                    </a:lnTo>
                    <a:lnTo>
                      <a:pt x="28" y="41"/>
                    </a:lnTo>
                    <a:lnTo>
                      <a:pt x="21" y="38"/>
                    </a:lnTo>
                    <a:lnTo>
                      <a:pt x="14" y="36"/>
                    </a:lnTo>
                    <a:lnTo>
                      <a:pt x="7" y="33"/>
                    </a:lnTo>
                    <a:lnTo>
                      <a:pt x="5" y="31"/>
                    </a:lnTo>
                    <a:lnTo>
                      <a:pt x="9" y="26"/>
                    </a:lnTo>
                    <a:lnTo>
                      <a:pt x="17" y="26"/>
                    </a:lnTo>
                    <a:lnTo>
                      <a:pt x="24" y="27"/>
                    </a:lnTo>
                    <a:lnTo>
                      <a:pt x="31" y="29"/>
                    </a:lnTo>
                    <a:lnTo>
                      <a:pt x="33" y="26"/>
                    </a:lnTo>
                    <a:lnTo>
                      <a:pt x="36" y="24"/>
                    </a:lnTo>
                    <a:lnTo>
                      <a:pt x="28" y="22"/>
                    </a:lnTo>
                    <a:lnTo>
                      <a:pt x="23" y="24"/>
                    </a:lnTo>
                    <a:lnTo>
                      <a:pt x="17" y="19"/>
                    </a:lnTo>
                    <a:lnTo>
                      <a:pt x="16" y="15"/>
                    </a:lnTo>
                    <a:lnTo>
                      <a:pt x="23" y="10"/>
                    </a:lnTo>
                    <a:lnTo>
                      <a:pt x="35" y="10"/>
                    </a:lnTo>
                    <a:lnTo>
                      <a:pt x="43" y="10"/>
                    </a:lnTo>
                    <a:lnTo>
                      <a:pt x="33" y="7"/>
                    </a:lnTo>
                    <a:lnTo>
                      <a:pt x="28" y="0"/>
                    </a:lnTo>
                    <a:lnTo>
                      <a:pt x="43" y="2"/>
                    </a:lnTo>
                    <a:lnTo>
                      <a:pt x="60" y="5"/>
                    </a:lnTo>
                    <a:lnTo>
                      <a:pt x="66" y="8"/>
                    </a:lnTo>
                    <a:lnTo>
                      <a:pt x="67" y="15"/>
                    </a:lnTo>
                    <a:lnTo>
                      <a:pt x="69" y="22"/>
                    </a:lnTo>
                    <a:lnTo>
                      <a:pt x="76" y="27"/>
                    </a:lnTo>
                    <a:lnTo>
                      <a:pt x="86" y="27"/>
                    </a:lnTo>
                    <a:lnTo>
                      <a:pt x="97" y="29"/>
                    </a:lnTo>
                    <a:lnTo>
                      <a:pt x="102" y="34"/>
                    </a:lnTo>
                    <a:lnTo>
                      <a:pt x="105"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3" name="Freeform 325"/>
              <p:cNvSpPr>
                <a:spLocks/>
              </p:cNvSpPr>
              <p:nvPr/>
            </p:nvSpPr>
            <p:spPr bwMode="auto">
              <a:xfrm>
                <a:off x="2312194" y="2233613"/>
                <a:ext cx="163513" cy="103187"/>
              </a:xfrm>
              <a:custGeom>
                <a:avLst/>
                <a:gdLst/>
                <a:ahLst/>
                <a:cxnLst>
                  <a:cxn ang="0">
                    <a:pos x="6" y="45"/>
                  </a:cxn>
                  <a:cxn ang="0">
                    <a:pos x="10" y="41"/>
                  </a:cxn>
                  <a:cxn ang="0">
                    <a:pos x="12" y="38"/>
                  </a:cxn>
                  <a:cxn ang="0">
                    <a:pos x="12" y="32"/>
                  </a:cxn>
                  <a:cxn ang="0">
                    <a:pos x="12" y="31"/>
                  </a:cxn>
                  <a:cxn ang="0">
                    <a:pos x="12" y="20"/>
                  </a:cxn>
                  <a:cxn ang="0">
                    <a:pos x="13" y="12"/>
                  </a:cxn>
                  <a:cxn ang="0">
                    <a:pos x="18" y="3"/>
                  </a:cxn>
                  <a:cxn ang="0">
                    <a:pos x="29" y="0"/>
                  </a:cxn>
                  <a:cxn ang="0">
                    <a:pos x="32" y="7"/>
                  </a:cxn>
                  <a:cxn ang="0">
                    <a:pos x="36" y="14"/>
                  </a:cxn>
                  <a:cxn ang="0">
                    <a:pos x="37" y="12"/>
                  </a:cxn>
                  <a:cxn ang="0">
                    <a:pos x="41" y="10"/>
                  </a:cxn>
                  <a:cxn ang="0">
                    <a:pos x="48" y="15"/>
                  </a:cxn>
                  <a:cxn ang="0">
                    <a:pos x="58" y="20"/>
                  </a:cxn>
                  <a:cxn ang="0">
                    <a:pos x="67" y="22"/>
                  </a:cxn>
                  <a:cxn ang="0">
                    <a:pos x="77" y="31"/>
                  </a:cxn>
                  <a:cxn ang="0">
                    <a:pos x="77" y="34"/>
                  </a:cxn>
                  <a:cxn ang="0">
                    <a:pos x="80" y="39"/>
                  </a:cxn>
                  <a:cxn ang="0">
                    <a:pos x="92" y="45"/>
                  </a:cxn>
                  <a:cxn ang="0">
                    <a:pos x="103" y="50"/>
                  </a:cxn>
                  <a:cxn ang="0">
                    <a:pos x="94" y="53"/>
                  </a:cxn>
                  <a:cxn ang="0">
                    <a:pos x="86" y="55"/>
                  </a:cxn>
                  <a:cxn ang="0">
                    <a:pos x="77" y="55"/>
                  </a:cxn>
                  <a:cxn ang="0">
                    <a:pos x="72" y="55"/>
                  </a:cxn>
                  <a:cxn ang="0">
                    <a:pos x="68" y="51"/>
                  </a:cxn>
                  <a:cxn ang="0">
                    <a:pos x="61" y="48"/>
                  </a:cxn>
                  <a:cxn ang="0">
                    <a:pos x="55" y="43"/>
                  </a:cxn>
                  <a:cxn ang="0">
                    <a:pos x="53" y="43"/>
                  </a:cxn>
                  <a:cxn ang="0">
                    <a:pos x="49" y="50"/>
                  </a:cxn>
                  <a:cxn ang="0">
                    <a:pos x="43" y="57"/>
                  </a:cxn>
                  <a:cxn ang="0">
                    <a:pos x="34" y="60"/>
                  </a:cxn>
                  <a:cxn ang="0">
                    <a:pos x="29" y="60"/>
                  </a:cxn>
                  <a:cxn ang="0">
                    <a:pos x="25" y="63"/>
                  </a:cxn>
                  <a:cxn ang="0">
                    <a:pos x="24" y="65"/>
                  </a:cxn>
                  <a:cxn ang="0">
                    <a:pos x="18" y="62"/>
                  </a:cxn>
                  <a:cxn ang="0">
                    <a:pos x="20" y="55"/>
                  </a:cxn>
                  <a:cxn ang="0">
                    <a:pos x="8" y="53"/>
                  </a:cxn>
                  <a:cxn ang="0">
                    <a:pos x="0" y="55"/>
                  </a:cxn>
                  <a:cxn ang="0">
                    <a:pos x="1" y="46"/>
                  </a:cxn>
                  <a:cxn ang="0">
                    <a:pos x="6" y="45"/>
                  </a:cxn>
                </a:cxnLst>
                <a:rect l="0" t="0" r="r" b="b"/>
                <a:pathLst>
                  <a:path w="103" h="65">
                    <a:moveTo>
                      <a:pt x="6" y="45"/>
                    </a:moveTo>
                    <a:lnTo>
                      <a:pt x="10" y="41"/>
                    </a:lnTo>
                    <a:lnTo>
                      <a:pt x="12" y="38"/>
                    </a:lnTo>
                    <a:lnTo>
                      <a:pt x="12" y="32"/>
                    </a:lnTo>
                    <a:lnTo>
                      <a:pt x="12" y="31"/>
                    </a:lnTo>
                    <a:lnTo>
                      <a:pt x="12" y="20"/>
                    </a:lnTo>
                    <a:lnTo>
                      <a:pt x="13" y="12"/>
                    </a:lnTo>
                    <a:lnTo>
                      <a:pt x="18" y="3"/>
                    </a:lnTo>
                    <a:lnTo>
                      <a:pt x="29" y="0"/>
                    </a:lnTo>
                    <a:lnTo>
                      <a:pt x="32" y="7"/>
                    </a:lnTo>
                    <a:lnTo>
                      <a:pt x="36" y="14"/>
                    </a:lnTo>
                    <a:lnTo>
                      <a:pt x="37" y="12"/>
                    </a:lnTo>
                    <a:lnTo>
                      <a:pt x="41" y="10"/>
                    </a:lnTo>
                    <a:lnTo>
                      <a:pt x="48" y="15"/>
                    </a:lnTo>
                    <a:lnTo>
                      <a:pt x="58" y="20"/>
                    </a:lnTo>
                    <a:lnTo>
                      <a:pt x="67" y="22"/>
                    </a:lnTo>
                    <a:lnTo>
                      <a:pt x="77" y="31"/>
                    </a:lnTo>
                    <a:lnTo>
                      <a:pt x="77" y="34"/>
                    </a:lnTo>
                    <a:lnTo>
                      <a:pt x="80" y="39"/>
                    </a:lnTo>
                    <a:lnTo>
                      <a:pt x="92" y="45"/>
                    </a:lnTo>
                    <a:lnTo>
                      <a:pt x="103" y="50"/>
                    </a:lnTo>
                    <a:lnTo>
                      <a:pt x="94" y="53"/>
                    </a:lnTo>
                    <a:lnTo>
                      <a:pt x="86" y="55"/>
                    </a:lnTo>
                    <a:lnTo>
                      <a:pt x="77" y="55"/>
                    </a:lnTo>
                    <a:lnTo>
                      <a:pt x="72" y="55"/>
                    </a:lnTo>
                    <a:lnTo>
                      <a:pt x="68" y="51"/>
                    </a:lnTo>
                    <a:lnTo>
                      <a:pt x="61" y="48"/>
                    </a:lnTo>
                    <a:lnTo>
                      <a:pt x="55" y="43"/>
                    </a:lnTo>
                    <a:lnTo>
                      <a:pt x="53" y="43"/>
                    </a:lnTo>
                    <a:lnTo>
                      <a:pt x="49" y="50"/>
                    </a:lnTo>
                    <a:lnTo>
                      <a:pt x="43" y="57"/>
                    </a:lnTo>
                    <a:lnTo>
                      <a:pt x="34" y="60"/>
                    </a:lnTo>
                    <a:lnTo>
                      <a:pt x="29" y="60"/>
                    </a:lnTo>
                    <a:lnTo>
                      <a:pt x="25" y="63"/>
                    </a:lnTo>
                    <a:lnTo>
                      <a:pt x="24" y="65"/>
                    </a:lnTo>
                    <a:lnTo>
                      <a:pt x="18" y="62"/>
                    </a:lnTo>
                    <a:lnTo>
                      <a:pt x="20" y="55"/>
                    </a:lnTo>
                    <a:lnTo>
                      <a:pt x="8" y="53"/>
                    </a:lnTo>
                    <a:lnTo>
                      <a:pt x="0" y="55"/>
                    </a:lnTo>
                    <a:lnTo>
                      <a:pt x="1" y="46"/>
                    </a:lnTo>
                    <a:lnTo>
                      <a:pt x="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4" name="Freeform 326"/>
              <p:cNvSpPr>
                <a:spLocks/>
              </p:cNvSpPr>
              <p:nvPr/>
            </p:nvSpPr>
            <p:spPr bwMode="auto">
              <a:xfrm>
                <a:off x="2543969" y="2139950"/>
                <a:ext cx="49213" cy="41275"/>
              </a:xfrm>
              <a:custGeom>
                <a:avLst/>
                <a:gdLst/>
                <a:ahLst/>
                <a:cxnLst>
                  <a:cxn ang="0">
                    <a:pos x="31" y="14"/>
                  </a:cxn>
                  <a:cxn ang="0">
                    <a:pos x="24" y="23"/>
                  </a:cxn>
                  <a:cxn ang="0">
                    <a:pos x="12" y="26"/>
                  </a:cxn>
                  <a:cxn ang="0">
                    <a:pos x="3" y="23"/>
                  </a:cxn>
                  <a:cxn ang="0">
                    <a:pos x="0" y="14"/>
                  </a:cxn>
                  <a:cxn ang="0">
                    <a:pos x="3" y="2"/>
                  </a:cxn>
                  <a:cxn ang="0">
                    <a:pos x="15" y="0"/>
                  </a:cxn>
                  <a:cxn ang="0">
                    <a:pos x="26" y="4"/>
                  </a:cxn>
                  <a:cxn ang="0">
                    <a:pos x="31" y="14"/>
                  </a:cxn>
                </a:cxnLst>
                <a:rect l="0" t="0" r="r" b="b"/>
                <a:pathLst>
                  <a:path w="31" h="26">
                    <a:moveTo>
                      <a:pt x="31" y="14"/>
                    </a:moveTo>
                    <a:lnTo>
                      <a:pt x="24" y="23"/>
                    </a:lnTo>
                    <a:lnTo>
                      <a:pt x="12" y="26"/>
                    </a:lnTo>
                    <a:lnTo>
                      <a:pt x="3" y="23"/>
                    </a:lnTo>
                    <a:lnTo>
                      <a:pt x="0" y="14"/>
                    </a:lnTo>
                    <a:lnTo>
                      <a:pt x="3" y="2"/>
                    </a:lnTo>
                    <a:lnTo>
                      <a:pt x="15" y="0"/>
                    </a:lnTo>
                    <a:lnTo>
                      <a:pt x="26" y="4"/>
                    </a:lnTo>
                    <a:lnTo>
                      <a:pt x="31"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5" name="Freeform 327"/>
              <p:cNvSpPr>
                <a:spLocks/>
              </p:cNvSpPr>
              <p:nvPr/>
            </p:nvSpPr>
            <p:spPr bwMode="auto">
              <a:xfrm>
                <a:off x="2393157" y="2339975"/>
                <a:ext cx="41275" cy="31750"/>
              </a:xfrm>
              <a:custGeom>
                <a:avLst/>
                <a:gdLst/>
                <a:ahLst/>
                <a:cxnLst>
                  <a:cxn ang="0">
                    <a:pos x="10" y="2"/>
                  </a:cxn>
                  <a:cxn ang="0">
                    <a:pos x="19" y="0"/>
                  </a:cxn>
                  <a:cxn ang="0">
                    <a:pos x="26" y="3"/>
                  </a:cxn>
                  <a:cxn ang="0">
                    <a:pos x="14" y="14"/>
                  </a:cxn>
                  <a:cxn ang="0">
                    <a:pos x="0" y="20"/>
                  </a:cxn>
                  <a:cxn ang="0">
                    <a:pos x="0" y="14"/>
                  </a:cxn>
                  <a:cxn ang="0">
                    <a:pos x="5" y="7"/>
                  </a:cxn>
                  <a:cxn ang="0">
                    <a:pos x="10" y="2"/>
                  </a:cxn>
                </a:cxnLst>
                <a:rect l="0" t="0" r="r" b="b"/>
                <a:pathLst>
                  <a:path w="26" h="20">
                    <a:moveTo>
                      <a:pt x="10" y="2"/>
                    </a:moveTo>
                    <a:lnTo>
                      <a:pt x="19" y="0"/>
                    </a:lnTo>
                    <a:lnTo>
                      <a:pt x="26" y="3"/>
                    </a:lnTo>
                    <a:lnTo>
                      <a:pt x="14" y="14"/>
                    </a:lnTo>
                    <a:lnTo>
                      <a:pt x="0" y="20"/>
                    </a:lnTo>
                    <a:lnTo>
                      <a:pt x="0" y="14"/>
                    </a:lnTo>
                    <a:lnTo>
                      <a:pt x="5" y="7"/>
                    </a:lnTo>
                    <a:lnTo>
                      <a:pt x="1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6" name="Freeform 328"/>
              <p:cNvSpPr>
                <a:spLocks/>
              </p:cNvSpPr>
              <p:nvPr/>
            </p:nvSpPr>
            <p:spPr bwMode="auto">
              <a:xfrm>
                <a:off x="2458244" y="1908175"/>
                <a:ext cx="107950" cy="46037"/>
              </a:xfrm>
              <a:custGeom>
                <a:avLst/>
                <a:gdLst/>
                <a:ahLst/>
                <a:cxnLst>
                  <a:cxn ang="0">
                    <a:pos x="25" y="29"/>
                  </a:cxn>
                  <a:cxn ang="0">
                    <a:pos x="11" y="26"/>
                  </a:cxn>
                  <a:cxn ang="0">
                    <a:pos x="11" y="17"/>
                  </a:cxn>
                  <a:cxn ang="0">
                    <a:pos x="2" y="12"/>
                  </a:cxn>
                  <a:cxn ang="0">
                    <a:pos x="0" y="7"/>
                  </a:cxn>
                  <a:cxn ang="0">
                    <a:pos x="2" y="0"/>
                  </a:cxn>
                  <a:cxn ang="0">
                    <a:pos x="9" y="0"/>
                  </a:cxn>
                  <a:cxn ang="0">
                    <a:pos x="21" y="2"/>
                  </a:cxn>
                  <a:cxn ang="0">
                    <a:pos x="33" y="4"/>
                  </a:cxn>
                  <a:cxn ang="0">
                    <a:pos x="42" y="4"/>
                  </a:cxn>
                  <a:cxn ang="0">
                    <a:pos x="52" y="9"/>
                  </a:cxn>
                  <a:cxn ang="0">
                    <a:pos x="59" y="14"/>
                  </a:cxn>
                  <a:cxn ang="0">
                    <a:pos x="68" y="19"/>
                  </a:cxn>
                  <a:cxn ang="0">
                    <a:pos x="64" y="24"/>
                  </a:cxn>
                  <a:cxn ang="0">
                    <a:pos x="59" y="28"/>
                  </a:cxn>
                  <a:cxn ang="0">
                    <a:pos x="50" y="26"/>
                  </a:cxn>
                  <a:cxn ang="0">
                    <a:pos x="43" y="24"/>
                  </a:cxn>
                  <a:cxn ang="0">
                    <a:pos x="35" y="26"/>
                  </a:cxn>
                  <a:cxn ang="0">
                    <a:pos x="25" y="29"/>
                  </a:cxn>
                </a:cxnLst>
                <a:rect l="0" t="0" r="r" b="b"/>
                <a:pathLst>
                  <a:path w="68" h="29">
                    <a:moveTo>
                      <a:pt x="25" y="29"/>
                    </a:moveTo>
                    <a:lnTo>
                      <a:pt x="11" y="26"/>
                    </a:lnTo>
                    <a:lnTo>
                      <a:pt x="11" y="17"/>
                    </a:lnTo>
                    <a:lnTo>
                      <a:pt x="2" y="12"/>
                    </a:lnTo>
                    <a:lnTo>
                      <a:pt x="0" y="7"/>
                    </a:lnTo>
                    <a:lnTo>
                      <a:pt x="2" y="0"/>
                    </a:lnTo>
                    <a:lnTo>
                      <a:pt x="9" y="0"/>
                    </a:lnTo>
                    <a:lnTo>
                      <a:pt x="21" y="2"/>
                    </a:lnTo>
                    <a:lnTo>
                      <a:pt x="33" y="4"/>
                    </a:lnTo>
                    <a:lnTo>
                      <a:pt x="42" y="4"/>
                    </a:lnTo>
                    <a:lnTo>
                      <a:pt x="52" y="9"/>
                    </a:lnTo>
                    <a:lnTo>
                      <a:pt x="59" y="14"/>
                    </a:lnTo>
                    <a:lnTo>
                      <a:pt x="68" y="19"/>
                    </a:lnTo>
                    <a:lnTo>
                      <a:pt x="64" y="24"/>
                    </a:lnTo>
                    <a:lnTo>
                      <a:pt x="59" y="28"/>
                    </a:lnTo>
                    <a:lnTo>
                      <a:pt x="50" y="26"/>
                    </a:lnTo>
                    <a:lnTo>
                      <a:pt x="43" y="24"/>
                    </a:lnTo>
                    <a:lnTo>
                      <a:pt x="35" y="26"/>
                    </a:lnTo>
                    <a:lnTo>
                      <a:pt x="25"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7" name="Freeform 329"/>
              <p:cNvSpPr>
                <a:spLocks/>
              </p:cNvSpPr>
              <p:nvPr/>
            </p:nvSpPr>
            <p:spPr bwMode="auto">
              <a:xfrm>
                <a:off x="2467769" y="2363788"/>
                <a:ext cx="26988" cy="25400"/>
              </a:xfrm>
              <a:custGeom>
                <a:avLst/>
                <a:gdLst/>
                <a:ahLst/>
                <a:cxnLst>
                  <a:cxn ang="0">
                    <a:pos x="17" y="4"/>
                  </a:cxn>
                  <a:cxn ang="0">
                    <a:pos x="12" y="11"/>
                  </a:cxn>
                  <a:cxn ang="0">
                    <a:pos x="8" y="16"/>
                  </a:cxn>
                  <a:cxn ang="0">
                    <a:pos x="3" y="12"/>
                  </a:cxn>
                  <a:cxn ang="0">
                    <a:pos x="0" y="9"/>
                  </a:cxn>
                  <a:cxn ang="0">
                    <a:pos x="5" y="0"/>
                  </a:cxn>
                  <a:cxn ang="0">
                    <a:pos x="17" y="4"/>
                  </a:cxn>
                </a:cxnLst>
                <a:rect l="0" t="0" r="r" b="b"/>
                <a:pathLst>
                  <a:path w="17" h="16">
                    <a:moveTo>
                      <a:pt x="17" y="4"/>
                    </a:moveTo>
                    <a:lnTo>
                      <a:pt x="12" y="11"/>
                    </a:lnTo>
                    <a:lnTo>
                      <a:pt x="8" y="16"/>
                    </a:lnTo>
                    <a:lnTo>
                      <a:pt x="3" y="12"/>
                    </a:lnTo>
                    <a:lnTo>
                      <a:pt x="0" y="9"/>
                    </a:lnTo>
                    <a:lnTo>
                      <a:pt x="5" y="0"/>
                    </a:lnTo>
                    <a:lnTo>
                      <a:pt x="17"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8" name="Freeform 330"/>
              <p:cNvSpPr>
                <a:spLocks/>
              </p:cNvSpPr>
              <p:nvPr/>
            </p:nvSpPr>
            <p:spPr bwMode="auto">
              <a:xfrm>
                <a:off x="2601119" y="2143125"/>
                <a:ext cx="26988" cy="15875"/>
              </a:xfrm>
              <a:custGeom>
                <a:avLst/>
                <a:gdLst/>
                <a:ahLst/>
                <a:cxnLst>
                  <a:cxn ang="0">
                    <a:pos x="7" y="10"/>
                  </a:cxn>
                  <a:cxn ang="0">
                    <a:pos x="2" y="9"/>
                  </a:cxn>
                  <a:cxn ang="0">
                    <a:pos x="0" y="7"/>
                  </a:cxn>
                  <a:cxn ang="0">
                    <a:pos x="2" y="2"/>
                  </a:cxn>
                  <a:cxn ang="0">
                    <a:pos x="7" y="0"/>
                  </a:cxn>
                  <a:cxn ang="0">
                    <a:pos x="12" y="3"/>
                  </a:cxn>
                  <a:cxn ang="0">
                    <a:pos x="17" y="9"/>
                  </a:cxn>
                  <a:cxn ang="0">
                    <a:pos x="10" y="9"/>
                  </a:cxn>
                  <a:cxn ang="0">
                    <a:pos x="7" y="10"/>
                  </a:cxn>
                </a:cxnLst>
                <a:rect l="0" t="0" r="r" b="b"/>
                <a:pathLst>
                  <a:path w="17" h="10">
                    <a:moveTo>
                      <a:pt x="7" y="10"/>
                    </a:moveTo>
                    <a:lnTo>
                      <a:pt x="2" y="9"/>
                    </a:lnTo>
                    <a:lnTo>
                      <a:pt x="0" y="7"/>
                    </a:lnTo>
                    <a:lnTo>
                      <a:pt x="2" y="2"/>
                    </a:lnTo>
                    <a:lnTo>
                      <a:pt x="7" y="0"/>
                    </a:lnTo>
                    <a:lnTo>
                      <a:pt x="12" y="3"/>
                    </a:lnTo>
                    <a:lnTo>
                      <a:pt x="17" y="9"/>
                    </a:lnTo>
                    <a:lnTo>
                      <a:pt x="10" y="9"/>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9" name="Freeform 331"/>
              <p:cNvSpPr>
                <a:spLocks/>
              </p:cNvSpPr>
              <p:nvPr/>
            </p:nvSpPr>
            <p:spPr bwMode="auto">
              <a:xfrm>
                <a:off x="2497932" y="2100263"/>
                <a:ext cx="15875" cy="15875"/>
              </a:xfrm>
              <a:custGeom>
                <a:avLst/>
                <a:gdLst/>
                <a:ahLst/>
                <a:cxnLst>
                  <a:cxn ang="0">
                    <a:pos x="0" y="10"/>
                  </a:cxn>
                  <a:cxn ang="0">
                    <a:pos x="0" y="5"/>
                  </a:cxn>
                  <a:cxn ang="0">
                    <a:pos x="10" y="0"/>
                  </a:cxn>
                  <a:cxn ang="0">
                    <a:pos x="5" y="6"/>
                  </a:cxn>
                  <a:cxn ang="0">
                    <a:pos x="0" y="10"/>
                  </a:cxn>
                </a:cxnLst>
                <a:rect l="0" t="0" r="r" b="b"/>
                <a:pathLst>
                  <a:path w="10" h="10">
                    <a:moveTo>
                      <a:pt x="0" y="10"/>
                    </a:moveTo>
                    <a:lnTo>
                      <a:pt x="0" y="5"/>
                    </a:lnTo>
                    <a:lnTo>
                      <a:pt x="10" y="0"/>
                    </a:lnTo>
                    <a:lnTo>
                      <a:pt x="5" y="6"/>
                    </a:lnTo>
                    <a:lnTo>
                      <a:pt x="0"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0" name="Freeform 332"/>
              <p:cNvSpPr>
                <a:spLocks/>
              </p:cNvSpPr>
              <p:nvPr/>
            </p:nvSpPr>
            <p:spPr bwMode="auto">
              <a:xfrm>
                <a:off x="2243932" y="1905000"/>
                <a:ext cx="663575" cy="477837"/>
              </a:xfrm>
              <a:custGeom>
                <a:avLst/>
                <a:gdLst/>
                <a:ahLst/>
                <a:cxnLst>
                  <a:cxn ang="0">
                    <a:pos x="375" y="222"/>
                  </a:cxn>
                  <a:cxn ang="0">
                    <a:pos x="347" y="196"/>
                  </a:cxn>
                  <a:cxn ang="0">
                    <a:pos x="328" y="198"/>
                  </a:cxn>
                  <a:cxn ang="0">
                    <a:pos x="326" y="205"/>
                  </a:cxn>
                  <a:cxn ang="0">
                    <a:pos x="344" y="231"/>
                  </a:cxn>
                  <a:cxn ang="0">
                    <a:pos x="366" y="238"/>
                  </a:cxn>
                  <a:cxn ang="0">
                    <a:pos x="376" y="258"/>
                  </a:cxn>
                  <a:cxn ang="0">
                    <a:pos x="342" y="270"/>
                  </a:cxn>
                  <a:cxn ang="0">
                    <a:pos x="321" y="265"/>
                  </a:cxn>
                  <a:cxn ang="0">
                    <a:pos x="347" y="298"/>
                  </a:cxn>
                  <a:cxn ang="0">
                    <a:pos x="328" y="289"/>
                  </a:cxn>
                  <a:cxn ang="0">
                    <a:pos x="290" y="277"/>
                  </a:cxn>
                  <a:cxn ang="0">
                    <a:pos x="258" y="253"/>
                  </a:cxn>
                  <a:cxn ang="0">
                    <a:pos x="225" y="239"/>
                  </a:cxn>
                  <a:cxn ang="0">
                    <a:pos x="203" y="243"/>
                  </a:cxn>
                  <a:cxn ang="0">
                    <a:pos x="175" y="236"/>
                  </a:cxn>
                  <a:cxn ang="0">
                    <a:pos x="187" y="219"/>
                  </a:cxn>
                  <a:cxn ang="0">
                    <a:pos x="227" y="215"/>
                  </a:cxn>
                  <a:cxn ang="0">
                    <a:pos x="233" y="195"/>
                  </a:cxn>
                  <a:cxn ang="0">
                    <a:pos x="251" y="159"/>
                  </a:cxn>
                  <a:cxn ang="0">
                    <a:pos x="206" y="135"/>
                  </a:cxn>
                  <a:cxn ang="0">
                    <a:pos x="197" y="126"/>
                  </a:cxn>
                  <a:cxn ang="0">
                    <a:pos x="175" y="100"/>
                  </a:cxn>
                  <a:cxn ang="0">
                    <a:pos x="151" y="114"/>
                  </a:cxn>
                  <a:cxn ang="0">
                    <a:pos x="132" y="104"/>
                  </a:cxn>
                  <a:cxn ang="0">
                    <a:pos x="92" y="104"/>
                  </a:cxn>
                  <a:cxn ang="0">
                    <a:pos x="55" y="100"/>
                  </a:cxn>
                  <a:cxn ang="0">
                    <a:pos x="13" y="80"/>
                  </a:cxn>
                  <a:cxn ang="0">
                    <a:pos x="27" y="71"/>
                  </a:cxn>
                  <a:cxn ang="0">
                    <a:pos x="3" y="64"/>
                  </a:cxn>
                  <a:cxn ang="0">
                    <a:pos x="5" y="35"/>
                  </a:cxn>
                  <a:cxn ang="0">
                    <a:pos x="20" y="11"/>
                  </a:cxn>
                  <a:cxn ang="0">
                    <a:pos x="56" y="0"/>
                  </a:cxn>
                  <a:cxn ang="0">
                    <a:pos x="65" y="11"/>
                  </a:cxn>
                  <a:cxn ang="0">
                    <a:pos x="49" y="35"/>
                  </a:cxn>
                  <a:cxn ang="0">
                    <a:pos x="53" y="50"/>
                  </a:cxn>
                  <a:cxn ang="0">
                    <a:pos x="65" y="38"/>
                  </a:cxn>
                  <a:cxn ang="0">
                    <a:pos x="91" y="7"/>
                  </a:cxn>
                  <a:cxn ang="0">
                    <a:pos x="127" y="7"/>
                  </a:cxn>
                  <a:cxn ang="0">
                    <a:pos x="137" y="40"/>
                  </a:cxn>
                  <a:cxn ang="0">
                    <a:pos x="154" y="42"/>
                  </a:cxn>
                  <a:cxn ang="0">
                    <a:pos x="173" y="33"/>
                  </a:cxn>
                  <a:cxn ang="0">
                    <a:pos x="209" y="35"/>
                  </a:cxn>
                  <a:cxn ang="0">
                    <a:pos x="237" y="61"/>
                  </a:cxn>
                  <a:cxn ang="0">
                    <a:pos x="266" y="64"/>
                  </a:cxn>
                  <a:cxn ang="0">
                    <a:pos x="289" y="78"/>
                  </a:cxn>
                  <a:cxn ang="0">
                    <a:pos x="314" y="98"/>
                  </a:cxn>
                  <a:cxn ang="0">
                    <a:pos x="338" y="111"/>
                  </a:cxn>
                  <a:cxn ang="0">
                    <a:pos x="335" y="117"/>
                  </a:cxn>
                  <a:cxn ang="0">
                    <a:pos x="326" y="135"/>
                  </a:cxn>
                  <a:cxn ang="0">
                    <a:pos x="349" y="150"/>
                  </a:cxn>
                  <a:cxn ang="0">
                    <a:pos x="376" y="174"/>
                  </a:cxn>
                  <a:cxn ang="0">
                    <a:pos x="404" y="179"/>
                  </a:cxn>
                  <a:cxn ang="0">
                    <a:pos x="402" y="198"/>
                  </a:cxn>
                  <a:cxn ang="0">
                    <a:pos x="392" y="212"/>
                  </a:cxn>
                </a:cxnLst>
                <a:rect l="0" t="0" r="r" b="b"/>
                <a:pathLst>
                  <a:path w="418" h="301">
                    <a:moveTo>
                      <a:pt x="392" y="212"/>
                    </a:moveTo>
                    <a:lnTo>
                      <a:pt x="390" y="221"/>
                    </a:lnTo>
                    <a:lnTo>
                      <a:pt x="385" y="226"/>
                    </a:lnTo>
                    <a:lnTo>
                      <a:pt x="375" y="222"/>
                    </a:lnTo>
                    <a:lnTo>
                      <a:pt x="368" y="219"/>
                    </a:lnTo>
                    <a:lnTo>
                      <a:pt x="362" y="214"/>
                    </a:lnTo>
                    <a:lnTo>
                      <a:pt x="357" y="209"/>
                    </a:lnTo>
                    <a:lnTo>
                      <a:pt x="347" y="196"/>
                    </a:lnTo>
                    <a:lnTo>
                      <a:pt x="333" y="191"/>
                    </a:lnTo>
                    <a:lnTo>
                      <a:pt x="328" y="193"/>
                    </a:lnTo>
                    <a:lnTo>
                      <a:pt x="323" y="196"/>
                    </a:lnTo>
                    <a:lnTo>
                      <a:pt x="328" y="198"/>
                    </a:lnTo>
                    <a:lnTo>
                      <a:pt x="333" y="198"/>
                    </a:lnTo>
                    <a:lnTo>
                      <a:pt x="333" y="205"/>
                    </a:lnTo>
                    <a:lnTo>
                      <a:pt x="330" y="205"/>
                    </a:lnTo>
                    <a:lnTo>
                      <a:pt x="326" y="205"/>
                    </a:lnTo>
                    <a:lnTo>
                      <a:pt x="326" y="212"/>
                    </a:lnTo>
                    <a:lnTo>
                      <a:pt x="333" y="212"/>
                    </a:lnTo>
                    <a:lnTo>
                      <a:pt x="337" y="222"/>
                    </a:lnTo>
                    <a:lnTo>
                      <a:pt x="344" y="231"/>
                    </a:lnTo>
                    <a:lnTo>
                      <a:pt x="354" y="231"/>
                    </a:lnTo>
                    <a:lnTo>
                      <a:pt x="357" y="238"/>
                    </a:lnTo>
                    <a:lnTo>
                      <a:pt x="361" y="238"/>
                    </a:lnTo>
                    <a:lnTo>
                      <a:pt x="366" y="238"/>
                    </a:lnTo>
                    <a:lnTo>
                      <a:pt x="366" y="243"/>
                    </a:lnTo>
                    <a:lnTo>
                      <a:pt x="366" y="248"/>
                    </a:lnTo>
                    <a:lnTo>
                      <a:pt x="371" y="252"/>
                    </a:lnTo>
                    <a:lnTo>
                      <a:pt x="376" y="258"/>
                    </a:lnTo>
                    <a:lnTo>
                      <a:pt x="371" y="269"/>
                    </a:lnTo>
                    <a:lnTo>
                      <a:pt x="368" y="279"/>
                    </a:lnTo>
                    <a:lnTo>
                      <a:pt x="356" y="276"/>
                    </a:lnTo>
                    <a:lnTo>
                      <a:pt x="342" y="270"/>
                    </a:lnTo>
                    <a:lnTo>
                      <a:pt x="328" y="264"/>
                    </a:lnTo>
                    <a:lnTo>
                      <a:pt x="321" y="258"/>
                    </a:lnTo>
                    <a:lnTo>
                      <a:pt x="313" y="258"/>
                    </a:lnTo>
                    <a:lnTo>
                      <a:pt x="321" y="265"/>
                    </a:lnTo>
                    <a:lnTo>
                      <a:pt x="333" y="276"/>
                    </a:lnTo>
                    <a:lnTo>
                      <a:pt x="344" y="284"/>
                    </a:lnTo>
                    <a:lnTo>
                      <a:pt x="350" y="294"/>
                    </a:lnTo>
                    <a:lnTo>
                      <a:pt x="347" y="298"/>
                    </a:lnTo>
                    <a:lnTo>
                      <a:pt x="345" y="301"/>
                    </a:lnTo>
                    <a:lnTo>
                      <a:pt x="342" y="298"/>
                    </a:lnTo>
                    <a:lnTo>
                      <a:pt x="340" y="294"/>
                    </a:lnTo>
                    <a:lnTo>
                      <a:pt x="328" y="289"/>
                    </a:lnTo>
                    <a:lnTo>
                      <a:pt x="319" y="288"/>
                    </a:lnTo>
                    <a:lnTo>
                      <a:pt x="311" y="286"/>
                    </a:lnTo>
                    <a:lnTo>
                      <a:pt x="304" y="282"/>
                    </a:lnTo>
                    <a:lnTo>
                      <a:pt x="290" y="277"/>
                    </a:lnTo>
                    <a:lnTo>
                      <a:pt x="278" y="274"/>
                    </a:lnTo>
                    <a:lnTo>
                      <a:pt x="268" y="267"/>
                    </a:lnTo>
                    <a:lnTo>
                      <a:pt x="270" y="260"/>
                    </a:lnTo>
                    <a:lnTo>
                      <a:pt x="258" y="253"/>
                    </a:lnTo>
                    <a:lnTo>
                      <a:pt x="247" y="246"/>
                    </a:lnTo>
                    <a:lnTo>
                      <a:pt x="239" y="239"/>
                    </a:lnTo>
                    <a:lnTo>
                      <a:pt x="230" y="234"/>
                    </a:lnTo>
                    <a:lnTo>
                      <a:pt x="225" y="239"/>
                    </a:lnTo>
                    <a:lnTo>
                      <a:pt x="220" y="243"/>
                    </a:lnTo>
                    <a:lnTo>
                      <a:pt x="215" y="241"/>
                    </a:lnTo>
                    <a:lnTo>
                      <a:pt x="211" y="239"/>
                    </a:lnTo>
                    <a:lnTo>
                      <a:pt x="203" y="243"/>
                    </a:lnTo>
                    <a:lnTo>
                      <a:pt x="196" y="246"/>
                    </a:lnTo>
                    <a:lnTo>
                      <a:pt x="189" y="245"/>
                    </a:lnTo>
                    <a:lnTo>
                      <a:pt x="182" y="241"/>
                    </a:lnTo>
                    <a:lnTo>
                      <a:pt x="175" y="236"/>
                    </a:lnTo>
                    <a:lnTo>
                      <a:pt x="173" y="233"/>
                    </a:lnTo>
                    <a:lnTo>
                      <a:pt x="175" y="227"/>
                    </a:lnTo>
                    <a:lnTo>
                      <a:pt x="180" y="222"/>
                    </a:lnTo>
                    <a:lnTo>
                      <a:pt x="187" y="219"/>
                    </a:lnTo>
                    <a:lnTo>
                      <a:pt x="194" y="219"/>
                    </a:lnTo>
                    <a:lnTo>
                      <a:pt x="206" y="219"/>
                    </a:lnTo>
                    <a:lnTo>
                      <a:pt x="216" y="219"/>
                    </a:lnTo>
                    <a:lnTo>
                      <a:pt x="227" y="215"/>
                    </a:lnTo>
                    <a:lnTo>
                      <a:pt x="239" y="212"/>
                    </a:lnTo>
                    <a:lnTo>
                      <a:pt x="233" y="207"/>
                    </a:lnTo>
                    <a:lnTo>
                      <a:pt x="230" y="202"/>
                    </a:lnTo>
                    <a:lnTo>
                      <a:pt x="233" y="195"/>
                    </a:lnTo>
                    <a:lnTo>
                      <a:pt x="242" y="193"/>
                    </a:lnTo>
                    <a:lnTo>
                      <a:pt x="251" y="181"/>
                    </a:lnTo>
                    <a:lnTo>
                      <a:pt x="258" y="171"/>
                    </a:lnTo>
                    <a:lnTo>
                      <a:pt x="251" y="159"/>
                    </a:lnTo>
                    <a:lnTo>
                      <a:pt x="239" y="147"/>
                    </a:lnTo>
                    <a:lnTo>
                      <a:pt x="225" y="136"/>
                    </a:lnTo>
                    <a:lnTo>
                      <a:pt x="215" y="133"/>
                    </a:lnTo>
                    <a:lnTo>
                      <a:pt x="206" y="135"/>
                    </a:lnTo>
                    <a:lnTo>
                      <a:pt x="197" y="138"/>
                    </a:lnTo>
                    <a:lnTo>
                      <a:pt x="194" y="135"/>
                    </a:lnTo>
                    <a:lnTo>
                      <a:pt x="194" y="133"/>
                    </a:lnTo>
                    <a:lnTo>
                      <a:pt x="197" y="126"/>
                    </a:lnTo>
                    <a:lnTo>
                      <a:pt x="206" y="126"/>
                    </a:lnTo>
                    <a:lnTo>
                      <a:pt x="197" y="117"/>
                    </a:lnTo>
                    <a:lnTo>
                      <a:pt x="187" y="109"/>
                    </a:lnTo>
                    <a:lnTo>
                      <a:pt x="175" y="100"/>
                    </a:lnTo>
                    <a:lnTo>
                      <a:pt x="168" y="98"/>
                    </a:lnTo>
                    <a:lnTo>
                      <a:pt x="163" y="100"/>
                    </a:lnTo>
                    <a:lnTo>
                      <a:pt x="158" y="107"/>
                    </a:lnTo>
                    <a:lnTo>
                      <a:pt x="151" y="114"/>
                    </a:lnTo>
                    <a:lnTo>
                      <a:pt x="146" y="117"/>
                    </a:lnTo>
                    <a:lnTo>
                      <a:pt x="141" y="112"/>
                    </a:lnTo>
                    <a:lnTo>
                      <a:pt x="141" y="105"/>
                    </a:lnTo>
                    <a:lnTo>
                      <a:pt x="132" y="104"/>
                    </a:lnTo>
                    <a:lnTo>
                      <a:pt x="123" y="104"/>
                    </a:lnTo>
                    <a:lnTo>
                      <a:pt x="113" y="104"/>
                    </a:lnTo>
                    <a:lnTo>
                      <a:pt x="104" y="104"/>
                    </a:lnTo>
                    <a:lnTo>
                      <a:pt x="92" y="104"/>
                    </a:lnTo>
                    <a:lnTo>
                      <a:pt x="82" y="104"/>
                    </a:lnTo>
                    <a:lnTo>
                      <a:pt x="72" y="104"/>
                    </a:lnTo>
                    <a:lnTo>
                      <a:pt x="63" y="105"/>
                    </a:lnTo>
                    <a:lnTo>
                      <a:pt x="55" y="100"/>
                    </a:lnTo>
                    <a:lnTo>
                      <a:pt x="48" y="95"/>
                    </a:lnTo>
                    <a:lnTo>
                      <a:pt x="24" y="95"/>
                    </a:lnTo>
                    <a:lnTo>
                      <a:pt x="17" y="86"/>
                    </a:lnTo>
                    <a:lnTo>
                      <a:pt x="13" y="80"/>
                    </a:lnTo>
                    <a:lnTo>
                      <a:pt x="24" y="80"/>
                    </a:lnTo>
                    <a:lnTo>
                      <a:pt x="36" y="81"/>
                    </a:lnTo>
                    <a:lnTo>
                      <a:pt x="36" y="74"/>
                    </a:lnTo>
                    <a:lnTo>
                      <a:pt x="27" y="71"/>
                    </a:lnTo>
                    <a:lnTo>
                      <a:pt x="18" y="71"/>
                    </a:lnTo>
                    <a:lnTo>
                      <a:pt x="10" y="69"/>
                    </a:lnTo>
                    <a:lnTo>
                      <a:pt x="8" y="69"/>
                    </a:lnTo>
                    <a:lnTo>
                      <a:pt x="3" y="64"/>
                    </a:lnTo>
                    <a:lnTo>
                      <a:pt x="0" y="55"/>
                    </a:lnTo>
                    <a:lnTo>
                      <a:pt x="0" y="45"/>
                    </a:lnTo>
                    <a:lnTo>
                      <a:pt x="1" y="40"/>
                    </a:lnTo>
                    <a:lnTo>
                      <a:pt x="5" y="35"/>
                    </a:lnTo>
                    <a:lnTo>
                      <a:pt x="10" y="33"/>
                    </a:lnTo>
                    <a:lnTo>
                      <a:pt x="12" y="25"/>
                    </a:lnTo>
                    <a:lnTo>
                      <a:pt x="13" y="19"/>
                    </a:lnTo>
                    <a:lnTo>
                      <a:pt x="20" y="11"/>
                    </a:lnTo>
                    <a:lnTo>
                      <a:pt x="31" y="6"/>
                    </a:lnTo>
                    <a:lnTo>
                      <a:pt x="41" y="0"/>
                    </a:lnTo>
                    <a:lnTo>
                      <a:pt x="55" y="0"/>
                    </a:lnTo>
                    <a:lnTo>
                      <a:pt x="56" y="0"/>
                    </a:lnTo>
                    <a:lnTo>
                      <a:pt x="61" y="2"/>
                    </a:lnTo>
                    <a:lnTo>
                      <a:pt x="67" y="4"/>
                    </a:lnTo>
                    <a:lnTo>
                      <a:pt x="72" y="6"/>
                    </a:lnTo>
                    <a:lnTo>
                      <a:pt x="65" y="11"/>
                    </a:lnTo>
                    <a:lnTo>
                      <a:pt x="58" y="16"/>
                    </a:lnTo>
                    <a:lnTo>
                      <a:pt x="51" y="21"/>
                    </a:lnTo>
                    <a:lnTo>
                      <a:pt x="49" y="31"/>
                    </a:lnTo>
                    <a:lnTo>
                      <a:pt x="49" y="35"/>
                    </a:lnTo>
                    <a:lnTo>
                      <a:pt x="53" y="37"/>
                    </a:lnTo>
                    <a:lnTo>
                      <a:pt x="53" y="42"/>
                    </a:lnTo>
                    <a:lnTo>
                      <a:pt x="53" y="47"/>
                    </a:lnTo>
                    <a:lnTo>
                      <a:pt x="53" y="50"/>
                    </a:lnTo>
                    <a:lnTo>
                      <a:pt x="58" y="54"/>
                    </a:lnTo>
                    <a:lnTo>
                      <a:pt x="63" y="50"/>
                    </a:lnTo>
                    <a:lnTo>
                      <a:pt x="68" y="45"/>
                    </a:lnTo>
                    <a:lnTo>
                      <a:pt x="65" y="38"/>
                    </a:lnTo>
                    <a:lnTo>
                      <a:pt x="63" y="31"/>
                    </a:lnTo>
                    <a:lnTo>
                      <a:pt x="68" y="18"/>
                    </a:lnTo>
                    <a:lnTo>
                      <a:pt x="82" y="11"/>
                    </a:lnTo>
                    <a:lnTo>
                      <a:pt x="91" y="7"/>
                    </a:lnTo>
                    <a:lnTo>
                      <a:pt x="99" y="6"/>
                    </a:lnTo>
                    <a:lnTo>
                      <a:pt x="108" y="6"/>
                    </a:lnTo>
                    <a:lnTo>
                      <a:pt x="118" y="6"/>
                    </a:lnTo>
                    <a:lnTo>
                      <a:pt x="127" y="7"/>
                    </a:lnTo>
                    <a:lnTo>
                      <a:pt x="134" y="14"/>
                    </a:lnTo>
                    <a:lnTo>
                      <a:pt x="137" y="25"/>
                    </a:lnTo>
                    <a:lnTo>
                      <a:pt x="139" y="35"/>
                    </a:lnTo>
                    <a:lnTo>
                      <a:pt x="137" y="40"/>
                    </a:lnTo>
                    <a:lnTo>
                      <a:pt x="139" y="45"/>
                    </a:lnTo>
                    <a:lnTo>
                      <a:pt x="142" y="42"/>
                    </a:lnTo>
                    <a:lnTo>
                      <a:pt x="149" y="40"/>
                    </a:lnTo>
                    <a:lnTo>
                      <a:pt x="154" y="42"/>
                    </a:lnTo>
                    <a:lnTo>
                      <a:pt x="160" y="45"/>
                    </a:lnTo>
                    <a:lnTo>
                      <a:pt x="165" y="42"/>
                    </a:lnTo>
                    <a:lnTo>
                      <a:pt x="170" y="38"/>
                    </a:lnTo>
                    <a:lnTo>
                      <a:pt x="173" y="33"/>
                    </a:lnTo>
                    <a:lnTo>
                      <a:pt x="180" y="31"/>
                    </a:lnTo>
                    <a:lnTo>
                      <a:pt x="189" y="31"/>
                    </a:lnTo>
                    <a:lnTo>
                      <a:pt x="199" y="33"/>
                    </a:lnTo>
                    <a:lnTo>
                      <a:pt x="209" y="35"/>
                    </a:lnTo>
                    <a:lnTo>
                      <a:pt x="218" y="40"/>
                    </a:lnTo>
                    <a:lnTo>
                      <a:pt x="225" y="45"/>
                    </a:lnTo>
                    <a:lnTo>
                      <a:pt x="232" y="54"/>
                    </a:lnTo>
                    <a:lnTo>
                      <a:pt x="237" y="61"/>
                    </a:lnTo>
                    <a:lnTo>
                      <a:pt x="249" y="64"/>
                    </a:lnTo>
                    <a:lnTo>
                      <a:pt x="258" y="64"/>
                    </a:lnTo>
                    <a:lnTo>
                      <a:pt x="263" y="64"/>
                    </a:lnTo>
                    <a:lnTo>
                      <a:pt x="266" y="64"/>
                    </a:lnTo>
                    <a:lnTo>
                      <a:pt x="273" y="66"/>
                    </a:lnTo>
                    <a:lnTo>
                      <a:pt x="276" y="68"/>
                    </a:lnTo>
                    <a:lnTo>
                      <a:pt x="280" y="74"/>
                    </a:lnTo>
                    <a:lnTo>
                      <a:pt x="289" y="78"/>
                    </a:lnTo>
                    <a:lnTo>
                      <a:pt x="297" y="83"/>
                    </a:lnTo>
                    <a:lnTo>
                      <a:pt x="304" y="86"/>
                    </a:lnTo>
                    <a:lnTo>
                      <a:pt x="314" y="90"/>
                    </a:lnTo>
                    <a:lnTo>
                      <a:pt x="314" y="98"/>
                    </a:lnTo>
                    <a:lnTo>
                      <a:pt x="319" y="98"/>
                    </a:lnTo>
                    <a:lnTo>
                      <a:pt x="323" y="98"/>
                    </a:lnTo>
                    <a:lnTo>
                      <a:pt x="332" y="100"/>
                    </a:lnTo>
                    <a:lnTo>
                      <a:pt x="338" y="111"/>
                    </a:lnTo>
                    <a:lnTo>
                      <a:pt x="328" y="111"/>
                    </a:lnTo>
                    <a:lnTo>
                      <a:pt x="319" y="117"/>
                    </a:lnTo>
                    <a:lnTo>
                      <a:pt x="328" y="117"/>
                    </a:lnTo>
                    <a:lnTo>
                      <a:pt x="335" y="117"/>
                    </a:lnTo>
                    <a:lnTo>
                      <a:pt x="338" y="117"/>
                    </a:lnTo>
                    <a:lnTo>
                      <a:pt x="344" y="123"/>
                    </a:lnTo>
                    <a:lnTo>
                      <a:pt x="333" y="126"/>
                    </a:lnTo>
                    <a:lnTo>
                      <a:pt x="326" y="135"/>
                    </a:lnTo>
                    <a:lnTo>
                      <a:pt x="332" y="136"/>
                    </a:lnTo>
                    <a:lnTo>
                      <a:pt x="340" y="138"/>
                    </a:lnTo>
                    <a:lnTo>
                      <a:pt x="342" y="145"/>
                    </a:lnTo>
                    <a:lnTo>
                      <a:pt x="349" y="150"/>
                    </a:lnTo>
                    <a:lnTo>
                      <a:pt x="357" y="153"/>
                    </a:lnTo>
                    <a:lnTo>
                      <a:pt x="366" y="157"/>
                    </a:lnTo>
                    <a:lnTo>
                      <a:pt x="368" y="167"/>
                    </a:lnTo>
                    <a:lnTo>
                      <a:pt x="376" y="174"/>
                    </a:lnTo>
                    <a:lnTo>
                      <a:pt x="388" y="171"/>
                    </a:lnTo>
                    <a:lnTo>
                      <a:pt x="395" y="176"/>
                    </a:lnTo>
                    <a:lnTo>
                      <a:pt x="399" y="178"/>
                    </a:lnTo>
                    <a:lnTo>
                      <a:pt x="404" y="179"/>
                    </a:lnTo>
                    <a:lnTo>
                      <a:pt x="414" y="181"/>
                    </a:lnTo>
                    <a:lnTo>
                      <a:pt x="418" y="191"/>
                    </a:lnTo>
                    <a:lnTo>
                      <a:pt x="412" y="196"/>
                    </a:lnTo>
                    <a:lnTo>
                      <a:pt x="402" y="198"/>
                    </a:lnTo>
                    <a:lnTo>
                      <a:pt x="402" y="203"/>
                    </a:lnTo>
                    <a:lnTo>
                      <a:pt x="402" y="205"/>
                    </a:lnTo>
                    <a:lnTo>
                      <a:pt x="399" y="209"/>
                    </a:lnTo>
                    <a:lnTo>
                      <a:pt x="392" y="2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1" name="Freeform 333"/>
              <p:cNvSpPr>
                <a:spLocks/>
              </p:cNvSpPr>
              <p:nvPr/>
            </p:nvSpPr>
            <p:spPr bwMode="auto">
              <a:xfrm>
                <a:off x="2516982" y="2320925"/>
                <a:ext cx="19050" cy="11112"/>
              </a:xfrm>
              <a:custGeom>
                <a:avLst/>
                <a:gdLst/>
                <a:ahLst/>
                <a:cxnLst>
                  <a:cxn ang="0">
                    <a:pos x="12" y="5"/>
                  </a:cxn>
                  <a:cxn ang="0">
                    <a:pos x="5" y="7"/>
                  </a:cxn>
                  <a:cxn ang="0">
                    <a:pos x="0" y="5"/>
                  </a:cxn>
                  <a:cxn ang="0">
                    <a:pos x="5" y="0"/>
                  </a:cxn>
                  <a:cxn ang="0">
                    <a:pos x="12" y="5"/>
                  </a:cxn>
                </a:cxnLst>
                <a:rect l="0" t="0" r="r" b="b"/>
                <a:pathLst>
                  <a:path w="12" h="7">
                    <a:moveTo>
                      <a:pt x="12" y="5"/>
                    </a:moveTo>
                    <a:lnTo>
                      <a:pt x="5" y="7"/>
                    </a:lnTo>
                    <a:lnTo>
                      <a:pt x="0" y="5"/>
                    </a:lnTo>
                    <a:lnTo>
                      <a:pt x="5" y="0"/>
                    </a:lnTo>
                    <a:lnTo>
                      <a:pt x="12"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2" name="Freeform 334"/>
              <p:cNvSpPr>
                <a:spLocks/>
              </p:cNvSpPr>
              <p:nvPr/>
            </p:nvSpPr>
            <p:spPr bwMode="auto">
              <a:xfrm>
                <a:off x="2382044" y="2230438"/>
                <a:ext cx="14288" cy="11112"/>
              </a:xfrm>
              <a:custGeom>
                <a:avLst/>
                <a:gdLst/>
                <a:ahLst/>
                <a:cxnLst>
                  <a:cxn ang="0">
                    <a:pos x="0" y="0"/>
                  </a:cxn>
                  <a:cxn ang="0">
                    <a:pos x="4" y="0"/>
                  </a:cxn>
                  <a:cxn ang="0">
                    <a:pos x="9" y="7"/>
                  </a:cxn>
                  <a:cxn ang="0">
                    <a:pos x="2" y="4"/>
                  </a:cxn>
                  <a:cxn ang="0">
                    <a:pos x="0" y="0"/>
                  </a:cxn>
                </a:cxnLst>
                <a:rect l="0" t="0" r="r" b="b"/>
                <a:pathLst>
                  <a:path w="9" h="7">
                    <a:moveTo>
                      <a:pt x="0" y="0"/>
                    </a:moveTo>
                    <a:lnTo>
                      <a:pt x="4" y="0"/>
                    </a:lnTo>
                    <a:lnTo>
                      <a:pt x="9" y="7"/>
                    </a:lnTo>
                    <a:lnTo>
                      <a:pt x="2" y="4"/>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3" name="Freeform 335"/>
              <p:cNvSpPr>
                <a:spLocks/>
              </p:cNvSpPr>
              <p:nvPr/>
            </p:nvSpPr>
            <p:spPr bwMode="auto">
              <a:xfrm>
                <a:off x="2204244" y="1428750"/>
                <a:ext cx="704850" cy="368300"/>
              </a:xfrm>
              <a:custGeom>
                <a:avLst/>
                <a:gdLst/>
                <a:ahLst/>
                <a:cxnLst>
                  <a:cxn ang="0">
                    <a:pos x="394" y="5"/>
                  </a:cxn>
                  <a:cxn ang="0">
                    <a:pos x="412" y="17"/>
                  </a:cxn>
                  <a:cxn ang="0">
                    <a:pos x="444" y="30"/>
                  </a:cxn>
                  <a:cxn ang="0">
                    <a:pos x="398" y="48"/>
                  </a:cxn>
                  <a:cxn ang="0">
                    <a:pos x="360" y="56"/>
                  </a:cxn>
                  <a:cxn ang="0">
                    <a:pos x="398" y="58"/>
                  </a:cxn>
                  <a:cxn ang="0">
                    <a:pos x="339" y="84"/>
                  </a:cxn>
                  <a:cxn ang="0">
                    <a:pos x="293" y="122"/>
                  </a:cxn>
                  <a:cxn ang="0">
                    <a:pos x="234" y="134"/>
                  </a:cxn>
                  <a:cxn ang="0">
                    <a:pos x="241" y="147"/>
                  </a:cxn>
                  <a:cxn ang="0">
                    <a:pos x="212" y="178"/>
                  </a:cxn>
                  <a:cxn ang="0">
                    <a:pos x="202" y="182"/>
                  </a:cxn>
                  <a:cxn ang="0">
                    <a:pos x="185" y="201"/>
                  </a:cxn>
                  <a:cxn ang="0">
                    <a:pos x="198" y="209"/>
                  </a:cxn>
                  <a:cxn ang="0">
                    <a:pos x="172" y="228"/>
                  </a:cxn>
                  <a:cxn ang="0">
                    <a:pos x="135" y="225"/>
                  </a:cxn>
                  <a:cxn ang="0">
                    <a:pos x="100" y="227"/>
                  </a:cxn>
                  <a:cxn ang="0">
                    <a:pos x="56" y="223"/>
                  </a:cxn>
                  <a:cxn ang="0">
                    <a:pos x="33" y="221"/>
                  </a:cxn>
                  <a:cxn ang="0">
                    <a:pos x="57" y="202"/>
                  </a:cxn>
                  <a:cxn ang="0">
                    <a:pos x="57" y="180"/>
                  </a:cxn>
                  <a:cxn ang="0">
                    <a:pos x="90" y="189"/>
                  </a:cxn>
                  <a:cxn ang="0">
                    <a:pos x="92" y="182"/>
                  </a:cxn>
                  <a:cxn ang="0">
                    <a:pos x="73" y="170"/>
                  </a:cxn>
                  <a:cxn ang="0">
                    <a:pos x="69" y="154"/>
                  </a:cxn>
                  <a:cxn ang="0">
                    <a:pos x="104" y="142"/>
                  </a:cxn>
                  <a:cxn ang="0">
                    <a:pos x="78" y="115"/>
                  </a:cxn>
                  <a:cxn ang="0">
                    <a:pos x="78" y="104"/>
                  </a:cxn>
                  <a:cxn ang="0">
                    <a:pos x="95" y="99"/>
                  </a:cxn>
                  <a:cxn ang="0">
                    <a:pos x="133" y="115"/>
                  </a:cxn>
                  <a:cxn ang="0">
                    <a:pos x="126" y="106"/>
                  </a:cxn>
                  <a:cxn ang="0">
                    <a:pos x="154" y="98"/>
                  </a:cxn>
                  <a:cxn ang="0">
                    <a:pos x="162" y="87"/>
                  </a:cxn>
                  <a:cxn ang="0">
                    <a:pos x="121" y="92"/>
                  </a:cxn>
                  <a:cxn ang="0">
                    <a:pos x="88" y="92"/>
                  </a:cxn>
                  <a:cxn ang="0">
                    <a:pos x="66" y="91"/>
                  </a:cxn>
                  <a:cxn ang="0">
                    <a:pos x="38" y="80"/>
                  </a:cxn>
                  <a:cxn ang="0">
                    <a:pos x="28" y="75"/>
                  </a:cxn>
                  <a:cxn ang="0">
                    <a:pos x="59" y="60"/>
                  </a:cxn>
                  <a:cxn ang="0">
                    <a:pos x="28" y="67"/>
                  </a:cxn>
                  <a:cxn ang="0">
                    <a:pos x="33" y="55"/>
                  </a:cxn>
                  <a:cxn ang="0">
                    <a:pos x="6" y="58"/>
                  </a:cxn>
                  <a:cxn ang="0">
                    <a:pos x="37" y="39"/>
                  </a:cxn>
                  <a:cxn ang="0">
                    <a:pos x="64" y="37"/>
                  </a:cxn>
                  <a:cxn ang="0">
                    <a:pos x="80" y="24"/>
                  </a:cxn>
                  <a:cxn ang="0">
                    <a:pos x="112" y="32"/>
                  </a:cxn>
                  <a:cxn ang="0">
                    <a:pos x="135" y="13"/>
                  </a:cxn>
                  <a:cxn ang="0">
                    <a:pos x="160" y="5"/>
                  </a:cxn>
                  <a:cxn ang="0">
                    <a:pos x="202" y="5"/>
                  </a:cxn>
                  <a:cxn ang="0">
                    <a:pos x="228" y="1"/>
                  </a:cxn>
                  <a:cxn ang="0">
                    <a:pos x="258" y="3"/>
                  </a:cxn>
                  <a:cxn ang="0">
                    <a:pos x="289" y="3"/>
                  </a:cxn>
                  <a:cxn ang="0">
                    <a:pos x="319" y="1"/>
                  </a:cxn>
                  <a:cxn ang="0">
                    <a:pos x="357" y="6"/>
                  </a:cxn>
                </a:cxnLst>
                <a:rect l="0" t="0" r="r" b="b"/>
                <a:pathLst>
                  <a:path w="444" h="232">
                    <a:moveTo>
                      <a:pt x="363" y="12"/>
                    </a:moveTo>
                    <a:lnTo>
                      <a:pt x="358" y="13"/>
                    </a:lnTo>
                    <a:lnTo>
                      <a:pt x="353" y="17"/>
                    </a:lnTo>
                    <a:lnTo>
                      <a:pt x="394" y="5"/>
                    </a:lnTo>
                    <a:lnTo>
                      <a:pt x="398" y="6"/>
                    </a:lnTo>
                    <a:lnTo>
                      <a:pt x="403" y="8"/>
                    </a:lnTo>
                    <a:lnTo>
                      <a:pt x="406" y="12"/>
                    </a:lnTo>
                    <a:lnTo>
                      <a:pt x="412" y="17"/>
                    </a:lnTo>
                    <a:lnTo>
                      <a:pt x="418" y="18"/>
                    </a:lnTo>
                    <a:lnTo>
                      <a:pt x="430" y="22"/>
                    </a:lnTo>
                    <a:lnTo>
                      <a:pt x="439" y="24"/>
                    </a:lnTo>
                    <a:lnTo>
                      <a:pt x="444" y="30"/>
                    </a:lnTo>
                    <a:lnTo>
                      <a:pt x="439" y="36"/>
                    </a:lnTo>
                    <a:lnTo>
                      <a:pt x="432" y="37"/>
                    </a:lnTo>
                    <a:lnTo>
                      <a:pt x="415" y="44"/>
                    </a:lnTo>
                    <a:lnTo>
                      <a:pt x="398" y="48"/>
                    </a:lnTo>
                    <a:lnTo>
                      <a:pt x="387" y="48"/>
                    </a:lnTo>
                    <a:lnTo>
                      <a:pt x="379" y="49"/>
                    </a:lnTo>
                    <a:lnTo>
                      <a:pt x="369" y="51"/>
                    </a:lnTo>
                    <a:lnTo>
                      <a:pt x="360" y="56"/>
                    </a:lnTo>
                    <a:lnTo>
                      <a:pt x="365" y="56"/>
                    </a:lnTo>
                    <a:lnTo>
                      <a:pt x="375" y="58"/>
                    </a:lnTo>
                    <a:lnTo>
                      <a:pt x="386" y="58"/>
                    </a:lnTo>
                    <a:lnTo>
                      <a:pt x="398" y="58"/>
                    </a:lnTo>
                    <a:lnTo>
                      <a:pt x="384" y="65"/>
                    </a:lnTo>
                    <a:lnTo>
                      <a:pt x="370" y="72"/>
                    </a:lnTo>
                    <a:lnTo>
                      <a:pt x="353" y="77"/>
                    </a:lnTo>
                    <a:lnTo>
                      <a:pt x="339" y="84"/>
                    </a:lnTo>
                    <a:lnTo>
                      <a:pt x="324" y="89"/>
                    </a:lnTo>
                    <a:lnTo>
                      <a:pt x="314" y="99"/>
                    </a:lnTo>
                    <a:lnTo>
                      <a:pt x="303" y="110"/>
                    </a:lnTo>
                    <a:lnTo>
                      <a:pt x="293" y="122"/>
                    </a:lnTo>
                    <a:lnTo>
                      <a:pt x="279" y="122"/>
                    </a:lnTo>
                    <a:lnTo>
                      <a:pt x="267" y="123"/>
                    </a:lnTo>
                    <a:lnTo>
                      <a:pt x="248" y="127"/>
                    </a:lnTo>
                    <a:lnTo>
                      <a:pt x="234" y="134"/>
                    </a:lnTo>
                    <a:lnTo>
                      <a:pt x="248" y="134"/>
                    </a:lnTo>
                    <a:lnTo>
                      <a:pt x="245" y="142"/>
                    </a:lnTo>
                    <a:lnTo>
                      <a:pt x="234" y="144"/>
                    </a:lnTo>
                    <a:lnTo>
                      <a:pt x="241" y="147"/>
                    </a:lnTo>
                    <a:lnTo>
                      <a:pt x="248" y="156"/>
                    </a:lnTo>
                    <a:lnTo>
                      <a:pt x="236" y="166"/>
                    </a:lnTo>
                    <a:lnTo>
                      <a:pt x="226" y="178"/>
                    </a:lnTo>
                    <a:lnTo>
                      <a:pt x="212" y="178"/>
                    </a:lnTo>
                    <a:lnTo>
                      <a:pt x="205" y="178"/>
                    </a:lnTo>
                    <a:lnTo>
                      <a:pt x="202" y="178"/>
                    </a:lnTo>
                    <a:lnTo>
                      <a:pt x="200" y="178"/>
                    </a:lnTo>
                    <a:lnTo>
                      <a:pt x="202" y="182"/>
                    </a:lnTo>
                    <a:lnTo>
                      <a:pt x="203" y="187"/>
                    </a:lnTo>
                    <a:lnTo>
                      <a:pt x="200" y="194"/>
                    </a:lnTo>
                    <a:lnTo>
                      <a:pt x="193" y="197"/>
                    </a:lnTo>
                    <a:lnTo>
                      <a:pt x="185" y="201"/>
                    </a:lnTo>
                    <a:lnTo>
                      <a:pt x="183" y="209"/>
                    </a:lnTo>
                    <a:lnTo>
                      <a:pt x="190" y="209"/>
                    </a:lnTo>
                    <a:lnTo>
                      <a:pt x="195" y="209"/>
                    </a:lnTo>
                    <a:lnTo>
                      <a:pt x="198" y="209"/>
                    </a:lnTo>
                    <a:lnTo>
                      <a:pt x="203" y="214"/>
                    </a:lnTo>
                    <a:lnTo>
                      <a:pt x="197" y="220"/>
                    </a:lnTo>
                    <a:lnTo>
                      <a:pt x="186" y="225"/>
                    </a:lnTo>
                    <a:lnTo>
                      <a:pt x="172" y="228"/>
                    </a:lnTo>
                    <a:lnTo>
                      <a:pt x="162" y="232"/>
                    </a:lnTo>
                    <a:lnTo>
                      <a:pt x="152" y="228"/>
                    </a:lnTo>
                    <a:lnTo>
                      <a:pt x="145" y="225"/>
                    </a:lnTo>
                    <a:lnTo>
                      <a:pt x="135" y="225"/>
                    </a:lnTo>
                    <a:lnTo>
                      <a:pt x="126" y="225"/>
                    </a:lnTo>
                    <a:lnTo>
                      <a:pt x="116" y="225"/>
                    </a:lnTo>
                    <a:lnTo>
                      <a:pt x="107" y="225"/>
                    </a:lnTo>
                    <a:lnTo>
                      <a:pt x="100" y="227"/>
                    </a:lnTo>
                    <a:lnTo>
                      <a:pt x="92" y="230"/>
                    </a:lnTo>
                    <a:lnTo>
                      <a:pt x="80" y="228"/>
                    </a:lnTo>
                    <a:lnTo>
                      <a:pt x="68" y="227"/>
                    </a:lnTo>
                    <a:lnTo>
                      <a:pt x="56" y="223"/>
                    </a:lnTo>
                    <a:lnTo>
                      <a:pt x="43" y="220"/>
                    </a:lnTo>
                    <a:lnTo>
                      <a:pt x="40" y="221"/>
                    </a:lnTo>
                    <a:lnTo>
                      <a:pt x="38" y="225"/>
                    </a:lnTo>
                    <a:lnTo>
                      <a:pt x="33" y="221"/>
                    </a:lnTo>
                    <a:lnTo>
                      <a:pt x="33" y="220"/>
                    </a:lnTo>
                    <a:lnTo>
                      <a:pt x="37" y="208"/>
                    </a:lnTo>
                    <a:lnTo>
                      <a:pt x="47" y="204"/>
                    </a:lnTo>
                    <a:lnTo>
                      <a:pt x="57" y="202"/>
                    </a:lnTo>
                    <a:lnTo>
                      <a:pt x="69" y="201"/>
                    </a:lnTo>
                    <a:lnTo>
                      <a:pt x="59" y="194"/>
                    </a:lnTo>
                    <a:lnTo>
                      <a:pt x="54" y="185"/>
                    </a:lnTo>
                    <a:lnTo>
                      <a:pt x="57" y="180"/>
                    </a:lnTo>
                    <a:lnTo>
                      <a:pt x="66" y="180"/>
                    </a:lnTo>
                    <a:lnTo>
                      <a:pt x="74" y="180"/>
                    </a:lnTo>
                    <a:lnTo>
                      <a:pt x="83" y="184"/>
                    </a:lnTo>
                    <a:lnTo>
                      <a:pt x="90" y="189"/>
                    </a:lnTo>
                    <a:lnTo>
                      <a:pt x="97" y="194"/>
                    </a:lnTo>
                    <a:lnTo>
                      <a:pt x="107" y="194"/>
                    </a:lnTo>
                    <a:lnTo>
                      <a:pt x="99" y="187"/>
                    </a:lnTo>
                    <a:lnTo>
                      <a:pt x="92" y="182"/>
                    </a:lnTo>
                    <a:lnTo>
                      <a:pt x="85" y="175"/>
                    </a:lnTo>
                    <a:lnTo>
                      <a:pt x="83" y="168"/>
                    </a:lnTo>
                    <a:lnTo>
                      <a:pt x="76" y="168"/>
                    </a:lnTo>
                    <a:lnTo>
                      <a:pt x="73" y="170"/>
                    </a:lnTo>
                    <a:lnTo>
                      <a:pt x="71" y="171"/>
                    </a:lnTo>
                    <a:lnTo>
                      <a:pt x="64" y="171"/>
                    </a:lnTo>
                    <a:lnTo>
                      <a:pt x="64" y="166"/>
                    </a:lnTo>
                    <a:lnTo>
                      <a:pt x="69" y="154"/>
                    </a:lnTo>
                    <a:lnTo>
                      <a:pt x="78" y="149"/>
                    </a:lnTo>
                    <a:lnTo>
                      <a:pt x="86" y="147"/>
                    </a:lnTo>
                    <a:lnTo>
                      <a:pt x="97" y="146"/>
                    </a:lnTo>
                    <a:lnTo>
                      <a:pt x="104" y="142"/>
                    </a:lnTo>
                    <a:lnTo>
                      <a:pt x="107" y="135"/>
                    </a:lnTo>
                    <a:lnTo>
                      <a:pt x="100" y="125"/>
                    </a:lnTo>
                    <a:lnTo>
                      <a:pt x="90" y="120"/>
                    </a:lnTo>
                    <a:lnTo>
                      <a:pt x="78" y="115"/>
                    </a:lnTo>
                    <a:lnTo>
                      <a:pt x="73" y="110"/>
                    </a:lnTo>
                    <a:lnTo>
                      <a:pt x="76" y="106"/>
                    </a:lnTo>
                    <a:lnTo>
                      <a:pt x="85" y="106"/>
                    </a:lnTo>
                    <a:lnTo>
                      <a:pt x="78" y="104"/>
                    </a:lnTo>
                    <a:lnTo>
                      <a:pt x="78" y="101"/>
                    </a:lnTo>
                    <a:lnTo>
                      <a:pt x="80" y="99"/>
                    </a:lnTo>
                    <a:lnTo>
                      <a:pt x="85" y="101"/>
                    </a:lnTo>
                    <a:lnTo>
                      <a:pt x="95" y="99"/>
                    </a:lnTo>
                    <a:lnTo>
                      <a:pt x="112" y="101"/>
                    </a:lnTo>
                    <a:lnTo>
                      <a:pt x="119" y="104"/>
                    </a:lnTo>
                    <a:lnTo>
                      <a:pt x="126" y="111"/>
                    </a:lnTo>
                    <a:lnTo>
                      <a:pt x="133" y="115"/>
                    </a:lnTo>
                    <a:lnTo>
                      <a:pt x="143" y="118"/>
                    </a:lnTo>
                    <a:lnTo>
                      <a:pt x="138" y="113"/>
                    </a:lnTo>
                    <a:lnTo>
                      <a:pt x="131" y="110"/>
                    </a:lnTo>
                    <a:lnTo>
                      <a:pt x="126" y="106"/>
                    </a:lnTo>
                    <a:lnTo>
                      <a:pt x="124" y="103"/>
                    </a:lnTo>
                    <a:lnTo>
                      <a:pt x="124" y="99"/>
                    </a:lnTo>
                    <a:lnTo>
                      <a:pt x="128" y="98"/>
                    </a:lnTo>
                    <a:lnTo>
                      <a:pt x="154" y="98"/>
                    </a:lnTo>
                    <a:lnTo>
                      <a:pt x="166" y="91"/>
                    </a:lnTo>
                    <a:lnTo>
                      <a:pt x="178" y="84"/>
                    </a:lnTo>
                    <a:lnTo>
                      <a:pt x="171" y="84"/>
                    </a:lnTo>
                    <a:lnTo>
                      <a:pt x="162" y="87"/>
                    </a:lnTo>
                    <a:lnTo>
                      <a:pt x="154" y="92"/>
                    </a:lnTo>
                    <a:lnTo>
                      <a:pt x="142" y="94"/>
                    </a:lnTo>
                    <a:lnTo>
                      <a:pt x="131" y="96"/>
                    </a:lnTo>
                    <a:lnTo>
                      <a:pt x="121" y="92"/>
                    </a:lnTo>
                    <a:lnTo>
                      <a:pt x="114" y="91"/>
                    </a:lnTo>
                    <a:lnTo>
                      <a:pt x="109" y="92"/>
                    </a:lnTo>
                    <a:lnTo>
                      <a:pt x="104" y="96"/>
                    </a:lnTo>
                    <a:lnTo>
                      <a:pt x="88" y="92"/>
                    </a:lnTo>
                    <a:lnTo>
                      <a:pt x="83" y="86"/>
                    </a:lnTo>
                    <a:lnTo>
                      <a:pt x="78" y="86"/>
                    </a:lnTo>
                    <a:lnTo>
                      <a:pt x="71" y="89"/>
                    </a:lnTo>
                    <a:lnTo>
                      <a:pt x="66" y="91"/>
                    </a:lnTo>
                    <a:lnTo>
                      <a:pt x="57" y="89"/>
                    </a:lnTo>
                    <a:lnTo>
                      <a:pt x="49" y="87"/>
                    </a:lnTo>
                    <a:lnTo>
                      <a:pt x="42" y="84"/>
                    </a:lnTo>
                    <a:lnTo>
                      <a:pt x="38" y="80"/>
                    </a:lnTo>
                    <a:lnTo>
                      <a:pt x="43" y="77"/>
                    </a:lnTo>
                    <a:lnTo>
                      <a:pt x="52" y="75"/>
                    </a:lnTo>
                    <a:lnTo>
                      <a:pt x="37" y="75"/>
                    </a:lnTo>
                    <a:lnTo>
                      <a:pt x="28" y="75"/>
                    </a:lnTo>
                    <a:lnTo>
                      <a:pt x="31" y="67"/>
                    </a:lnTo>
                    <a:lnTo>
                      <a:pt x="40" y="63"/>
                    </a:lnTo>
                    <a:lnTo>
                      <a:pt x="49" y="61"/>
                    </a:lnTo>
                    <a:lnTo>
                      <a:pt x="59" y="60"/>
                    </a:lnTo>
                    <a:lnTo>
                      <a:pt x="54" y="58"/>
                    </a:lnTo>
                    <a:lnTo>
                      <a:pt x="49" y="58"/>
                    </a:lnTo>
                    <a:lnTo>
                      <a:pt x="38" y="61"/>
                    </a:lnTo>
                    <a:lnTo>
                      <a:pt x="28" y="67"/>
                    </a:lnTo>
                    <a:lnTo>
                      <a:pt x="23" y="65"/>
                    </a:lnTo>
                    <a:lnTo>
                      <a:pt x="19" y="63"/>
                    </a:lnTo>
                    <a:lnTo>
                      <a:pt x="26" y="56"/>
                    </a:lnTo>
                    <a:lnTo>
                      <a:pt x="33" y="55"/>
                    </a:lnTo>
                    <a:lnTo>
                      <a:pt x="19" y="55"/>
                    </a:lnTo>
                    <a:lnTo>
                      <a:pt x="14" y="56"/>
                    </a:lnTo>
                    <a:lnTo>
                      <a:pt x="11" y="58"/>
                    </a:lnTo>
                    <a:lnTo>
                      <a:pt x="6" y="58"/>
                    </a:lnTo>
                    <a:lnTo>
                      <a:pt x="0" y="58"/>
                    </a:lnTo>
                    <a:lnTo>
                      <a:pt x="6" y="48"/>
                    </a:lnTo>
                    <a:lnTo>
                      <a:pt x="19" y="43"/>
                    </a:lnTo>
                    <a:lnTo>
                      <a:pt x="37" y="39"/>
                    </a:lnTo>
                    <a:lnTo>
                      <a:pt x="50" y="39"/>
                    </a:lnTo>
                    <a:lnTo>
                      <a:pt x="57" y="39"/>
                    </a:lnTo>
                    <a:lnTo>
                      <a:pt x="62" y="39"/>
                    </a:lnTo>
                    <a:lnTo>
                      <a:pt x="64" y="37"/>
                    </a:lnTo>
                    <a:lnTo>
                      <a:pt x="66" y="36"/>
                    </a:lnTo>
                    <a:lnTo>
                      <a:pt x="73" y="32"/>
                    </a:lnTo>
                    <a:lnTo>
                      <a:pt x="78" y="29"/>
                    </a:lnTo>
                    <a:lnTo>
                      <a:pt x="80" y="24"/>
                    </a:lnTo>
                    <a:lnTo>
                      <a:pt x="86" y="24"/>
                    </a:lnTo>
                    <a:lnTo>
                      <a:pt x="93" y="24"/>
                    </a:lnTo>
                    <a:lnTo>
                      <a:pt x="104" y="29"/>
                    </a:lnTo>
                    <a:lnTo>
                      <a:pt x="112" y="32"/>
                    </a:lnTo>
                    <a:lnTo>
                      <a:pt x="121" y="36"/>
                    </a:lnTo>
                    <a:lnTo>
                      <a:pt x="123" y="25"/>
                    </a:lnTo>
                    <a:lnTo>
                      <a:pt x="128" y="18"/>
                    </a:lnTo>
                    <a:lnTo>
                      <a:pt x="135" y="13"/>
                    </a:lnTo>
                    <a:lnTo>
                      <a:pt x="145" y="13"/>
                    </a:lnTo>
                    <a:lnTo>
                      <a:pt x="150" y="13"/>
                    </a:lnTo>
                    <a:lnTo>
                      <a:pt x="155" y="12"/>
                    </a:lnTo>
                    <a:lnTo>
                      <a:pt x="160" y="5"/>
                    </a:lnTo>
                    <a:lnTo>
                      <a:pt x="167" y="5"/>
                    </a:lnTo>
                    <a:lnTo>
                      <a:pt x="183" y="5"/>
                    </a:lnTo>
                    <a:lnTo>
                      <a:pt x="197" y="5"/>
                    </a:lnTo>
                    <a:lnTo>
                      <a:pt x="202" y="5"/>
                    </a:lnTo>
                    <a:lnTo>
                      <a:pt x="209" y="5"/>
                    </a:lnTo>
                    <a:lnTo>
                      <a:pt x="215" y="5"/>
                    </a:lnTo>
                    <a:lnTo>
                      <a:pt x="226" y="5"/>
                    </a:lnTo>
                    <a:lnTo>
                      <a:pt x="228" y="1"/>
                    </a:lnTo>
                    <a:lnTo>
                      <a:pt x="233" y="1"/>
                    </a:lnTo>
                    <a:lnTo>
                      <a:pt x="241" y="5"/>
                    </a:lnTo>
                    <a:lnTo>
                      <a:pt x="252" y="8"/>
                    </a:lnTo>
                    <a:lnTo>
                      <a:pt x="258" y="3"/>
                    </a:lnTo>
                    <a:lnTo>
                      <a:pt x="267" y="0"/>
                    </a:lnTo>
                    <a:lnTo>
                      <a:pt x="274" y="1"/>
                    </a:lnTo>
                    <a:lnTo>
                      <a:pt x="283" y="3"/>
                    </a:lnTo>
                    <a:lnTo>
                      <a:pt x="289" y="3"/>
                    </a:lnTo>
                    <a:lnTo>
                      <a:pt x="296" y="3"/>
                    </a:lnTo>
                    <a:lnTo>
                      <a:pt x="300" y="1"/>
                    </a:lnTo>
                    <a:lnTo>
                      <a:pt x="308" y="1"/>
                    </a:lnTo>
                    <a:lnTo>
                      <a:pt x="319" y="1"/>
                    </a:lnTo>
                    <a:lnTo>
                      <a:pt x="329" y="3"/>
                    </a:lnTo>
                    <a:lnTo>
                      <a:pt x="339" y="3"/>
                    </a:lnTo>
                    <a:lnTo>
                      <a:pt x="350" y="5"/>
                    </a:lnTo>
                    <a:lnTo>
                      <a:pt x="357" y="6"/>
                    </a:lnTo>
                    <a:lnTo>
                      <a:pt x="363"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4" name="Freeform 336"/>
              <p:cNvSpPr>
                <a:spLocks/>
              </p:cNvSpPr>
              <p:nvPr/>
            </p:nvSpPr>
            <p:spPr bwMode="auto">
              <a:xfrm>
                <a:off x="2647157" y="1392238"/>
                <a:ext cx="1381125" cy="1047750"/>
              </a:xfrm>
              <a:custGeom>
                <a:avLst/>
                <a:gdLst/>
                <a:ahLst/>
                <a:cxnLst>
                  <a:cxn ang="0">
                    <a:pos x="322" y="427"/>
                  </a:cxn>
                  <a:cxn ang="0">
                    <a:pos x="291" y="409"/>
                  </a:cxn>
                  <a:cxn ang="0">
                    <a:pos x="275" y="377"/>
                  </a:cxn>
                  <a:cxn ang="0">
                    <a:pos x="255" y="348"/>
                  </a:cxn>
                  <a:cxn ang="0">
                    <a:pos x="193" y="265"/>
                  </a:cxn>
                  <a:cxn ang="0">
                    <a:pos x="108" y="258"/>
                  </a:cxn>
                  <a:cxn ang="0">
                    <a:pos x="86" y="262"/>
                  </a:cxn>
                  <a:cxn ang="0">
                    <a:pos x="59" y="241"/>
                  </a:cxn>
                  <a:cxn ang="0">
                    <a:pos x="43" y="222"/>
                  </a:cxn>
                  <a:cxn ang="0">
                    <a:pos x="74" y="207"/>
                  </a:cxn>
                  <a:cxn ang="0">
                    <a:pos x="7" y="194"/>
                  </a:cxn>
                  <a:cxn ang="0">
                    <a:pos x="53" y="165"/>
                  </a:cxn>
                  <a:cxn ang="0">
                    <a:pos x="100" y="133"/>
                  </a:cxn>
                  <a:cxn ang="0">
                    <a:pos x="110" y="103"/>
                  </a:cxn>
                  <a:cxn ang="0">
                    <a:pos x="157" y="71"/>
                  </a:cxn>
                  <a:cxn ang="0">
                    <a:pos x="232" y="52"/>
                  </a:cxn>
                  <a:cxn ang="0">
                    <a:pos x="270" y="59"/>
                  </a:cxn>
                  <a:cxn ang="0">
                    <a:pos x="305" y="55"/>
                  </a:cxn>
                  <a:cxn ang="0">
                    <a:pos x="361" y="60"/>
                  </a:cxn>
                  <a:cxn ang="0">
                    <a:pos x="363" y="35"/>
                  </a:cxn>
                  <a:cxn ang="0">
                    <a:pos x="396" y="17"/>
                  </a:cxn>
                  <a:cxn ang="0">
                    <a:pos x="470" y="14"/>
                  </a:cxn>
                  <a:cxn ang="0">
                    <a:pos x="549" y="0"/>
                  </a:cxn>
                  <a:cxn ang="0">
                    <a:pos x="614" y="0"/>
                  </a:cxn>
                  <a:cxn ang="0">
                    <a:pos x="700" y="29"/>
                  </a:cxn>
                  <a:cxn ang="0">
                    <a:pos x="683" y="55"/>
                  </a:cxn>
                  <a:cxn ang="0">
                    <a:pos x="655" y="59"/>
                  </a:cxn>
                  <a:cxn ang="0">
                    <a:pos x="666" y="81"/>
                  </a:cxn>
                  <a:cxn ang="0">
                    <a:pos x="710" y="95"/>
                  </a:cxn>
                  <a:cxn ang="0">
                    <a:pos x="750" y="74"/>
                  </a:cxn>
                  <a:cxn ang="0">
                    <a:pos x="805" y="66"/>
                  </a:cxn>
                  <a:cxn ang="0">
                    <a:pos x="870" y="76"/>
                  </a:cxn>
                  <a:cxn ang="0">
                    <a:pos x="812" y="109"/>
                  </a:cxn>
                  <a:cxn ang="0">
                    <a:pos x="795" y="131"/>
                  </a:cxn>
                  <a:cxn ang="0">
                    <a:pos x="747" y="182"/>
                  </a:cxn>
                  <a:cxn ang="0">
                    <a:pos x="769" y="207"/>
                  </a:cxn>
                  <a:cxn ang="0">
                    <a:pos x="764" y="232"/>
                  </a:cxn>
                  <a:cxn ang="0">
                    <a:pos x="769" y="270"/>
                  </a:cxn>
                  <a:cxn ang="0">
                    <a:pos x="767" y="296"/>
                  </a:cxn>
                  <a:cxn ang="0">
                    <a:pos x="741" y="330"/>
                  </a:cxn>
                  <a:cxn ang="0">
                    <a:pos x="721" y="337"/>
                  </a:cxn>
                  <a:cxn ang="0">
                    <a:pos x="700" y="348"/>
                  </a:cxn>
                  <a:cxn ang="0">
                    <a:pos x="735" y="385"/>
                  </a:cxn>
                  <a:cxn ang="0">
                    <a:pos x="698" y="389"/>
                  </a:cxn>
                  <a:cxn ang="0">
                    <a:pos x="674" y="404"/>
                  </a:cxn>
                  <a:cxn ang="0">
                    <a:pos x="724" y="420"/>
                  </a:cxn>
                  <a:cxn ang="0">
                    <a:pos x="673" y="456"/>
                  </a:cxn>
                  <a:cxn ang="0">
                    <a:pos x="587" y="476"/>
                  </a:cxn>
                  <a:cxn ang="0">
                    <a:pos x="518" y="526"/>
                  </a:cxn>
                  <a:cxn ang="0">
                    <a:pos x="464" y="542"/>
                  </a:cxn>
                  <a:cxn ang="0">
                    <a:pos x="464" y="575"/>
                  </a:cxn>
                  <a:cxn ang="0">
                    <a:pos x="434" y="635"/>
                  </a:cxn>
                  <a:cxn ang="0">
                    <a:pos x="406" y="659"/>
                  </a:cxn>
                  <a:cxn ang="0">
                    <a:pos x="353" y="633"/>
                  </a:cxn>
                  <a:cxn ang="0">
                    <a:pos x="310" y="573"/>
                  </a:cxn>
                  <a:cxn ang="0">
                    <a:pos x="289" y="537"/>
                  </a:cxn>
                  <a:cxn ang="0">
                    <a:pos x="272" y="504"/>
                  </a:cxn>
                </a:cxnLst>
                <a:rect l="0" t="0" r="r" b="b"/>
                <a:pathLst>
                  <a:path w="870" h="660">
                    <a:moveTo>
                      <a:pt x="292" y="463"/>
                    </a:moveTo>
                    <a:lnTo>
                      <a:pt x="299" y="459"/>
                    </a:lnTo>
                    <a:lnTo>
                      <a:pt x="306" y="463"/>
                    </a:lnTo>
                    <a:lnTo>
                      <a:pt x="308" y="451"/>
                    </a:lnTo>
                    <a:lnTo>
                      <a:pt x="313" y="444"/>
                    </a:lnTo>
                    <a:lnTo>
                      <a:pt x="317" y="435"/>
                    </a:lnTo>
                    <a:lnTo>
                      <a:pt x="322" y="427"/>
                    </a:lnTo>
                    <a:lnTo>
                      <a:pt x="306" y="421"/>
                    </a:lnTo>
                    <a:lnTo>
                      <a:pt x="289" y="418"/>
                    </a:lnTo>
                    <a:lnTo>
                      <a:pt x="274" y="413"/>
                    </a:lnTo>
                    <a:lnTo>
                      <a:pt x="267" y="406"/>
                    </a:lnTo>
                    <a:lnTo>
                      <a:pt x="272" y="404"/>
                    </a:lnTo>
                    <a:lnTo>
                      <a:pt x="277" y="406"/>
                    </a:lnTo>
                    <a:lnTo>
                      <a:pt x="291" y="409"/>
                    </a:lnTo>
                    <a:lnTo>
                      <a:pt x="306" y="413"/>
                    </a:lnTo>
                    <a:lnTo>
                      <a:pt x="310" y="409"/>
                    </a:lnTo>
                    <a:lnTo>
                      <a:pt x="311" y="406"/>
                    </a:lnTo>
                    <a:lnTo>
                      <a:pt x="299" y="397"/>
                    </a:lnTo>
                    <a:lnTo>
                      <a:pt x="292" y="389"/>
                    </a:lnTo>
                    <a:lnTo>
                      <a:pt x="286" y="380"/>
                    </a:lnTo>
                    <a:lnTo>
                      <a:pt x="275" y="377"/>
                    </a:lnTo>
                    <a:lnTo>
                      <a:pt x="268" y="380"/>
                    </a:lnTo>
                    <a:lnTo>
                      <a:pt x="262" y="385"/>
                    </a:lnTo>
                    <a:lnTo>
                      <a:pt x="251" y="384"/>
                    </a:lnTo>
                    <a:lnTo>
                      <a:pt x="248" y="377"/>
                    </a:lnTo>
                    <a:lnTo>
                      <a:pt x="253" y="365"/>
                    </a:lnTo>
                    <a:lnTo>
                      <a:pt x="260" y="354"/>
                    </a:lnTo>
                    <a:lnTo>
                      <a:pt x="255" y="348"/>
                    </a:lnTo>
                    <a:lnTo>
                      <a:pt x="248" y="346"/>
                    </a:lnTo>
                    <a:lnTo>
                      <a:pt x="248" y="339"/>
                    </a:lnTo>
                    <a:lnTo>
                      <a:pt x="239" y="322"/>
                    </a:lnTo>
                    <a:lnTo>
                      <a:pt x="231" y="305"/>
                    </a:lnTo>
                    <a:lnTo>
                      <a:pt x="220" y="289"/>
                    </a:lnTo>
                    <a:lnTo>
                      <a:pt x="210" y="277"/>
                    </a:lnTo>
                    <a:lnTo>
                      <a:pt x="193" y="265"/>
                    </a:lnTo>
                    <a:lnTo>
                      <a:pt x="177" y="258"/>
                    </a:lnTo>
                    <a:lnTo>
                      <a:pt x="160" y="251"/>
                    </a:lnTo>
                    <a:lnTo>
                      <a:pt x="141" y="251"/>
                    </a:lnTo>
                    <a:lnTo>
                      <a:pt x="131" y="251"/>
                    </a:lnTo>
                    <a:lnTo>
                      <a:pt x="126" y="251"/>
                    </a:lnTo>
                    <a:lnTo>
                      <a:pt x="117" y="255"/>
                    </a:lnTo>
                    <a:lnTo>
                      <a:pt x="108" y="258"/>
                    </a:lnTo>
                    <a:lnTo>
                      <a:pt x="102" y="255"/>
                    </a:lnTo>
                    <a:lnTo>
                      <a:pt x="95" y="253"/>
                    </a:lnTo>
                    <a:lnTo>
                      <a:pt x="86" y="253"/>
                    </a:lnTo>
                    <a:lnTo>
                      <a:pt x="84" y="256"/>
                    </a:lnTo>
                    <a:lnTo>
                      <a:pt x="86" y="258"/>
                    </a:lnTo>
                    <a:lnTo>
                      <a:pt x="90" y="260"/>
                    </a:lnTo>
                    <a:lnTo>
                      <a:pt x="86" y="262"/>
                    </a:lnTo>
                    <a:lnTo>
                      <a:pt x="83" y="262"/>
                    </a:lnTo>
                    <a:lnTo>
                      <a:pt x="72" y="260"/>
                    </a:lnTo>
                    <a:lnTo>
                      <a:pt x="64" y="258"/>
                    </a:lnTo>
                    <a:lnTo>
                      <a:pt x="53" y="253"/>
                    </a:lnTo>
                    <a:lnTo>
                      <a:pt x="50" y="250"/>
                    </a:lnTo>
                    <a:lnTo>
                      <a:pt x="53" y="244"/>
                    </a:lnTo>
                    <a:lnTo>
                      <a:pt x="59" y="241"/>
                    </a:lnTo>
                    <a:lnTo>
                      <a:pt x="48" y="234"/>
                    </a:lnTo>
                    <a:lnTo>
                      <a:pt x="40" y="232"/>
                    </a:lnTo>
                    <a:lnTo>
                      <a:pt x="29" y="232"/>
                    </a:lnTo>
                    <a:lnTo>
                      <a:pt x="21" y="232"/>
                    </a:lnTo>
                    <a:lnTo>
                      <a:pt x="28" y="224"/>
                    </a:lnTo>
                    <a:lnTo>
                      <a:pt x="36" y="222"/>
                    </a:lnTo>
                    <a:lnTo>
                      <a:pt x="43" y="222"/>
                    </a:lnTo>
                    <a:lnTo>
                      <a:pt x="50" y="222"/>
                    </a:lnTo>
                    <a:lnTo>
                      <a:pt x="53" y="220"/>
                    </a:lnTo>
                    <a:lnTo>
                      <a:pt x="59" y="219"/>
                    </a:lnTo>
                    <a:lnTo>
                      <a:pt x="88" y="219"/>
                    </a:lnTo>
                    <a:lnTo>
                      <a:pt x="91" y="212"/>
                    </a:lnTo>
                    <a:lnTo>
                      <a:pt x="95" y="207"/>
                    </a:lnTo>
                    <a:lnTo>
                      <a:pt x="74" y="207"/>
                    </a:lnTo>
                    <a:lnTo>
                      <a:pt x="71" y="210"/>
                    </a:lnTo>
                    <a:lnTo>
                      <a:pt x="69" y="212"/>
                    </a:lnTo>
                    <a:lnTo>
                      <a:pt x="59" y="212"/>
                    </a:lnTo>
                    <a:lnTo>
                      <a:pt x="50" y="212"/>
                    </a:lnTo>
                    <a:lnTo>
                      <a:pt x="40" y="208"/>
                    </a:lnTo>
                    <a:lnTo>
                      <a:pt x="24" y="203"/>
                    </a:lnTo>
                    <a:lnTo>
                      <a:pt x="7" y="194"/>
                    </a:lnTo>
                    <a:lnTo>
                      <a:pt x="0" y="189"/>
                    </a:lnTo>
                    <a:lnTo>
                      <a:pt x="2" y="181"/>
                    </a:lnTo>
                    <a:lnTo>
                      <a:pt x="9" y="177"/>
                    </a:lnTo>
                    <a:lnTo>
                      <a:pt x="19" y="177"/>
                    </a:lnTo>
                    <a:lnTo>
                      <a:pt x="29" y="177"/>
                    </a:lnTo>
                    <a:lnTo>
                      <a:pt x="40" y="170"/>
                    </a:lnTo>
                    <a:lnTo>
                      <a:pt x="53" y="165"/>
                    </a:lnTo>
                    <a:lnTo>
                      <a:pt x="64" y="162"/>
                    </a:lnTo>
                    <a:lnTo>
                      <a:pt x="74" y="164"/>
                    </a:lnTo>
                    <a:lnTo>
                      <a:pt x="84" y="162"/>
                    </a:lnTo>
                    <a:lnTo>
                      <a:pt x="96" y="162"/>
                    </a:lnTo>
                    <a:lnTo>
                      <a:pt x="105" y="150"/>
                    </a:lnTo>
                    <a:lnTo>
                      <a:pt x="110" y="134"/>
                    </a:lnTo>
                    <a:lnTo>
                      <a:pt x="100" y="133"/>
                    </a:lnTo>
                    <a:lnTo>
                      <a:pt x="88" y="131"/>
                    </a:lnTo>
                    <a:lnTo>
                      <a:pt x="76" y="129"/>
                    </a:lnTo>
                    <a:lnTo>
                      <a:pt x="72" y="124"/>
                    </a:lnTo>
                    <a:lnTo>
                      <a:pt x="76" y="117"/>
                    </a:lnTo>
                    <a:lnTo>
                      <a:pt x="83" y="117"/>
                    </a:lnTo>
                    <a:lnTo>
                      <a:pt x="95" y="110"/>
                    </a:lnTo>
                    <a:lnTo>
                      <a:pt x="110" y="103"/>
                    </a:lnTo>
                    <a:lnTo>
                      <a:pt x="122" y="95"/>
                    </a:lnTo>
                    <a:lnTo>
                      <a:pt x="133" y="88"/>
                    </a:lnTo>
                    <a:lnTo>
                      <a:pt x="138" y="91"/>
                    </a:lnTo>
                    <a:lnTo>
                      <a:pt x="146" y="93"/>
                    </a:lnTo>
                    <a:lnTo>
                      <a:pt x="153" y="88"/>
                    </a:lnTo>
                    <a:lnTo>
                      <a:pt x="155" y="79"/>
                    </a:lnTo>
                    <a:lnTo>
                      <a:pt x="157" y="71"/>
                    </a:lnTo>
                    <a:lnTo>
                      <a:pt x="165" y="67"/>
                    </a:lnTo>
                    <a:lnTo>
                      <a:pt x="177" y="64"/>
                    </a:lnTo>
                    <a:lnTo>
                      <a:pt x="189" y="62"/>
                    </a:lnTo>
                    <a:lnTo>
                      <a:pt x="200" y="60"/>
                    </a:lnTo>
                    <a:lnTo>
                      <a:pt x="213" y="60"/>
                    </a:lnTo>
                    <a:lnTo>
                      <a:pt x="222" y="55"/>
                    </a:lnTo>
                    <a:lnTo>
                      <a:pt x="232" y="52"/>
                    </a:lnTo>
                    <a:lnTo>
                      <a:pt x="241" y="48"/>
                    </a:lnTo>
                    <a:lnTo>
                      <a:pt x="251" y="48"/>
                    </a:lnTo>
                    <a:lnTo>
                      <a:pt x="256" y="50"/>
                    </a:lnTo>
                    <a:lnTo>
                      <a:pt x="262" y="55"/>
                    </a:lnTo>
                    <a:lnTo>
                      <a:pt x="265" y="60"/>
                    </a:lnTo>
                    <a:lnTo>
                      <a:pt x="272" y="64"/>
                    </a:lnTo>
                    <a:lnTo>
                      <a:pt x="270" y="59"/>
                    </a:lnTo>
                    <a:lnTo>
                      <a:pt x="270" y="53"/>
                    </a:lnTo>
                    <a:lnTo>
                      <a:pt x="275" y="48"/>
                    </a:lnTo>
                    <a:lnTo>
                      <a:pt x="284" y="55"/>
                    </a:lnTo>
                    <a:lnTo>
                      <a:pt x="299" y="60"/>
                    </a:lnTo>
                    <a:lnTo>
                      <a:pt x="303" y="60"/>
                    </a:lnTo>
                    <a:lnTo>
                      <a:pt x="306" y="60"/>
                    </a:lnTo>
                    <a:lnTo>
                      <a:pt x="305" y="55"/>
                    </a:lnTo>
                    <a:lnTo>
                      <a:pt x="303" y="50"/>
                    </a:lnTo>
                    <a:lnTo>
                      <a:pt x="306" y="43"/>
                    </a:lnTo>
                    <a:lnTo>
                      <a:pt x="315" y="43"/>
                    </a:lnTo>
                    <a:lnTo>
                      <a:pt x="329" y="43"/>
                    </a:lnTo>
                    <a:lnTo>
                      <a:pt x="341" y="48"/>
                    </a:lnTo>
                    <a:lnTo>
                      <a:pt x="351" y="53"/>
                    </a:lnTo>
                    <a:lnTo>
                      <a:pt x="361" y="60"/>
                    </a:lnTo>
                    <a:lnTo>
                      <a:pt x="384" y="60"/>
                    </a:lnTo>
                    <a:lnTo>
                      <a:pt x="373" y="55"/>
                    </a:lnTo>
                    <a:lnTo>
                      <a:pt x="365" y="52"/>
                    </a:lnTo>
                    <a:lnTo>
                      <a:pt x="356" y="45"/>
                    </a:lnTo>
                    <a:lnTo>
                      <a:pt x="354" y="40"/>
                    </a:lnTo>
                    <a:lnTo>
                      <a:pt x="356" y="35"/>
                    </a:lnTo>
                    <a:lnTo>
                      <a:pt x="363" y="35"/>
                    </a:lnTo>
                    <a:lnTo>
                      <a:pt x="370" y="35"/>
                    </a:lnTo>
                    <a:lnTo>
                      <a:pt x="375" y="35"/>
                    </a:lnTo>
                    <a:lnTo>
                      <a:pt x="370" y="31"/>
                    </a:lnTo>
                    <a:lnTo>
                      <a:pt x="365" y="28"/>
                    </a:lnTo>
                    <a:lnTo>
                      <a:pt x="375" y="23"/>
                    </a:lnTo>
                    <a:lnTo>
                      <a:pt x="385" y="19"/>
                    </a:lnTo>
                    <a:lnTo>
                      <a:pt x="396" y="17"/>
                    </a:lnTo>
                    <a:lnTo>
                      <a:pt x="408" y="17"/>
                    </a:lnTo>
                    <a:lnTo>
                      <a:pt x="423" y="16"/>
                    </a:lnTo>
                    <a:lnTo>
                      <a:pt x="440" y="21"/>
                    </a:lnTo>
                    <a:lnTo>
                      <a:pt x="451" y="21"/>
                    </a:lnTo>
                    <a:lnTo>
                      <a:pt x="451" y="14"/>
                    </a:lnTo>
                    <a:lnTo>
                      <a:pt x="459" y="14"/>
                    </a:lnTo>
                    <a:lnTo>
                      <a:pt x="470" y="14"/>
                    </a:lnTo>
                    <a:lnTo>
                      <a:pt x="487" y="11"/>
                    </a:lnTo>
                    <a:lnTo>
                      <a:pt x="504" y="7"/>
                    </a:lnTo>
                    <a:lnTo>
                      <a:pt x="511" y="4"/>
                    </a:lnTo>
                    <a:lnTo>
                      <a:pt x="521" y="2"/>
                    </a:lnTo>
                    <a:lnTo>
                      <a:pt x="530" y="0"/>
                    </a:lnTo>
                    <a:lnTo>
                      <a:pt x="540" y="0"/>
                    </a:lnTo>
                    <a:lnTo>
                      <a:pt x="549" y="0"/>
                    </a:lnTo>
                    <a:lnTo>
                      <a:pt x="559" y="0"/>
                    </a:lnTo>
                    <a:lnTo>
                      <a:pt x="568" y="0"/>
                    </a:lnTo>
                    <a:lnTo>
                      <a:pt x="578" y="0"/>
                    </a:lnTo>
                    <a:lnTo>
                      <a:pt x="585" y="0"/>
                    </a:lnTo>
                    <a:lnTo>
                      <a:pt x="595" y="0"/>
                    </a:lnTo>
                    <a:lnTo>
                      <a:pt x="604" y="0"/>
                    </a:lnTo>
                    <a:lnTo>
                      <a:pt x="614" y="0"/>
                    </a:lnTo>
                    <a:lnTo>
                      <a:pt x="623" y="0"/>
                    </a:lnTo>
                    <a:lnTo>
                      <a:pt x="633" y="2"/>
                    </a:lnTo>
                    <a:lnTo>
                      <a:pt x="643" y="5"/>
                    </a:lnTo>
                    <a:lnTo>
                      <a:pt x="654" y="11"/>
                    </a:lnTo>
                    <a:lnTo>
                      <a:pt x="671" y="19"/>
                    </a:lnTo>
                    <a:lnTo>
                      <a:pt x="690" y="29"/>
                    </a:lnTo>
                    <a:lnTo>
                      <a:pt x="700" y="29"/>
                    </a:lnTo>
                    <a:lnTo>
                      <a:pt x="712" y="31"/>
                    </a:lnTo>
                    <a:lnTo>
                      <a:pt x="722" y="33"/>
                    </a:lnTo>
                    <a:lnTo>
                      <a:pt x="735" y="35"/>
                    </a:lnTo>
                    <a:lnTo>
                      <a:pt x="726" y="43"/>
                    </a:lnTo>
                    <a:lnTo>
                      <a:pt x="712" y="48"/>
                    </a:lnTo>
                    <a:lnTo>
                      <a:pt x="695" y="52"/>
                    </a:lnTo>
                    <a:lnTo>
                      <a:pt x="683" y="55"/>
                    </a:lnTo>
                    <a:lnTo>
                      <a:pt x="571" y="60"/>
                    </a:lnTo>
                    <a:lnTo>
                      <a:pt x="576" y="60"/>
                    </a:lnTo>
                    <a:lnTo>
                      <a:pt x="588" y="62"/>
                    </a:lnTo>
                    <a:lnTo>
                      <a:pt x="604" y="60"/>
                    </a:lnTo>
                    <a:lnTo>
                      <a:pt x="623" y="60"/>
                    </a:lnTo>
                    <a:lnTo>
                      <a:pt x="638" y="59"/>
                    </a:lnTo>
                    <a:lnTo>
                      <a:pt x="655" y="59"/>
                    </a:lnTo>
                    <a:lnTo>
                      <a:pt x="666" y="59"/>
                    </a:lnTo>
                    <a:lnTo>
                      <a:pt x="674" y="60"/>
                    </a:lnTo>
                    <a:lnTo>
                      <a:pt x="669" y="66"/>
                    </a:lnTo>
                    <a:lnTo>
                      <a:pt x="662" y="74"/>
                    </a:lnTo>
                    <a:lnTo>
                      <a:pt x="655" y="83"/>
                    </a:lnTo>
                    <a:lnTo>
                      <a:pt x="655" y="86"/>
                    </a:lnTo>
                    <a:lnTo>
                      <a:pt x="666" y="81"/>
                    </a:lnTo>
                    <a:lnTo>
                      <a:pt x="683" y="71"/>
                    </a:lnTo>
                    <a:lnTo>
                      <a:pt x="700" y="60"/>
                    </a:lnTo>
                    <a:lnTo>
                      <a:pt x="716" y="57"/>
                    </a:lnTo>
                    <a:lnTo>
                      <a:pt x="724" y="62"/>
                    </a:lnTo>
                    <a:lnTo>
                      <a:pt x="728" y="72"/>
                    </a:lnTo>
                    <a:lnTo>
                      <a:pt x="721" y="79"/>
                    </a:lnTo>
                    <a:lnTo>
                      <a:pt x="710" y="95"/>
                    </a:lnTo>
                    <a:lnTo>
                      <a:pt x="698" y="107"/>
                    </a:lnTo>
                    <a:lnTo>
                      <a:pt x="693" y="117"/>
                    </a:lnTo>
                    <a:lnTo>
                      <a:pt x="704" y="109"/>
                    </a:lnTo>
                    <a:lnTo>
                      <a:pt x="719" y="95"/>
                    </a:lnTo>
                    <a:lnTo>
                      <a:pt x="731" y="81"/>
                    </a:lnTo>
                    <a:lnTo>
                      <a:pt x="741" y="74"/>
                    </a:lnTo>
                    <a:lnTo>
                      <a:pt x="750" y="74"/>
                    </a:lnTo>
                    <a:lnTo>
                      <a:pt x="762" y="74"/>
                    </a:lnTo>
                    <a:lnTo>
                      <a:pt x="771" y="74"/>
                    </a:lnTo>
                    <a:lnTo>
                      <a:pt x="774" y="74"/>
                    </a:lnTo>
                    <a:lnTo>
                      <a:pt x="779" y="74"/>
                    </a:lnTo>
                    <a:lnTo>
                      <a:pt x="786" y="76"/>
                    </a:lnTo>
                    <a:lnTo>
                      <a:pt x="795" y="69"/>
                    </a:lnTo>
                    <a:lnTo>
                      <a:pt x="805" y="66"/>
                    </a:lnTo>
                    <a:lnTo>
                      <a:pt x="829" y="66"/>
                    </a:lnTo>
                    <a:lnTo>
                      <a:pt x="833" y="59"/>
                    </a:lnTo>
                    <a:lnTo>
                      <a:pt x="839" y="59"/>
                    </a:lnTo>
                    <a:lnTo>
                      <a:pt x="846" y="59"/>
                    </a:lnTo>
                    <a:lnTo>
                      <a:pt x="857" y="64"/>
                    </a:lnTo>
                    <a:lnTo>
                      <a:pt x="865" y="69"/>
                    </a:lnTo>
                    <a:lnTo>
                      <a:pt x="870" y="76"/>
                    </a:lnTo>
                    <a:lnTo>
                      <a:pt x="864" y="83"/>
                    </a:lnTo>
                    <a:lnTo>
                      <a:pt x="858" y="88"/>
                    </a:lnTo>
                    <a:lnTo>
                      <a:pt x="846" y="91"/>
                    </a:lnTo>
                    <a:lnTo>
                      <a:pt x="834" y="100"/>
                    </a:lnTo>
                    <a:lnTo>
                      <a:pt x="822" y="105"/>
                    </a:lnTo>
                    <a:lnTo>
                      <a:pt x="807" y="109"/>
                    </a:lnTo>
                    <a:lnTo>
                      <a:pt x="812" y="109"/>
                    </a:lnTo>
                    <a:lnTo>
                      <a:pt x="817" y="109"/>
                    </a:lnTo>
                    <a:lnTo>
                      <a:pt x="814" y="115"/>
                    </a:lnTo>
                    <a:lnTo>
                      <a:pt x="808" y="121"/>
                    </a:lnTo>
                    <a:lnTo>
                      <a:pt x="800" y="122"/>
                    </a:lnTo>
                    <a:lnTo>
                      <a:pt x="795" y="124"/>
                    </a:lnTo>
                    <a:lnTo>
                      <a:pt x="795" y="127"/>
                    </a:lnTo>
                    <a:lnTo>
                      <a:pt x="795" y="131"/>
                    </a:lnTo>
                    <a:lnTo>
                      <a:pt x="786" y="139"/>
                    </a:lnTo>
                    <a:lnTo>
                      <a:pt x="772" y="143"/>
                    </a:lnTo>
                    <a:lnTo>
                      <a:pt x="772" y="148"/>
                    </a:lnTo>
                    <a:lnTo>
                      <a:pt x="772" y="152"/>
                    </a:lnTo>
                    <a:lnTo>
                      <a:pt x="765" y="162"/>
                    </a:lnTo>
                    <a:lnTo>
                      <a:pt x="752" y="172"/>
                    </a:lnTo>
                    <a:lnTo>
                      <a:pt x="747" y="182"/>
                    </a:lnTo>
                    <a:lnTo>
                      <a:pt x="743" y="194"/>
                    </a:lnTo>
                    <a:lnTo>
                      <a:pt x="750" y="194"/>
                    </a:lnTo>
                    <a:lnTo>
                      <a:pt x="759" y="194"/>
                    </a:lnTo>
                    <a:lnTo>
                      <a:pt x="769" y="196"/>
                    </a:lnTo>
                    <a:lnTo>
                      <a:pt x="779" y="203"/>
                    </a:lnTo>
                    <a:lnTo>
                      <a:pt x="774" y="205"/>
                    </a:lnTo>
                    <a:lnTo>
                      <a:pt x="769" y="207"/>
                    </a:lnTo>
                    <a:lnTo>
                      <a:pt x="772" y="210"/>
                    </a:lnTo>
                    <a:lnTo>
                      <a:pt x="781" y="213"/>
                    </a:lnTo>
                    <a:lnTo>
                      <a:pt x="788" y="217"/>
                    </a:lnTo>
                    <a:lnTo>
                      <a:pt x="791" y="225"/>
                    </a:lnTo>
                    <a:lnTo>
                      <a:pt x="786" y="231"/>
                    </a:lnTo>
                    <a:lnTo>
                      <a:pt x="776" y="232"/>
                    </a:lnTo>
                    <a:lnTo>
                      <a:pt x="764" y="232"/>
                    </a:lnTo>
                    <a:lnTo>
                      <a:pt x="755" y="232"/>
                    </a:lnTo>
                    <a:lnTo>
                      <a:pt x="748" y="234"/>
                    </a:lnTo>
                    <a:lnTo>
                      <a:pt x="747" y="239"/>
                    </a:lnTo>
                    <a:lnTo>
                      <a:pt x="752" y="246"/>
                    </a:lnTo>
                    <a:lnTo>
                      <a:pt x="762" y="248"/>
                    </a:lnTo>
                    <a:lnTo>
                      <a:pt x="765" y="260"/>
                    </a:lnTo>
                    <a:lnTo>
                      <a:pt x="769" y="270"/>
                    </a:lnTo>
                    <a:lnTo>
                      <a:pt x="767" y="275"/>
                    </a:lnTo>
                    <a:lnTo>
                      <a:pt x="769" y="280"/>
                    </a:lnTo>
                    <a:lnTo>
                      <a:pt x="759" y="280"/>
                    </a:lnTo>
                    <a:lnTo>
                      <a:pt x="753" y="287"/>
                    </a:lnTo>
                    <a:lnTo>
                      <a:pt x="755" y="291"/>
                    </a:lnTo>
                    <a:lnTo>
                      <a:pt x="760" y="294"/>
                    </a:lnTo>
                    <a:lnTo>
                      <a:pt x="767" y="296"/>
                    </a:lnTo>
                    <a:lnTo>
                      <a:pt x="774" y="298"/>
                    </a:lnTo>
                    <a:lnTo>
                      <a:pt x="764" y="306"/>
                    </a:lnTo>
                    <a:lnTo>
                      <a:pt x="752" y="311"/>
                    </a:lnTo>
                    <a:lnTo>
                      <a:pt x="752" y="315"/>
                    </a:lnTo>
                    <a:lnTo>
                      <a:pt x="755" y="320"/>
                    </a:lnTo>
                    <a:lnTo>
                      <a:pt x="748" y="327"/>
                    </a:lnTo>
                    <a:lnTo>
                      <a:pt x="741" y="330"/>
                    </a:lnTo>
                    <a:lnTo>
                      <a:pt x="733" y="332"/>
                    </a:lnTo>
                    <a:lnTo>
                      <a:pt x="728" y="339"/>
                    </a:lnTo>
                    <a:lnTo>
                      <a:pt x="719" y="332"/>
                    </a:lnTo>
                    <a:lnTo>
                      <a:pt x="712" y="327"/>
                    </a:lnTo>
                    <a:lnTo>
                      <a:pt x="705" y="327"/>
                    </a:lnTo>
                    <a:lnTo>
                      <a:pt x="710" y="334"/>
                    </a:lnTo>
                    <a:lnTo>
                      <a:pt x="721" y="337"/>
                    </a:lnTo>
                    <a:lnTo>
                      <a:pt x="728" y="341"/>
                    </a:lnTo>
                    <a:lnTo>
                      <a:pt x="733" y="349"/>
                    </a:lnTo>
                    <a:lnTo>
                      <a:pt x="731" y="360"/>
                    </a:lnTo>
                    <a:lnTo>
                      <a:pt x="726" y="365"/>
                    </a:lnTo>
                    <a:lnTo>
                      <a:pt x="717" y="361"/>
                    </a:lnTo>
                    <a:lnTo>
                      <a:pt x="709" y="356"/>
                    </a:lnTo>
                    <a:lnTo>
                      <a:pt x="700" y="348"/>
                    </a:lnTo>
                    <a:lnTo>
                      <a:pt x="697" y="341"/>
                    </a:lnTo>
                    <a:lnTo>
                      <a:pt x="692" y="341"/>
                    </a:lnTo>
                    <a:lnTo>
                      <a:pt x="692" y="349"/>
                    </a:lnTo>
                    <a:lnTo>
                      <a:pt x="705" y="360"/>
                    </a:lnTo>
                    <a:lnTo>
                      <a:pt x="722" y="372"/>
                    </a:lnTo>
                    <a:lnTo>
                      <a:pt x="728" y="377"/>
                    </a:lnTo>
                    <a:lnTo>
                      <a:pt x="735" y="385"/>
                    </a:lnTo>
                    <a:lnTo>
                      <a:pt x="738" y="392"/>
                    </a:lnTo>
                    <a:lnTo>
                      <a:pt x="741" y="404"/>
                    </a:lnTo>
                    <a:lnTo>
                      <a:pt x="736" y="409"/>
                    </a:lnTo>
                    <a:lnTo>
                      <a:pt x="728" y="411"/>
                    </a:lnTo>
                    <a:lnTo>
                      <a:pt x="714" y="406"/>
                    </a:lnTo>
                    <a:lnTo>
                      <a:pt x="705" y="397"/>
                    </a:lnTo>
                    <a:lnTo>
                      <a:pt x="698" y="389"/>
                    </a:lnTo>
                    <a:lnTo>
                      <a:pt x="688" y="385"/>
                    </a:lnTo>
                    <a:lnTo>
                      <a:pt x="685" y="385"/>
                    </a:lnTo>
                    <a:lnTo>
                      <a:pt x="681" y="385"/>
                    </a:lnTo>
                    <a:lnTo>
                      <a:pt x="683" y="392"/>
                    </a:lnTo>
                    <a:lnTo>
                      <a:pt x="686" y="397"/>
                    </a:lnTo>
                    <a:lnTo>
                      <a:pt x="681" y="403"/>
                    </a:lnTo>
                    <a:lnTo>
                      <a:pt x="674" y="404"/>
                    </a:lnTo>
                    <a:lnTo>
                      <a:pt x="674" y="408"/>
                    </a:lnTo>
                    <a:lnTo>
                      <a:pt x="681" y="411"/>
                    </a:lnTo>
                    <a:lnTo>
                      <a:pt x="688" y="413"/>
                    </a:lnTo>
                    <a:lnTo>
                      <a:pt x="698" y="416"/>
                    </a:lnTo>
                    <a:lnTo>
                      <a:pt x="707" y="416"/>
                    </a:lnTo>
                    <a:lnTo>
                      <a:pt x="717" y="418"/>
                    </a:lnTo>
                    <a:lnTo>
                      <a:pt x="724" y="420"/>
                    </a:lnTo>
                    <a:lnTo>
                      <a:pt x="731" y="421"/>
                    </a:lnTo>
                    <a:lnTo>
                      <a:pt x="719" y="427"/>
                    </a:lnTo>
                    <a:lnTo>
                      <a:pt x="709" y="432"/>
                    </a:lnTo>
                    <a:lnTo>
                      <a:pt x="697" y="435"/>
                    </a:lnTo>
                    <a:lnTo>
                      <a:pt x="688" y="444"/>
                    </a:lnTo>
                    <a:lnTo>
                      <a:pt x="679" y="449"/>
                    </a:lnTo>
                    <a:lnTo>
                      <a:pt x="673" y="456"/>
                    </a:lnTo>
                    <a:lnTo>
                      <a:pt x="657" y="458"/>
                    </a:lnTo>
                    <a:lnTo>
                      <a:pt x="645" y="459"/>
                    </a:lnTo>
                    <a:lnTo>
                      <a:pt x="633" y="461"/>
                    </a:lnTo>
                    <a:lnTo>
                      <a:pt x="619" y="468"/>
                    </a:lnTo>
                    <a:lnTo>
                      <a:pt x="597" y="468"/>
                    </a:lnTo>
                    <a:lnTo>
                      <a:pt x="588" y="471"/>
                    </a:lnTo>
                    <a:lnTo>
                      <a:pt x="587" y="476"/>
                    </a:lnTo>
                    <a:lnTo>
                      <a:pt x="573" y="485"/>
                    </a:lnTo>
                    <a:lnTo>
                      <a:pt x="563" y="497"/>
                    </a:lnTo>
                    <a:lnTo>
                      <a:pt x="556" y="511"/>
                    </a:lnTo>
                    <a:lnTo>
                      <a:pt x="545" y="516"/>
                    </a:lnTo>
                    <a:lnTo>
                      <a:pt x="537" y="518"/>
                    </a:lnTo>
                    <a:lnTo>
                      <a:pt x="526" y="519"/>
                    </a:lnTo>
                    <a:lnTo>
                      <a:pt x="518" y="526"/>
                    </a:lnTo>
                    <a:lnTo>
                      <a:pt x="509" y="526"/>
                    </a:lnTo>
                    <a:lnTo>
                      <a:pt x="509" y="516"/>
                    </a:lnTo>
                    <a:lnTo>
                      <a:pt x="502" y="521"/>
                    </a:lnTo>
                    <a:lnTo>
                      <a:pt x="499" y="528"/>
                    </a:lnTo>
                    <a:lnTo>
                      <a:pt x="487" y="533"/>
                    </a:lnTo>
                    <a:lnTo>
                      <a:pt x="475" y="537"/>
                    </a:lnTo>
                    <a:lnTo>
                      <a:pt x="464" y="542"/>
                    </a:lnTo>
                    <a:lnTo>
                      <a:pt x="461" y="552"/>
                    </a:lnTo>
                    <a:lnTo>
                      <a:pt x="461" y="554"/>
                    </a:lnTo>
                    <a:lnTo>
                      <a:pt x="463" y="557"/>
                    </a:lnTo>
                    <a:lnTo>
                      <a:pt x="459" y="559"/>
                    </a:lnTo>
                    <a:lnTo>
                      <a:pt x="459" y="562"/>
                    </a:lnTo>
                    <a:lnTo>
                      <a:pt x="461" y="568"/>
                    </a:lnTo>
                    <a:lnTo>
                      <a:pt x="464" y="575"/>
                    </a:lnTo>
                    <a:lnTo>
                      <a:pt x="459" y="583"/>
                    </a:lnTo>
                    <a:lnTo>
                      <a:pt x="452" y="588"/>
                    </a:lnTo>
                    <a:lnTo>
                      <a:pt x="444" y="592"/>
                    </a:lnTo>
                    <a:lnTo>
                      <a:pt x="442" y="600"/>
                    </a:lnTo>
                    <a:lnTo>
                      <a:pt x="440" y="616"/>
                    </a:lnTo>
                    <a:lnTo>
                      <a:pt x="442" y="628"/>
                    </a:lnTo>
                    <a:lnTo>
                      <a:pt x="434" y="635"/>
                    </a:lnTo>
                    <a:lnTo>
                      <a:pt x="432" y="647"/>
                    </a:lnTo>
                    <a:lnTo>
                      <a:pt x="428" y="655"/>
                    </a:lnTo>
                    <a:lnTo>
                      <a:pt x="421" y="660"/>
                    </a:lnTo>
                    <a:lnTo>
                      <a:pt x="416" y="659"/>
                    </a:lnTo>
                    <a:lnTo>
                      <a:pt x="416" y="655"/>
                    </a:lnTo>
                    <a:lnTo>
                      <a:pt x="409" y="657"/>
                    </a:lnTo>
                    <a:lnTo>
                      <a:pt x="406" y="659"/>
                    </a:lnTo>
                    <a:lnTo>
                      <a:pt x="397" y="654"/>
                    </a:lnTo>
                    <a:lnTo>
                      <a:pt x="392" y="647"/>
                    </a:lnTo>
                    <a:lnTo>
                      <a:pt x="387" y="638"/>
                    </a:lnTo>
                    <a:lnTo>
                      <a:pt x="382" y="636"/>
                    </a:lnTo>
                    <a:lnTo>
                      <a:pt x="370" y="638"/>
                    </a:lnTo>
                    <a:lnTo>
                      <a:pt x="360" y="643"/>
                    </a:lnTo>
                    <a:lnTo>
                      <a:pt x="353" y="633"/>
                    </a:lnTo>
                    <a:lnTo>
                      <a:pt x="344" y="628"/>
                    </a:lnTo>
                    <a:lnTo>
                      <a:pt x="341" y="623"/>
                    </a:lnTo>
                    <a:lnTo>
                      <a:pt x="341" y="619"/>
                    </a:lnTo>
                    <a:lnTo>
                      <a:pt x="330" y="609"/>
                    </a:lnTo>
                    <a:lnTo>
                      <a:pt x="320" y="599"/>
                    </a:lnTo>
                    <a:lnTo>
                      <a:pt x="311" y="585"/>
                    </a:lnTo>
                    <a:lnTo>
                      <a:pt x="310" y="573"/>
                    </a:lnTo>
                    <a:lnTo>
                      <a:pt x="311" y="566"/>
                    </a:lnTo>
                    <a:lnTo>
                      <a:pt x="318" y="562"/>
                    </a:lnTo>
                    <a:lnTo>
                      <a:pt x="308" y="559"/>
                    </a:lnTo>
                    <a:lnTo>
                      <a:pt x="299" y="562"/>
                    </a:lnTo>
                    <a:lnTo>
                      <a:pt x="296" y="554"/>
                    </a:lnTo>
                    <a:lnTo>
                      <a:pt x="294" y="545"/>
                    </a:lnTo>
                    <a:lnTo>
                      <a:pt x="289" y="537"/>
                    </a:lnTo>
                    <a:lnTo>
                      <a:pt x="284" y="532"/>
                    </a:lnTo>
                    <a:lnTo>
                      <a:pt x="279" y="523"/>
                    </a:lnTo>
                    <a:lnTo>
                      <a:pt x="277" y="516"/>
                    </a:lnTo>
                    <a:lnTo>
                      <a:pt x="279" y="509"/>
                    </a:lnTo>
                    <a:lnTo>
                      <a:pt x="282" y="504"/>
                    </a:lnTo>
                    <a:lnTo>
                      <a:pt x="277" y="501"/>
                    </a:lnTo>
                    <a:lnTo>
                      <a:pt x="272" y="504"/>
                    </a:lnTo>
                    <a:lnTo>
                      <a:pt x="272" y="492"/>
                    </a:lnTo>
                    <a:lnTo>
                      <a:pt x="280" y="476"/>
                    </a:lnTo>
                    <a:lnTo>
                      <a:pt x="292" y="464"/>
                    </a:lnTo>
                    <a:lnTo>
                      <a:pt x="292" y="46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5" name="Freeform 337"/>
              <p:cNvSpPr>
                <a:spLocks/>
              </p:cNvSpPr>
              <p:nvPr/>
            </p:nvSpPr>
            <p:spPr bwMode="auto">
              <a:xfrm>
                <a:off x="3056732" y="2052638"/>
                <a:ext cx="68263" cy="44450"/>
              </a:xfrm>
              <a:custGeom>
                <a:avLst/>
                <a:gdLst/>
                <a:ahLst/>
                <a:cxnLst>
                  <a:cxn ang="0">
                    <a:pos x="10" y="28"/>
                  </a:cxn>
                  <a:cxn ang="0">
                    <a:pos x="4" y="21"/>
                  </a:cxn>
                  <a:cxn ang="0">
                    <a:pos x="0" y="9"/>
                  </a:cxn>
                  <a:cxn ang="0">
                    <a:pos x="4" y="2"/>
                  </a:cxn>
                  <a:cxn ang="0">
                    <a:pos x="12" y="0"/>
                  </a:cxn>
                  <a:cxn ang="0">
                    <a:pos x="19" y="2"/>
                  </a:cxn>
                  <a:cxn ang="0">
                    <a:pos x="26" y="7"/>
                  </a:cxn>
                  <a:cxn ang="0">
                    <a:pos x="33" y="12"/>
                  </a:cxn>
                  <a:cxn ang="0">
                    <a:pos x="43" y="18"/>
                  </a:cxn>
                  <a:cxn ang="0">
                    <a:pos x="34" y="24"/>
                  </a:cxn>
                  <a:cxn ang="0">
                    <a:pos x="22" y="28"/>
                  </a:cxn>
                  <a:cxn ang="0">
                    <a:pos x="10" y="28"/>
                  </a:cxn>
                </a:cxnLst>
                <a:rect l="0" t="0" r="r" b="b"/>
                <a:pathLst>
                  <a:path w="43" h="28">
                    <a:moveTo>
                      <a:pt x="10" y="28"/>
                    </a:moveTo>
                    <a:lnTo>
                      <a:pt x="4" y="21"/>
                    </a:lnTo>
                    <a:lnTo>
                      <a:pt x="0" y="9"/>
                    </a:lnTo>
                    <a:lnTo>
                      <a:pt x="4" y="2"/>
                    </a:lnTo>
                    <a:lnTo>
                      <a:pt x="12" y="0"/>
                    </a:lnTo>
                    <a:lnTo>
                      <a:pt x="19" y="2"/>
                    </a:lnTo>
                    <a:lnTo>
                      <a:pt x="26" y="7"/>
                    </a:lnTo>
                    <a:lnTo>
                      <a:pt x="33" y="12"/>
                    </a:lnTo>
                    <a:lnTo>
                      <a:pt x="43" y="18"/>
                    </a:lnTo>
                    <a:lnTo>
                      <a:pt x="34" y="24"/>
                    </a:lnTo>
                    <a:lnTo>
                      <a:pt x="22" y="28"/>
                    </a:lnTo>
                    <a:lnTo>
                      <a:pt x="10"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6" name="Freeform 338"/>
              <p:cNvSpPr>
                <a:spLocks/>
              </p:cNvSpPr>
              <p:nvPr/>
            </p:nvSpPr>
            <p:spPr bwMode="auto">
              <a:xfrm>
                <a:off x="3882232" y="1827213"/>
                <a:ext cx="34925" cy="20637"/>
              </a:xfrm>
              <a:custGeom>
                <a:avLst/>
                <a:gdLst/>
                <a:ahLst/>
                <a:cxnLst>
                  <a:cxn ang="0">
                    <a:pos x="6" y="13"/>
                  </a:cxn>
                  <a:cxn ang="0">
                    <a:pos x="1" y="10"/>
                  </a:cxn>
                  <a:cxn ang="0">
                    <a:pos x="0" y="6"/>
                  </a:cxn>
                  <a:cxn ang="0">
                    <a:pos x="1" y="1"/>
                  </a:cxn>
                  <a:cxn ang="0">
                    <a:pos x="5" y="0"/>
                  </a:cxn>
                  <a:cxn ang="0">
                    <a:pos x="13" y="0"/>
                  </a:cxn>
                  <a:cxn ang="0">
                    <a:pos x="13" y="3"/>
                  </a:cxn>
                  <a:cxn ang="0">
                    <a:pos x="13" y="6"/>
                  </a:cxn>
                  <a:cxn ang="0">
                    <a:pos x="22" y="6"/>
                  </a:cxn>
                  <a:cxn ang="0">
                    <a:pos x="15" y="10"/>
                  </a:cxn>
                  <a:cxn ang="0">
                    <a:pos x="6" y="13"/>
                  </a:cxn>
                </a:cxnLst>
                <a:rect l="0" t="0" r="r" b="b"/>
                <a:pathLst>
                  <a:path w="22" h="13">
                    <a:moveTo>
                      <a:pt x="6" y="13"/>
                    </a:moveTo>
                    <a:lnTo>
                      <a:pt x="1" y="10"/>
                    </a:lnTo>
                    <a:lnTo>
                      <a:pt x="0" y="6"/>
                    </a:lnTo>
                    <a:lnTo>
                      <a:pt x="1" y="1"/>
                    </a:lnTo>
                    <a:lnTo>
                      <a:pt x="5" y="0"/>
                    </a:lnTo>
                    <a:lnTo>
                      <a:pt x="13" y="0"/>
                    </a:lnTo>
                    <a:lnTo>
                      <a:pt x="13" y="3"/>
                    </a:lnTo>
                    <a:lnTo>
                      <a:pt x="13" y="6"/>
                    </a:lnTo>
                    <a:lnTo>
                      <a:pt x="22" y="6"/>
                    </a:lnTo>
                    <a:lnTo>
                      <a:pt x="15" y="10"/>
                    </a:lnTo>
                    <a:lnTo>
                      <a:pt x="6"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7" name="Freeform 339"/>
              <p:cNvSpPr>
                <a:spLocks/>
              </p:cNvSpPr>
              <p:nvPr/>
            </p:nvSpPr>
            <p:spPr bwMode="auto">
              <a:xfrm>
                <a:off x="2958307" y="2716213"/>
                <a:ext cx="150813" cy="147637"/>
              </a:xfrm>
              <a:custGeom>
                <a:avLst/>
                <a:gdLst/>
                <a:ahLst/>
                <a:cxnLst>
                  <a:cxn ang="0">
                    <a:pos x="2" y="74"/>
                  </a:cxn>
                  <a:cxn ang="0">
                    <a:pos x="4" y="67"/>
                  </a:cxn>
                  <a:cxn ang="0">
                    <a:pos x="9" y="60"/>
                  </a:cxn>
                  <a:cxn ang="0">
                    <a:pos x="5" y="59"/>
                  </a:cxn>
                  <a:cxn ang="0">
                    <a:pos x="21" y="38"/>
                  </a:cxn>
                  <a:cxn ang="0">
                    <a:pos x="33" y="16"/>
                  </a:cxn>
                  <a:cxn ang="0">
                    <a:pos x="48" y="0"/>
                  </a:cxn>
                  <a:cxn ang="0">
                    <a:pos x="52" y="5"/>
                  </a:cxn>
                  <a:cxn ang="0">
                    <a:pos x="38" y="31"/>
                  </a:cxn>
                  <a:cxn ang="0">
                    <a:pos x="41" y="35"/>
                  </a:cxn>
                  <a:cxn ang="0">
                    <a:pos x="48" y="33"/>
                  </a:cxn>
                  <a:cxn ang="0">
                    <a:pos x="52" y="38"/>
                  </a:cxn>
                  <a:cxn ang="0">
                    <a:pos x="60" y="41"/>
                  </a:cxn>
                  <a:cxn ang="0">
                    <a:pos x="60" y="45"/>
                  </a:cxn>
                  <a:cxn ang="0">
                    <a:pos x="74" y="43"/>
                  </a:cxn>
                  <a:cxn ang="0">
                    <a:pos x="81" y="48"/>
                  </a:cxn>
                  <a:cxn ang="0">
                    <a:pos x="83" y="59"/>
                  </a:cxn>
                  <a:cxn ang="0">
                    <a:pos x="83" y="62"/>
                  </a:cxn>
                  <a:cxn ang="0">
                    <a:pos x="83" y="69"/>
                  </a:cxn>
                  <a:cxn ang="0">
                    <a:pos x="88" y="72"/>
                  </a:cxn>
                  <a:cxn ang="0">
                    <a:pos x="93" y="76"/>
                  </a:cxn>
                  <a:cxn ang="0">
                    <a:pos x="91" y="90"/>
                  </a:cxn>
                  <a:cxn ang="0">
                    <a:pos x="83" y="90"/>
                  </a:cxn>
                  <a:cxn ang="0">
                    <a:pos x="79" y="86"/>
                  </a:cxn>
                  <a:cxn ang="0">
                    <a:pos x="74" y="79"/>
                  </a:cxn>
                  <a:cxn ang="0">
                    <a:pos x="66" y="81"/>
                  </a:cxn>
                  <a:cxn ang="0">
                    <a:pos x="55" y="86"/>
                  </a:cxn>
                  <a:cxn ang="0">
                    <a:pos x="60" y="78"/>
                  </a:cxn>
                  <a:cxn ang="0">
                    <a:pos x="47" y="76"/>
                  </a:cxn>
                  <a:cxn ang="0">
                    <a:pos x="36" y="79"/>
                  </a:cxn>
                  <a:cxn ang="0">
                    <a:pos x="21" y="76"/>
                  </a:cxn>
                  <a:cxn ang="0">
                    <a:pos x="5" y="78"/>
                  </a:cxn>
                </a:cxnLst>
                <a:rect l="0" t="0" r="r" b="b"/>
                <a:pathLst>
                  <a:path w="95" h="93">
                    <a:moveTo>
                      <a:pt x="5" y="78"/>
                    </a:moveTo>
                    <a:lnTo>
                      <a:pt x="2" y="74"/>
                    </a:lnTo>
                    <a:lnTo>
                      <a:pt x="0" y="72"/>
                    </a:lnTo>
                    <a:lnTo>
                      <a:pt x="4" y="67"/>
                    </a:lnTo>
                    <a:lnTo>
                      <a:pt x="9" y="64"/>
                    </a:lnTo>
                    <a:lnTo>
                      <a:pt x="9" y="60"/>
                    </a:lnTo>
                    <a:lnTo>
                      <a:pt x="7" y="59"/>
                    </a:lnTo>
                    <a:lnTo>
                      <a:pt x="5" y="59"/>
                    </a:lnTo>
                    <a:lnTo>
                      <a:pt x="14" y="48"/>
                    </a:lnTo>
                    <a:lnTo>
                      <a:pt x="21" y="38"/>
                    </a:lnTo>
                    <a:lnTo>
                      <a:pt x="26" y="24"/>
                    </a:lnTo>
                    <a:lnTo>
                      <a:pt x="33" y="16"/>
                    </a:lnTo>
                    <a:lnTo>
                      <a:pt x="38" y="5"/>
                    </a:lnTo>
                    <a:lnTo>
                      <a:pt x="48" y="0"/>
                    </a:lnTo>
                    <a:lnTo>
                      <a:pt x="50" y="2"/>
                    </a:lnTo>
                    <a:lnTo>
                      <a:pt x="52" y="5"/>
                    </a:lnTo>
                    <a:lnTo>
                      <a:pt x="45" y="19"/>
                    </a:lnTo>
                    <a:lnTo>
                      <a:pt x="38" y="31"/>
                    </a:lnTo>
                    <a:lnTo>
                      <a:pt x="38" y="36"/>
                    </a:lnTo>
                    <a:lnTo>
                      <a:pt x="41" y="35"/>
                    </a:lnTo>
                    <a:lnTo>
                      <a:pt x="45" y="33"/>
                    </a:lnTo>
                    <a:lnTo>
                      <a:pt x="48" y="33"/>
                    </a:lnTo>
                    <a:lnTo>
                      <a:pt x="53" y="35"/>
                    </a:lnTo>
                    <a:lnTo>
                      <a:pt x="52" y="38"/>
                    </a:lnTo>
                    <a:lnTo>
                      <a:pt x="52" y="41"/>
                    </a:lnTo>
                    <a:lnTo>
                      <a:pt x="60" y="41"/>
                    </a:lnTo>
                    <a:lnTo>
                      <a:pt x="60" y="43"/>
                    </a:lnTo>
                    <a:lnTo>
                      <a:pt x="60" y="45"/>
                    </a:lnTo>
                    <a:lnTo>
                      <a:pt x="66" y="43"/>
                    </a:lnTo>
                    <a:lnTo>
                      <a:pt x="74" y="43"/>
                    </a:lnTo>
                    <a:lnTo>
                      <a:pt x="81" y="43"/>
                    </a:lnTo>
                    <a:lnTo>
                      <a:pt x="81" y="48"/>
                    </a:lnTo>
                    <a:lnTo>
                      <a:pt x="81" y="59"/>
                    </a:lnTo>
                    <a:lnTo>
                      <a:pt x="83" y="59"/>
                    </a:lnTo>
                    <a:lnTo>
                      <a:pt x="86" y="59"/>
                    </a:lnTo>
                    <a:lnTo>
                      <a:pt x="83" y="62"/>
                    </a:lnTo>
                    <a:lnTo>
                      <a:pt x="81" y="65"/>
                    </a:lnTo>
                    <a:lnTo>
                      <a:pt x="83" y="69"/>
                    </a:lnTo>
                    <a:lnTo>
                      <a:pt x="84" y="74"/>
                    </a:lnTo>
                    <a:lnTo>
                      <a:pt x="88" y="72"/>
                    </a:lnTo>
                    <a:lnTo>
                      <a:pt x="91" y="71"/>
                    </a:lnTo>
                    <a:lnTo>
                      <a:pt x="93" y="76"/>
                    </a:lnTo>
                    <a:lnTo>
                      <a:pt x="95" y="81"/>
                    </a:lnTo>
                    <a:lnTo>
                      <a:pt x="91" y="90"/>
                    </a:lnTo>
                    <a:lnTo>
                      <a:pt x="86" y="93"/>
                    </a:lnTo>
                    <a:lnTo>
                      <a:pt x="83" y="90"/>
                    </a:lnTo>
                    <a:lnTo>
                      <a:pt x="83" y="88"/>
                    </a:lnTo>
                    <a:lnTo>
                      <a:pt x="79" y="86"/>
                    </a:lnTo>
                    <a:lnTo>
                      <a:pt x="78" y="86"/>
                    </a:lnTo>
                    <a:lnTo>
                      <a:pt x="74" y="79"/>
                    </a:lnTo>
                    <a:lnTo>
                      <a:pt x="72" y="72"/>
                    </a:lnTo>
                    <a:lnTo>
                      <a:pt x="66" y="81"/>
                    </a:lnTo>
                    <a:lnTo>
                      <a:pt x="59" y="86"/>
                    </a:lnTo>
                    <a:lnTo>
                      <a:pt x="55" y="86"/>
                    </a:lnTo>
                    <a:lnTo>
                      <a:pt x="57" y="81"/>
                    </a:lnTo>
                    <a:lnTo>
                      <a:pt x="60" y="78"/>
                    </a:lnTo>
                    <a:lnTo>
                      <a:pt x="52" y="78"/>
                    </a:lnTo>
                    <a:lnTo>
                      <a:pt x="47" y="76"/>
                    </a:lnTo>
                    <a:lnTo>
                      <a:pt x="41" y="78"/>
                    </a:lnTo>
                    <a:lnTo>
                      <a:pt x="36" y="79"/>
                    </a:lnTo>
                    <a:lnTo>
                      <a:pt x="28" y="78"/>
                    </a:lnTo>
                    <a:lnTo>
                      <a:pt x="21" y="76"/>
                    </a:lnTo>
                    <a:lnTo>
                      <a:pt x="12" y="76"/>
                    </a:lnTo>
                    <a:lnTo>
                      <a:pt x="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8" name="Freeform 340"/>
              <p:cNvSpPr>
                <a:spLocks/>
              </p:cNvSpPr>
              <p:nvPr/>
            </p:nvSpPr>
            <p:spPr bwMode="auto">
              <a:xfrm>
                <a:off x="7455694" y="1779588"/>
                <a:ext cx="177800" cy="68262"/>
              </a:xfrm>
              <a:custGeom>
                <a:avLst/>
                <a:gdLst/>
                <a:ahLst/>
                <a:cxnLst>
                  <a:cxn ang="0">
                    <a:pos x="89" y="33"/>
                  </a:cxn>
                  <a:cxn ang="0">
                    <a:pos x="82" y="35"/>
                  </a:cxn>
                  <a:cxn ang="0">
                    <a:pos x="76" y="38"/>
                  </a:cxn>
                  <a:cxn ang="0">
                    <a:pos x="70" y="35"/>
                  </a:cxn>
                  <a:cxn ang="0">
                    <a:pos x="67" y="33"/>
                  </a:cxn>
                  <a:cxn ang="0">
                    <a:pos x="62" y="35"/>
                  </a:cxn>
                  <a:cxn ang="0">
                    <a:pos x="57" y="36"/>
                  </a:cxn>
                  <a:cxn ang="0">
                    <a:pos x="52" y="38"/>
                  </a:cxn>
                  <a:cxn ang="0">
                    <a:pos x="46" y="42"/>
                  </a:cxn>
                  <a:cxn ang="0">
                    <a:pos x="39" y="40"/>
                  </a:cxn>
                  <a:cxn ang="0">
                    <a:pos x="36" y="36"/>
                  </a:cxn>
                  <a:cxn ang="0">
                    <a:pos x="31" y="40"/>
                  </a:cxn>
                  <a:cxn ang="0">
                    <a:pos x="26" y="43"/>
                  </a:cxn>
                  <a:cxn ang="0">
                    <a:pos x="15" y="40"/>
                  </a:cxn>
                  <a:cxn ang="0">
                    <a:pos x="7" y="36"/>
                  </a:cxn>
                  <a:cxn ang="0">
                    <a:pos x="0" y="28"/>
                  </a:cxn>
                  <a:cxn ang="0">
                    <a:pos x="0" y="21"/>
                  </a:cxn>
                  <a:cxn ang="0">
                    <a:pos x="7" y="6"/>
                  </a:cxn>
                  <a:cxn ang="0">
                    <a:pos x="22" y="0"/>
                  </a:cxn>
                  <a:cxn ang="0">
                    <a:pos x="31" y="2"/>
                  </a:cxn>
                  <a:cxn ang="0">
                    <a:pos x="38" y="9"/>
                  </a:cxn>
                  <a:cxn ang="0">
                    <a:pos x="43" y="14"/>
                  </a:cxn>
                  <a:cxn ang="0">
                    <a:pos x="53" y="18"/>
                  </a:cxn>
                  <a:cxn ang="0">
                    <a:pos x="55" y="7"/>
                  </a:cxn>
                  <a:cxn ang="0">
                    <a:pos x="62" y="4"/>
                  </a:cxn>
                  <a:cxn ang="0">
                    <a:pos x="70" y="4"/>
                  </a:cxn>
                  <a:cxn ang="0">
                    <a:pos x="86" y="9"/>
                  </a:cxn>
                  <a:cxn ang="0">
                    <a:pos x="100" y="12"/>
                  </a:cxn>
                  <a:cxn ang="0">
                    <a:pos x="112" y="18"/>
                  </a:cxn>
                  <a:cxn ang="0">
                    <a:pos x="107" y="26"/>
                  </a:cxn>
                  <a:cxn ang="0">
                    <a:pos x="103" y="33"/>
                  </a:cxn>
                  <a:cxn ang="0">
                    <a:pos x="89" y="33"/>
                  </a:cxn>
                </a:cxnLst>
                <a:rect l="0" t="0" r="r" b="b"/>
                <a:pathLst>
                  <a:path w="112" h="43">
                    <a:moveTo>
                      <a:pt x="89" y="33"/>
                    </a:moveTo>
                    <a:lnTo>
                      <a:pt x="82" y="35"/>
                    </a:lnTo>
                    <a:lnTo>
                      <a:pt x="76" y="38"/>
                    </a:lnTo>
                    <a:lnTo>
                      <a:pt x="70" y="35"/>
                    </a:lnTo>
                    <a:lnTo>
                      <a:pt x="67" y="33"/>
                    </a:lnTo>
                    <a:lnTo>
                      <a:pt x="62" y="35"/>
                    </a:lnTo>
                    <a:lnTo>
                      <a:pt x="57" y="36"/>
                    </a:lnTo>
                    <a:lnTo>
                      <a:pt x="52" y="38"/>
                    </a:lnTo>
                    <a:lnTo>
                      <a:pt x="46" y="42"/>
                    </a:lnTo>
                    <a:lnTo>
                      <a:pt x="39" y="40"/>
                    </a:lnTo>
                    <a:lnTo>
                      <a:pt x="36" y="36"/>
                    </a:lnTo>
                    <a:lnTo>
                      <a:pt x="31" y="40"/>
                    </a:lnTo>
                    <a:lnTo>
                      <a:pt x="26" y="43"/>
                    </a:lnTo>
                    <a:lnTo>
                      <a:pt x="15" y="40"/>
                    </a:lnTo>
                    <a:lnTo>
                      <a:pt x="7" y="36"/>
                    </a:lnTo>
                    <a:lnTo>
                      <a:pt x="0" y="28"/>
                    </a:lnTo>
                    <a:lnTo>
                      <a:pt x="0" y="21"/>
                    </a:lnTo>
                    <a:lnTo>
                      <a:pt x="7" y="6"/>
                    </a:lnTo>
                    <a:lnTo>
                      <a:pt x="22" y="0"/>
                    </a:lnTo>
                    <a:lnTo>
                      <a:pt x="31" y="2"/>
                    </a:lnTo>
                    <a:lnTo>
                      <a:pt x="38" y="9"/>
                    </a:lnTo>
                    <a:lnTo>
                      <a:pt x="43" y="14"/>
                    </a:lnTo>
                    <a:lnTo>
                      <a:pt x="53" y="18"/>
                    </a:lnTo>
                    <a:lnTo>
                      <a:pt x="55" y="7"/>
                    </a:lnTo>
                    <a:lnTo>
                      <a:pt x="62" y="4"/>
                    </a:lnTo>
                    <a:lnTo>
                      <a:pt x="70" y="4"/>
                    </a:lnTo>
                    <a:lnTo>
                      <a:pt x="86" y="9"/>
                    </a:lnTo>
                    <a:lnTo>
                      <a:pt x="100" y="12"/>
                    </a:lnTo>
                    <a:lnTo>
                      <a:pt x="112" y="18"/>
                    </a:lnTo>
                    <a:lnTo>
                      <a:pt x="107" y="26"/>
                    </a:lnTo>
                    <a:lnTo>
                      <a:pt x="103" y="33"/>
                    </a:lnTo>
                    <a:lnTo>
                      <a:pt x="89"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9" name="Freeform 341"/>
              <p:cNvSpPr>
                <a:spLocks/>
              </p:cNvSpPr>
              <p:nvPr/>
            </p:nvSpPr>
            <p:spPr bwMode="auto">
              <a:xfrm>
                <a:off x="1629569" y="3248025"/>
                <a:ext cx="919163" cy="617537"/>
              </a:xfrm>
              <a:custGeom>
                <a:avLst/>
                <a:gdLst/>
                <a:ahLst/>
                <a:cxnLst>
                  <a:cxn ang="0">
                    <a:pos x="283" y="123"/>
                  </a:cxn>
                  <a:cxn ang="0">
                    <a:pos x="285" y="171"/>
                  </a:cxn>
                  <a:cxn ang="0">
                    <a:pos x="299" y="198"/>
                  </a:cxn>
                  <a:cxn ang="0">
                    <a:pos x="330" y="226"/>
                  </a:cxn>
                  <a:cxn ang="0">
                    <a:pos x="368" y="222"/>
                  </a:cxn>
                  <a:cxn ang="0">
                    <a:pos x="387" y="193"/>
                  </a:cxn>
                  <a:cxn ang="0">
                    <a:pos x="416" y="174"/>
                  </a:cxn>
                  <a:cxn ang="0">
                    <a:pos x="438" y="176"/>
                  </a:cxn>
                  <a:cxn ang="0">
                    <a:pos x="430" y="207"/>
                  </a:cxn>
                  <a:cxn ang="0">
                    <a:pos x="421" y="221"/>
                  </a:cxn>
                  <a:cxn ang="0">
                    <a:pos x="414" y="250"/>
                  </a:cxn>
                  <a:cxn ang="0">
                    <a:pos x="416" y="262"/>
                  </a:cxn>
                  <a:cxn ang="0">
                    <a:pos x="464" y="260"/>
                  </a:cxn>
                  <a:cxn ang="0">
                    <a:pos x="488" y="277"/>
                  </a:cxn>
                  <a:cxn ang="0">
                    <a:pos x="485" y="331"/>
                  </a:cxn>
                  <a:cxn ang="0">
                    <a:pos x="519" y="363"/>
                  </a:cxn>
                  <a:cxn ang="0">
                    <a:pos x="565" y="358"/>
                  </a:cxn>
                  <a:cxn ang="0">
                    <a:pos x="565" y="380"/>
                  </a:cxn>
                  <a:cxn ang="0">
                    <a:pos x="564" y="372"/>
                  </a:cxn>
                  <a:cxn ang="0">
                    <a:pos x="540" y="368"/>
                  </a:cxn>
                  <a:cxn ang="0">
                    <a:pos x="536" y="380"/>
                  </a:cxn>
                  <a:cxn ang="0">
                    <a:pos x="512" y="375"/>
                  </a:cxn>
                  <a:cxn ang="0">
                    <a:pos x="488" y="367"/>
                  </a:cxn>
                  <a:cxn ang="0">
                    <a:pos x="467" y="346"/>
                  </a:cxn>
                  <a:cxn ang="0">
                    <a:pos x="461" y="351"/>
                  </a:cxn>
                  <a:cxn ang="0">
                    <a:pos x="448" y="324"/>
                  </a:cxn>
                  <a:cxn ang="0">
                    <a:pos x="426" y="298"/>
                  </a:cxn>
                  <a:cxn ang="0">
                    <a:pos x="395" y="293"/>
                  </a:cxn>
                  <a:cxn ang="0">
                    <a:pos x="350" y="270"/>
                  </a:cxn>
                  <a:cxn ang="0">
                    <a:pos x="328" y="255"/>
                  </a:cxn>
                  <a:cxn ang="0">
                    <a:pos x="297" y="262"/>
                  </a:cxn>
                  <a:cxn ang="0">
                    <a:pos x="275" y="257"/>
                  </a:cxn>
                  <a:cxn ang="0">
                    <a:pos x="246" y="243"/>
                  </a:cxn>
                  <a:cxn ang="0">
                    <a:pos x="215" y="229"/>
                  </a:cxn>
                  <a:cxn ang="0">
                    <a:pos x="192" y="219"/>
                  </a:cxn>
                  <a:cxn ang="0">
                    <a:pos x="172" y="203"/>
                  </a:cxn>
                  <a:cxn ang="0">
                    <a:pos x="172" y="176"/>
                  </a:cxn>
                  <a:cxn ang="0">
                    <a:pos x="144" y="135"/>
                  </a:cxn>
                  <a:cxn ang="0">
                    <a:pos x="115" y="107"/>
                  </a:cxn>
                  <a:cxn ang="0">
                    <a:pos x="96" y="83"/>
                  </a:cxn>
                  <a:cxn ang="0">
                    <a:pos x="79" y="68"/>
                  </a:cxn>
                  <a:cxn ang="0">
                    <a:pos x="58" y="31"/>
                  </a:cxn>
                  <a:cxn ang="0">
                    <a:pos x="31" y="18"/>
                  </a:cxn>
                  <a:cxn ang="0">
                    <a:pos x="48" y="54"/>
                  </a:cxn>
                  <a:cxn ang="0">
                    <a:pos x="75" y="95"/>
                  </a:cxn>
                  <a:cxn ang="0">
                    <a:pos x="92" y="133"/>
                  </a:cxn>
                  <a:cxn ang="0">
                    <a:pos x="108" y="153"/>
                  </a:cxn>
                  <a:cxn ang="0">
                    <a:pos x="86" y="138"/>
                  </a:cxn>
                  <a:cxn ang="0">
                    <a:pos x="74" y="112"/>
                  </a:cxn>
                  <a:cxn ang="0">
                    <a:pos x="36" y="83"/>
                  </a:cxn>
                  <a:cxn ang="0">
                    <a:pos x="20" y="50"/>
                  </a:cxn>
                  <a:cxn ang="0">
                    <a:pos x="12" y="26"/>
                  </a:cxn>
                  <a:cxn ang="0">
                    <a:pos x="32" y="0"/>
                  </a:cxn>
                  <a:cxn ang="0">
                    <a:pos x="139" y="11"/>
                  </a:cxn>
                  <a:cxn ang="0">
                    <a:pos x="173" y="33"/>
                  </a:cxn>
                  <a:cxn ang="0">
                    <a:pos x="197" y="57"/>
                  </a:cxn>
                  <a:cxn ang="0">
                    <a:pos x="215" y="42"/>
                  </a:cxn>
                  <a:cxn ang="0">
                    <a:pos x="242" y="62"/>
                  </a:cxn>
                  <a:cxn ang="0">
                    <a:pos x="261" y="97"/>
                  </a:cxn>
                  <a:cxn ang="0">
                    <a:pos x="283" y="98"/>
                  </a:cxn>
                </a:cxnLst>
                <a:rect l="0" t="0" r="r" b="b"/>
                <a:pathLst>
                  <a:path w="579" h="389">
                    <a:moveTo>
                      <a:pt x="285" y="104"/>
                    </a:moveTo>
                    <a:lnTo>
                      <a:pt x="285" y="107"/>
                    </a:lnTo>
                    <a:lnTo>
                      <a:pt x="287" y="112"/>
                    </a:lnTo>
                    <a:lnTo>
                      <a:pt x="283" y="123"/>
                    </a:lnTo>
                    <a:lnTo>
                      <a:pt x="282" y="133"/>
                    </a:lnTo>
                    <a:lnTo>
                      <a:pt x="282" y="162"/>
                    </a:lnTo>
                    <a:lnTo>
                      <a:pt x="282" y="166"/>
                    </a:lnTo>
                    <a:lnTo>
                      <a:pt x="285" y="171"/>
                    </a:lnTo>
                    <a:lnTo>
                      <a:pt x="285" y="176"/>
                    </a:lnTo>
                    <a:lnTo>
                      <a:pt x="287" y="183"/>
                    </a:lnTo>
                    <a:lnTo>
                      <a:pt x="292" y="190"/>
                    </a:lnTo>
                    <a:lnTo>
                      <a:pt x="299" y="198"/>
                    </a:lnTo>
                    <a:lnTo>
                      <a:pt x="309" y="210"/>
                    </a:lnTo>
                    <a:lnTo>
                      <a:pt x="321" y="221"/>
                    </a:lnTo>
                    <a:lnTo>
                      <a:pt x="325" y="222"/>
                    </a:lnTo>
                    <a:lnTo>
                      <a:pt x="330" y="226"/>
                    </a:lnTo>
                    <a:lnTo>
                      <a:pt x="344" y="222"/>
                    </a:lnTo>
                    <a:lnTo>
                      <a:pt x="359" y="219"/>
                    </a:lnTo>
                    <a:lnTo>
                      <a:pt x="364" y="221"/>
                    </a:lnTo>
                    <a:lnTo>
                      <a:pt x="368" y="222"/>
                    </a:lnTo>
                    <a:lnTo>
                      <a:pt x="373" y="217"/>
                    </a:lnTo>
                    <a:lnTo>
                      <a:pt x="375" y="214"/>
                    </a:lnTo>
                    <a:lnTo>
                      <a:pt x="381" y="203"/>
                    </a:lnTo>
                    <a:lnTo>
                      <a:pt x="387" y="193"/>
                    </a:lnTo>
                    <a:lnTo>
                      <a:pt x="388" y="183"/>
                    </a:lnTo>
                    <a:lnTo>
                      <a:pt x="395" y="178"/>
                    </a:lnTo>
                    <a:lnTo>
                      <a:pt x="404" y="174"/>
                    </a:lnTo>
                    <a:lnTo>
                      <a:pt x="416" y="174"/>
                    </a:lnTo>
                    <a:lnTo>
                      <a:pt x="421" y="174"/>
                    </a:lnTo>
                    <a:lnTo>
                      <a:pt x="426" y="176"/>
                    </a:lnTo>
                    <a:lnTo>
                      <a:pt x="431" y="176"/>
                    </a:lnTo>
                    <a:lnTo>
                      <a:pt x="438" y="176"/>
                    </a:lnTo>
                    <a:lnTo>
                      <a:pt x="438" y="178"/>
                    </a:lnTo>
                    <a:lnTo>
                      <a:pt x="438" y="181"/>
                    </a:lnTo>
                    <a:lnTo>
                      <a:pt x="433" y="191"/>
                    </a:lnTo>
                    <a:lnTo>
                      <a:pt x="430" y="207"/>
                    </a:lnTo>
                    <a:lnTo>
                      <a:pt x="426" y="215"/>
                    </a:lnTo>
                    <a:lnTo>
                      <a:pt x="423" y="224"/>
                    </a:lnTo>
                    <a:lnTo>
                      <a:pt x="423" y="221"/>
                    </a:lnTo>
                    <a:lnTo>
                      <a:pt x="421" y="221"/>
                    </a:lnTo>
                    <a:lnTo>
                      <a:pt x="419" y="221"/>
                    </a:lnTo>
                    <a:lnTo>
                      <a:pt x="419" y="231"/>
                    </a:lnTo>
                    <a:lnTo>
                      <a:pt x="419" y="245"/>
                    </a:lnTo>
                    <a:lnTo>
                      <a:pt x="414" y="250"/>
                    </a:lnTo>
                    <a:lnTo>
                      <a:pt x="411" y="255"/>
                    </a:lnTo>
                    <a:lnTo>
                      <a:pt x="411" y="257"/>
                    </a:lnTo>
                    <a:lnTo>
                      <a:pt x="411" y="260"/>
                    </a:lnTo>
                    <a:lnTo>
                      <a:pt x="416" y="262"/>
                    </a:lnTo>
                    <a:lnTo>
                      <a:pt x="428" y="260"/>
                    </a:lnTo>
                    <a:lnTo>
                      <a:pt x="440" y="260"/>
                    </a:lnTo>
                    <a:lnTo>
                      <a:pt x="450" y="260"/>
                    </a:lnTo>
                    <a:lnTo>
                      <a:pt x="464" y="260"/>
                    </a:lnTo>
                    <a:lnTo>
                      <a:pt x="476" y="264"/>
                    </a:lnTo>
                    <a:lnTo>
                      <a:pt x="488" y="270"/>
                    </a:lnTo>
                    <a:lnTo>
                      <a:pt x="488" y="274"/>
                    </a:lnTo>
                    <a:lnTo>
                      <a:pt x="488" y="277"/>
                    </a:lnTo>
                    <a:lnTo>
                      <a:pt x="486" y="288"/>
                    </a:lnTo>
                    <a:lnTo>
                      <a:pt x="485" y="300"/>
                    </a:lnTo>
                    <a:lnTo>
                      <a:pt x="485" y="317"/>
                    </a:lnTo>
                    <a:lnTo>
                      <a:pt x="485" y="331"/>
                    </a:lnTo>
                    <a:lnTo>
                      <a:pt x="491" y="343"/>
                    </a:lnTo>
                    <a:lnTo>
                      <a:pt x="504" y="351"/>
                    </a:lnTo>
                    <a:lnTo>
                      <a:pt x="509" y="356"/>
                    </a:lnTo>
                    <a:lnTo>
                      <a:pt x="519" y="363"/>
                    </a:lnTo>
                    <a:lnTo>
                      <a:pt x="534" y="358"/>
                    </a:lnTo>
                    <a:lnTo>
                      <a:pt x="550" y="353"/>
                    </a:lnTo>
                    <a:lnTo>
                      <a:pt x="559" y="353"/>
                    </a:lnTo>
                    <a:lnTo>
                      <a:pt x="565" y="358"/>
                    </a:lnTo>
                    <a:lnTo>
                      <a:pt x="572" y="363"/>
                    </a:lnTo>
                    <a:lnTo>
                      <a:pt x="579" y="368"/>
                    </a:lnTo>
                    <a:lnTo>
                      <a:pt x="572" y="375"/>
                    </a:lnTo>
                    <a:lnTo>
                      <a:pt x="565" y="380"/>
                    </a:lnTo>
                    <a:lnTo>
                      <a:pt x="562" y="379"/>
                    </a:lnTo>
                    <a:lnTo>
                      <a:pt x="560" y="377"/>
                    </a:lnTo>
                    <a:lnTo>
                      <a:pt x="560" y="374"/>
                    </a:lnTo>
                    <a:lnTo>
                      <a:pt x="564" y="372"/>
                    </a:lnTo>
                    <a:lnTo>
                      <a:pt x="557" y="367"/>
                    </a:lnTo>
                    <a:lnTo>
                      <a:pt x="550" y="363"/>
                    </a:lnTo>
                    <a:lnTo>
                      <a:pt x="545" y="363"/>
                    </a:lnTo>
                    <a:lnTo>
                      <a:pt x="540" y="368"/>
                    </a:lnTo>
                    <a:lnTo>
                      <a:pt x="534" y="372"/>
                    </a:lnTo>
                    <a:lnTo>
                      <a:pt x="533" y="375"/>
                    </a:lnTo>
                    <a:lnTo>
                      <a:pt x="534" y="379"/>
                    </a:lnTo>
                    <a:lnTo>
                      <a:pt x="536" y="380"/>
                    </a:lnTo>
                    <a:lnTo>
                      <a:pt x="533" y="386"/>
                    </a:lnTo>
                    <a:lnTo>
                      <a:pt x="529" y="389"/>
                    </a:lnTo>
                    <a:lnTo>
                      <a:pt x="517" y="382"/>
                    </a:lnTo>
                    <a:lnTo>
                      <a:pt x="512" y="375"/>
                    </a:lnTo>
                    <a:lnTo>
                      <a:pt x="504" y="372"/>
                    </a:lnTo>
                    <a:lnTo>
                      <a:pt x="497" y="374"/>
                    </a:lnTo>
                    <a:lnTo>
                      <a:pt x="495" y="372"/>
                    </a:lnTo>
                    <a:lnTo>
                      <a:pt x="488" y="367"/>
                    </a:lnTo>
                    <a:lnTo>
                      <a:pt x="485" y="360"/>
                    </a:lnTo>
                    <a:lnTo>
                      <a:pt x="479" y="355"/>
                    </a:lnTo>
                    <a:lnTo>
                      <a:pt x="474" y="351"/>
                    </a:lnTo>
                    <a:lnTo>
                      <a:pt x="467" y="346"/>
                    </a:lnTo>
                    <a:lnTo>
                      <a:pt x="466" y="346"/>
                    </a:lnTo>
                    <a:lnTo>
                      <a:pt x="466" y="348"/>
                    </a:lnTo>
                    <a:lnTo>
                      <a:pt x="466" y="351"/>
                    </a:lnTo>
                    <a:lnTo>
                      <a:pt x="461" y="351"/>
                    </a:lnTo>
                    <a:lnTo>
                      <a:pt x="455" y="341"/>
                    </a:lnTo>
                    <a:lnTo>
                      <a:pt x="455" y="332"/>
                    </a:lnTo>
                    <a:lnTo>
                      <a:pt x="452" y="325"/>
                    </a:lnTo>
                    <a:lnTo>
                      <a:pt x="448" y="324"/>
                    </a:lnTo>
                    <a:lnTo>
                      <a:pt x="436" y="312"/>
                    </a:lnTo>
                    <a:lnTo>
                      <a:pt x="430" y="298"/>
                    </a:lnTo>
                    <a:lnTo>
                      <a:pt x="428" y="298"/>
                    </a:lnTo>
                    <a:lnTo>
                      <a:pt x="426" y="298"/>
                    </a:lnTo>
                    <a:lnTo>
                      <a:pt x="421" y="300"/>
                    </a:lnTo>
                    <a:lnTo>
                      <a:pt x="418" y="301"/>
                    </a:lnTo>
                    <a:lnTo>
                      <a:pt x="404" y="296"/>
                    </a:lnTo>
                    <a:lnTo>
                      <a:pt x="395" y="293"/>
                    </a:lnTo>
                    <a:lnTo>
                      <a:pt x="381" y="288"/>
                    </a:lnTo>
                    <a:lnTo>
                      <a:pt x="369" y="286"/>
                    </a:lnTo>
                    <a:lnTo>
                      <a:pt x="357" y="277"/>
                    </a:lnTo>
                    <a:lnTo>
                      <a:pt x="350" y="270"/>
                    </a:lnTo>
                    <a:lnTo>
                      <a:pt x="344" y="264"/>
                    </a:lnTo>
                    <a:lnTo>
                      <a:pt x="337" y="258"/>
                    </a:lnTo>
                    <a:lnTo>
                      <a:pt x="333" y="258"/>
                    </a:lnTo>
                    <a:lnTo>
                      <a:pt x="328" y="255"/>
                    </a:lnTo>
                    <a:lnTo>
                      <a:pt x="323" y="255"/>
                    </a:lnTo>
                    <a:lnTo>
                      <a:pt x="313" y="260"/>
                    </a:lnTo>
                    <a:lnTo>
                      <a:pt x="304" y="265"/>
                    </a:lnTo>
                    <a:lnTo>
                      <a:pt x="297" y="262"/>
                    </a:lnTo>
                    <a:lnTo>
                      <a:pt x="294" y="260"/>
                    </a:lnTo>
                    <a:lnTo>
                      <a:pt x="287" y="258"/>
                    </a:lnTo>
                    <a:lnTo>
                      <a:pt x="282" y="260"/>
                    </a:lnTo>
                    <a:lnTo>
                      <a:pt x="275" y="257"/>
                    </a:lnTo>
                    <a:lnTo>
                      <a:pt x="266" y="253"/>
                    </a:lnTo>
                    <a:lnTo>
                      <a:pt x="258" y="248"/>
                    </a:lnTo>
                    <a:lnTo>
                      <a:pt x="252" y="245"/>
                    </a:lnTo>
                    <a:lnTo>
                      <a:pt x="246" y="243"/>
                    </a:lnTo>
                    <a:lnTo>
                      <a:pt x="239" y="245"/>
                    </a:lnTo>
                    <a:lnTo>
                      <a:pt x="230" y="238"/>
                    </a:lnTo>
                    <a:lnTo>
                      <a:pt x="223" y="233"/>
                    </a:lnTo>
                    <a:lnTo>
                      <a:pt x="215" y="229"/>
                    </a:lnTo>
                    <a:lnTo>
                      <a:pt x="206" y="227"/>
                    </a:lnTo>
                    <a:lnTo>
                      <a:pt x="203" y="226"/>
                    </a:lnTo>
                    <a:lnTo>
                      <a:pt x="201" y="224"/>
                    </a:lnTo>
                    <a:lnTo>
                      <a:pt x="192" y="219"/>
                    </a:lnTo>
                    <a:lnTo>
                      <a:pt x="185" y="215"/>
                    </a:lnTo>
                    <a:lnTo>
                      <a:pt x="178" y="210"/>
                    </a:lnTo>
                    <a:lnTo>
                      <a:pt x="177" y="207"/>
                    </a:lnTo>
                    <a:lnTo>
                      <a:pt x="172" y="203"/>
                    </a:lnTo>
                    <a:lnTo>
                      <a:pt x="170" y="196"/>
                    </a:lnTo>
                    <a:lnTo>
                      <a:pt x="172" y="190"/>
                    </a:lnTo>
                    <a:lnTo>
                      <a:pt x="175" y="183"/>
                    </a:lnTo>
                    <a:lnTo>
                      <a:pt x="172" y="176"/>
                    </a:lnTo>
                    <a:lnTo>
                      <a:pt x="170" y="171"/>
                    </a:lnTo>
                    <a:lnTo>
                      <a:pt x="161" y="157"/>
                    </a:lnTo>
                    <a:lnTo>
                      <a:pt x="153" y="147"/>
                    </a:lnTo>
                    <a:lnTo>
                      <a:pt x="144" y="135"/>
                    </a:lnTo>
                    <a:lnTo>
                      <a:pt x="135" y="128"/>
                    </a:lnTo>
                    <a:lnTo>
                      <a:pt x="125" y="121"/>
                    </a:lnTo>
                    <a:lnTo>
                      <a:pt x="117" y="116"/>
                    </a:lnTo>
                    <a:lnTo>
                      <a:pt x="115" y="107"/>
                    </a:lnTo>
                    <a:lnTo>
                      <a:pt x="113" y="100"/>
                    </a:lnTo>
                    <a:lnTo>
                      <a:pt x="108" y="93"/>
                    </a:lnTo>
                    <a:lnTo>
                      <a:pt x="101" y="90"/>
                    </a:lnTo>
                    <a:lnTo>
                      <a:pt x="96" y="83"/>
                    </a:lnTo>
                    <a:lnTo>
                      <a:pt x="94" y="78"/>
                    </a:lnTo>
                    <a:lnTo>
                      <a:pt x="89" y="76"/>
                    </a:lnTo>
                    <a:lnTo>
                      <a:pt x="87" y="78"/>
                    </a:lnTo>
                    <a:lnTo>
                      <a:pt x="79" y="68"/>
                    </a:lnTo>
                    <a:lnTo>
                      <a:pt x="70" y="61"/>
                    </a:lnTo>
                    <a:lnTo>
                      <a:pt x="67" y="50"/>
                    </a:lnTo>
                    <a:lnTo>
                      <a:pt x="63" y="42"/>
                    </a:lnTo>
                    <a:lnTo>
                      <a:pt x="58" y="31"/>
                    </a:lnTo>
                    <a:lnTo>
                      <a:pt x="56" y="25"/>
                    </a:lnTo>
                    <a:lnTo>
                      <a:pt x="43" y="19"/>
                    </a:lnTo>
                    <a:lnTo>
                      <a:pt x="32" y="14"/>
                    </a:lnTo>
                    <a:lnTo>
                      <a:pt x="31" y="18"/>
                    </a:lnTo>
                    <a:lnTo>
                      <a:pt x="31" y="21"/>
                    </a:lnTo>
                    <a:lnTo>
                      <a:pt x="32" y="33"/>
                    </a:lnTo>
                    <a:lnTo>
                      <a:pt x="41" y="47"/>
                    </a:lnTo>
                    <a:lnTo>
                      <a:pt x="48" y="54"/>
                    </a:lnTo>
                    <a:lnTo>
                      <a:pt x="56" y="61"/>
                    </a:lnTo>
                    <a:lnTo>
                      <a:pt x="61" y="69"/>
                    </a:lnTo>
                    <a:lnTo>
                      <a:pt x="67" y="81"/>
                    </a:lnTo>
                    <a:lnTo>
                      <a:pt x="75" y="95"/>
                    </a:lnTo>
                    <a:lnTo>
                      <a:pt x="84" y="109"/>
                    </a:lnTo>
                    <a:lnTo>
                      <a:pt x="86" y="117"/>
                    </a:lnTo>
                    <a:lnTo>
                      <a:pt x="89" y="126"/>
                    </a:lnTo>
                    <a:lnTo>
                      <a:pt x="92" y="133"/>
                    </a:lnTo>
                    <a:lnTo>
                      <a:pt x="99" y="140"/>
                    </a:lnTo>
                    <a:lnTo>
                      <a:pt x="106" y="141"/>
                    </a:lnTo>
                    <a:lnTo>
                      <a:pt x="110" y="148"/>
                    </a:lnTo>
                    <a:lnTo>
                      <a:pt x="108" y="153"/>
                    </a:lnTo>
                    <a:lnTo>
                      <a:pt x="106" y="157"/>
                    </a:lnTo>
                    <a:lnTo>
                      <a:pt x="101" y="150"/>
                    </a:lnTo>
                    <a:lnTo>
                      <a:pt x="98" y="145"/>
                    </a:lnTo>
                    <a:lnTo>
                      <a:pt x="86" y="138"/>
                    </a:lnTo>
                    <a:lnTo>
                      <a:pt x="79" y="129"/>
                    </a:lnTo>
                    <a:lnTo>
                      <a:pt x="75" y="128"/>
                    </a:lnTo>
                    <a:lnTo>
                      <a:pt x="74" y="126"/>
                    </a:lnTo>
                    <a:lnTo>
                      <a:pt x="74" y="112"/>
                    </a:lnTo>
                    <a:lnTo>
                      <a:pt x="65" y="104"/>
                    </a:lnTo>
                    <a:lnTo>
                      <a:pt x="58" y="97"/>
                    </a:lnTo>
                    <a:lnTo>
                      <a:pt x="46" y="88"/>
                    </a:lnTo>
                    <a:lnTo>
                      <a:pt x="36" y="83"/>
                    </a:lnTo>
                    <a:lnTo>
                      <a:pt x="43" y="83"/>
                    </a:lnTo>
                    <a:lnTo>
                      <a:pt x="46" y="78"/>
                    </a:lnTo>
                    <a:lnTo>
                      <a:pt x="32" y="62"/>
                    </a:lnTo>
                    <a:lnTo>
                      <a:pt x="20" y="50"/>
                    </a:lnTo>
                    <a:lnTo>
                      <a:pt x="15" y="45"/>
                    </a:lnTo>
                    <a:lnTo>
                      <a:pt x="15" y="38"/>
                    </a:lnTo>
                    <a:lnTo>
                      <a:pt x="13" y="31"/>
                    </a:lnTo>
                    <a:lnTo>
                      <a:pt x="12" y="26"/>
                    </a:lnTo>
                    <a:lnTo>
                      <a:pt x="5" y="14"/>
                    </a:lnTo>
                    <a:lnTo>
                      <a:pt x="0" y="4"/>
                    </a:lnTo>
                    <a:lnTo>
                      <a:pt x="0" y="0"/>
                    </a:lnTo>
                    <a:lnTo>
                      <a:pt x="32" y="0"/>
                    </a:lnTo>
                    <a:lnTo>
                      <a:pt x="87" y="18"/>
                    </a:lnTo>
                    <a:lnTo>
                      <a:pt x="129" y="18"/>
                    </a:lnTo>
                    <a:lnTo>
                      <a:pt x="129" y="11"/>
                    </a:lnTo>
                    <a:lnTo>
                      <a:pt x="139" y="11"/>
                    </a:lnTo>
                    <a:lnTo>
                      <a:pt x="149" y="12"/>
                    </a:lnTo>
                    <a:lnTo>
                      <a:pt x="160" y="18"/>
                    </a:lnTo>
                    <a:lnTo>
                      <a:pt x="166" y="23"/>
                    </a:lnTo>
                    <a:lnTo>
                      <a:pt x="173" y="33"/>
                    </a:lnTo>
                    <a:lnTo>
                      <a:pt x="177" y="38"/>
                    </a:lnTo>
                    <a:lnTo>
                      <a:pt x="182" y="47"/>
                    </a:lnTo>
                    <a:lnTo>
                      <a:pt x="189" y="54"/>
                    </a:lnTo>
                    <a:lnTo>
                      <a:pt x="197" y="57"/>
                    </a:lnTo>
                    <a:lnTo>
                      <a:pt x="201" y="54"/>
                    </a:lnTo>
                    <a:lnTo>
                      <a:pt x="204" y="49"/>
                    </a:lnTo>
                    <a:lnTo>
                      <a:pt x="208" y="43"/>
                    </a:lnTo>
                    <a:lnTo>
                      <a:pt x="215" y="42"/>
                    </a:lnTo>
                    <a:lnTo>
                      <a:pt x="223" y="42"/>
                    </a:lnTo>
                    <a:lnTo>
                      <a:pt x="232" y="47"/>
                    </a:lnTo>
                    <a:lnTo>
                      <a:pt x="237" y="52"/>
                    </a:lnTo>
                    <a:lnTo>
                      <a:pt x="242" y="62"/>
                    </a:lnTo>
                    <a:lnTo>
                      <a:pt x="246" y="71"/>
                    </a:lnTo>
                    <a:lnTo>
                      <a:pt x="249" y="80"/>
                    </a:lnTo>
                    <a:lnTo>
                      <a:pt x="254" y="88"/>
                    </a:lnTo>
                    <a:lnTo>
                      <a:pt x="261" y="97"/>
                    </a:lnTo>
                    <a:lnTo>
                      <a:pt x="270" y="100"/>
                    </a:lnTo>
                    <a:lnTo>
                      <a:pt x="285" y="104"/>
                    </a:lnTo>
                    <a:lnTo>
                      <a:pt x="283" y="100"/>
                    </a:lnTo>
                    <a:lnTo>
                      <a:pt x="283" y="98"/>
                    </a:lnTo>
                    <a:lnTo>
                      <a:pt x="285" y="1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0" name="Freeform 342"/>
              <p:cNvSpPr>
                <a:spLocks/>
              </p:cNvSpPr>
              <p:nvPr/>
            </p:nvSpPr>
            <p:spPr bwMode="auto">
              <a:xfrm>
                <a:off x="2437607" y="2673350"/>
                <a:ext cx="26988" cy="12700"/>
              </a:xfrm>
              <a:custGeom>
                <a:avLst/>
                <a:gdLst/>
                <a:ahLst/>
                <a:cxnLst>
                  <a:cxn ang="0">
                    <a:pos x="0" y="0"/>
                  </a:cxn>
                  <a:cxn ang="0">
                    <a:pos x="10" y="1"/>
                  </a:cxn>
                  <a:cxn ang="0">
                    <a:pos x="17" y="8"/>
                  </a:cxn>
                  <a:cxn ang="0">
                    <a:pos x="15" y="8"/>
                  </a:cxn>
                  <a:cxn ang="0">
                    <a:pos x="13" y="8"/>
                  </a:cxn>
                  <a:cxn ang="0">
                    <a:pos x="5" y="7"/>
                  </a:cxn>
                  <a:cxn ang="0">
                    <a:pos x="0" y="3"/>
                  </a:cxn>
                  <a:cxn ang="0">
                    <a:pos x="0" y="0"/>
                  </a:cxn>
                </a:cxnLst>
                <a:rect l="0" t="0" r="r" b="b"/>
                <a:pathLst>
                  <a:path w="17" h="8">
                    <a:moveTo>
                      <a:pt x="0" y="0"/>
                    </a:moveTo>
                    <a:lnTo>
                      <a:pt x="10" y="1"/>
                    </a:lnTo>
                    <a:lnTo>
                      <a:pt x="17" y="8"/>
                    </a:lnTo>
                    <a:lnTo>
                      <a:pt x="15" y="8"/>
                    </a:lnTo>
                    <a:lnTo>
                      <a:pt x="13" y="8"/>
                    </a:lnTo>
                    <a:lnTo>
                      <a:pt x="5" y="7"/>
                    </a:lnTo>
                    <a:lnTo>
                      <a:pt x="0" y="3"/>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1" name="Freeform 343"/>
              <p:cNvSpPr>
                <a:spLocks/>
              </p:cNvSpPr>
              <p:nvPr/>
            </p:nvSpPr>
            <p:spPr bwMode="auto">
              <a:xfrm>
                <a:off x="1372394" y="2749550"/>
                <a:ext cx="109538" cy="68262"/>
              </a:xfrm>
              <a:custGeom>
                <a:avLst/>
                <a:gdLst/>
                <a:ahLst/>
                <a:cxnLst>
                  <a:cxn ang="0">
                    <a:pos x="0" y="2"/>
                  </a:cxn>
                  <a:cxn ang="0">
                    <a:pos x="3" y="0"/>
                  </a:cxn>
                  <a:cxn ang="0">
                    <a:pos x="7" y="0"/>
                  </a:cxn>
                  <a:cxn ang="0">
                    <a:pos x="14" y="2"/>
                  </a:cxn>
                  <a:cxn ang="0">
                    <a:pos x="21" y="7"/>
                  </a:cxn>
                  <a:cxn ang="0">
                    <a:pos x="34" y="12"/>
                  </a:cxn>
                  <a:cxn ang="0">
                    <a:pos x="46" y="20"/>
                  </a:cxn>
                  <a:cxn ang="0">
                    <a:pos x="57" y="29"/>
                  </a:cxn>
                  <a:cxn ang="0">
                    <a:pos x="69" y="39"/>
                  </a:cxn>
                  <a:cxn ang="0">
                    <a:pos x="69" y="43"/>
                  </a:cxn>
                  <a:cxn ang="0">
                    <a:pos x="65" y="43"/>
                  </a:cxn>
                  <a:cxn ang="0">
                    <a:pos x="64" y="43"/>
                  </a:cxn>
                  <a:cxn ang="0">
                    <a:pos x="53" y="39"/>
                  </a:cxn>
                  <a:cxn ang="0">
                    <a:pos x="43" y="34"/>
                  </a:cxn>
                  <a:cxn ang="0">
                    <a:pos x="33" y="27"/>
                  </a:cxn>
                  <a:cxn ang="0">
                    <a:pos x="26" y="24"/>
                  </a:cxn>
                  <a:cxn ang="0">
                    <a:pos x="27" y="20"/>
                  </a:cxn>
                  <a:cxn ang="0">
                    <a:pos x="31" y="19"/>
                  </a:cxn>
                  <a:cxn ang="0">
                    <a:pos x="22" y="17"/>
                  </a:cxn>
                  <a:cxn ang="0">
                    <a:pos x="14" y="15"/>
                  </a:cxn>
                  <a:cxn ang="0">
                    <a:pos x="7" y="12"/>
                  </a:cxn>
                  <a:cxn ang="0">
                    <a:pos x="5" y="8"/>
                  </a:cxn>
                  <a:cxn ang="0">
                    <a:pos x="7" y="5"/>
                  </a:cxn>
                  <a:cxn ang="0">
                    <a:pos x="10" y="3"/>
                  </a:cxn>
                  <a:cxn ang="0">
                    <a:pos x="3" y="2"/>
                  </a:cxn>
                  <a:cxn ang="0">
                    <a:pos x="2" y="2"/>
                  </a:cxn>
                  <a:cxn ang="0">
                    <a:pos x="0" y="2"/>
                  </a:cxn>
                </a:cxnLst>
                <a:rect l="0" t="0" r="r" b="b"/>
                <a:pathLst>
                  <a:path w="69" h="43">
                    <a:moveTo>
                      <a:pt x="0" y="2"/>
                    </a:moveTo>
                    <a:lnTo>
                      <a:pt x="3" y="0"/>
                    </a:lnTo>
                    <a:lnTo>
                      <a:pt x="7" y="0"/>
                    </a:lnTo>
                    <a:lnTo>
                      <a:pt x="14" y="2"/>
                    </a:lnTo>
                    <a:lnTo>
                      <a:pt x="21" y="7"/>
                    </a:lnTo>
                    <a:lnTo>
                      <a:pt x="34" y="12"/>
                    </a:lnTo>
                    <a:lnTo>
                      <a:pt x="46" y="20"/>
                    </a:lnTo>
                    <a:lnTo>
                      <a:pt x="57" y="29"/>
                    </a:lnTo>
                    <a:lnTo>
                      <a:pt x="69" y="39"/>
                    </a:lnTo>
                    <a:lnTo>
                      <a:pt x="69" y="43"/>
                    </a:lnTo>
                    <a:lnTo>
                      <a:pt x="65" y="43"/>
                    </a:lnTo>
                    <a:lnTo>
                      <a:pt x="64" y="43"/>
                    </a:lnTo>
                    <a:lnTo>
                      <a:pt x="53" y="39"/>
                    </a:lnTo>
                    <a:lnTo>
                      <a:pt x="43" y="34"/>
                    </a:lnTo>
                    <a:lnTo>
                      <a:pt x="33" y="27"/>
                    </a:lnTo>
                    <a:lnTo>
                      <a:pt x="26" y="24"/>
                    </a:lnTo>
                    <a:lnTo>
                      <a:pt x="27" y="20"/>
                    </a:lnTo>
                    <a:lnTo>
                      <a:pt x="31" y="19"/>
                    </a:lnTo>
                    <a:lnTo>
                      <a:pt x="22" y="17"/>
                    </a:lnTo>
                    <a:lnTo>
                      <a:pt x="14" y="15"/>
                    </a:lnTo>
                    <a:lnTo>
                      <a:pt x="7" y="12"/>
                    </a:lnTo>
                    <a:lnTo>
                      <a:pt x="5" y="8"/>
                    </a:lnTo>
                    <a:lnTo>
                      <a:pt x="7" y="5"/>
                    </a:lnTo>
                    <a:lnTo>
                      <a:pt x="10" y="3"/>
                    </a:lnTo>
                    <a:lnTo>
                      <a:pt x="3" y="2"/>
                    </a:lnTo>
                    <a:lnTo>
                      <a:pt x="2" y="2"/>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2" name="Freeform 344"/>
              <p:cNvSpPr>
                <a:spLocks/>
              </p:cNvSpPr>
              <p:nvPr/>
            </p:nvSpPr>
            <p:spPr bwMode="auto">
              <a:xfrm>
                <a:off x="1262857" y="2647950"/>
                <a:ext cx="33338" cy="55562"/>
              </a:xfrm>
              <a:custGeom>
                <a:avLst/>
                <a:gdLst/>
                <a:ahLst/>
                <a:cxnLst>
                  <a:cxn ang="0">
                    <a:pos x="7" y="12"/>
                  </a:cxn>
                  <a:cxn ang="0">
                    <a:pos x="4" y="9"/>
                  </a:cxn>
                  <a:cxn ang="0">
                    <a:pos x="0" y="4"/>
                  </a:cxn>
                  <a:cxn ang="0">
                    <a:pos x="0" y="0"/>
                  </a:cxn>
                  <a:cxn ang="0">
                    <a:pos x="5" y="0"/>
                  </a:cxn>
                  <a:cxn ang="0">
                    <a:pos x="12" y="4"/>
                  </a:cxn>
                  <a:cxn ang="0">
                    <a:pos x="9" y="5"/>
                  </a:cxn>
                  <a:cxn ang="0">
                    <a:pos x="9" y="9"/>
                  </a:cxn>
                  <a:cxn ang="0">
                    <a:pos x="14" y="5"/>
                  </a:cxn>
                  <a:cxn ang="0">
                    <a:pos x="16" y="2"/>
                  </a:cxn>
                  <a:cxn ang="0">
                    <a:pos x="16" y="7"/>
                  </a:cxn>
                  <a:cxn ang="0">
                    <a:pos x="16" y="14"/>
                  </a:cxn>
                  <a:cxn ang="0">
                    <a:pos x="17" y="16"/>
                  </a:cxn>
                  <a:cxn ang="0">
                    <a:pos x="19" y="19"/>
                  </a:cxn>
                  <a:cxn ang="0">
                    <a:pos x="17" y="21"/>
                  </a:cxn>
                  <a:cxn ang="0">
                    <a:pos x="16" y="24"/>
                  </a:cxn>
                  <a:cxn ang="0">
                    <a:pos x="19" y="29"/>
                  </a:cxn>
                  <a:cxn ang="0">
                    <a:pos x="21" y="35"/>
                  </a:cxn>
                  <a:cxn ang="0">
                    <a:pos x="14" y="31"/>
                  </a:cxn>
                  <a:cxn ang="0">
                    <a:pos x="14" y="24"/>
                  </a:cxn>
                  <a:cxn ang="0">
                    <a:pos x="14" y="21"/>
                  </a:cxn>
                  <a:cxn ang="0">
                    <a:pos x="16" y="19"/>
                  </a:cxn>
                  <a:cxn ang="0">
                    <a:pos x="10" y="14"/>
                  </a:cxn>
                  <a:cxn ang="0">
                    <a:pos x="7" y="12"/>
                  </a:cxn>
                </a:cxnLst>
                <a:rect l="0" t="0" r="r" b="b"/>
                <a:pathLst>
                  <a:path w="21" h="35">
                    <a:moveTo>
                      <a:pt x="7" y="12"/>
                    </a:moveTo>
                    <a:lnTo>
                      <a:pt x="4" y="9"/>
                    </a:lnTo>
                    <a:lnTo>
                      <a:pt x="0" y="4"/>
                    </a:lnTo>
                    <a:lnTo>
                      <a:pt x="0" y="0"/>
                    </a:lnTo>
                    <a:lnTo>
                      <a:pt x="5" y="0"/>
                    </a:lnTo>
                    <a:lnTo>
                      <a:pt x="12" y="4"/>
                    </a:lnTo>
                    <a:lnTo>
                      <a:pt x="9" y="5"/>
                    </a:lnTo>
                    <a:lnTo>
                      <a:pt x="9" y="9"/>
                    </a:lnTo>
                    <a:lnTo>
                      <a:pt x="14" y="5"/>
                    </a:lnTo>
                    <a:lnTo>
                      <a:pt x="16" y="2"/>
                    </a:lnTo>
                    <a:lnTo>
                      <a:pt x="16" y="7"/>
                    </a:lnTo>
                    <a:lnTo>
                      <a:pt x="16" y="14"/>
                    </a:lnTo>
                    <a:lnTo>
                      <a:pt x="17" y="16"/>
                    </a:lnTo>
                    <a:lnTo>
                      <a:pt x="19" y="19"/>
                    </a:lnTo>
                    <a:lnTo>
                      <a:pt x="17" y="21"/>
                    </a:lnTo>
                    <a:lnTo>
                      <a:pt x="16" y="24"/>
                    </a:lnTo>
                    <a:lnTo>
                      <a:pt x="19" y="29"/>
                    </a:lnTo>
                    <a:lnTo>
                      <a:pt x="21" y="35"/>
                    </a:lnTo>
                    <a:lnTo>
                      <a:pt x="14" y="31"/>
                    </a:lnTo>
                    <a:lnTo>
                      <a:pt x="14" y="24"/>
                    </a:lnTo>
                    <a:lnTo>
                      <a:pt x="14" y="21"/>
                    </a:lnTo>
                    <a:lnTo>
                      <a:pt x="16" y="19"/>
                    </a:lnTo>
                    <a:lnTo>
                      <a:pt x="10" y="14"/>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3" name="Freeform 345"/>
              <p:cNvSpPr>
                <a:spLocks/>
              </p:cNvSpPr>
              <p:nvPr/>
            </p:nvSpPr>
            <p:spPr bwMode="auto">
              <a:xfrm>
                <a:off x="772319" y="2525713"/>
                <a:ext cx="47625" cy="31750"/>
              </a:xfrm>
              <a:custGeom>
                <a:avLst/>
                <a:gdLst/>
                <a:ahLst/>
                <a:cxnLst>
                  <a:cxn ang="0">
                    <a:pos x="24" y="0"/>
                  </a:cxn>
                  <a:cxn ang="0">
                    <a:pos x="27" y="0"/>
                  </a:cxn>
                  <a:cxn ang="0">
                    <a:pos x="30" y="0"/>
                  </a:cxn>
                  <a:cxn ang="0">
                    <a:pos x="30" y="7"/>
                  </a:cxn>
                  <a:cxn ang="0">
                    <a:pos x="20" y="12"/>
                  </a:cxn>
                  <a:cxn ang="0">
                    <a:pos x="10" y="20"/>
                  </a:cxn>
                  <a:cxn ang="0">
                    <a:pos x="5" y="15"/>
                  </a:cxn>
                  <a:cxn ang="0">
                    <a:pos x="0" y="14"/>
                  </a:cxn>
                  <a:cxn ang="0">
                    <a:pos x="0" y="7"/>
                  </a:cxn>
                  <a:cxn ang="0">
                    <a:pos x="12" y="2"/>
                  </a:cxn>
                  <a:cxn ang="0">
                    <a:pos x="24" y="0"/>
                  </a:cxn>
                </a:cxnLst>
                <a:rect l="0" t="0" r="r" b="b"/>
                <a:pathLst>
                  <a:path w="30" h="20">
                    <a:moveTo>
                      <a:pt x="24" y="0"/>
                    </a:moveTo>
                    <a:lnTo>
                      <a:pt x="27" y="0"/>
                    </a:lnTo>
                    <a:lnTo>
                      <a:pt x="30" y="0"/>
                    </a:lnTo>
                    <a:lnTo>
                      <a:pt x="30" y="7"/>
                    </a:lnTo>
                    <a:lnTo>
                      <a:pt x="20" y="12"/>
                    </a:lnTo>
                    <a:lnTo>
                      <a:pt x="10" y="20"/>
                    </a:lnTo>
                    <a:lnTo>
                      <a:pt x="5" y="15"/>
                    </a:lnTo>
                    <a:lnTo>
                      <a:pt x="0" y="14"/>
                    </a:lnTo>
                    <a:lnTo>
                      <a:pt x="0" y="7"/>
                    </a:lnTo>
                    <a:lnTo>
                      <a:pt x="12" y="2"/>
                    </a:lnTo>
                    <a:lnTo>
                      <a:pt x="2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4" name="Freeform 346"/>
              <p:cNvSpPr>
                <a:spLocks/>
              </p:cNvSpPr>
              <p:nvPr/>
            </p:nvSpPr>
            <p:spPr bwMode="auto">
              <a:xfrm>
                <a:off x="4596607" y="3098800"/>
                <a:ext cx="63500" cy="38100"/>
              </a:xfrm>
              <a:custGeom>
                <a:avLst/>
                <a:gdLst/>
                <a:ahLst/>
                <a:cxnLst>
                  <a:cxn ang="0">
                    <a:pos x="0" y="2"/>
                  </a:cxn>
                  <a:cxn ang="0">
                    <a:pos x="0" y="5"/>
                  </a:cxn>
                  <a:cxn ang="0">
                    <a:pos x="4" y="7"/>
                  </a:cxn>
                  <a:cxn ang="0">
                    <a:pos x="9" y="8"/>
                  </a:cxn>
                  <a:cxn ang="0">
                    <a:pos x="19" y="14"/>
                  </a:cxn>
                  <a:cxn ang="0">
                    <a:pos x="31" y="22"/>
                  </a:cxn>
                  <a:cxn ang="0">
                    <a:pos x="33" y="22"/>
                  </a:cxn>
                  <a:cxn ang="0">
                    <a:pos x="35" y="24"/>
                  </a:cxn>
                  <a:cxn ang="0">
                    <a:pos x="36" y="22"/>
                  </a:cxn>
                  <a:cxn ang="0">
                    <a:pos x="38" y="21"/>
                  </a:cxn>
                  <a:cxn ang="0">
                    <a:pos x="36" y="15"/>
                  </a:cxn>
                  <a:cxn ang="0">
                    <a:pos x="36" y="12"/>
                  </a:cxn>
                  <a:cxn ang="0">
                    <a:pos x="36" y="8"/>
                  </a:cxn>
                  <a:cxn ang="0">
                    <a:pos x="38" y="7"/>
                  </a:cxn>
                  <a:cxn ang="0">
                    <a:pos x="40" y="0"/>
                  </a:cxn>
                  <a:cxn ang="0">
                    <a:pos x="31" y="2"/>
                  </a:cxn>
                  <a:cxn ang="0">
                    <a:pos x="22" y="3"/>
                  </a:cxn>
                  <a:cxn ang="0">
                    <a:pos x="12" y="0"/>
                  </a:cxn>
                  <a:cxn ang="0">
                    <a:pos x="0" y="2"/>
                  </a:cxn>
                </a:cxnLst>
                <a:rect l="0" t="0" r="r" b="b"/>
                <a:pathLst>
                  <a:path w="40" h="24">
                    <a:moveTo>
                      <a:pt x="0" y="2"/>
                    </a:moveTo>
                    <a:lnTo>
                      <a:pt x="0" y="5"/>
                    </a:lnTo>
                    <a:lnTo>
                      <a:pt x="4" y="7"/>
                    </a:lnTo>
                    <a:lnTo>
                      <a:pt x="9" y="8"/>
                    </a:lnTo>
                    <a:lnTo>
                      <a:pt x="19" y="14"/>
                    </a:lnTo>
                    <a:lnTo>
                      <a:pt x="31" y="22"/>
                    </a:lnTo>
                    <a:lnTo>
                      <a:pt x="33" y="22"/>
                    </a:lnTo>
                    <a:lnTo>
                      <a:pt x="35" y="24"/>
                    </a:lnTo>
                    <a:lnTo>
                      <a:pt x="36" y="22"/>
                    </a:lnTo>
                    <a:lnTo>
                      <a:pt x="38" y="21"/>
                    </a:lnTo>
                    <a:lnTo>
                      <a:pt x="36" y="15"/>
                    </a:lnTo>
                    <a:lnTo>
                      <a:pt x="36" y="12"/>
                    </a:lnTo>
                    <a:lnTo>
                      <a:pt x="36" y="8"/>
                    </a:lnTo>
                    <a:lnTo>
                      <a:pt x="38" y="7"/>
                    </a:lnTo>
                    <a:lnTo>
                      <a:pt x="40" y="0"/>
                    </a:lnTo>
                    <a:lnTo>
                      <a:pt x="31" y="2"/>
                    </a:lnTo>
                    <a:lnTo>
                      <a:pt x="22" y="3"/>
                    </a:lnTo>
                    <a:lnTo>
                      <a:pt x="12" y="0"/>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5" name="Freeform 347"/>
              <p:cNvSpPr>
                <a:spLocks/>
              </p:cNvSpPr>
              <p:nvPr/>
            </p:nvSpPr>
            <p:spPr bwMode="auto">
              <a:xfrm>
                <a:off x="4509294" y="2967038"/>
                <a:ext cx="22225" cy="41275"/>
              </a:xfrm>
              <a:custGeom>
                <a:avLst/>
                <a:gdLst/>
                <a:ahLst/>
                <a:cxnLst>
                  <a:cxn ang="0">
                    <a:pos x="4" y="6"/>
                  </a:cxn>
                  <a:cxn ang="0">
                    <a:pos x="7" y="2"/>
                  </a:cxn>
                  <a:cxn ang="0">
                    <a:pos x="12" y="0"/>
                  </a:cxn>
                  <a:cxn ang="0">
                    <a:pos x="12" y="4"/>
                  </a:cxn>
                  <a:cxn ang="0">
                    <a:pos x="14" y="7"/>
                  </a:cxn>
                  <a:cxn ang="0">
                    <a:pos x="10" y="18"/>
                  </a:cxn>
                  <a:cxn ang="0">
                    <a:pos x="10" y="26"/>
                  </a:cxn>
                  <a:cxn ang="0">
                    <a:pos x="5" y="23"/>
                  </a:cxn>
                  <a:cxn ang="0">
                    <a:pos x="4" y="18"/>
                  </a:cxn>
                  <a:cxn ang="0">
                    <a:pos x="2" y="11"/>
                  </a:cxn>
                  <a:cxn ang="0">
                    <a:pos x="0" y="7"/>
                  </a:cxn>
                  <a:cxn ang="0">
                    <a:pos x="2" y="6"/>
                  </a:cxn>
                  <a:cxn ang="0">
                    <a:pos x="4" y="6"/>
                  </a:cxn>
                </a:cxnLst>
                <a:rect l="0" t="0" r="r" b="b"/>
                <a:pathLst>
                  <a:path w="14" h="26">
                    <a:moveTo>
                      <a:pt x="4" y="6"/>
                    </a:moveTo>
                    <a:lnTo>
                      <a:pt x="7" y="2"/>
                    </a:lnTo>
                    <a:lnTo>
                      <a:pt x="12" y="0"/>
                    </a:lnTo>
                    <a:lnTo>
                      <a:pt x="12" y="4"/>
                    </a:lnTo>
                    <a:lnTo>
                      <a:pt x="14" y="7"/>
                    </a:lnTo>
                    <a:lnTo>
                      <a:pt x="10" y="18"/>
                    </a:lnTo>
                    <a:lnTo>
                      <a:pt x="10" y="26"/>
                    </a:lnTo>
                    <a:lnTo>
                      <a:pt x="5" y="23"/>
                    </a:lnTo>
                    <a:lnTo>
                      <a:pt x="4" y="18"/>
                    </a:lnTo>
                    <a:lnTo>
                      <a:pt x="2" y="11"/>
                    </a:lnTo>
                    <a:lnTo>
                      <a:pt x="0" y="7"/>
                    </a:lnTo>
                    <a:lnTo>
                      <a:pt x="2" y="6"/>
                    </a:lnTo>
                    <a:lnTo>
                      <a:pt x="4"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6" name="Freeform 348"/>
              <p:cNvSpPr>
                <a:spLocks/>
              </p:cNvSpPr>
              <p:nvPr/>
            </p:nvSpPr>
            <p:spPr bwMode="auto">
              <a:xfrm>
                <a:off x="4504532" y="3016250"/>
                <a:ext cx="31750" cy="60325"/>
              </a:xfrm>
              <a:custGeom>
                <a:avLst/>
                <a:gdLst/>
                <a:ahLst/>
                <a:cxnLst>
                  <a:cxn ang="0">
                    <a:pos x="5" y="17"/>
                  </a:cxn>
                  <a:cxn ang="0">
                    <a:pos x="1" y="11"/>
                  </a:cxn>
                  <a:cxn ang="0">
                    <a:pos x="0" y="5"/>
                  </a:cxn>
                  <a:cxn ang="0">
                    <a:pos x="5" y="2"/>
                  </a:cxn>
                  <a:cxn ang="0">
                    <a:pos x="10" y="0"/>
                  </a:cxn>
                  <a:cxn ang="0">
                    <a:pos x="13" y="0"/>
                  </a:cxn>
                  <a:cxn ang="0">
                    <a:pos x="17" y="2"/>
                  </a:cxn>
                  <a:cxn ang="0">
                    <a:pos x="20" y="12"/>
                  </a:cxn>
                  <a:cxn ang="0">
                    <a:pos x="20" y="23"/>
                  </a:cxn>
                  <a:cxn ang="0">
                    <a:pos x="15" y="33"/>
                  </a:cxn>
                  <a:cxn ang="0">
                    <a:pos x="7" y="38"/>
                  </a:cxn>
                  <a:cxn ang="0">
                    <a:pos x="1" y="33"/>
                  </a:cxn>
                  <a:cxn ang="0">
                    <a:pos x="1" y="26"/>
                  </a:cxn>
                  <a:cxn ang="0">
                    <a:pos x="3" y="21"/>
                  </a:cxn>
                  <a:cxn ang="0">
                    <a:pos x="5" y="17"/>
                  </a:cxn>
                </a:cxnLst>
                <a:rect l="0" t="0" r="r" b="b"/>
                <a:pathLst>
                  <a:path w="20" h="38">
                    <a:moveTo>
                      <a:pt x="5" y="17"/>
                    </a:moveTo>
                    <a:lnTo>
                      <a:pt x="1" y="11"/>
                    </a:lnTo>
                    <a:lnTo>
                      <a:pt x="0" y="5"/>
                    </a:lnTo>
                    <a:lnTo>
                      <a:pt x="5" y="2"/>
                    </a:lnTo>
                    <a:lnTo>
                      <a:pt x="10" y="0"/>
                    </a:lnTo>
                    <a:lnTo>
                      <a:pt x="13" y="0"/>
                    </a:lnTo>
                    <a:lnTo>
                      <a:pt x="17" y="2"/>
                    </a:lnTo>
                    <a:lnTo>
                      <a:pt x="20" y="12"/>
                    </a:lnTo>
                    <a:lnTo>
                      <a:pt x="20" y="23"/>
                    </a:lnTo>
                    <a:lnTo>
                      <a:pt x="15" y="33"/>
                    </a:lnTo>
                    <a:lnTo>
                      <a:pt x="7" y="38"/>
                    </a:lnTo>
                    <a:lnTo>
                      <a:pt x="1" y="33"/>
                    </a:lnTo>
                    <a:lnTo>
                      <a:pt x="1" y="26"/>
                    </a:lnTo>
                    <a:lnTo>
                      <a:pt x="3" y="21"/>
                    </a:lnTo>
                    <a:lnTo>
                      <a:pt x="5"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7" name="Freeform 349"/>
              <p:cNvSpPr>
                <a:spLocks/>
              </p:cNvSpPr>
              <p:nvPr/>
            </p:nvSpPr>
            <p:spPr bwMode="auto">
              <a:xfrm>
                <a:off x="4375944" y="3052763"/>
                <a:ext cx="15875" cy="12700"/>
              </a:xfrm>
              <a:custGeom>
                <a:avLst/>
                <a:gdLst/>
                <a:ahLst/>
                <a:cxnLst>
                  <a:cxn ang="0">
                    <a:pos x="10" y="5"/>
                  </a:cxn>
                  <a:cxn ang="0">
                    <a:pos x="7" y="7"/>
                  </a:cxn>
                  <a:cxn ang="0">
                    <a:pos x="5" y="8"/>
                  </a:cxn>
                  <a:cxn ang="0">
                    <a:pos x="2" y="5"/>
                  </a:cxn>
                  <a:cxn ang="0">
                    <a:pos x="0" y="3"/>
                  </a:cxn>
                  <a:cxn ang="0">
                    <a:pos x="3" y="0"/>
                  </a:cxn>
                  <a:cxn ang="0">
                    <a:pos x="7" y="0"/>
                  </a:cxn>
                  <a:cxn ang="0">
                    <a:pos x="8" y="1"/>
                  </a:cxn>
                  <a:cxn ang="0">
                    <a:pos x="10" y="5"/>
                  </a:cxn>
                </a:cxnLst>
                <a:rect l="0" t="0" r="r" b="b"/>
                <a:pathLst>
                  <a:path w="10" h="8">
                    <a:moveTo>
                      <a:pt x="10" y="5"/>
                    </a:moveTo>
                    <a:lnTo>
                      <a:pt x="7" y="7"/>
                    </a:lnTo>
                    <a:lnTo>
                      <a:pt x="5" y="8"/>
                    </a:lnTo>
                    <a:lnTo>
                      <a:pt x="2" y="5"/>
                    </a:lnTo>
                    <a:lnTo>
                      <a:pt x="0" y="3"/>
                    </a:lnTo>
                    <a:lnTo>
                      <a:pt x="3" y="0"/>
                    </a:lnTo>
                    <a:lnTo>
                      <a:pt x="7" y="0"/>
                    </a:lnTo>
                    <a:lnTo>
                      <a:pt x="8" y="1"/>
                    </a:lnTo>
                    <a:lnTo>
                      <a:pt x="1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8" name="Freeform 350"/>
              <p:cNvSpPr>
                <a:spLocks/>
              </p:cNvSpPr>
              <p:nvPr/>
            </p:nvSpPr>
            <p:spPr bwMode="auto">
              <a:xfrm>
                <a:off x="4542632" y="2587625"/>
                <a:ext cx="19050" cy="25400"/>
              </a:xfrm>
              <a:custGeom>
                <a:avLst/>
                <a:gdLst/>
                <a:ahLst/>
                <a:cxnLst>
                  <a:cxn ang="0">
                    <a:pos x="10" y="12"/>
                  </a:cxn>
                  <a:cxn ang="0">
                    <a:pos x="1" y="11"/>
                  </a:cxn>
                  <a:cxn ang="0">
                    <a:pos x="0" y="5"/>
                  </a:cxn>
                  <a:cxn ang="0">
                    <a:pos x="0" y="2"/>
                  </a:cxn>
                  <a:cxn ang="0">
                    <a:pos x="0" y="0"/>
                  </a:cxn>
                  <a:cxn ang="0">
                    <a:pos x="8" y="0"/>
                  </a:cxn>
                  <a:cxn ang="0">
                    <a:pos x="10" y="5"/>
                  </a:cxn>
                  <a:cxn ang="0">
                    <a:pos x="12" y="11"/>
                  </a:cxn>
                  <a:cxn ang="0">
                    <a:pos x="10" y="14"/>
                  </a:cxn>
                  <a:cxn ang="0">
                    <a:pos x="10" y="16"/>
                  </a:cxn>
                  <a:cxn ang="0">
                    <a:pos x="10" y="14"/>
                  </a:cxn>
                  <a:cxn ang="0">
                    <a:pos x="10" y="12"/>
                  </a:cxn>
                </a:cxnLst>
                <a:rect l="0" t="0" r="r" b="b"/>
                <a:pathLst>
                  <a:path w="12" h="16">
                    <a:moveTo>
                      <a:pt x="10" y="12"/>
                    </a:moveTo>
                    <a:lnTo>
                      <a:pt x="1" y="11"/>
                    </a:lnTo>
                    <a:lnTo>
                      <a:pt x="0" y="5"/>
                    </a:lnTo>
                    <a:lnTo>
                      <a:pt x="0" y="2"/>
                    </a:lnTo>
                    <a:lnTo>
                      <a:pt x="0" y="0"/>
                    </a:lnTo>
                    <a:lnTo>
                      <a:pt x="8" y="0"/>
                    </a:lnTo>
                    <a:lnTo>
                      <a:pt x="10" y="5"/>
                    </a:lnTo>
                    <a:lnTo>
                      <a:pt x="12" y="11"/>
                    </a:lnTo>
                    <a:lnTo>
                      <a:pt x="10" y="14"/>
                    </a:lnTo>
                    <a:lnTo>
                      <a:pt x="10" y="16"/>
                    </a:lnTo>
                    <a:lnTo>
                      <a:pt x="10" y="14"/>
                    </a:lnTo>
                    <a:lnTo>
                      <a:pt x="10"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9" name="Freeform 351"/>
              <p:cNvSpPr>
                <a:spLocks/>
              </p:cNvSpPr>
              <p:nvPr/>
            </p:nvSpPr>
            <p:spPr bwMode="auto">
              <a:xfrm>
                <a:off x="4566444" y="2566988"/>
                <a:ext cx="36513" cy="50800"/>
              </a:xfrm>
              <a:custGeom>
                <a:avLst/>
                <a:gdLst/>
                <a:ahLst/>
                <a:cxnLst>
                  <a:cxn ang="0">
                    <a:pos x="4" y="29"/>
                  </a:cxn>
                  <a:cxn ang="0">
                    <a:pos x="7" y="25"/>
                  </a:cxn>
                  <a:cxn ang="0">
                    <a:pos x="11" y="22"/>
                  </a:cxn>
                  <a:cxn ang="0">
                    <a:pos x="2" y="18"/>
                  </a:cxn>
                  <a:cxn ang="0">
                    <a:pos x="0" y="15"/>
                  </a:cxn>
                  <a:cxn ang="0">
                    <a:pos x="2" y="5"/>
                  </a:cxn>
                  <a:cxn ang="0">
                    <a:pos x="9" y="0"/>
                  </a:cxn>
                  <a:cxn ang="0">
                    <a:pos x="17" y="1"/>
                  </a:cxn>
                  <a:cxn ang="0">
                    <a:pos x="23" y="12"/>
                  </a:cxn>
                  <a:cxn ang="0">
                    <a:pos x="17" y="15"/>
                  </a:cxn>
                  <a:cxn ang="0">
                    <a:pos x="16" y="22"/>
                  </a:cxn>
                  <a:cxn ang="0">
                    <a:pos x="12" y="29"/>
                  </a:cxn>
                  <a:cxn ang="0">
                    <a:pos x="7" y="32"/>
                  </a:cxn>
                  <a:cxn ang="0">
                    <a:pos x="2" y="31"/>
                  </a:cxn>
                  <a:cxn ang="0">
                    <a:pos x="0" y="29"/>
                  </a:cxn>
                  <a:cxn ang="0">
                    <a:pos x="0" y="27"/>
                  </a:cxn>
                  <a:cxn ang="0">
                    <a:pos x="2" y="27"/>
                  </a:cxn>
                  <a:cxn ang="0">
                    <a:pos x="4" y="29"/>
                  </a:cxn>
                </a:cxnLst>
                <a:rect l="0" t="0" r="r" b="b"/>
                <a:pathLst>
                  <a:path w="23" h="32">
                    <a:moveTo>
                      <a:pt x="4" y="29"/>
                    </a:moveTo>
                    <a:lnTo>
                      <a:pt x="7" y="25"/>
                    </a:lnTo>
                    <a:lnTo>
                      <a:pt x="11" y="22"/>
                    </a:lnTo>
                    <a:lnTo>
                      <a:pt x="2" y="18"/>
                    </a:lnTo>
                    <a:lnTo>
                      <a:pt x="0" y="15"/>
                    </a:lnTo>
                    <a:lnTo>
                      <a:pt x="2" y="5"/>
                    </a:lnTo>
                    <a:lnTo>
                      <a:pt x="9" y="0"/>
                    </a:lnTo>
                    <a:lnTo>
                      <a:pt x="17" y="1"/>
                    </a:lnTo>
                    <a:lnTo>
                      <a:pt x="23" y="12"/>
                    </a:lnTo>
                    <a:lnTo>
                      <a:pt x="17" y="15"/>
                    </a:lnTo>
                    <a:lnTo>
                      <a:pt x="16" y="22"/>
                    </a:lnTo>
                    <a:lnTo>
                      <a:pt x="12" y="29"/>
                    </a:lnTo>
                    <a:lnTo>
                      <a:pt x="7" y="32"/>
                    </a:lnTo>
                    <a:lnTo>
                      <a:pt x="2" y="31"/>
                    </a:lnTo>
                    <a:lnTo>
                      <a:pt x="0" y="29"/>
                    </a:lnTo>
                    <a:lnTo>
                      <a:pt x="0" y="27"/>
                    </a:lnTo>
                    <a:lnTo>
                      <a:pt x="2" y="27"/>
                    </a:lnTo>
                    <a:lnTo>
                      <a:pt x="4"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0" name="Freeform 352"/>
              <p:cNvSpPr>
                <a:spLocks/>
              </p:cNvSpPr>
              <p:nvPr/>
            </p:nvSpPr>
            <p:spPr bwMode="auto">
              <a:xfrm>
                <a:off x="4725194" y="2506663"/>
                <a:ext cx="19050" cy="30162"/>
              </a:xfrm>
              <a:custGeom>
                <a:avLst/>
                <a:gdLst/>
                <a:ahLst/>
                <a:cxnLst>
                  <a:cxn ang="0">
                    <a:pos x="9" y="7"/>
                  </a:cxn>
                  <a:cxn ang="0">
                    <a:pos x="5" y="12"/>
                  </a:cxn>
                  <a:cxn ang="0">
                    <a:pos x="2" y="19"/>
                  </a:cxn>
                  <a:cxn ang="0">
                    <a:pos x="0" y="15"/>
                  </a:cxn>
                  <a:cxn ang="0">
                    <a:pos x="2" y="14"/>
                  </a:cxn>
                  <a:cxn ang="0">
                    <a:pos x="3" y="5"/>
                  </a:cxn>
                  <a:cxn ang="0">
                    <a:pos x="12" y="0"/>
                  </a:cxn>
                  <a:cxn ang="0">
                    <a:pos x="10" y="3"/>
                  </a:cxn>
                  <a:cxn ang="0">
                    <a:pos x="9" y="7"/>
                  </a:cxn>
                </a:cxnLst>
                <a:rect l="0" t="0" r="r" b="b"/>
                <a:pathLst>
                  <a:path w="12" h="19">
                    <a:moveTo>
                      <a:pt x="9" y="7"/>
                    </a:moveTo>
                    <a:lnTo>
                      <a:pt x="5" y="12"/>
                    </a:lnTo>
                    <a:lnTo>
                      <a:pt x="2" y="19"/>
                    </a:lnTo>
                    <a:lnTo>
                      <a:pt x="0" y="15"/>
                    </a:lnTo>
                    <a:lnTo>
                      <a:pt x="2" y="14"/>
                    </a:lnTo>
                    <a:lnTo>
                      <a:pt x="3" y="5"/>
                    </a:lnTo>
                    <a:lnTo>
                      <a:pt x="12" y="0"/>
                    </a:lnTo>
                    <a:lnTo>
                      <a:pt x="10" y="3"/>
                    </a:lnTo>
                    <a:lnTo>
                      <a:pt x="9"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1" name="Freeform 353"/>
              <p:cNvSpPr>
                <a:spLocks/>
              </p:cNvSpPr>
              <p:nvPr/>
            </p:nvSpPr>
            <p:spPr bwMode="auto">
              <a:xfrm>
                <a:off x="4809332" y="2465388"/>
                <a:ext cx="26988" cy="38100"/>
              </a:xfrm>
              <a:custGeom>
                <a:avLst/>
                <a:gdLst/>
                <a:ahLst/>
                <a:cxnLst>
                  <a:cxn ang="0">
                    <a:pos x="14" y="12"/>
                  </a:cxn>
                  <a:cxn ang="0">
                    <a:pos x="14" y="15"/>
                  </a:cxn>
                  <a:cxn ang="0">
                    <a:pos x="14" y="19"/>
                  </a:cxn>
                  <a:cxn ang="0">
                    <a:pos x="9" y="21"/>
                  </a:cxn>
                  <a:cxn ang="0">
                    <a:pos x="5" y="24"/>
                  </a:cxn>
                  <a:cxn ang="0">
                    <a:pos x="0" y="21"/>
                  </a:cxn>
                  <a:cxn ang="0">
                    <a:pos x="0" y="15"/>
                  </a:cxn>
                  <a:cxn ang="0">
                    <a:pos x="5" y="14"/>
                  </a:cxn>
                  <a:cxn ang="0">
                    <a:pos x="11" y="12"/>
                  </a:cxn>
                  <a:cxn ang="0">
                    <a:pos x="9" y="9"/>
                  </a:cxn>
                  <a:cxn ang="0">
                    <a:pos x="7" y="5"/>
                  </a:cxn>
                  <a:cxn ang="0">
                    <a:pos x="9" y="2"/>
                  </a:cxn>
                  <a:cxn ang="0">
                    <a:pos x="12" y="0"/>
                  </a:cxn>
                  <a:cxn ang="0">
                    <a:pos x="14" y="3"/>
                  </a:cxn>
                  <a:cxn ang="0">
                    <a:pos x="17" y="5"/>
                  </a:cxn>
                  <a:cxn ang="0">
                    <a:pos x="16" y="9"/>
                  </a:cxn>
                  <a:cxn ang="0">
                    <a:pos x="14" y="12"/>
                  </a:cxn>
                </a:cxnLst>
                <a:rect l="0" t="0" r="r" b="b"/>
                <a:pathLst>
                  <a:path w="17" h="24">
                    <a:moveTo>
                      <a:pt x="14" y="12"/>
                    </a:moveTo>
                    <a:lnTo>
                      <a:pt x="14" y="15"/>
                    </a:lnTo>
                    <a:lnTo>
                      <a:pt x="14" y="19"/>
                    </a:lnTo>
                    <a:lnTo>
                      <a:pt x="9" y="21"/>
                    </a:lnTo>
                    <a:lnTo>
                      <a:pt x="5" y="24"/>
                    </a:lnTo>
                    <a:lnTo>
                      <a:pt x="0" y="21"/>
                    </a:lnTo>
                    <a:lnTo>
                      <a:pt x="0" y="15"/>
                    </a:lnTo>
                    <a:lnTo>
                      <a:pt x="5" y="14"/>
                    </a:lnTo>
                    <a:lnTo>
                      <a:pt x="11" y="12"/>
                    </a:lnTo>
                    <a:lnTo>
                      <a:pt x="9" y="9"/>
                    </a:lnTo>
                    <a:lnTo>
                      <a:pt x="7" y="5"/>
                    </a:lnTo>
                    <a:lnTo>
                      <a:pt x="9" y="2"/>
                    </a:lnTo>
                    <a:lnTo>
                      <a:pt x="12" y="0"/>
                    </a:lnTo>
                    <a:lnTo>
                      <a:pt x="14" y="3"/>
                    </a:lnTo>
                    <a:lnTo>
                      <a:pt x="17" y="5"/>
                    </a:lnTo>
                    <a:lnTo>
                      <a:pt x="16" y="9"/>
                    </a:lnTo>
                    <a:lnTo>
                      <a:pt x="1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2" name="Freeform 354"/>
              <p:cNvSpPr>
                <a:spLocks/>
              </p:cNvSpPr>
              <p:nvPr/>
            </p:nvSpPr>
            <p:spPr bwMode="auto">
              <a:xfrm>
                <a:off x="4858544" y="3170238"/>
                <a:ext cx="52388" cy="7937"/>
              </a:xfrm>
              <a:custGeom>
                <a:avLst/>
                <a:gdLst/>
                <a:ahLst/>
                <a:cxnLst>
                  <a:cxn ang="0">
                    <a:pos x="33" y="5"/>
                  </a:cxn>
                  <a:cxn ang="0">
                    <a:pos x="24" y="5"/>
                  </a:cxn>
                  <a:cxn ang="0">
                    <a:pos x="19" y="5"/>
                  </a:cxn>
                  <a:cxn ang="0">
                    <a:pos x="11" y="3"/>
                  </a:cxn>
                  <a:cxn ang="0">
                    <a:pos x="0" y="1"/>
                  </a:cxn>
                  <a:cxn ang="0">
                    <a:pos x="17" y="0"/>
                  </a:cxn>
                  <a:cxn ang="0">
                    <a:pos x="33" y="5"/>
                  </a:cxn>
                </a:cxnLst>
                <a:rect l="0" t="0" r="r" b="b"/>
                <a:pathLst>
                  <a:path w="33" h="5">
                    <a:moveTo>
                      <a:pt x="33" y="5"/>
                    </a:moveTo>
                    <a:lnTo>
                      <a:pt x="24" y="5"/>
                    </a:lnTo>
                    <a:lnTo>
                      <a:pt x="19" y="5"/>
                    </a:lnTo>
                    <a:lnTo>
                      <a:pt x="11" y="3"/>
                    </a:lnTo>
                    <a:lnTo>
                      <a:pt x="0" y="1"/>
                    </a:lnTo>
                    <a:lnTo>
                      <a:pt x="17" y="0"/>
                    </a:lnTo>
                    <a:lnTo>
                      <a:pt x="3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3" name="Freeform 355"/>
              <p:cNvSpPr>
                <a:spLocks/>
              </p:cNvSpPr>
              <p:nvPr/>
            </p:nvSpPr>
            <p:spPr bwMode="auto">
              <a:xfrm>
                <a:off x="5052219" y="3160713"/>
                <a:ext cx="49213" cy="25400"/>
              </a:xfrm>
              <a:custGeom>
                <a:avLst/>
                <a:gdLst/>
                <a:ahLst/>
                <a:cxnLst>
                  <a:cxn ang="0">
                    <a:pos x="7" y="16"/>
                  </a:cxn>
                  <a:cxn ang="0">
                    <a:pos x="4" y="14"/>
                  </a:cxn>
                  <a:cxn ang="0">
                    <a:pos x="0" y="12"/>
                  </a:cxn>
                  <a:cxn ang="0">
                    <a:pos x="0" y="11"/>
                  </a:cxn>
                  <a:cxn ang="0">
                    <a:pos x="14" y="4"/>
                  </a:cxn>
                  <a:cxn ang="0">
                    <a:pos x="31" y="0"/>
                  </a:cxn>
                  <a:cxn ang="0">
                    <a:pos x="28" y="4"/>
                  </a:cxn>
                  <a:cxn ang="0">
                    <a:pos x="24" y="6"/>
                  </a:cxn>
                  <a:cxn ang="0">
                    <a:pos x="23" y="7"/>
                  </a:cxn>
                  <a:cxn ang="0">
                    <a:pos x="23" y="11"/>
                  </a:cxn>
                  <a:cxn ang="0">
                    <a:pos x="16" y="14"/>
                  </a:cxn>
                  <a:cxn ang="0">
                    <a:pos x="7" y="16"/>
                  </a:cxn>
                </a:cxnLst>
                <a:rect l="0" t="0" r="r" b="b"/>
                <a:pathLst>
                  <a:path w="31" h="16">
                    <a:moveTo>
                      <a:pt x="7" y="16"/>
                    </a:moveTo>
                    <a:lnTo>
                      <a:pt x="4" y="14"/>
                    </a:lnTo>
                    <a:lnTo>
                      <a:pt x="0" y="12"/>
                    </a:lnTo>
                    <a:lnTo>
                      <a:pt x="0" y="11"/>
                    </a:lnTo>
                    <a:lnTo>
                      <a:pt x="14" y="4"/>
                    </a:lnTo>
                    <a:lnTo>
                      <a:pt x="31" y="0"/>
                    </a:lnTo>
                    <a:lnTo>
                      <a:pt x="28" y="4"/>
                    </a:lnTo>
                    <a:lnTo>
                      <a:pt x="24" y="6"/>
                    </a:lnTo>
                    <a:lnTo>
                      <a:pt x="23" y="7"/>
                    </a:lnTo>
                    <a:lnTo>
                      <a:pt x="23" y="11"/>
                    </a:lnTo>
                    <a:lnTo>
                      <a:pt x="16" y="14"/>
                    </a:lnTo>
                    <a:lnTo>
                      <a:pt x="7"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4" name="Freeform 356"/>
              <p:cNvSpPr>
                <a:spLocks/>
              </p:cNvSpPr>
              <p:nvPr/>
            </p:nvSpPr>
            <p:spPr bwMode="auto">
              <a:xfrm>
                <a:off x="5530057" y="3729038"/>
                <a:ext cx="25400" cy="11112"/>
              </a:xfrm>
              <a:custGeom>
                <a:avLst/>
                <a:gdLst/>
                <a:ahLst/>
                <a:cxnLst>
                  <a:cxn ang="0">
                    <a:pos x="0" y="4"/>
                  </a:cxn>
                  <a:cxn ang="0">
                    <a:pos x="4" y="5"/>
                  </a:cxn>
                  <a:cxn ang="0">
                    <a:pos x="7" y="7"/>
                  </a:cxn>
                  <a:cxn ang="0">
                    <a:pos x="11" y="4"/>
                  </a:cxn>
                  <a:cxn ang="0">
                    <a:pos x="16" y="0"/>
                  </a:cxn>
                  <a:cxn ang="0">
                    <a:pos x="7" y="0"/>
                  </a:cxn>
                  <a:cxn ang="0">
                    <a:pos x="0" y="4"/>
                  </a:cxn>
                </a:cxnLst>
                <a:rect l="0" t="0" r="r" b="b"/>
                <a:pathLst>
                  <a:path w="16" h="7">
                    <a:moveTo>
                      <a:pt x="0" y="4"/>
                    </a:moveTo>
                    <a:lnTo>
                      <a:pt x="4" y="5"/>
                    </a:lnTo>
                    <a:lnTo>
                      <a:pt x="7" y="7"/>
                    </a:lnTo>
                    <a:lnTo>
                      <a:pt x="11" y="4"/>
                    </a:lnTo>
                    <a:lnTo>
                      <a:pt x="16" y="0"/>
                    </a:lnTo>
                    <a:lnTo>
                      <a:pt x="7" y="0"/>
                    </a:lnTo>
                    <a:lnTo>
                      <a:pt x="0"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5" name="Freeform 357"/>
              <p:cNvSpPr>
                <a:spLocks/>
              </p:cNvSpPr>
              <p:nvPr/>
            </p:nvSpPr>
            <p:spPr bwMode="auto">
              <a:xfrm>
                <a:off x="5407819" y="2081213"/>
                <a:ext cx="49213" cy="34925"/>
              </a:xfrm>
              <a:custGeom>
                <a:avLst/>
                <a:gdLst/>
                <a:ahLst/>
                <a:cxnLst>
                  <a:cxn ang="0">
                    <a:pos x="7" y="5"/>
                  </a:cxn>
                  <a:cxn ang="0">
                    <a:pos x="9" y="1"/>
                  </a:cxn>
                  <a:cxn ang="0">
                    <a:pos x="12" y="0"/>
                  </a:cxn>
                  <a:cxn ang="0">
                    <a:pos x="21" y="3"/>
                  </a:cxn>
                  <a:cxn ang="0">
                    <a:pos x="31" y="6"/>
                  </a:cxn>
                  <a:cxn ang="0">
                    <a:pos x="31" y="13"/>
                  </a:cxn>
                  <a:cxn ang="0">
                    <a:pos x="19" y="18"/>
                  </a:cxn>
                  <a:cxn ang="0">
                    <a:pos x="9" y="22"/>
                  </a:cxn>
                  <a:cxn ang="0">
                    <a:pos x="2" y="20"/>
                  </a:cxn>
                  <a:cxn ang="0">
                    <a:pos x="0" y="17"/>
                  </a:cxn>
                  <a:cxn ang="0">
                    <a:pos x="2" y="10"/>
                  </a:cxn>
                  <a:cxn ang="0">
                    <a:pos x="7" y="5"/>
                  </a:cxn>
                </a:cxnLst>
                <a:rect l="0" t="0" r="r" b="b"/>
                <a:pathLst>
                  <a:path w="31" h="22">
                    <a:moveTo>
                      <a:pt x="7" y="5"/>
                    </a:moveTo>
                    <a:lnTo>
                      <a:pt x="9" y="1"/>
                    </a:lnTo>
                    <a:lnTo>
                      <a:pt x="12" y="0"/>
                    </a:lnTo>
                    <a:lnTo>
                      <a:pt x="21" y="3"/>
                    </a:lnTo>
                    <a:lnTo>
                      <a:pt x="31" y="6"/>
                    </a:lnTo>
                    <a:lnTo>
                      <a:pt x="31" y="13"/>
                    </a:lnTo>
                    <a:lnTo>
                      <a:pt x="19" y="18"/>
                    </a:lnTo>
                    <a:lnTo>
                      <a:pt x="9" y="22"/>
                    </a:lnTo>
                    <a:lnTo>
                      <a:pt x="2" y="20"/>
                    </a:lnTo>
                    <a:lnTo>
                      <a:pt x="0" y="17"/>
                    </a:lnTo>
                    <a:lnTo>
                      <a:pt x="2"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6" name="Freeform 358"/>
              <p:cNvSpPr>
                <a:spLocks/>
              </p:cNvSpPr>
              <p:nvPr/>
            </p:nvSpPr>
            <p:spPr bwMode="auto">
              <a:xfrm>
                <a:off x="5647532" y="2047875"/>
                <a:ext cx="41275" cy="26987"/>
              </a:xfrm>
              <a:custGeom>
                <a:avLst/>
                <a:gdLst/>
                <a:ahLst/>
                <a:cxnLst>
                  <a:cxn ang="0">
                    <a:pos x="26" y="14"/>
                  </a:cxn>
                  <a:cxn ang="0">
                    <a:pos x="23" y="17"/>
                  </a:cxn>
                  <a:cxn ang="0">
                    <a:pos x="19" y="17"/>
                  </a:cxn>
                  <a:cxn ang="0">
                    <a:pos x="7" y="12"/>
                  </a:cxn>
                  <a:cxn ang="0">
                    <a:pos x="0" y="5"/>
                  </a:cxn>
                  <a:cxn ang="0">
                    <a:pos x="4" y="0"/>
                  </a:cxn>
                  <a:cxn ang="0">
                    <a:pos x="12" y="2"/>
                  </a:cxn>
                  <a:cxn ang="0">
                    <a:pos x="21" y="5"/>
                  </a:cxn>
                  <a:cxn ang="0">
                    <a:pos x="26" y="14"/>
                  </a:cxn>
                </a:cxnLst>
                <a:rect l="0" t="0" r="r" b="b"/>
                <a:pathLst>
                  <a:path w="26" h="17">
                    <a:moveTo>
                      <a:pt x="26" y="14"/>
                    </a:moveTo>
                    <a:lnTo>
                      <a:pt x="23" y="17"/>
                    </a:lnTo>
                    <a:lnTo>
                      <a:pt x="19" y="17"/>
                    </a:lnTo>
                    <a:lnTo>
                      <a:pt x="7" y="12"/>
                    </a:lnTo>
                    <a:lnTo>
                      <a:pt x="0" y="5"/>
                    </a:lnTo>
                    <a:lnTo>
                      <a:pt x="4" y="0"/>
                    </a:lnTo>
                    <a:lnTo>
                      <a:pt x="12" y="2"/>
                    </a:lnTo>
                    <a:lnTo>
                      <a:pt x="21" y="5"/>
                    </a:lnTo>
                    <a:lnTo>
                      <a:pt x="26"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7" name="Freeform 359"/>
              <p:cNvSpPr>
                <a:spLocks/>
              </p:cNvSpPr>
              <p:nvPr/>
            </p:nvSpPr>
            <p:spPr bwMode="auto">
              <a:xfrm>
                <a:off x="5909469" y="1908175"/>
                <a:ext cx="36513" cy="25400"/>
              </a:xfrm>
              <a:custGeom>
                <a:avLst/>
                <a:gdLst/>
                <a:ahLst/>
                <a:cxnLst>
                  <a:cxn ang="0">
                    <a:pos x="2" y="16"/>
                  </a:cxn>
                  <a:cxn ang="0">
                    <a:pos x="12" y="12"/>
                  </a:cxn>
                  <a:cxn ang="0">
                    <a:pos x="23" y="10"/>
                  </a:cxn>
                  <a:cxn ang="0">
                    <a:pos x="16" y="4"/>
                  </a:cxn>
                  <a:cxn ang="0">
                    <a:pos x="11" y="0"/>
                  </a:cxn>
                  <a:cxn ang="0">
                    <a:pos x="4" y="4"/>
                  </a:cxn>
                  <a:cxn ang="0">
                    <a:pos x="2" y="10"/>
                  </a:cxn>
                  <a:cxn ang="0">
                    <a:pos x="0" y="12"/>
                  </a:cxn>
                  <a:cxn ang="0">
                    <a:pos x="2" y="16"/>
                  </a:cxn>
                </a:cxnLst>
                <a:rect l="0" t="0" r="r" b="b"/>
                <a:pathLst>
                  <a:path w="23" h="16">
                    <a:moveTo>
                      <a:pt x="2" y="16"/>
                    </a:moveTo>
                    <a:lnTo>
                      <a:pt x="12" y="12"/>
                    </a:lnTo>
                    <a:lnTo>
                      <a:pt x="23" y="10"/>
                    </a:lnTo>
                    <a:lnTo>
                      <a:pt x="16" y="4"/>
                    </a:lnTo>
                    <a:lnTo>
                      <a:pt x="11" y="0"/>
                    </a:lnTo>
                    <a:lnTo>
                      <a:pt x="4" y="4"/>
                    </a:lnTo>
                    <a:lnTo>
                      <a:pt x="2" y="10"/>
                    </a:lnTo>
                    <a:lnTo>
                      <a:pt x="0" y="12"/>
                    </a:lnTo>
                    <a:lnTo>
                      <a:pt x="2"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8" name="Freeform 360"/>
              <p:cNvSpPr>
                <a:spLocks/>
              </p:cNvSpPr>
              <p:nvPr/>
            </p:nvSpPr>
            <p:spPr bwMode="auto">
              <a:xfrm>
                <a:off x="7527132" y="1885950"/>
                <a:ext cx="76200" cy="30162"/>
              </a:xfrm>
              <a:custGeom>
                <a:avLst/>
                <a:gdLst/>
                <a:ahLst/>
                <a:cxnLst>
                  <a:cxn ang="0">
                    <a:pos x="0" y="14"/>
                  </a:cxn>
                  <a:cxn ang="0">
                    <a:pos x="8" y="4"/>
                  </a:cxn>
                  <a:cxn ang="0">
                    <a:pos x="24" y="0"/>
                  </a:cxn>
                  <a:cxn ang="0">
                    <a:pos x="32" y="0"/>
                  </a:cxn>
                  <a:cxn ang="0">
                    <a:pos x="41" y="6"/>
                  </a:cxn>
                  <a:cxn ang="0">
                    <a:pos x="44" y="11"/>
                  </a:cxn>
                  <a:cxn ang="0">
                    <a:pos x="48" y="19"/>
                  </a:cxn>
                  <a:cxn ang="0">
                    <a:pos x="32" y="19"/>
                  </a:cxn>
                  <a:cxn ang="0">
                    <a:pos x="17" y="14"/>
                  </a:cxn>
                  <a:cxn ang="0">
                    <a:pos x="1" y="12"/>
                  </a:cxn>
                  <a:cxn ang="0">
                    <a:pos x="0" y="14"/>
                  </a:cxn>
                </a:cxnLst>
                <a:rect l="0" t="0" r="r" b="b"/>
                <a:pathLst>
                  <a:path w="48" h="19">
                    <a:moveTo>
                      <a:pt x="0" y="14"/>
                    </a:moveTo>
                    <a:lnTo>
                      <a:pt x="8" y="4"/>
                    </a:lnTo>
                    <a:lnTo>
                      <a:pt x="24" y="0"/>
                    </a:lnTo>
                    <a:lnTo>
                      <a:pt x="32" y="0"/>
                    </a:lnTo>
                    <a:lnTo>
                      <a:pt x="41" y="6"/>
                    </a:lnTo>
                    <a:lnTo>
                      <a:pt x="44" y="11"/>
                    </a:lnTo>
                    <a:lnTo>
                      <a:pt x="48" y="19"/>
                    </a:lnTo>
                    <a:lnTo>
                      <a:pt x="32" y="19"/>
                    </a:lnTo>
                    <a:lnTo>
                      <a:pt x="17" y="14"/>
                    </a:lnTo>
                    <a:lnTo>
                      <a:pt x="1" y="12"/>
                    </a:lnTo>
                    <a:lnTo>
                      <a:pt x="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9" name="Freeform 361"/>
              <p:cNvSpPr>
                <a:spLocks/>
              </p:cNvSpPr>
              <p:nvPr/>
            </p:nvSpPr>
            <p:spPr bwMode="auto">
              <a:xfrm>
                <a:off x="7671594" y="1809750"/>
                <a:ext cx="103188" cy="38100"/>
              </a:xfrm>
              <a:custGeom>
                <a:avLst/>
                <a:gdLst/>
                <a:ahLst/>
                <a:cxnLst>
                  <a:cxn ang="0">
                    <a:pos x="0" y="0"/>
                  </a:cxn>
                  <a:cxn ang="0">
                    <a:pos x="2" y="0"/>
                  </a:cxn>
                  <a:cxn ang="0">
                    <a:pos x="8" y="2"/>
                  </a:cxn>
                  <a:cxn ang="0">
                    <a:pos x="19" y="4"/>
                  </a:cxn>
                  <a:cxn ang="0">
                    <a:pos x="29" y="5"/>
                  </a:cxn>
                  <a:cxn ang="0">
                    <a:pos x="39" y="7"/>
                  </a:cxn>
                  <a:cxn ang="0">
                    <a:pos x="50" y="9"/>
                  </a:cxn>
                  <a:cxn ang="0">
                    <a:pos x="55" y="9"/>
                  </a:cxn>
                  <a:cxn ang="0">
                    <a:pos x="60" y="11"/>
                  </a:cxn>
                  <a:cxn ang="0">
                    <a:pos x="62" y="12"/>
                  </a:cxn>
                  <a:cxn ang="0">
                    <a:pos x="65" y="16"/>
                  </a:cxn>
                  <a:cxn ang="0">
                    <a:pos x="62" y="17"/>
                  </a:cxn>
                  <a:cxn ang="0">
                    <a:pos x="55" y="21"/>
                  </a:cxn>
                  <a:cxn ang="0">
                    <a:pos x="48" y="23"/>
                  </a:cxn>
                  <a:cxn ang="0">
                    <a:pos x="41" y="24"/>
                  </a:cxn>
                  <a:cxn ang="0">
                    <a:pos x="29" y="23"/>
                  </a:cxn>
                  <a:cxn ang="0">
                    <a:pos x="17" y="19"/>
                  </a:cxn>
                  <a:cxn ang="0">
                    <a:pos x="8" y="12"/>
                  </a:cxn>
                  <a:cxn ang="0">
                    <a:pos x="5" y="5"/>
                  </a:cxn>
                  <a:cxn ang="0">
                    <a:pos x="0" y="0"/>
                  </a:cxn>
                </a:cxnLst>
                <a:rect l="0" t="0" r="r" b="b"/>
                <a:pathLst>
                  <a:path w="65" h="24">
                    <a:moveTo>
                      <a:pt x="0" y="0"/>
                    </a:moveTo>
                    <a:lnTo>
                      <a:pt x="2" y="0"/>
                    </a:lnTo>
                    <a:lnTo>
                      <a:pt x="8" y="2"/>
                    </a:lnTo>
                    <a:lnTo>
                      <a:pt x="19" y="4"/>
                    </a:lnTo>
                    <a:lnTo>
                      <a:pt x="29" y="5"/>
                    </a:lnTo>
                    <a:lnTo>
                      <a:pt x="39" y="7"/>
                    </a:lnTo>
                    <a:lnTo>
                      <a:pt x="50" y="9"/>
                    </a:lnTo>
                    <a:lnTo>
                      <a:pt x="55" y="9"/>
                    </a:lnTo>
                    <a:lnTo>
                      <a:pt x="60" y="11"/>
                    </a:lnTo>
                    <a:lnTo>
                      <a:pt x="62" y="12"/>
                    </a:lnTo>
                    <a:lnTo>
                      <a:pt x="65" y="16"/>
                    </a:lnTo>
                    <a:lnTo>
                      <a:pt x="62" y="17"/>
                    </a:lnTo>
                    <a:lnTo>
                      <a:pt x="55" y="21"/>
                    </a:lnTo>
                    <a:lnTo>
                      <a:pt x="48" y="23"/>
                    </a:lnTo>
                    <a:lnTo>
                      <a:pt x="41" y="24"/>
                    </a:lnTo>
                    <a:lnTo>
                      <a:pt x="29" y="23"/>
                    </a:lnTo>
                    <a:lnTo>
                      <a:pt x="17" y="19"/>
                    </a:lnTo>
                    <a:lnTo>
                      <a:pt x="8" y="12"/>
                    </a:lnTo>
                    <a:lnTo>
                      <a:pt x="5" y="5"/>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0" name="Freeform 362"/>
              <p:cNvSpPr>
                <a:spLocks/>
              </p:cNvSpPr>
              <p:nvPr/>
            </p:nvSpPr>
            <p:spPr bwMode="auto">
              <a:xfrm>
                <a:off x="7523957" y="1865313"/>
                <a:ext cx="22225" cy="20637"/>
              </a:xfrm>
              <a:custGeom>
                <a:avLst/>
                <a:gdLst/>
                <a:ahLst/>
                <a:cxnLst>
                  <a:cxn ang="0">
                    <a:pos x="14" y="7"/>
                  </a:cxn>
                  <a:cxn ang="0">
                    <a:pos x="10" y="10"/>
                  </a:cxn>
                  <a:cxn ang="0">
                    <a:pos x="7" y="13"/>
                  </a:cxn>
                  <a:cxn ang="0">
                    <a:pos x="0" y="10"/>
                  </a:cxn>
                  <a:cxn ang="0">
                    <a:pos x="0" y="7"/>
                  </a:cxn>
                  <a:cxn ang="0">
                    <a:pos x="2" y="0"/>
                  </a:cxn>
                  <a:cxn ang="0">
                    <a:pos x="7" y="0"/>
                  </a:cxn>
                  <a:cxn ang="0">
                    <a:pos x="10" y="1"/>
                  </a:cxn>
                  <a:cxn ang="0">
                    <a:pos x="14" y="7"/>
                  </a:cxn>
                </a:cxnLst>
                <a:rect l="0" t="0" r="r" b="b"/>
                <a:pathLst>
                  <a:path w="14" h="13">
                    <a:moveTo>
                      <a:pt x="14" y="7"/>
                    </a:moveTo>
                    <a:lnTo>
                      <a:pt x="10" y="10"/>
                    </a:lnTo>
                    <a:lnTo>
                      <a:pt x="7" y="13"/>
                    </a:lnTo>
                    <a:lnTo>
                      <a:pt x="0" y="10"/>
                    </a:lnTo>
                    <a:lnTo>
                      <a:pt x="0" y="7"/>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1" name="Freeform 363"/>
              <p:cNvSpPr>
                <a:spLocks/>
              </p:cNvSpPr>
              <p:nvPr/>
            </p:nvSpPr>
            <p:spPr bwMode="auto">
              <a:xfrm>
                <a:off x="2840832" y="2768600"/>
                <a:ext cx="57150" cy="26987"/>
              </a:xfrm>
              <a:custGeom>
                <a:avLst/>
                <a:gdLst/>
                <a:ahLst/>
                <a:cxnLst>
                  <a:cxn ang="0">
                    <a:pos x="29" y="17"/>
                  </a:cxn>
                  <a:cxn ang="0">
                    <a:pos x="33" y="15"/>
                  </a:cxn>
                  <a:cxn ang="0">
                    <a:pos x="36" y="14"/>
                  </a:cxn>
                  <a:cxn ang="0">
                    <a:pos x="28" y="8"/>
                  </a:cxn>
                  <a:cxn ang="0">
                    <a:pos x="19" y="3"/>
                  </a:cxn>
                  <a:cxn ang="0">
                    <a:pos x="9" y="0"/>
                  </a:cxn>
                  <a:cxn ang="0">
                    <a:pos x="0" y="2"/>
                  </a:cxn>
                  <a:cxn ang="0">
                    <a:pos x="5" y="5"/>
                  </a:cxn>
                  <a:cxn ang="0">
                    <a:pos x="14" y="10"/>
                  </a:cxn>
                  <a:cxn ang="0">
                    <a:pos x="21" y="14"/>
                  </a:cxn>
                  <a:cxn ang="0">
                    <a:pos x="29" y="17"/>
                  </a:cxn>
                </a:cxnLst>
                <a:rect l="0" t="0" r="r" b="b"/>
                <a:pathLst>
                  <a:path w="36" h="17">
                    <a:moveTo>
                      <a:pt x="29" y="17"/>
                    </a:moveTo>
                    <a:lnTo>
                      <a:pt x="33" y="15"/>
                    </a:lnTo>
                    <a:lnTo>
                      <a:pt x="36" y="14"/>
                    </a:lnTo>
                    <a:lnTo>
                      <a:pt x="28" y="8"/>
                    </a:lnTo>
                    <a:lnTo>
                      <a:pt x="19" y="3"/>
                    </a:lnTo>
                    <a:lnTo>
                      <a:pt x="9" y="0"/>
                    </a:lnTo>
                    <a:lnTo>
                      <a:pt x="0" y="2"/>
                    </a:lnTo>
                    <a:lnTo>
                      <a:pt x="5" y="5"/>
                    </a:lnTo>
                    <a:lnTo>
                      <a:pt x="14" y="10"/>
                    </a:lnTo>
                    <a:lnTo>
                      <a:pt x="21" y="14"/>
                    </a:lnTo>
                    <a:lnTo>
                      <a:pt x="29"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2" name="Freeform 364"/>
              <p:cNvSpPr>
                <a:spLocks/>
              </p:cNvSpPr>
              <p:nvPr/>
            </p:nvSpPr>
            <p:spPr bwMode="auto">
              <a:xfrm>
                <a:off x="2847182" y="2859088"/>
                <a:ext cx="42863" cy="26987"/>
              </a:xfrm>
              <a:custGeom>
                <a:avLst/>
                <a:gdLst/>
                <a:ahLst/>
                <a:cxnLst>
                  <a:cxn ang="0">
                    <a:pos x="1" y="0"/>
                  </a:cxn>
                  <a:cxn ang="0">
                    <a:pos x="5" y="5"/>
                  </a:cxn>
                  <a:cxn ang="0">
                    <a:pos x="12" y="8"/>
                  </a:cxn>
                  <a:cxn ang="0">
                    <a:pos x="27" y="8"/>
                  </a:cxn>
                  <a:cxn ang="0">
                    <a:pos x="27" y="12"/>
                  </a:cxn>
                  <a:cxn ang="0">
                    <a:pos x="24" y="13"/>
                  </a:cxn>
                  <a:cxn ang="0">
                    <a:pos x="20" y="17"/>
                  </a:cxn>
                  <a:cxn ang="0">
                    <a:pos x="15" y="13"/>
                  </a:cxn>
                  <a:cxn ang="0">
                    <a:pos x="8" y="10"/>
                  </a:cxn>
                  <a:cxn ang="0">
                    <a:pos x="1" y="6"/>
                  </a:cxn>
                  <a:cxn ang="0">
                    <a:pos x="0" y="3"/>
                  </a:cxn>
                  <a:cxn ang="0">
                    <a:pos x="0" y="0"/>
                  </a:cxn>
                  <a:cxn ang="0">
                    <a:pos x="1" y="0"/>
                  </a:cxn>
                </a:cxnLst>
                <a:rect l="0" t="0" r="r" b="b"/>
                <a:pathLst>
                  <a:path w="27" h="17">
                    <a:moveTo>
                      <a:pt x="1" y="0"/>
                    </a:moveTo>
                    <a:lnTo>
                      <a:pt x="5" y="5"/>
                    </a:lnTo>
                    <a:lnTo>
                      <a:pt x="12" y="8"/>
                    </a:lnTo>
                    <a:lnTo>
                      <a:pt x="27" y="8"/>
                    </a:lnTo>
                    <a:lnTo>
                      <a:pt x="27" y="12"/>
                    </a:lnTo>
                    <a:lnTo>
                      <a:pt x="24" y="13"/>
                    </a:lnTo>
                    <a:lnTo>
                      <a:pt x="20" y="17"/>
                    </a:lnTo>
                    <a:lnTo>
                      <a:pt x="15" y="13"/>
                    </a:lnTo>
                    <a:lnTo>
                      <a:pt x="8" y="10"/>
                    </a:lnTo>
                    <a:lnTo>
                      <a:pt x="1" y="6"/>
                    </a:lnTo>
                    <a:lnTo>
                      <a:pt x="0" y="3"/>
                    </a:lnTo>
                    <a:lnTo>
                      <a:pt x="0" y="0"/>
                    </a:lnTo>
                    <a:lnTo>
                      <a:pt x="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3" name="Freeform 365"/>
              <p:cNvSpPr>
                <a:spLocks/>
              </p:cNvSpPr>
              <p:nvPr/>
            </p:nvSpPr>
            <p:spPr bwMode="auto">
              <a:xfrm>
                <a:off x="2909094" y="2859088"/>
                <a:ext cx="33338" cy="38100"/>
              </a:xfrm>
              <a:custGeom>
                <a:avLst/>
                <a:gdLst/>
                <a:ahLst/>
                <a:cxnLst>
                  <a:cxn ang="0">
                    <a:pos x="21" y="13"/>
                  </a:cxn>
                  <a:cxn ang="0">
                    <a:pos x="21" y="17"/>
                  </a:cxn>
                  <a:cxn ang="0">
                    <a:pos x="16" y="20"/>
                  </a:cxn>
                  <a:cxn ang="0">
                    <a:pos x="9" y="24"/>
                  </a:cxn>
                  <a:cxn ang="0">
                    <a:pos x="2" y="20"/>
                  </a:cxn>
                  <a:cxn ang="0">
                    <a:pos x="0" y="17"/>
                  </a:cxn>
                  <a:cxn ang="0">
                    <a:pos x="0" y="12"/>
                  </a:cxn>
                  <a:cxn ang="0">
                    <a:pos x="4" y="8"/>
                  </a:cxn>
                  <a:cxn ang="0">
                    <a:pos x="7" y="1"/>
                  </a:cxn>
                  <a:cxn ang="0">
                    <a:pos x="12" y="0"/>
                  </a:cxn>
                  <a:cxn ang="0">
                    <a:pos x="14" y="1"/>
                  </a:cxn>
                  <a:cxn ang="0">
                    <a:pos x="16" y="5"/>
                  </a:cxn>
                  <a:cxn ang="0">
                    <a:pos x="12" y="10"/>
                  </a:cxn>
                  <a:cxn ang="0">
                    <a:pos x="21" y="13"/>
                  </a:cxn>
                </a:cxnLst>
                <a:rect l="0" t="0" r="r" b="b"/>
                <a:pathLst>
                  <a:path w="21" h="24">
                    <a:moveTo>
                      <a:pt x="21" y="13"/>
                    </a:moveTo>
                    <a:lnTo>
                      <a:pt x="21" y="17"/>
                    </a:lnTo>
                    <a:lnTo>
                      <a:pt x="16" y="20"/>
                    </a:lnTo>
                    <a:lnTo>
                      <a:pt x="9" y="24"/>
                    </a:lnTo>
                    <a:lnTo>
                      <a:pt x="2" y="20"/>
                    </a:lnTo>
                    <a:lnTo>
                      <a:pt x="0" y="17"/>
                    </a:lnTo>
                    <a:lnTo>
                      <a:pt x="0" y="12"/>
                    </a:lnTo>
                    <a:lnTo>
                      <a:pt x="4" y="8"/>
                    </a:lnTo>
                    <a:lnTo>
                      <a:pt x="7" y="1"/>
                    </a:lnTo>
                    <a:lnTo>
                      <a:pt x="12" y="0"/>
                    </a:lnTo>
                    <a:lnTo>
                      <a:pt x="14" y="1"/>
                    </a:lnTo>
                    <a:lnTo>
                      <a:pt x="16" y="5"/>
                    </a:lnTo>
                    <a:lnTo>
                      <a:pt x="12" y="10"/>
                    </a:lnTo>
                    <a:lnTo>
                      <a:pt x="21"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4" name="Freeform 366"/>
              <p:cNvSpPr>
                <a:spLocks/>
              </p:cNvSpPr>
              <p:nvPr/>
            </p:nvSpPr>
            <p:spPr bwMode="auto">
              <a:xfrm>
                <a:off x="484982" y="2438400"/>
                <a:ext cx="34925" cy="15875"/>
              </a:xfrm>
              <a:custGeom>
                <a:avLst/>
                <a:gdLst/>
                <a:ahLst/>
                <a:cxnLst>
                  <a:cxn ang="0">
                    <a:pos x="7" y="5"/>
                  </a:cxn>
                  <a:cxn ang="0">
                    <a:pos x="9" y="0"/>
                  </a:cxn>
                  <a:cxn ang="0">
                    <a:pos x="15" y="1"/>
                  </a:cxn>
                  <a:cxn ang="0">
                    <a:pos x="21" y="3"/>
                  </a:cxn>
                  <a:cxn ang="0">
                    <a:pos x="22" y="10"/>
                  </a:cxn>
                  <a:cxn ang="0">
                    <a:pos x="5" y="10"/>
                  </a:cxn>
                  <a:cxn ang="0">
                    <a:pos x="2" y="7"/>
                  </a:cxn>
                  <a:cxn ang="0">
                    <a:pos x="0" y="5"/>
                  </a:cxn>
                  <a:cxn ang="0">
                    <a:pos x="7" y="5"/>
                  </a:cxn>
                </a:cxnLst>
                <a:rect l="0" t="0" r="r" b="b"/>
                <a:pathLst>
                  <a:path w="22" h="10">
                    <a:moveTo>
                      <a:pt x="7" y="5"/>
                    </a:moveTo>
                    <a:lnTo>
                      <a:pt x="9" y="0"/>
                    </a:lnTo>
                    <a:lnTo>
                      <a:pt x="15" y="1"/>
                    </a:lnTo>
                    <a:lnTo>
                      <a:pt x="21" y="3"/>
                    </a:lnTo>
                    <a:lnTo>
                      <a:pt x="22" y="10"/>
                    </a:lnTo>
                    <a:lnTo>
                      <a:pt x="5" y="10"/>
                    </a:lnTo>
                    <a:lnTo>
                      <a:pt x="2" y="7"/>
                    </a:lnTo>
                    <a:lnTo>
                      <a:pt x="0" y="5"/>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5" name="Freeform 367"/>
              <p:cNvSpPr>
                <a:spLocks/>
              </p:cNvSpPr>
              <p:nvPr/>
            </p:nvSpPr>
            <p:spPr bwMode="auto">
              <a:xfrm>
                <a:off x="751682" y="3579813"/>
                <a:ext cx="20638" cy="15875"/>
              </a:xfrm>
              <a:custGeom>
                <a:avLst/>
                <a:gdLst/>
                <a:ahLst/>
                <a:cxnLst>
                  <a:cxn ang="0">
                    <a:pos x="13" y="5"/>
                  </a:cxn>
                  <a:cxn ang="0">
                    <a:pos x="13" y="8"/>
                  </a:cxn>
                  <a:cxn ang="0">
                    <a:pos x="6" y="8"/>
                  </a:cxn>
                  <a:cxn ang="0">
                    <a:pos x="2" y="10"/>
                  </a:cxn>
                  <a:cxn ang="0">
                    <a:pos x="0" y="8"/>
                  </a:cxn>
                  <a:cxn ang="0">
                    <a:pos x="0" y="6"/>
                  </a:cxn>
                  <a:cxn ang="0">
                    <a:pos x="0" y="3"/>
                  </a:cxn>
                  <a:cxn ang="0">
                    <a:pos x="0" y="0"/>
                  </a:cxn>
                  <a:cxn ang="0">
                    <a:pos x="6" y="0"/>
                  </a:cxn>
                  <a:cxn ang="0">
                    <a:pos x="13" y="5"/>
                  </a:cxn>
                </a:cxnLst>
                <a:rect l="0" t="0" r="r" b="b"/>
                <a:pathLst>
                  <a:path w="13" h="10">
                    <a:moveTo>
                      <a:pt x="13" y="5"/>
                    </a:moveTo>
                    <a:lnTo>
                      <a:pt x="13" y="8"/>
                    </a:lnTo>
                    <a:lnTo>
                      <a:pt x="6" y="8"/>
                    </a:lnTo>
                    <a:lnTo>
                      <a:pt x="2" y="10"/>
                    </a:lnTo>
                    <a:lnTo>
                      <a:pt x="0" y="8"/>
                    </a:lnTo>
                    <a:lnTo>
                      <a:pt x="0" y="6"/>
                    </a:lnTo>
                    <a:lnTo>
                      <a:pt x="0" y="3"/>
                    </a:lnTo>
                    <a:lnTo>
                      <a:pt x="0" y="0"/>
                    </a:lnTo>
                    <a:lnTo>
                      <a:pt x="6" y="0"/>
                    </a:lnTo>
                    <a:lnTo>
                      <a:pt x="1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6" name="Freeform 368"/>
              <p:cNvSpPr>
                <a:spLocks/>
              </p:cNvSpPr>
              <p:nvPr/>
            </p:nvSpPr>
            <p:spPr bwMode="auto">
              <a:xfrm>
                <a:off x="735807" y="3551238"/>
                <a:ext cx="11113" cy="7937"/>
              </a:xfrm>
              <a:custGeom>
                <a:avLst/>
                <a:gdLst/>
                <a:ahLst/>
                <a:cxnLst>
                  <a:cxn ang="0">
                    <a:pos x="7" y="5"/>
                  </a:cxn>
                  <a:cxn ang="0">
                    <a:pos x="5" y="5"/>
                  </a:cxn>
                  <a:cxn ang="0">
                    <a:pos x="4" y="5"/>
                  </a:cxn>
                  <a:cxn ang="0">
                    <a:pos x="2" y="2"/>
                  </a:cxn>
                  <a:cxn ang="0">
                    <a:pos x="0" y="0"/>
                  </a:cxn>
                  <a:cxn ang="0">
                    <a:pos x="4" y="0"/>
                  </a:cxn>
                  <a:cxn ang="0">
                    <a:pos x="7" y="5"/>
                  </a:cxn>
                </a:cxnLst>
                <a:rect l="0" t="0" r="r" b="b"/>
                <a:pathLst>
                  <a:path w="7" h="5">
                    <a:moveTo>
                      <a:pt x="7" y="5"/>
                    </a:moveTo>
                    <a:lnTo>
                      <a:pt x="5" y="5"/>
                    </a:lnTo>
                    <a:lnTo>
                      <a:pt x="4" y="5"/>
                    </a:lnTo>
                    <a:lnTo>
                      <a:pt x="2" y="2"/>
                    </a:lnTo>
                    <a:lnTo>
                      <a:pt x="0" y="0"/>
                    </a:lnTo>
                    <a:lnTo>
                      <a:pt x="4" y="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7" name="Freeform 369"/>
              <p:cNvSpPr>
                <a:spLocks/>
              </p:cNvSpPr>
              <p:nvPr/>
            </p:nvSpPr>
            <p:spPr bwMode="auto">
              <a:xfrm>
                <a:off x="713582" y="3543300"/>
                <a:ext cx="17463" cy="7937"/>
              </a:xfrm>
              <a:custGeom>
                <a:avLst/>
                <a:gdLst/>
                <a:ahLst/>
                <a:cxnLst>
                  <a:cxn ang="0">
                    <a:pos x="11" y="0"/>
                  </a:cxn>
                  <a:cxn ang="0">
                    <a:pos x="7" y="4"/>
                  </a:cxn>
                  <a:cxn ang="0">
                    <a:pos x="4" y="5"/>
                  </a:cxn>
                  <a:cxn ang="0">
                    <a:pos x="0" y="2"/>
                  </a:cxn>
                  <a:cxn ang="0">
                    <a:pos x="0" y="0"/>
                  </a:cxn>
                  <a:cxn ang="0">
                    <a:pos x="11" y="0"/>
                  </a:cxn>
                </a:cxnLst>
                <a:rect l="0" t="0" r="r" b="b"/>
                <a:pathLst>
                  <a:path w="11" h="5">
                    <a:moveTo>
                      <a:pt x="11" y="0"/>
                    </a:moveTo>
                    <a:lnTo>
                      <a:pt x="7" y="4"/>
                    </a:lnTo>
                    <a:lnTo>
                      <a:pt x="4" y="5"/>
                    </a:lnTo>
                    <a:lnTo>
                      <a:pt x="0" y="2"/>
                    </a:lnTo>
                    <a:lnTo>
                      <a:pt x="0" y="0"/>
                    </a:lnTo>
                    <a:lnTo>
                      <a:pt x="1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8" name="Freeform 370"/>
              <p:cNvSpPr>
                <a:spLocks/>
              </p:cNvSpPr>
              <p:nvPr/>
            </p:nvSpPr>
            <p:spPr bwMode="auto">
              <a:xfrm>
                <a:off x="694532" y="3535363"/>
                <a:ext cx="14288" cy="7937"/>
              </a:xfrm>
              <a:custGeom>
                <a:avLst/>
                <a:gdLst/>
                <a:ahLst/>
                <a:cxnLst>
                  <a:cxn ang="0">
                    <a:pos x="4" y="0"/>
                  </a:cxn>
                  <a:cxn ang="0">
                    <a:pos x="6" y="0"/>
                  </a:cxn>
                  <a:cxn ang="0">
                    <a:pos x="9" y="0"/>
                  </a:cxn>
                  <a:cxn ang="0">
                    <a:pos x="9" y="2"/>
                  </a:cxn>
                  <a:cxn ang="0">
                    <a:pos x="7" y="3"/>
                  </a:cxn>
                  <a:cxn ang="0">
                    <a:pos x="6" y="5"/>
                  </a:cxn>
                  <a:cxn ang="0">
                    <a:pos x="2" y="3"/>
                  </a:cxn>
                  <a:cxn ang="0">
                    <a:pos x="0" y="2"/>
                  </a:cxn>
                  <a:cxn ang="0">
                    <a:pos x="2" y="0"/>
                  </a:cxn>
                  <a:cxn ang="0">
                    <a:pos x="6" y="0"/>
                  </a:cxn>
                  <a:cxn ang="0">
                    <a:pos x="4" y="0"/>
                  </a:cxn>
                </a:cxnLst>
                <a:rect l="0" t="0" r="r" b="b"/>
                <a:pathLst>
                  <a:path w="9" h="5">
                    <a:moveTo>
                      <a:pt x="4" y="0"/>
                    </a:moveTo>
                    <a:lnTo>
                      <a:pt x="6" y="0"/>
                    </a:lnTo>
                    <a:lnTo>
                      <a:pt x="9" y="0"/>
                    </a:lnTo>
                    <a:lnTo>
                      <a:pt x="9" y="2"/>
                    </a:lnTo>
                    <a:lnTo>
                      <a:pt x="7" y="3"/>
                    </a:lnTo>
                    <a:lnTo>
                      <a:pt x="6" y="5"/>
                    </a:lnTo>
                    <a:lnTo>
                      <a:pt x="2" y="3"/>
                    </a:lnTo>
                    <a:lnTo>
                      <a:pt x="0" y="2"/>
                    </a:lnTo>
                    <a:lnTo>
                      <a:pt x="2" y="0"/>
                    </a:lnTo>
                    <a:lnTo>
                      <a:pt x="6"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9" name="Freeform 371"/>
              <p:cNvSpPr>
                <a:spLocks/>
              </p:cNvSpPr>
              <p:nvPr/>
            </p:nvSpPr>
            <p:spPr bwMode="auto">
              <a:xfrm>
                <a:off x="662782" y="3516313"/>
                <a:ext cx="12700" cy="11112"/>
              </a:xfrm>
              <a:custGeom>
                <a:avLst/>
                <a:gdLst/>
                <a:ahLst/>
                <a:cxnLst>
                  <a:cxn ang="0">
                    <a:pos x="8" y="2"/>
                  </a:cxn>
                  <a:cxn ang="0">
                    <a:pos x="8" y="3"/>
                  </a:cxn>
                  <a:cxn ang="0">
                    <a:pos x="8" y="7"/>
                  </a:cxn>
                  <a:cxn ang="0">
                    <a:pos x="5" y="7"/>
                  </a:cxn>
                  <a:cxn ang="0">
                    <a:pos x="1" y="5"/>
                  </a:cxn>
                  <a:cxn ang="0">
                    <a:pos x="0" y="3"/>
                  </a:cxn>
                  <a:cxn ang="0">
                    <a:pos x="1" y="2"/>
                  </a:cxn>
                  <a:cxn ang="0">
                    <a:pos x="3" y="0"/>
                  </a:cxn>
                  <a:cxn ang="0">
                    <a:pos x="5" y="0"/>
                  </a:cxn>
                  <a:cxn ang="0">
                    <a:pos x="8" y="2"/>
                  </a:cxn>
                </a:cxnLst>
                <a:rect l="0" t="0" r="r" b="b"/>
                <a:pathLst>
                  <a:path w="8" h="7">
                    <a:moveTo>
                      <a:pt x="8" y="2"/>
                    </a:moveTo>
                    <a:lnTo>
                      <a:pt x="8" y="3"/>
                    </a:lnTo>
                    <a:lnTo>
                      <a:pt x="8" y="7"/>
                    </a:lnTo>
                    <a:lnTo>
                      <a:pt x="5" y="7"/>
                    </a:lnTo>
                    <a:lnTo>
                      <a:pt x="1" y="5"/>
                    </a:lnTo>
                    <a:lnTo>
                      <a:pt x="0" y="3"/>
                    </a:lnTo>
                    <a:lnTo>
                      <a:pt x="1" y="2"/>
                    </a:lnTo>
                    <a:lnTo>
                      <a:pt x="3" y="0"/>
                    </a:lnTo>
                    <a:lnTo>
                      <a:pt x="5" y="0"/>
                    </a:lnTo>
                    <a:lnTo>
                      <a:pt x="8"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grpSp>
        <p:cxnSp>
          <p:nvCxnSpPr>
            <p:cNvPr id="472" name="Straight Connector 471"/>
            <p:cNvCxnSpPr>
              <a:stCxn id="469" idx="1"/>
              <a:endCxn id="469" idx="3"/>
            </p:cNvCxnSpPr>
            <p:nvPr/>
          </p:nvCxnSpPr>
          <p:spPr>
            <a:xfrm>
              <a:off x="3542201" y="4851699"/>
              <a:ext cx="3684601"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pic>
          <p:nvPicPr>
            <p:cNvPr id="473" name="Picture 47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704922" y="3450353"/>
              <a:ext cx="1327120" cy="377319"/>
            </a:xfrm>
            <a:prstGeom prst="rect">
              <a:avLst/>
            </a:prstGeom>
          </p:spPr>
        </p:pic>
        <p:pic>
          <p:nvPicPr>
            <p:cNvPr id="474" name="Picture 473"/>
            <p:cNvPicPr>
              <a:picLocks noChangeAspect="1"/>
            </p:cNvPicPr>
            <p:nvPr/>
          </p:nvPicPr>
          <p:blipFill rotWithShape="1">
            <a:blip r:embed="rId11">
              <a:extLst>
                <a:ext uri="{28A0092B-C50C-407E-A947-70E740481C1C}">
                  <a14:useLocalDpi xmlns:a14="http://schemas.microsoft.com/office/drawing/2010/main" val="0"/>
                </a:ext>
              </a:extLst>
            </a:blip>
            <a:srcRect r="7198"/>
            <a:stretch/>
          </p:blipFill>
          <p:spPr>
            <a:xfrm>
              <a:off x="5775533" y="3916904"/>
              <a:ext cx="1212252" cy="734786"/>
            </a:xfrm>
            <a:prstGeom prst="rect">
              <a:avLst/>
            </a:prstGeom>
          </p:spPr>
        </p:pic>
        <p:pic>
          <p:nvPicPr>
            <p:cNvPr id="475" name="Picture 47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740984" y="4185983"/>
              <a:ext cx="764705" cy="377671"/>
            </a:xfrm>
            <a:prstGeom prst="rect">
              <a:avLst/>
            </a:prstGeom>
          </p:spPr>
        </p:pic>
        <p:pic>
          <p:nvPicPr>
            <p:cNvPr id="476" name="Picture 475"/>
            <p:cNvPicPr>
              <a:picLocks noChangeAspect="1"/>
            </p:cNvPicPr>
            <p:nvPr/>
          </p:nvPicPr>
          <p:blipFill rotWithShape="1">
            <a:blip r:embed="rId13">
              <a:extLst>
                <a:ext uri="{28A0092B-C50C-407E-A947-70E740481C1C}">
                  <a14:useLocalDpi xmlns:a14="http://schemas.microsoft.com/office/drawing/2010/main" val="0"/>
                </a:ext>
              </a:extLst>
            </a:blip>
            <a:srcRect t="32902" b="25103"/>
            <a:stretch/>
          </p:blipFill>
          <p:spPr>
            <a:xfrm>
              <a:off x="4754793" y="3578267"/>
              <a:ext cx="897288" cy="376814"/>
            </a:xfrm>
            <a:prstGeom prst="rect">
              <a:avLst/>
            </a:prstGeom>
          </p:spPr>
        </p:pic>
        <p:pic>
          <p:nvPicPr>
            <p:cNvPr id="477" name="Picture 47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143447" y="5012754"/>
              <a:ext cx="830416" cy="449960"/>
            </a:xfrm>
            <a:prstGeom prst="rect">
              <a:avLst/>
            </a:prstGeom>
          </p:spPr>
        </p:pic>
        <p:pic>
          <p:nvPicPr>
            <p:cNvPr id="478" name="Picture 477"/>
            <p:cNvPicPr>
              <a:picLocks noChangeAspect="1"/>
            </p:cNvPicPr>
            <p:nvPr/>
          </p:nvPicPr>
          <p:blipFill rotWithShape="1">
            <a:blip r:embed="rId15" cstate="print">
              <a:extLst>
                <a:ext uri="{28A0092B-C50C-407E-A947-70E740481C1C}">
                  <a14:useLocalDpi xmlns:a14="http://schemas.microsoft.com/office/drawing/2010/main" val="0"/>
                </a:ext>
              </a:extLst>
            </a:blip>
            <a:srcRect l="3544"/>
            <a:stretch/>
          </p:blipFill>
          <p:spPr>
            <a:xfrm>
              <a:off x="5414244" y="5774906"/>
              <a:ext cx="1119365" cy="413581"/>
            </a:xfrm>
            <a:prstGeom prst="rect">
              <a:avLst/>
            </a:prstGeom>
          </p:spPr>
        </p:pic>
        <p:pic>
          <p:nvPicPr>
            <p:cNvPr id="479" name="Picture 8" descr="Related image"/>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112203" y="5012574"/>
              <a:ext cx="609292" cy="607805"/>
            </a:xfrm>
            <a:prstGeom prst="rect">
              <a:avLst/>
            </a:prstGeom>
            <a:solidFill>
              <a:schemeClr val="bg1"/>
            </a:solidFill>
          </p:spPr>
        </p:pic>
      </p:grpSp>
      <p:pic>
        <p:nvPicPr>
          <p:cNvPr id="660" name="Picture 18" descr="Related image"/>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361920" y="3837379"/>
            <a:ext cx="529148" cy="5894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874175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916"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86" name="TextBox 85"/>
          <p:cNvSpPr txBox="1"/>
          <p:nvPr/>
        </p:nvSpPr>
        <p:spPr>
          <a:xfrm>
            <a:off x="-692" y="192630"/>
            <a:ext cx="3369163" cy="615553"/>
          </a:xfrm>
          <a:prstGeom prst="rect">
            <a:avLst/>
          </a:prstGeom>
          <a:noFill/>
        </p:spPr>
        <p:txBody>
          <a:bodyPr wrap="square" lIns="0" tIns="0" rIns="0" bIns="0" rtlCol="0">
            <a:spAutoFit/>
          </a:bodyPr>
          <a:lstStyle/>
          <a:p>
            <a:r>
              <a:rPr lang="en-US" sz="4000" b="1" dirty="0" smtClean="0">
                <a:solidFill>
                  <a:srgbClr val="FFFFFF"/>
                </a:solidFill>
                <a:latin typeface="KPMG Extralight" panose="020B0303030202040204" pitchFamily="34" charset="0"/>
                <a:cs typeface="Arial" pitchFamily="34" charset="0"/>
              </a:rPr>
              <a:t>Customer Experience Mgt.</a:t>
            </a:r>
            <a:endParaRPr lang="en-GB" sz="4000" b="1" dirty="0" smtClean="0">
              <a:solidFill>
                <a:srgbClr val="FFFFFF"/>
              </a:solidFill>
              <a:latin typeface="KPMG Extralight" panose="020B0303030202040204" pitchFamily="34" charset="0"/>
              <a:cs typeface="Arial" pitchFamily="34" charset="0"/>
            </a:endParaRPr>
          </a:p>
        </p:txBody>
      </p:sp>
      <p:sp>
        <p:nvSpPr>
          <p:cNvPr id="48" name="TextBox 47"/>
          <p:cNvSpPr txBox="1"/>
          <p:nvPr/>
        </p:nvSpPr>
        <p:spPr>
          <a:xfrm>
            <a:off x="70161" y="3031249"/>
            <a:ext cx="3017520" cy="369332"/>
          </a:xfrm>
          <a:prstGeom prst="rect">
            <a:avLst/>
          </a:prstGeom>
          <a:noFill/>
        </p:spPr>
        <p:txBody>
          <a:bodyPr wrap="square" lIns="0" tIns="0" rIns="0" bIns="0" rtlCol="0">
            <a:spAutoFit/>
          </a:bodyPr>
          <a:lstStyle>
            <a:defPPr>
              <a:defRPr lang="en-US"/>
            </a:defPPr>
            <a:lvl1pPr>
              <a:defRPr sz="1200" b="1">
                <a:solidFill>
                  <a:srgbClr val="FFFFFF"/>
                </a:solidFill>
                <a:cs typeface="Arial" pitchFamily="34" charset="0"/>
              </a:defRPr>
            </a:lvl1pPr>
          </a:lstStyle>
          <a:p>
            <a:r>
              <a:rPr lang="en-US" dirty="0" err="1"/>
              <a:t>Utilisation</a:t>
            </a:r>
            <a:r>
              <a:rPr lang="en-US" dirty="0"/>
              <a:t> of customer insight to drive customer satisfaction</a:t>
            </a:r>
          </a:p>
        </p:txBody>
      </p:sp>
      <p:sp>
        <p:nvSpPr>
          <p:cNvPr id="49" name="TextBox 48"/>
          <p:cNvSpPr txBox="1"/>
          <p:nvPr/>
        </p:nvSpPr>
        <p:spPr>
          <a:xfrm>
            <a:off x="88888" y="3828766"/>
            <a:ext cx="3174580" cy="553998"/>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Customer </a:t>
            </a:r>
            <a:r>
              <a:rPr lang="en-US" sz="1200" b="1" dirty="0">
                <a:solidFill>
                  <a:srgbClr val="FFFFFF"/>
                </a:solidFill>
                <a:cs typeface="Arial" pitchFamily="34" charset="0"/>
              </a:rPr>
              <a:t>experience feedback and measurement</a:t>
            </a:r>
          </a:p>
          <a:p>
            <a:endParaRPr lang="en-US" sz="1200" b="1" dirty="0">
              <a:solidFill>
                <a:srgbClr val="FFFFFF"/>
              </a:solidFill>
              <a:cs typeface="Arial" pitchFamily="34" charset="0"/>
            </a:endParaRPr>
          </a:p>
        </p:txBody>
      </p:sp>
      <p:graphicFrame>
        <p:nvGraphicFramePr>
          <p:cNvPr id="31" name="Table 30"/>
          <p:cNvGraphicFramePr>
            <a:graphicFrameLocks noGrp="1"/>
          </p:cNvGraphicFramePr>
          <p:nvPr>
            <p:extLst>
              <p:ext uri="{D42A27DB-BD31-4B8C-83A1-F6EECF244321}">
                <p14:modId xmlns:p14="http://schemas.microsoft.com/office/powerpoint/2010/main" val="2082145296"/>
              </p:ext>
            </p:extLst>
          </p:nvPr>
        </p:nvGraphicFramePr>
        <p:xfrm>
          <a:off x="112335" y="2495443"/>
          <a:ext cx="3053407" cy="320040"/>
        </p:xfrm>
        <a:graphic>
          <a:graphicData uri="http://schemas.openxmlformats.org/drawingml/2006/table">
            <a:tbl>
              <a:tblPr bandRow="1">
                <a:tableStyleId>{5C22544A-7EE6-4342-B048-85BDC9FD1C3A}</a:tableStyleId>
              </a:tblPr>
              <a:tblGrid>
                <a:gridCol w="3053407"/>
              </a:tblGrid>
              <a:tr h="230385">
                <a:tc>
                  <a:txBody>
                    <a:bodyPr/>
                    <a:lstStyle/>
                    <a:p>
                      <a:endParaRPr lang="en-US" sz="1500" b="1" dirty="0"/>
                    </a:p>
                  </a:txBody>
                  <a:tcPr anchor="ctr">
                    <a:solidFill>
                      <a:srgbClr val="DBCDDB"/>
                    </a:solidFill>
                  </a:tcPr>
                </a:tc>
              </a:tr>
            </a:tbl>
          </a:graphicData>
        </a:graphic>
      </p:graphicFrame>
      <p:sp>
        <p:nvSpPr>
          <p:cNvPr id="32" name="TextBox 31"/>
          <p:cNvSpPr txBox="1"/>
          <p:nvPr/>
        </p:nvSpPr>
        <p:spPr>
          <a:xfrm>
            <a:off x="2782797" y="2612407"/>
            <a:ext cx="382639" cy="116869"/>
          </a:xfrm>
          <a:prstGeom prst="rect">
            <a:avLst/>
          </a:prstGeom>
          <a:noFill/>
        </p:spPr>
        <p:txBody>
          <a:bodyPr wrap="none" lIns="21772" tIns="21772" rIns="21772" bIns="21772" rtlCol="0" anchor="ctr" anchorCtr="0">
            <a:noAutofit/>
          </a:bodyPr>
          <a:lstStyle/>
          <a:p>
            <a:pPr algn="r"/>
            <a:r>
              <a:rPr lang="en-AU" sz="800" b="1" dirty="0">
                <a:solidFill>
                  <a:srgbClr val="000000"/>
                </a:solidFill>
                <a:cs typeface="Arial" panose="020B0604020202020204" pitchFamily="34" charset="0"/>
              </a:rPr>
              <a:t>Innovating</a:t>
            </a:r>
          </a:p>
        </p:txBody>
      </p:sp>
      <p:sp>
        <p:nvSpPr>
          <p:cNvPr id="33" name="TextBox 32"/>
          <p:cNvSpPr txBox="1"/>
          <p:nvPr/>
        </p:nvSpPr>
        <p:spPr>
          <a:xfrm>
            <a:off x="711797" y="2612407"/>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Basic</a:t>
            </a:r>
          </a:p>
        </p:txBody>
      </p:sp>
      <p:sp>
        <p:nvSpPr>
          <p:cNvPr id="34" name="TextBox 33"/>
          <p:cNvSpPr txBox="1"/>
          <p:nvPr/>
        </p:nvSpPr>
        <p:spPr>
          <a:xfrm>
            <a:off x="1970881" y="2612407"/>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Leading</a:t>
            </a:r>
          </a:p>
        </p:txBody>
      </p:sp>
      <p:sp>
        <p:nvSpPr>
          <p:cNvPr id="35" name="TextBox 34"/>
          <p:cNvSpPr txBox="1"/>
          <p:nvPr/>
        </p:nvSpPr>
        <p:spPr>
          <a:xfrm>
            <a:off x="112641" y="2612407"/>
            <a:ext cx="382639" cy="116869"/>
          </a:xfrm>
          <a:prstGeom prst="rect">
            <a:avLst/>
          </a:prstGeom>
          <a:noFill/>
        </p:spPr>
        <p:txBody>
          <a:bodyPr wrap="none" lIns="21772" tIns="21772" rIns="21772" bIns="21772" rtlCol="0" anchor="ctr" anchorCtr="0">
            <a:noAutofit/>
          </a:bodyPr>
          <a:lstStyle/>
          <a:p>
            <a:r>
              <a:rPr lang="en-AU" sz="800" b="1" dirty="0">
                <a:solidFill>
                  <a:srgbClr val="000000"/>
                </a:solidFill>
                <a:cs typeface="Arial" panose="020B0604020202020204" pitchFamily="34" charset="0"/>
              </a:rPr>
              <a:t>Lagging</a:t>
            </a:r>
          </a:p>
        </p:txBody>
      </p:sp>
      <p:sp>
        <p:nvSpPr>
          <p:cNvPr id="36" name="TextBox 35"/>
          <p:cNvSpPr txBox="1"/>
          <p:nvPr/>
        </p:nvSpPr>
        <p:spPr>
          <a:xfrm>
            <a:off x="1322592" y="2612407"/>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Progressed</a:t>
            </a:r>
          </a:p>
        </p:txBody>
      </p:sp>
      <p:sp>
        <p:nvSpPr>
          <p:cNvPr id="37" name="Rectangle 36"/>
          <p:cNvSpPr/>
          <p:nvPr/>
        </p:nvSpPr>
        <p:spPr>
          <a:xfrm>
            <a:off x="101012" y="3409772"/>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38" name="Isosceles Triangle 37"/>
          <p:cNvSpPr/>
          <p:nvPr/>
        </p:nvSpPr>
        <p:spPr>
          <a:xfrm>
            <a:off x="1635117" y="3510074"/>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39" name="Isosceles Triangle 38"/>
          <p:cNvSpPr/>
          <p:nvPr/>
        </p:nvSpPr>
        <p:spPr>
          <a:xfrm>
            <a:off x="431649" y="3510074"/>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 name="Rectangle 39"/>
          <p:cNvSpPr/>
          <p:nvPr/>
        </p:nvSpPr>
        <p:spPr>
          <a:xfrm>
            <a:off x="87900" y="4287094"/>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3" name="Rectangle 2"/>
          <p:cNvSpPr/>
          <p:nvPr/>
        </p:nvSpPr>
        <p:spPr>
          <a:xfrm>
            <a:off x="-58442" y="964056"/>
            <a:ext cx="3064378" cy="892552"/>
          </a:xfrm>
          <a:prstGeom prst="rect">
            <a:avLst/>
          </a:prstGeom>
        </p:spPr>
        <p:txBody>
          <a:bodyPr wrap="square">
            <a:spAutoFit/>
          </a:bodyPr>
          <a:lstStyle/>
          <a:p>
            <a:r>
              <a:rPr lang="en-US" sz="1300" dirty="0" smtClean="0">
                <a:solidFill>
                  <a:srgbClr val="FFFFFF"/>
                </a:solidFill>
              </a:rPr>
              <a:t>The </a:t>
            </a:r>
            <a:r>
              <a:rPr lang="en-US" sz="1300" dirty="0">
                <a:solidFill>
                  <a:srgbClr val="FFFFFF"/>
                </a:solidFill>
              </a:rPr>
              <a:t>capability to provide an optimal customer experience using digital to promote to, communicate with and service customers</a:t>
            </a:r>
            <a:r>
              <a:rPr lang="en-US" sz="1300" dirty="0" smtClean="0">
                <a:solidFill>
                  <a:srgbClr val="FFFFFF"/>
                </a:solidFill>
              </a:rPr>
              <a:t>.</a:t>
            </a:r>
            <a:endParaRPr lang="en-GB" sz="1300" dirty="0">
              <a:solidFill>
                <a:srgbClr val="FFFFFF"/>
              </a:solidFill>
            </a:endParaRPr>
          </a:p>
        </p:txBody>
      </p:sp>
      <p:grpSp>
        <p:nvGrpSpPr>
          <p:cNvPr id="89" name="Group 88"/>
          <p:cNvGrpSpPr/>
          <p:nvPr/>
        </p:nvGrpSpPr>
        <p:grpSpPr>
          <a:xfrm>
            <a:off x="7347937" y="121697"/>
            <a:ext cx="4568864" cy="274320"/>
            <a:chOff x="7916790" y="356874"/>
            <a:chExt cx="4568864" cy="274320"/>
          </a:xfrm>
        </p:grpSpPr>
        <p:grpSp>
          <p:nvGrpSpPr>
            <p:cNvPr id="90" name="Group 89"/>
            <p:cNvGrpSpPr/>
            <p:nvPr/>
          </p:nvGrpSpPr>
          <p:grpSpPr>
            <a:xfrm>
              <a:off x="7916790" y="356874"/>
              <a:ext cx="2337497" cy="274320"/>
              <a:chOff x="3793151" y="6476333"/>
              <a:chExt cx="2337497" cy="274320"/>
            </a:xfrm>
          </p:grpSpPr>
          <p:sp>
            <p:nvSpPr>
              <p:cNvPr id="95" name="Isosceles Triangle 94"/>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96" name="TextBox 95"/>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97"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98"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99" name="Isosceles Triangle 98"/>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91" name="Isosceles Triangle 90"/>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92" name="TextBox 91"/>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93" name="Isosceles Triangle 92"/>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94" name="TextBox 93"/>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sp>
        <p:nvSpPr>
          <p:cNvPr id="100" name="Rectangle 99"/>
          <p:cNvSpPr/>
          <p:nvPr/>
        </p:nvSpPr>
        <p:spPr>
          <a:xfrm>
            <a:off x="102170" y="2179187"/>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cxnSp>
        <p:nvCxnSpPr>
          <p:cNvPr id="102" name="Straight Connector 101"/>
          <p:cNvCxnSpPr/>
          <p:nvPr/>
        </p:nvCxnSpPr>
        <p:spPr>
          <a:xfrm>
            <a:off x="605465" y="2517685"/>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193805" y="2510592"/>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1821118" y="2517685"/>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2483889" y="2510592"/>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6" name="Isosceles Triangle 105"/>
          <p:cNvSpPr/>
          <p:nvPr/>
        </p:nvSpPr>
        <p:spPr>
          <a:xfrm>
            <a:off x="2987858" y="3510074"/>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07" name="Isosceles Triangle 106"/>
          <p:cNvSpPr/>
          <p:nvPr/>
        </p:nvSpPr>
        <p:spPr>
          <a:xfrm>
            <a:off x="2526246" y="3510073"/>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0" name="Isosceles Triangle 109"/>
          <p:cNvSpPr/>
          <p:nvPr/>
        </p:nvSpPr>
        <p:spPr>
          <a:xfrm>
            <a:off x="1084609" y="4394606"/>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1" name="Isosceles Triangle 110"/>
          <p:cNvSpPr/>
          <p:nvPr/>
        </p:nvSpPr>
        <p:spPr>
          <a:xfrm>
            <a:off x="3000405" y="4394606"/>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2" name="Isosceles Triangle 111"/>
          <p:cNvSpPr/>
          <p:nvPr/>
        </p:nvSpPr>
        <p:spPr>
          <a:xfrm>
            <a:off x="2894924" y="4394606"/>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5" name="Isosceles Triangle 114"/>
          <p:cNvSpPr/>
          <p:nvPr/>
        </p:nvSpPr>
        <p:spPr>
          <a:xfrm flipV="1">
            <a:off x="1289577" y="2021088"/>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6" name="Isosceles Triangle 115"/>
          <p:cNvSpPr/>
          <p:nvPr/>
        </p:nvSpPr>
        <p:spPr>
          <a:xfrm flipV="1">
            <a:off x="468083" y="2021088"/>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7" name="Isosceles Triangle 116"/>
          <p:cNvSpPr/>
          <p:nvPr/>
        </p:nvSpPr>
        <p:spPr>
          <a:xfrm flipV="1">
            <a:off x="3000409" y="2021088"/>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8" name="Isosceles Triangle 117"/>
          <p:cNvSpPr/>
          <p:nvPr/>
        </p:nvSpPr>
        <p:spPr>
          <a:xfrm flipV="1">
            <a:off x="2816409" y="2021088"/>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graphicFrame>
        <p:nvGraphicFramePr>
          <p:cNvPr id="416" name="Table 415"/>
          <p:cNvGraphicFramePr>
            <a:graphicFrameLocks noGrp="1"/>
          </p:cNvGraphicFramePr>
          <p:nvPr>
            <p:extLst>
              <p:ext uri="{D42A27DB-BD31-4B8C-83A1-F6EECF244321}">
                <p14:modId xmlns:p14="http://schemas.microsoft.com/office/powerpoint/2010/main" val="1671728701"/>
              </p:ext>
            </p:extLst>
          </p:nvPr>
        </p:nvGraphicFramePr>
        <p:xfrm>
          <a:off x="3793054" y="995656"/>
          <a:ext cx="8154904" cy="2712720"/>
        </p:xfrm>
        <a:graphic>
          <a:graphicData uri="http://schemas.openxmlformats.org/drawingml/2006/table">
            <a:tbl>
              <a:tblPr firstRow="1" bandRow="1">
                <a:tableStyleId>{00A15C55-8517-42AA-B614-E9B94910E393}</a:tableStyleId>
              </a:tblPr>
              <a:tblGrid>
                <a:gridCol w="1857375"/>
                <a:gridCol w="6297529"/>
              </a:tblGrid>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Digital Channels Adoption</a:t>
                      </a:r>
                      <a:endParaRPr lang="en-US"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Ensure use of social media channels to drive customer engagement and periodically track adoption of social media as a channel of interaction for customers </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Tailored Customer Experience</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Leverage data analytics for real-time analysis of customer </a:t>
                      </a:r>
                      <a:r>
                        <a:rPr lang="en-US" sz="1400" b="0" kern="1200" dirty="0" err="1" smtClean="0">
                          <a:solidFill>
                            <a:srgbClr val="00338D"/>
                          </a:solidFill>
                          <a:latin typeface="+mn-lt"/>
                          <a:ea typeface="+mn-ea"/>
                          <a:cs typeface="+mn-cs"/>
                        </a:rPr>
                        <a:t>behaviour</a:t>
                      </a:r>
                      <a:r>
                        <a:rPr lang="en-US" sz="1400" b="0" kern="1200" dirty="0" smtClean="0">
                          <a:solidFill>
                            <a:srgbClr val="00338D"/>
                          </a:solidFill>
                          <a:latin typeface="+mn-lt"/>
                          <a:ea typeface="+mn-ea"/>
                          <a:cs typeface="+mn-cs"/>
                        </a:rPr>
                        <a:t> and transaction trends and creation of better tailored customer experience and product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err="1" smtClean="0">
                          <a:solidFill>
                            <a:schemeClr val="bg1"/>
                          </a:solidFill>
                          <a:latin typeface="+mn-lt"/>
                          <a:ea typeface="+mn-ea"/>
                          <a:cs typeface="+mn-cs"/>
                        </a:rPr>
                        <a:t>Personalised</a:t>
                      </a:r>
                      <a:r>
                        <a:rPr lang="en-US" sz="1400" b="0" kern="1200" spc="-10" dirty="0" smtClean="0">
                          <a:solidFill>
                            <a:schemeClr val="bg1"/>
                          </a:solidFill>
                          <a:latin typeface="+mn-lt"/>
                          <a:ea typeface="+mn-ea"/>
                          <a:cs typeface="+mn-cs"/>
                        </a:rPr>
                        <a:t> Digital Marketing</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Ensure comprehensive use of customer analytics to target and </a:t>
                      </a:r>
                      <a:r>
                        <a:rPr lang="en-US" sz="1400" b="0" kern="1200" dirty="0" err="1" smtClean="0">
                          <a:solidFill>
                            <a:srgbClr val="00338D"/>
                          </a:solidFill>
                          <a:latin typeface="+mn-lt"/>
                          <a:ea typeface="+mn-ea"/>
                          <a:cs typeface="+mn-cs"/>
                        </a:rPr>
                        <a:t>personalise</a:t>
                      </a:r>
                      <a:r>
                        <a:rPr lang="en-US" sz="1400" b="0" kern="1200" dirty="0" smtClean="0">
                          <a:solidFill>
                            <a:srgbClr val="00338D"/>
                          </a:solidFill>
                          <a:latin typeface="+mn-lt"/>
                          <a:ea typeface="+mn-ea"/>
                          <a:cs typeface="+mn-cs"/>
                        </a:rPr>
                        <a:t> digital marketing activitie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Digital Channels</a:t>
                      </a:r>
                      <a:r>
                        <a:rPr lang="en-US" sz="1400" b="0" kern="1200" spc="-10" baseline="0" dirty="0" smtClean="0">
                          <a:solidFill>
                            <a:schemeClr val="bg1"/>
                          </a:solidFill>
                          <a:latin typeface="+mn-lt"/>
                          <a:ea typeface="+mn-ea"/>
                          <a:cs typeface="+mn-cs"/>
                        </a:rPr>
                        <a:t> </a:t>
                      </a:r>
                      <a:r>
                        <a:rPr lang="en-US" sz="1400" b="0" kern="1200" spc="-10" dirty="0" smtClean="0">
                          <a:solidFill>
                            <a:schemeClr val="bg1"/>
                          </a:solidFill>
                          <a:latin typeface="+mn-lt"/>
                          <a:ea typeface="+mn-ea"/>
                          <a:cs typeface="+mn-cs"/>
                        </a:rPr>
                        <a:t>Enhancement</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Enhance existing digital channels (web and mobile) to delivery competitive self-service functionalities for seamless customer experience across customer touch-point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bl>
          </a:graphicData>
        </a:graphic>
      </p:graphicFrame>
      <p:pic>
        <p:nvPicPr>
          <p:cNvPr id="417" name="Picture 4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1004736"/>
            <a:ext cx="405670" cy="405670"/>
          </a:xfrm>
          <a:prstGeom prst="rect">
            <a:avLst/>
          </a:prstGeom>
        </p:spPr>
      </p:pic>
      <p:pic>
        <p:nvPicPr>
          <p:cNvPr id="418" name="Picture 4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1662976"/>
            <a:ext cx="405670" cy="405670"/>
          </a:xfrm>
          <a:prstGeom prst="rect">
            <a:avLst/>
          </a:prstGeom>
        </p:spPr>
      </p:pic>
      <p:pic>
        <p:nvPicPr>
          <p:cNvPr id="419" name="Picture 4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2359718"/>
            <a:ext cx="405670" cy="405670"/>
          </a:xfrm>
          <a:prstGeom prst="rect">
            <a:avLst/>
          </a:prstGeom>
        </p:spPr>
      </p:pic>
      <p:pic>
        <p:nvPicPr>
          <p:cNvPr id="420" name="Picture 4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2844703"/>
            <a:ext cx="405670" cy="405670"/>
          </a:xfrm>
          <a:prstGeom prst="rect">
            <a:avLst/>
          </a:prstGeom>
        </p:spPr>
      </p:pic>
      <p:sp>
        <p:nvSpPr>
          <p:cNvPr id="421" name="Rectangle 420"/>
          <p:cNvSpPr/>
          <p:nvPr/>
        </p:nvSpPr>
        <p:spPr>
          <a:xfrm>
            <a:off x="3323435" y="595736"/>
            <a:ext cx="8595360" cy="307777"/>
          </a:xfrm>
          <a:prstGeom prst="rect">
            <a:avLst/>
          </a:prstGeom>
        </p:spPr>
        <p:txBody>
          <a:bodyPr wrap="square">
            <a:spAutoFit/>
          </a:bodyPr>
          <a:lstStyle/>
          <a:p>
            <a:pPr defTabSz="713603">
              <a:defRPr/>
            </a:pPr>
            <a:r>
              <a:rPr lang="en-US" sz="1400" dirty="0" smtClean="0">
                <a:solidFill>
                  <a:srgbClr val="00338D"/>
                </a:solidFill>
              </a:rPr>
              <a:t>The following key initiatives have been identified for </a:t>
            </a:r>
            <a:r>
              <a:rPr lang="en-US" sz="1400" dirty="0" err="1" smtClean="0">
                <a:solidFill>
                  <a:srgbClr val="00338D"/>
                </a:solidFill>
              </a:rPr>
              <a:t>FBNQuest</a:t>
            </a:r>
            <a:r>
              <a:rPr lang="en-US" sz="1400" dirty="0" smtClean="0">
                <a:solidFill>
                  <a:srgbClr val="00338D"/>
                </a:solidFill>
              </a:rPr>
              <a:t> with respect to Customer Experience Mgt.: </a:t>
            </a:r>
            <a:endParaRPr lang="en-US" sz="1400" dirty="0">
              <a:solidFill>
                <a:srgbClr val="00338D"/>
              </a:solidFill>
            </a:endParaRPr>
          </a:p>
        </p:txBody>
      </p:sp>
      <p:sp>
        <p:nvSpPr>
          <p:cNvPr id="424" name="Isosceles Triangle 423"/>
          <p:cNvSpPr/>
          <p:nvPr/>
        </p:nvSpPr>
        <p:spPr>
          <a:xfrm>
            <a:off x="430041" y="4384910"/>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6" name="TextBox 425"/>
          <p:cNvSpPr txBox="1"/>
          <p:nvPr/>
        </p:nvSpPr>
        <p:spPr>
          <a:xfrm>
            <a:off x="78188" y="4789113"/>
            <a:ext cx="3174580" cy="184666"/>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Data-driven </a:t>
            </a:r>
            <a:r>
              <a:rPr lang="en-US" sz="1200" b="1" dirty="0">
                <a:solidFill>
                  <a:srgbClr val="FFFFFF"/>
                </a:solidFill>
                <a:cs typeface="Arial" pitchFamily="34" charset="0"/>
              </a:rPr>
              <a:t>digital marketing </a:t>
            </a:r>
          </a:p>
        </p:txBody>
      </p:sp>
      <p:sp>
        <p:nvSpPr>
          <p:cNvPr id="427" name="Rectangle 426"/>
          <p:cNvSpPr/>
          <p:nvPr/>
        </p:nvSpPr>
        <p:spPr>
          <a:xfrm>
            <a:off x="77200" y="5054937"/>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28" name="Isosceles Triangle 427"/>
          <p:cNvSpPr/>
          <p:nvPr/>
        </p:nvSpPr>
        <p:spPr>
          <a:xfrm>
            <a:off x="1083534" y="5162449"/>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9" name="Isosceles Triangle 428"/>
          <p:cNvSpPr/>
          <p:nvPr/>
        </p:nvSpPr>
        <p:spPr>
          <a:xfrm>
            <a:off x="2989705" y="5162449"/>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0" name="Isosceles Triangle 429"/>
          <p:cNvSpPr/>
          <p:nvPr/>
        </p:nvSpPr>
        <p:spPr>
          <a:xfrm>
            <a:off x="2884224" y="5162449"/>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1" name="Isosceles Triangle 430"/>
          <p:cNvSpPr/>
          <p:nvPr/>
        </p:nvSpPr>
        <p:spPr>
          <a:xfrm>
            <a:off x="515591" y="5152753"/>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pic>
        <p:nvPicPr>
          <p:cNvPr id="433" name="Picture 4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53248" y="20474"/>
            <a:ext cx="548640" cy="155207"/>
          </a:xfrm>
          <a:prstGeom prst="rect">
            <a:avLst/>
          </a:prstGeom>
          <a:solidFill>
            <a:srgbClr val="BFBFBF"/>
          </a:solidFill>
        </p:spPr>
      </p:pic>
      <p:sp>
        <p:nvSpPr>
          <p:cNvPr id="434" name="TextBox 433"/>
          <p:cNvSpPr txBox="1"/>
          <p:nvPr/>
        </p:nvSpPr>
        <p:spPr>
          <a:xfrm>
            <a:off x="67951" y="5500770"/>
            <a:ext cx="3174580" cy="184666"/>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Use </a:t>
            </a:r>
            <a:r>
              <a:rPr lang="en-US" sz="1200" b="1" dirty="0">
                <a:solidFill>
                  <a:srgbClr val="FFFFFF"/>
                </a:solidFill>
                <a:cs typeface="Arial" pitchFamily="34" charset="0"/>
              </a:rPr>
              <a:t>of digital channels </a:t>
            </a:r>
            <a:r>
              <a:rPr lang="en-US" sz="1200" b="1" dirty="0" smtClean="0">
                <a:solidFill>
                  <a:srgbClr val="FFFFFF"/>
                </a:solidFill>
                <a:cs typeface="Arial" pitchFamily="34" charset="0"/>
              </a:rPr>
              <a:t> </a:t>
            </a:r>
            <a:endParaRPr lang="en-US" sz="1200" b="1" dirty="0">
              <a:solidFill>
                <a:srgbClr val="FFFFFF"/>
              </a:solidFill>
              <a:cs typeface="Arial" pitchFamily="34" charset="0"/>
            </a:endParaRPr>
          </a:p>
        </p:txBody>
      </p:sp>
      <p:sp>
        <p:nvSpPr>
          <p:cNvPr id="435" name="Rectangle 434"/>
          <p:cNvSpPr/>
          <p:nvPr/>
        </p:nvSpPr>
        <p:spPr>
          <a:xfrm>
            <a:off x="66963" y="5766594"/>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36" name="Isosceles Triangle 435"/>
          <p:cNvSpPr/>
          <p:nvPr/>
        </p:nvSpPr>
        <p:spPr>
          <a:xfrm>
            <a:off x="1073297" y="5874106"/>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7" name="Isosceles Triangle 436"/>
          <p:cNvSpPr/>
          <p:nvPr/>
        </p:nvSpPr>
        <p:spPr>
          <a:xfrm>
            <a:off x="2979468" y="5874106"/>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8" name="Isosceles Triangle 437"/>
          <p:cNvSpPr/>
          <p:nvPr/>
        </p:nvSpPr>
        <p:spPr>
          <a:xfrm>
            <a:off x="2873987" y="5874106"/>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9" name="Isosceles Triangle 438"/>
          <p:cNvSpPr/>
          <p:nvPr/>
        </p:nvSpPr>
        <p:spPr>
          <a:xfrm>
            <a:off x="457229" y="5864410"/>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634" name="Snip Diagonal Corner Rectangle 633"/>
          <p:cNvSpPr/>
          <p:nvPr/>
        </p:nvSpPr>
        <p:spPr>
          <a:xfrm>
            <a:off x="6810046" y="4016169"/>
            <a:ext cx="5106756" cy="2384631"/>
          </a:xfrm>
          <a:prstGeom prst="snip2Diag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defTabSz="890789">
              <a:buFont typeface="Arial" panose="020B0604020202020204" pitchFamily="34" charset="0"/>
              <a:buChar char="•"/>
              <a:defRPr/>
            </a:pPr>
            <a:r>
              <a:rPr lang="en-US" sz="1400" dirty="0" smtClean="0">
                <a:solidFill>
                  <a:schemeClr val="bg1"/>
                </a:solidFill>
              </a:rPr>
              <a:t>Increased adoption </a:t>
            </a:r>
            <a:r>
              <a:rPr lang="en-US" sz="1400" dirty="0">
                <a:solidFill>
                  <a:schemeClr val="bg1"/>
                </a:solidFill>
              </a:rPr>
              <a:t>of ‘mobile first’ and ‘AI first’ i.e. delivery of tailored functionalities/ services to customers via mobile, leveraging AI (artificial intelligence) for predictive </a:t>
            </a:r>
            <a:r>
              <a:rPr lang="en-US" sz="1400" dirty="0" err="1">
                <a:solidFill>
                  <a:schemeClr val="bg1"/>
                </a:solidFill>
              </a:rPr>
              <a:t>behavioural</a:t>
            </a:r>
            <a:r>
              <a:rPr lang="en-US" sz="1400" dirty="0">
                <a:solidFill>
                  <a:schemeClr val="bg1"/>
                </a:solidFill>
              </a:rPr>
              <a:t> </a:t>
            </a:r>
            <a:r>
              <a:rPr lang="en-US" sz="1400" dirty="0" smtClean="0">
                <a:solidFill>
                  <a:schemeClr val="bg1"/>
                </a:solidFill>
              </a:rPr>
              <a:t>analysis.</a:t>
            </a:r>
          </a:p>
          <a:p>
            <a:pPr marL="171450" indent="-171450" defTabSz="890789">
              <a:buFont typeface="Arial" panose="020B0604020202020204" pitchFamily="34" charset="0"/>
              <a:buChar char="•"/>
              <a:defRPr/>
            </a:pPr>
            <a:r>
              <a:rPr lang="en-US" sz="1400" dirty="0" smtClean="0">
                <a:solidFill>
                  <a:schemeClr val="bg1"/>
                </a:solidFill>
              </a:rPr>
              <a:t>Investments </a:t>
            </a:r>
            <a:r>
              <a:rPr lang="en-US" sz="1400" dirty="0">
                <a:solidFill>
                  <a:schemeClr val="bg1"/>
                </a:solidFill>
              </a:rPr>
              <a:t>in digital content marketing to drive brand awareness</a:t>
            </a:r>
            <a:r>
              <a:rPr lang="en-US" sz="1400" dirty="0" smtClean="0">
                <a:solidFill>
                  <a:schemeClr val="bg1"/>
                </a:solidFill>
              </a:rPr>
              <a:t>.</a:t>
            </a:r>
          </a:p>
          <a:p>
            <a:pPr marL="171450" indent="-171450" defTabSz="890789">
              <a:buFont typeface="Arial" panose="020B0604020202020204" pitchFamily="34" charset="0"/>
              <a:buChar char="•"/>
              <a:defRPr/>
            </a:pPr>
            <a:r>
              <a:rPr lang="en-US" sz="1400" i="1" dirty="0">
                <a:solidFill>
                  <a:schemeClr val="bg1"/>
                </a:solidFill>
              </a:rPr>
              <a:t>Refer to Detailed Assessment – </a:t>
            </a:r>
            <a:r>
              <a:rPr lang="en-US" sz="1400" i="1" dirty="0" smtClean="0">
                <a:solidFill>
                  <a:schemeClr val="bg1"/>
                </a:solidFill>
              </a:rPr>
              <a:t>Customer Experience Management </a:t>
            </a:r>
            <a:r>
              <a:rPr lang="en-US" sz="1400" i="1" dirty="0">
                <a:solidFill>
                  <a:schemeClr val="bg1"/>
                </a:solidFill>
              </a:rPr>
              <a:t>for details</a:t>
            </a:r>
            <a:r>
              <a:rPr lang="en-US" sz="1400" i="1" dirty="0" smtClean="0">
                <a:solidFill>
                  <a:schemeClr val="bg1"/>
                </a:solidFill>
              </a:rPr>
              <a:t>.</a:t>
            </a:r>
            <a:endParaRPr lang="en-US" sz="1400" i="1" dirty="0">
              <a:solidFill>
                <a:schemeClr val="bg1"/>
              </a:solidFill>
            </a:endParaRPr>
          </a:p>
        </p:txBody>
      </p:sp>
      <p:grpSp>
        <p:nvGrpSpPr>
          <p:cNvPr id="635" name="Group 634"/>
          <p:cNvGrpSpPr/>
          <p:nvPr/>
        </p:nvGrpSpPr>
        <p:grpSpPr>
          <a:xfrm>
            <a:off x="3814470" y="4026391"/>
            <a:ext cx="2940035" cy="2373244"/>
            <a:chOff x="3542201" y="3302599"/>
            <a:chExt cx="3684601" cy="3098199"/>
          </a:xfrm>
        </p:grpSpPr>
        <p:sp>
          <p:nvSpPr>
            <p:cNvPr id="636" name="Rectangle 635"/>
            <p:cNvSpPr/>
            <p:nvPr/>
          </p:nvSpPr>
          <p:spPr>
            <a:xfrm>
              <a:off x="3542201" y="3302599"/>
              <a:ext cx="3684601" cy="3098199"/>
            </a:xfrm>
            <a:prstGeom prst="rect">
              <a:avLst/>
            </a:prstGeom>
            <a:noFill/>
            <a:ln w="190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637" name="Freeform 28"/>
            <p:cNvSpPr>
              <a:spLocks/>
            </p:cNvSpPr>
            <p:nvPr/>
          </p:nvSpPr>
          <p:spPr bwMode="auto">
            <a:xfrm>
              <a:off x="3636441" y="3702411"/>
              <a:ext cx="924879" cy="732677"/>
            </a:xfrm>
            <a:custGeom>
              <a:avLst/>
              <a:gdLst>
                <a:gd name="T0" fmla="*/ 27 w 14387"/>
                <a:gd name="T1" fmla="*/ 10280 h 13637"/>
                <a:gd name="T2" fmla="*/ 47 w 14387"/>
                <a:gd name="T3" fmla="*/ 9679 h 13637"/>
                <a:gd name="T4" fmla="*/ 46 w 14387"/>
                <a:gd name="T5" fmla="*/ 9104 h 13637"/>
                <a:gd name="T6" fmla="*/ 85 w 14387"/>
                <a:gd name="T7" fmla="*/ 8599 h 13637"/>
                <a:gd name="T8" fmla="*/ 145 w 14387"/>
                <a:gd name="T9" fmla="*/ 7943 h 13637"/>
                <a:gd name="T10" fmla="*/ 173 w 14387"/>
                <a:gd name="T11" fmla="*/ 7168 h 13637"/>
                <a:gd name="T12" fmla="*/ 735 w 14387"/>
                <a:gd name="T13" fmla="*/ 6372 h 13637"/>
                <a:gd name="T14" fmla="*/ 1085 w 14387"/>
                <a:gd name="T15" fmla="*/ 5576 h 13637"/>
                <a:gd name="T16" fmla="*/ 1306 w 14387"/>
                <a:gd name="T17" fmla="*/ 5168 h 13637"/>
                <a:gd name="T18" fmla="*/ 1420 w 14387"/>
                <a:gd name="T19" fmla="*/ 4292 h 13637"/>
                <a:gd name="T20" fmla="*/ 1138 w 14387"/>
                <a:gd name="T21" fmla="*/ 3442 h 13637"/>
                <a:gd name="T22" fmla="*/ 1262 w 14387"/>
                <a:gd name="T23" fmla="*/ 2953 h 13637"/>
                <a:gd name="T24" fmla="*/ 1245 w 14387"/>
                <a:gd name="T25" fmla="*/ 2311 h 13637"/>
                <a:gd name="T26" fmla="*/ 1486 w 14387"/>
                <a:gd name="T27" fmla="*/ 1710 h 13637"/>
                <a:gd name="T28" fmla="*/ 1959 w 14387"/>
                <a:gd name="T29" fmla="*/ 1064 h 13637"/>
                <a:gd name="T30" fmla="*/ 1975 w 14387"/>
                <a:gd name="T31" fmla="*/ 561 h 13637"/>
                <a:gd name="T32" fmla="*/ 3297 w 14387"/>
                <a:gd name="T33" fmla="*/ 55 h 13637"/>
                <a:gd name="T34" fmla="*/ 4430 w 14387"/>
                <a:gd name="T35" fmla="*/ 360 h 13637"/>
                <a:gd name="T36" fmla="*/ 5116 w 14387"/>
                <a:gd name="T37" fmla="*/ 1009 h 13637"/>
                <a:gd name="T38" fmla="*/ 5881 w 14387"/>
                <a:gd name="T39" fmla="*/ 1050 h 13637"/>
                <a:gd name="T40" fmla="*/ 6805 w 14387"/>
                <a:gd name="T41" fmla="*/ 1048 h 13637"/>
                <a:gd name="T42" fmla="*/ 7701 w 14387"/>
                <a:gd name="T43" fmla="*/ 1563 h 13637"/>
                <a:gd name="T44" fmla="*/ 8779 w 14387"/>
                <a:gd name="T45" fmla="*/ 1265 h 13637"/>
                <a:gd name="T46" fmla="*/ 9583 w 14387"/>
                <a:gd name="T47" fmla="*/ 794 h 13637"/>
                <a:gd name="T48" fmla="*/ 10879 w 14387"/>
                <a:gd name="T49" fmla="*/ 894 h 13637"/>
                <a:gd name="T50" fmla="*/ 11840 w 14387"/>
                <a:gd name="T51" fmla="*/ 1014 h 13637"/>
                <a:gd name="T52" fmla="*/ 12680 w 14387"/>
                <a:gd name="T53" fmla="*/ 357 h 13637"/>
                <a:gd name="T54" fmla="*/ 13485 w 14387"/>
                <a:gd name="T55" fmla="*/ 718 h 13637"/>
                <a:gd name="T56" fmla="*/ 13812 w 14387"/>
                <a:gd name="T57" fmla="*/ 2019 h 13637"/>
                <a:gd name="T58" fmla="*/ 14343 w 14387"/>
                <a:gd name="T59" fmla="*/ 2628 h 13637"/>
                <a:gd name="T60" fmla="*/ 14087 w 14387"/>
                <a:gd name="T61" fmla="*/ 3450 h 13637"/>
                <a:gd name="T62" fmla="*/ 13437 w 14387"/>
                <a:gd name="T63" fmla="*/ 3985 h 13637"/>
                <a:gd name="T64" fmla="*/ 13139 w 14387"/>
                <a:gd name="T65" fmla="*/ 4887 h 13637"/>
                <a:gd name="T66" fmla="*/ 12755 w 14387"/>
                <a:gd name="T67" fmla="*/ 5747 h 13637"/>
                <a:gd name="T68" fmla="*/ 12420 w 14387"/>
                <a:gd name="T69" fmla="*/ 6297 h 13637"/>
                <a:gd name="T70" fmla="*/ 12098 w 14387"/>
                <a:gd name="T71" fmla="*/ 7371 h 13637"/>
                <a:gd name="T72" fmla="*/ 11472 w 14387"/>
                <a:gd name="T73" fmla="*/ 8095 h 13637"/>
                <a:gd name="T74" fmla="*/ 11249 w 14387"/>
                <a:gd name="T75" fmla="*/ 8865 h 13637"/>
                <a:gd name="T76" fmla="*/ 10986 w 14387"/>
                <a:gd name="T77" fmla="*/ 9595 h 13637"/>
                <a:gd name="T78" fmla="*/ 10450 w 14387"/>
                <a:gd name="T79" fmla="*/ 10430 h 13637"/>
                <a:gd name="T80" fmla="*/ 9601 w 14387"/>
                <a:gd name="T81" fmla="*/ 9618 h 13637"/>
                <a:gd name="T82" fmla="*/ 8897 w 14387"/>
                <a:gd name="T83" fmla="*/ 9834 h 13637"/>
                <a:gd name="T84" fmla="*/ 8187 w 14387"/>
                <a:gd name="T85" fmla="*/ 10571 h 13637"/>
                <a:gd name="T86" fmla="*/ 7519 w 14387"/>
                <a:gd name="T87" fmla="*/ 11196 h 13637"/>
                <a:gd name="T88" fmla="*/ 7414 w 14387"/>
                <a:gd name="T89" fmla="*/ 11917 h 13637"/>
                <a:gd name="T90" fmla="*/ 7130 w 14387"/>
                <a:gd name="T91" fmla="*/ 12682 h 13637"/>
                <a:gd name="T92" fmla="*/ 7039 w 14387"/>
                <a:gd name="T93" fmla="*/ 13363 h 13637"/>
                <a:gd name="T94" fmla="*/ 6654 w 14387"/>
                <a:gd name="T95" fmla="*/ 12729 h 13637"/>
                <a:gd name="T96" fmla="*/ 6463 w 14387"/>
                <a:gd name="T97" fmla="*/ 13222 h 13637"/>
                <a:gd name="T98" fmla="*/ 5535 w 14387"/>
                <a:gd name="T99" fmla="*/ 13389 h 13637"/>
                <a:gd name="T100" fmla="*/ 5020 w 14387"/>
                <a:gd name="T101" fmla="*/ 13460 h 13637"/>
                <a:gd name="T102" fmla="*/ 4437 w 14387"/>
                <a:gd name="T103" fmla="*/ 13515 h 13637"/>
                <a:gd name="T104" fmla="*/ 3751 w 14387"/>
                <a:gd name="T105" fmla="*/ 13365 h 13637"/>
                <a:gd name="T106" fmla="*/ 3432 w 14387"/>
                <a:gd name="T107" fmla="*/ 12710 h 13637"/>
                <a:gd name="T108" fmla="*/ 2988 w 14387"/>
                <a:gd name="T109" fmla="*/ 11804 h 13637"/>
                <a:gd name="T110" fmla="*/ 2684 w 14387"/>
                <a:gd name="T111" fmla="*/ 11216 h 13637"/>
                <a:gd name="T112" fmla="*/ 1929 w 14387"/>
                <a:gd name="T113" fmla="*/ 10569 h 13637"/>
                <a:gd name="T114" fmla="*/ 890 w 14387"/>
                <a:gd name="T115" fmla="*/ 10343 h 13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7" h="13637">
                  <a:moveTo>
                    <a:pt x="659" y="10386"/>
                  </a:moveTo>
                  <a:lnTo>
                    <a:pt x="561" y="10435"/>
                  </a:lnTo>
                  <a:lnTo>
                    <a:pt x="294" y="10452"/>
                  </a:lnTo>
                  <a:lnTo>
                    <a:pt x="159" y="10419"/>
                  </a:lnTo>
                  <a:lnTo>
                    <a:pt x="50" y="10435"/>
                  </a:lnTo>
                  <a:lnTo>
                    <a:pt x="0" y="10367"/>
                  </a:lnTo>
                  <a:lnTo>
                    <a:pt x="27" y="10280"/>
                  </a:lnTo>
                  <a:lnTo>
                    <a:pt x="43" y="10181"/>
                  </a:lnTo>
                  <a:lnTo>
                    <a:pt x="43" y="9929"/>
                  </a:lnTo>
                  <a:lnTo>
                    <a:pt x="29" y="9877"/>
                  </a:lnTo>
                  <a:lnTo>
                    <a:pt x="60" y="9839"/>
                  </a:lnTo>
                  <a:lnTo>
                    <a:pt x="40" y="9780"/>
                  </a:lnTo>
                  <a:lnTo>
                    <a:pt x="65" y="9730"/>
                  </a:lnTo>
                  <a:lnTo>
                    <a:pt x="47" y="9679"/>
                  </a:lnTo>
                  <a:lnTo>
                    <a:pt x="32" y="9584"/>
                  </a:lnTo>
                  <a:lnTo>
                    <a:pt x="35" y="9475"/>
                  </a:lnTo>
                  <a:lnTo>
                    <a:pt x="58" y="9374"/>
                  </a:lnTo>
                  <a:lnTo>
                    <a:pt x="62" y="9292"/>
                  </a:lnTo>
                  <a:lnTo>
                    <a:pt x="46" y="9222"/>
                  </a:lnTo>
                  <a:lnTo>
                    <a:pt x="57" y="9146"/>
                  </a:lnTo>
                  <a:lnTo>
                    <a:pt x="46" y="9104"/>
                  </a:lnTo>
                  <a:lnTo>
                    <a:pt x="35" y="9044"/>
                  </a:lnTo>
                  <a:lnTo>
                    <a:pt x="39" y="8985"/>
                  </a:lnTo>
                  <a:lnTo>
                    <a:pt x="50" y="8938"/>
                  </a:lnTo>
                  <a:lnTo>
                    <a:pt x="40" y="8837"/>
                  </a:lnTo>
                  <a:lnTo>
                    <a:pt x="57" y="8745"/>
                  </a:lnTo>
                  <a:lnTo>
                    <a:pt x="85" y="8641"/>
                  </a:lnTo>
                  <a:lnTo>
                    <a:pt x="85" y="8599"/>
                  </a:lnTo>
                  <a:lnTo>
                    <a:pt x="101" y="8492"/>
                  </a:lnTo>
                  <a:lnTo>
                    <a:pt x="104" y="8421"/>
                  </a:lnTo>
                  <a:lnTo>
                    <a:pt x="116" y="8354"/>
                  </a:lnTo>
                  <a:lnTo>
                    <a:pt x="138" y="8302"/>
                  </a:lnTo>
                  <a:lnTo>
                    <a:pt x="148" y="8190"/>
                  </a:lnTo>
                  <a:lnTo>
                    <a:pt x="132" y="8109"/>
                  </a:lnTo>
                  <a:lnTo>
                    <a:pt x="145" y="7943"/>
                  </a:lnTo>
                  <a:lnTo>
                    <a:pt x="140" y="7804"/>
                  </a:lnTo>
                  <a:lnTo>
                    <a:pt x="119" y="7704"/>
                  </a:lnTo>
                  <a:lnTo>
                    <a:pt x="140" y="7603"/>
                  </a:lnTo>
                  <a:lnTo>
                    <a:pt x="141" y="7413"/>
                  </a:lnTo>
                  <a:lnTo>
                    <a:pt x="181" y="7360"/>
                  </a:lnTo>
                  <a:lnTo>
                    <a:pt x="218" y="7214"/>
                  </a:lnTo>
                  <a:lnTo>
                    <a:pt x="173" y="7168"/>
                  </a:lnTo>
                  <a:lnTo>
                    <a:pt x="174" y="7018"/>
                  </a:lnTo>
                  <a:lnTo>
                    <a:pt x="217" y="6870"/>
                  </a:lnTo>
                  <a:lnTo>
                    <a:pt x="267" y="6797"/>
                  </a:lnTo>
                  <a:lnTo>
                    <a:pt x="333" y="6773"/>
                  </a:lnTo>
                  <a:lnTo>
                    <a:pt x="433" y="6772"/>
                  </a:lnTo>
                  <a:lnTo>
                    <a:pt x="688" y="6473"/>
                  </a:lnTo>
                  <a:lnTo>
                    <a:pt x="735" y="6372"/>
                  </a:lnTo>
                  <a:lnTo>
                    <a:pt x="730" y="6175"/>
                  </a:lnTo>
                  <a:lnTo>
                    <a:pt x="777" y="6078"/>
                  </a:lnTo>
                  <a:lnTo>
                    <a:pt x="804" y="5968"/>
                  </a:lnTo>
                  <a:lnTo>
                    <a:pt x="865" y="5927"/>
                  </a:lnTo>
                  <a:lnTo>
                    <a:pt x="912" y="5818"/>
                  </a:lnTo>
                  <a:lnTo>
                    <a:pt x="997" y="5681"/>
                  </a:lnTo>
                  <a:lnTo>
                    <a:pt x="1085" y="5576"/>
                  </a:lnTo>
                  <a:lnTo>
                    <a:pt x="1154" y="5538"/>
                  </a:lnTo>
                  <a:lnTo>
                    <a:pt x="1207" y="5488"/>
                  </a:lnTo>
                  <a:lnTo>
                    <a:pt x="1253" y="5436"/>
                  </a:lnTo>
                  <a:lnTo>
                    <a:pt x="1253" y="5338"/>
                  </a:lnTo>
                  <a:lnTo>
                    <a:pt x="1292" y="5240"/>
                  </a:lnTo>
                  <a:lnTo>
                    <a:pt x="1328" y="5211"/>
                  </a:lnTo>
                  <a:lnTo>
                    <a:pt x="1306" y="5168"/>
                  </a:lnTo>
                  <a:lnTo>
                    <a:pt x="1344" y="5116"/>
                  </a:lnTo>
                  <a:lnTo>
                    <a:pt x="1260" y="5070"/>
                  </a:lnTo>
                  <a:lnTo>
                    <a:pt x="1259" y="4871"/>
                  </a:lnTo>
                  <a:lnTo>
                    <a:pt x="1348" y="4819"/>
                  </a:lnTo>
                  <a:lnTo>
                    <a:pt x="1408" y="4743"/>
                  </a:lnTo>
                  <a:lnTo>
                    <a:pt x="1432" y="4625"/>
                  </a:lnTo>
                  <a:lnTo>
                    <a:pt x="1420" y="4292"/>
                  </a:lnTo>
                  <a:lnTo>
                    <a:pt x="1431" y="4175"/>
                  </a:lnTo>
                  <a:lnTo>
                    <a:pt x="1430" y="4062"/>
                  </a:lnTo>
                  <a:lnTo>
                    <a:pt x="1441" y="3970"/>
                  </a:lnTo>
                  <a:lnTo>
                    <a:pt x="1356" y="3842"/>
                  </a:lnTo>
                  <a:lnTo>
                    <a:pt x="1308" y="3738"/>
                  </a:lnTo>
                  <a:lnTo>
                    <a:pt x="1138" y="3543"/>
                  </a:lnTo>
                  <a:lnTo>
                    <a:pt x="1138" y="3442"/>
                  </a:lnTo>
                  <a:lnTo>
                    <a:pt x="1183" y="3342"/>
                  </a:lnTo>
                  <a:lnTo>
                    <a:pt x="1138" y="3296"/>
                  </a:lnTo>
                  <a:lnTo>
                    <a:pt x="1135" y="3197"/>
                  </a:lnTo>
                  <a:lnTo>
                    <a:pt x="1182" y="3146"/>
                  </a:lnTo>
                  <a:lnTo>
                    <a:pt x="1224" y="3045"/>
                  </a:lnTo>
                  <a:lnTo>
                    <a:pt x="1228" y="2996"/>
                  </a:lnTo>
                  <a:lnTo>
                    <a:pt x="1262" y="2953"/>
                  </a:lnTo>
                  <a:lnTo>
                    <a:pt x="1237" y="2850"/>
                  </a:lnTo>
                  <a:lnTo>
                    <a:pt x="1270" y="2797"/>
                  </a:lnTo>
                  <a:lnTo>
                    <a:pt x="1231" y="2752"/>
                  </a:lnTo>
                  <a:lnTo>
                    <a:pt x="1240" y="2615"/>
                  </a:lnTo>
                  <a:lnTo>
                    <a:pt x="1207" y="2515"/>
                  </a:lnTo>
                  <a:lnTo>
                    <a:pt x="1232" y="2412"/>
                  </a:lnTo>
                  <a:lnTo>
                    <a:pt x="1245" y="2311"/>
                  </a:lnTo>
                  <a:lnTo>
                    <a:pt x="1276" y="2201"/>
                  </a:lnTo>
                  <a:lnTo>
                    <a:pt x="1315" y="2107"/>
                  </a:lnTo>
                  <a:lnTo>
                    <a:pt x="1330" y="2008"/>
                  </a:lnTo>
                  <a:lnTo>
                    <a:pt x="1351" y="1925"/>
                  </a:lnTo>
                  <a:lnTo>
                    <a:pt x="1447" y="1810"/>
                  </a:lnTo>
                  <a:lnTo>
                    <a:pt x="1450" y="1755"/>
                  </a:lnTo>
                  <a:lnTo>
                    <a:pt x="1486" y="1710"/>
                  </a:lnTo>
                  <a:lnTo>
                    <a:pt x="1523" y="1616"/>
                  </a:lnTo>
                  <a:lnTo>
                    <a:pt x="1788" y="1464"/>
                  </a:lnTo>
                  <a:lnTo>
                    <a:pt x="1830" y="1359"/>
                  </a:lnTo>
                  <a:lnTo>
                    <a:pt x="1916" y="1268"/>
                  </a:lnTo>
                  <a:lnTo>
                    <a:pt x="1960" y="1165"/>
                  </a:lnTo>
                  <a:lnTo>
                    <a:pt x="2000" y="1116"/>
                  </a:lnTo>
                  <a:lnTo>
                    <a:pt x="1959" y="1064"/>
                  </a:lnTo>
                  <a:lnTo>
                    <a:pt x="1960" y="868"/>
                  </a:lnTo>
                  <a:lnTo>
                    <a:pt x="1998" y="819"/>
                  </a:lnTo>
                  <a:lnTo>
                    <a:pt x="1934" y="760"/>
                  </a:lnTo>
                  <a:lnTo>
                    <a:pt x="1975" y="708"/>
                  </a:lnTo>
                  <a:lnTo>
                    <a:pt x="1938" y="664"/>
                  </a:lnTo>
                  <a:lnTo>
                    <a:pt x="1975" y="612"/>
                  </a:lnTo>
                  <a:lnTo>
                    <a:pt x="1975" y="561"/>
                  </a:lnTo>
                  <a:lnTo>
                    <a:pt x="2025" y="507"/>
                  </a:lnTo>
                  <a:lnTo>
                    <a:pt x="2189" y="365"/>
                  </a:lnTo>
                  <a:lnTo>
                    <a:pt x="2318" y="316"/>
                  </a:lnTo>
                  <a:lnTo>
                    <a:pt x="2665" y="117"/>
                  </a:lnTo>
                  <a:lnTo>
                    <a:pt x="3101" y="118"/>
                  </a:lnTo>
                  <a:lnTo>
                    <a:pt x="3177" y="63"/>
                  </a:lnTo>
                  <a:lnTo>
                    <a:pt x="3297" y="55"/>
                  </a:lnTo>
                  <a:lnTo>
                    <a:pt x="3406" y="16"/>
                  </a:lnTo>
                  <a:lnTo>
                    <a:pt x="3528" y="15"/>
                  </a:lnTo>
                  <a:lnTo>
                    <a:pt x="3641" y="0"/>
                  </a:lnTo>
                  <a:lnTo>
                    <a:pt x="3748" y="19"/>
                  </a:lnTo>
                  <a:lnTo>
                    <a:pt x="3832" y="118"/>
                  </a:lnTo>
                  <a:lnTo>
                    <a:pt x="3925" y="170"/>
                  </a:lnTo>
                  <a:lnTo>
                    <a:pt x="4430" y="360"/>
                  </a:lnTo>
                  <a:lnTo>
                    <a:pt x="4708" y="474"/>
                  </a:lnTo>
                  <a:lnTo>
                    <a:pt x="4809" y="583"/>
                  </a:lnTo>
                  <a:lnTo>
                    <a:pt x="4813" y="730"/>
                  </a:lnTo>
                  <a:lnTo>
                    <a:pt x="4782" y="835"/>
                  </a:lnTo>
                  <a:lnTo>
                    <a:pt x="4906" y="907"/>
                  </a:lnTo>
                  <a:lnTo>
                    <a:pt x="5041" y="944"/>
                  </a:lnTo>
                  <a:lnTo>
                    <a:pt x="5116" y="1009"/>
                  </a:lnTo>
                  <a:lnTo>
                    <a:pt x="5292" y="1394"/>
                  </a:lnTo>
                  <a:lnTo>
                    <a:pt x="5350" y="1329"/>
                  </a:lnTo>
                  <a:lnTo>
                    <a:pt x="5440" y="1279"/>
                  </a:lnTo>
                  <a:lnTo>
                    <a:pt x="5529" y="1181"/>
                  </a:lnTo>
                  <a:lnTo>
                    <a:pt x="5662" y="1129"/>
                  </a:lnTo>
                  <a:lnTo>
                    <a:pt x="5791" y="1127"/>
                  </a:lnTo>
                  <a:lnTo>
                    <a:pt x="5881" y="1050"/>
                  </a:lnTo>
                  <a:lnTo>
                    <a:pt x="6001" y="933"/>
                  </a:lnTo>
                  <a:lnTo>
                    <a:pt x="6132" y="933"/>
                  </a:lnTo>
                  <a:lnTo>
                    <a:pt x="6394" y="833"/>
                  </a:lnTo>
                  <a:lnTo>
                    <a:pt x="6526" y="833"/>
                  </a:lnTo>
                  <a:lnTo>
                    <a:pt x="6698" y="885"/>
                  </a:lnTo>
                  <a:lnTo>
                    <a:pt x="6740" y="983"/>
                  </a:lnTo>
                  <a:lnTo>
                    <a:pt x="6805" y="1048"/>
                  </a:lnTo>
                  <a:lnTo>
                    <a:pt x="6866" y="1078"/>
                  </a:lnTo>
                  <a:lnTo>
                    <a:pt x="6974" y="1081"/>
                  </a:lnTo>
                  <a:lnTo>
                    <a:pt x="7142" y="1216"/>
                  </a:lnTo>
                  <a:lnTo>
                    <a:pt x="7431" y="1428"/>
                  </a:lnTo>
                  <a:lnTo>
                    <a:pt x="7560" y="1477"/>
                  </a:lnTo>
                  <a:lnTo>
                    <a:pt x="7646" y="1525"/>
                  </a:lnTo>
                  <a:lnTo>
                    <a:pt x="7701" y="1563"/>
                  </a:lnTo>
                  <a:lnTo>
                    <a:pt x="7880" y="1519"/>
                  </a:lnTo>
                  <a:lnTo>
                    <a:pt x="8012" y="1467"/>
                  </a:lnTo>
                  <a:lnTo>
                    <a:pt x="8147" y="1516"/>
                  </a:lnTo>
                  <a:lnTo>
                    <a:pt x="8322" y="1570"/>
                  </a:lnTo>
                  <a:lnTo>
                    <a:pt x="8577" y="1567"/>
                  </a:lnTo>
                  <a:lnTo>
                    <a:pt x="8631" y="1371"/>
                  </a:lnTo>
                  <a:lnTo>
                    <a:pt x="8779" y="1265"/>
                  </a:lnTo>
                  <a:lnTo>
                    <a:pt x="8818" y="1119"/>
                  </a:lnTo>
                  <a:lnTo>
                    <a:pt x="8908" y="1016"/>
                  </a:lnTo>
                  <a:lnTo>
                    <a:pt x="9083" y="915"/>
                  </a:lnTo>
                  <a:lnTo>
                    <a:pt x="9226" y="879"/>
                  </a:lnTo>
                  <a:lnTo>
                    <a:pt x="9346" y="838"/>
                  </a:lnTo>
                  <a:lnTo>
                    <a:pt x="9477" y="853"/>
                  </a:lnTo>
                  <a:lnTo>
                    <a:pt x="9583" y="794"/>
                  </a:lnTo>
                  <a:lnTo>
                    <a:pt x="9677" y="845"/>
                  </a:lnTo>
                  <a:lnTo>
                    <a:pt x="9901" y="791"/>
                  </a:lnTo>
                  <a:lnTo>
                    <a:pt x="10199" y="769"/>
                  </a:lnTo>
                  <a:lnTo>
                    <a:pt x="10370" y="740"/>
                  </a:lnTo>
                  <a:lnTo>
                    <a:pt x="10532" y="778"/>
                  </a:lnTo>
                  <a:lnTo>
                    <a:pt x="10693" y="827"/>
                  </a:lnTo>
                  <a:lnTo>
                    <a:pt x="10879" y="894"/>
                  </a:lnTo>
                  <a:lnTo>
                    <a:pt x="11030" y="996"/>
                  </a:lnTo>
                  <a:lnTo>
                    <a:pt x="11197" y="1065"/>
                  </a:lnTo>
                  <a:lnTo>
                    <a:pt x="11327" y="1165"/>
                  </a:lnTo>
                  <a:lnTo>
                    <a:pt x="11500" y="1117"/>
                  </a:lnTo>
                  <a:lnTo>
                    <a:pt x="11619" y="1092"/>
                  </a:lnTo>
                  <a:lnTo>
                    <a:pt x="11702" y="1108"/>
                  </a:lnTo>
                  <a:lnTo>
                    <a:pt x="11840" y="1014"/>
                  </a:lnTo>
                  <a:lnTo>
                    <a:pt x="11928" y="914"/>
                  </a:lnTo>
                  <a:lnTo>
                    <a:pt x="12061" y="863"/>
                  </a:lnTo>
                  <a:lnTo>
                    <a:pt x="12143" y="762"/>
                  </a:lnTo>
                  <a:lnTo>
                    <a:pt x="12224" y="613"/>
                  </a:lnTo>
                  <a:lnTo>
                    <a:pt x="12378" y="528"/>
                  </a:lnTo>
                  <a:lnTo>
                    <a:pt x="12621" y="473"/>
                  </a:lnTo>
                  <a:lnTo>
                    <a:pt x="12680" y="357"/>
                  </a:lnTo>
                  <a:lnTo>
                    <a:pt x="12755" y="252"/>
                  </a:lnTo>
                  <a:lnTo>
                    <a:pt x="12902" y="225"/>
                  </a:lnTo>
                  <a:lnTo>
                    <a:pt x="13121" y="223"/>
                  </a:lnTo>
                  <a:lnTo>
                    <a:pt x="13227" y="412"/>
                  </a:lnTo>
                  <a:lnTo>
                    <a:pt x="13351" y="568"/>
                  </a:lnTo>
                  <a:lnTo>
                    <a:pt x="13371" y="673"/>
                  </a:lnTo>
                  <a:lnTo>
                    <a:pt x="13485" y="718"/>
                  </a:lnTo>
                  <a:lnTo>
                    <a:pt x="13525" y="865"/>
                  </a:lnTo>
                  <a:lnTo>
                    <a:pt x="13602" y="980"/>
                  </a:lnTo>
                  <a:lnTo>
                    <a:pt x="13646" y="1077"/>
                  </a:lnTo>
                  <a:lnTo>
                    <a:pt x="13736" y="1482"/>
                  </a:lnTo>
                  <a:lnTo>
                    <a:pt x="13781" y="1631"/>
                  </a:lnTo>
                  <a:lnTo>
                    <a:pt x="13817" y="1888"/>
                  </a:lnTo>
                  <a:lnTo>
                    <a:pt x="13812" y="2019"/>
                  </a:lnTo>
                  <a:lnTo>
                    <a:pt x="13871" y="2102"/>
                  </a:lnTo>
                  <a:lnTo>
                    <a:pt x="14089" y="2106"/>
                  </a:lnTo>
                  <a:lnTo>
                    <a:pt x="14209" y="2171"/>
                  </a:lnTo>
                  <a:lnTo>
                    <a:pt x="14326" y="2291"/>
                  </a:lnTo>
                  <a:lnTo>
                    <a:pt x="14359" y="2360"/>
                  </a:lnTo>
                  <a:lnTo>
                    <a:pt x="14387" y="2500"/>
                  </a:lnTo>
                  <a:lnTo>
                    <a:pt x="14343" y="2628"/>
                  </a:lnTo>
                  <a:lnTo>
                    <a:pt x="14343" y="2752"/>
                  </a:lnTo>
                  <a:lnTo>
                    <a:pt x="14290" y="2893"/>
                  </a:lnTo>
                  <a:lnTo>
                    <a:pt x="14313" y="2984"/>
                  </a:lnTo>
                  <a:lnTo>
                    <a:pt x="14370" y="3096"/>
                  </a:lnTo>
                  <a:lnTo>
                    <a:pt x="14343" y="3247"/>
                  </a:lnTo>
                  <a:lnTo>
                    <a:pt x="14189" y="3388"/>
                  </a:lnTo>
                  <a:lnTo>
                    <a:pt x="14087" y="3450"/>
                  </a:lnTo>
                  <a:lnTo>
                    <a:pt x="14012" y="3519"/>
                  </a:lnTo>
                  <a:lnTo>
                    <a:pt x="13856" y="3633"/>
                  </a:lnTo>
                  <a:lnTo>
                    <a:pt x="13735" y="3631"/>
                  </a:lnTo>
                  <a:lnTo>
                    <a:pt x="13623" y="3579"/>
                  </a:lnTo>
                  <a:lnTo>
                    <a:pt x="13510" y="3757"/>
                  </a:lnTo>
                  <a:lnTo>
                    <a:pt x="13452" y="3885"/>
                  </a:lnTo>
                  <a:lnTo>
                    <a:pt x="13437" y="3985"/>
                  </a:lnTo>
                  <a:lnTo>
                    <a:pt x="13287" y="4113"/>
                  </a:lnTo>
                  <a:lnTo>
                    <a:pt x="13362" y="4161"/>
                  </a:lnTo>
                  <a:lnTo>
                    <a:pt x="13317" y="4321"/>
                  </a:lnTo>
                  <a:lnTo>
                    <a:pt x="13308" y="4425"/>
                  </a:lnTo>
                  <a:lnTo>
                    <a:pt x="13146" y="4608"/>
                  </a:lnTo>
                  <a:lnTo>
                    <a:pt x="13104" y="4756"/>
                  </a:lnTo>
                  <a:lnTo>
                    <a:pt x="13139" y="4887"/>
                  </a:lnTo>
                  <a:lnTo>
                    <a:pt x="13146" y="5052"/>
                  </a:lnTo>
                  <a:lnTo>
                    <a:pt x="13076" y="5127"/>
                  </a:lnTo>
                  <a:lnTo>
                    <a:pt x="12999" y="5311"/>
                  </a:lnTo>
                  <a:lnTo>
                    <a:pt x="12885" y="5403"/>
                  </a:lnTo>
                  <a:lnTo>
                    <a:pt x="12810" y="5484"/>
                  </a:lnTo>
                  <a:lnTo>
                    <a:pt x="12797" y="5607"/>
                  </a:lnTo>
                  <a:lnTo>
                    <a:pt x="12755" y="5747"/>
                  </a:lnTo>
                  <a:lnTo>
                    <a:pt x="12807" y="5857"/>
                  </a:lnTo>
                  <a:lnTo>
                    <a:pt x="12807" y="5997"/>
                  </a:lnTo>
                  <a:lnTo>
                    <a:pt x="12819" y="6076"/>
                  </a:lnTo>
                  <a:lnTo>
                    <a:pt x="12756" y="6181"/>
                  </a:lnTo>
                  <a:lnTo>
                    <a:pt x="12627" y="6193"/>
                  </a:lnTo>
                  <a:lnTo>
                    <a:pt x="12507" y="6219"/>
                  </a:lnTo>
                  <a:lnTo>
                    <a:pt x="12420" y="6297"/>
                  </a:lnTo>
                  <a:lnTo>
                    <a:pt x="12363" y="6444"/>
                  </a:lnTo>
                  <a:lnTo>
                    <a:pt x="12365" y="6585"/>
                  </a:lnTo>
                  <a:lnTo>
                    <a:pt x="12323" y="6789"/>
                  </a:lnTo>
                  <a:lnTo>
                    <a:pt x="12323" y="6931"/>
                  </a:lnTo>
                  <a:lnTo>
                    <a:pt x="12299" y="7071"/>
                  </a:lnTo>
                  <a:lnTo>
                    <a:pt x="12153" y="7335"/>
                  </a:lnTo>
                  <a:lnTo>
                    <a:pt x="12098" y="7371"/>
                  </a:lnTo>
                  <a:lnTo>
                    <a:pt x="12018" y="7378"/>
                  </a:lnTo>
                  <a:lnTo>
                    <a:pt x="11879" y="7480"/>
                  </a:lnTo>
                  <a:lnTo>
                    <a:pt x="11750" y="7585"/>
                  </a:lnTo>
                  <a:lnTo>
                    <a:pt x="11630" y="7627"/>
                  </a:lnTo>
                  <a:lnTo>
                    <a:pt x="11541" y="7777"/>
                  </a:lnTo>
                  <a:lnTo>
                    <a:pt x="11529" y="7917"/>
                  </a:lnTo>
                  <a:lnTo>
                    <a:pt x="11472" y="8095"/>
                  </a:lnTo>
                  <a:lnTo>
                    <a:pt x="11429" y="8245"/>
                  </a:lnTo>
                  <a:lnTo>
                    <a:pt x="11414" y="8362"/>
                  </a:lnTo>
                  <a:lnTo>
                    <a:pt x="11411" y="8467"/>
                  </a:lnTo>
                  <a:lnTo>
                    <a:pt x="11357" y="8575"/>
                  </a:lnTo>
                  <a:lnTo>
                    <a:pt x="11363" y="8709"/>
                  </a:lnTo>
                  <a:lnTo>
                    <a:pt x="11357" y="8824"/>
                  </a:lnTo>
                  <a:lnTo>
                    <a:pt x="11249" y="8865"/>
                  </a:lnTo>
                  <a:lnTo>
                    <a:pt x="11155" y="8947"/>
                  </a:lnTo>
                  <a:lnTo>
                    <a:pt x="10984" y="8990"/>
                  </a:lnTo>
                  <a:lnTo>
                    <a:pt x="10984" y="9132"/>
                  </a:lnTo>
                  <a:lnTo>
                    <a:pt x="10974" y="9253"/>
                  </a:lnTo>
                  <a:lnTo>
                    <a:pt x="10944" y="9391"/>
                  </a:lnTo>
                  <a:lnTo>
                    <a:pt x="10989" y="9532"/>
                  </a:lnTo>
                  <a:lnTo>
                    <a:pt x="10986" y="9595"/>
                  </a:lnTo>
                  <a:lnTo>
                    <a:pt x="10896" y="9788"/>
                  </a:lnTo>
                  <a:lnTo>
                    <a:pt x="10725" y="9983"/>
                  </a:lnTo>
                  <a:lnTo>
                    <a:pt x="10680" y="10078"/>
                  </a:lnTo>
                  <a:lnTo>
                    <a:pt x="10681" y="10128"/>
                  </a:lnTo>
                  <a:lnTo>
                    <a:pt x="10593" y="10226"/>
                  </a:lnTo>
                  <a:lnTo>
                    <a:pt x="10555" y="10324"/>
                  </a:lnTo>
                  <a:lnTo>
                    <a:pt x="10450" y="10430"/>
                  </a:lnTo>
                  <a:lnTo>
                    <a:pt x="10340" y="10475"/>
                  </a:lnTo>
                  <a:lnTo>
                    <a:pt x="10259" y="10452"/>
                  </a:lnTo>
                  <a:lnTo>
                    <a:pt x="10201" y="10419"/>
                  </a:lnTo>
                  <a:lnTo>
                    <a:pt x="10119" y="10176"/>
                  </a:lnTo>
                  <a:lnTo>
                    <a:pt x="9987" y="10016"/>
                  </a:lnTo>
                  <a:lnTo>
                    <a:pt x="9819" y="9787"/>
                  </a:lnTo>
                  <a:lnTo>
                    <a:pt x="9601" y="9618"/>
                  </a:lnTo>
                  <a:lnTo>
                    <a:pt x="9502" y="9627"/>
                  </a:lnTo>
                  <a:lnTo>
                    <a:pt x="9357" y="9744"/>
                  </a:lnTo>
                  <a:lnTo>
                    <a:pt x="9305" y="9833"/>
                  </a:lnTo>
                  <a:lnTo>
                    <a:pt x="9211" y="9883"/>
                  </a:lnTo>
                  <a:lnTo>
                    <a:pt x="9043" y="9869"/>
                  </a:lnTo>
                  <a:lnTo>
                    <a:pt x="8982" y="9834"/>
                  </a:lnTo>
                  <a:lnTo>
                    <a:pt x="8897" y="9834"/>
                  </a:lnTo>
                  <a:lnTo>
                    <a:pt x="8796" y="9891"/>
                  </a:lnTo>
                  <a:lnTo>
                    <a:pt x="8740" y="9967"/>
                  </a:lnTo>
                  <a:lnTo>
                    <a:pt x="8653" y="10030"/>
                  </a:lnTo>
                  <a:lnTo>
                    <a:pt x="8569" y="10131"/>
                  </a:lnTo>
                  <a:lnTo>
                    <a:pt x="8429" y="10141"/>
                  </a:lnTo>
                  <a:lnTo>
                    <a:pt x="8325" y="10337"/>
                  </a:lnTo>
                  <a:lnTo>
                    <a:pt x="8187" y="10571"/>
                  </a:lnTo>
                  <a:lnTo>
                    <a:pt x="8117" y="10571"/>
                  </a:lnTo>
                  <a:lnTo>
                    <a:pt x="8004" y="10610"/>
                  </a:lnTo>
                  <a:lnTo>
                    <a:pt x="7929" y="10721"/>
                  </a:lnTo>
                  <a:lnTo>
                    <a:pt x="7908" y="10901"/>
                  </a:lnTo>
                  <a:lnTo>
                    <a:pt x="7720" y="11112"/>
                  </a:lnTo>
                  <a:lnTo>
                    <a:pt x="7624" y="11205"/>
                  </a:lnTo>
                  <a:lnTo>
                    <a:pt x="7519" y="11196"/>
                  </a:lnTo>
                  <a:lnTo>
                    <a:pt x="7439" y="11221"/>
                  </a:lnTo>
                  <a:lnTo>
                    <a:pt x="7434" y="11289"/>
                  </a:lnTo>
                  <a:lnTo>
                    <a:pt x="7389" y="11490"/>
                  </a:lnTo>
                  <a:lnTo>
                    <a:pt x="7334" y="11562"/>
                  </a:lnTo>
                  <a:lnTo>
                    <a:pt x="7304" y="11641"/>
                  </a:lnTo>
                  <a:lnTo>
                    <a:pt x="7473" y="11842"/>
                  </a:lnTo>
                  <a:lnTo>
                    <a:pt x="7414" y="11917"/>
                  </a:lnTo>
                  <a:lnTo>
                    <a:pt x="7345" y="11988"/>
                  </a:lnTo>
                  <a:lnTo>
                    <a:pt x="7334" y="12075"/>
                  </a:lnTo>
                  <a:lnTo>
                    <a:pt x="7387" y="12211"/>
                  </a:lnTo>
                  <a:lnTo>
                    <a:pt x="7384" y="12321"/>
                  </a:lnTo>
                  <a:lnTo>
                    <a:pt x="7318" y="12473"/>
                  </a:lnTo>
                  <a:lnTo>
                    <a:pt x="7261" y="12581"/>
                  </a:lnTo>
                  <a:lnTo>
                    <a:pt x="7130" y="12682"/>
                  </a:lnTo>
                  <a:lnTo>
                    <a:pt x="7136" y="12785"/>
                  </a:lnTo>
                  <a:lnTo>
                    <a:pt x="7087" y="12878"/>
                  </a:lnTo>
                  <a:lnTo>
                    <a:pt x="7043" y="12989"/>
                  </a:lnTo>
                  <a:lnTo>
                    <a:pt x="7086" y="13093"/>
                  </a:lnTo>
                  <a:lnTo>
                    <a:pt x="7130" y="13218"/>
                  </a:lnTo>
                  <a:lnTo>
                    <a:pt x="7131" y="13321"/>
                  </a:lnTo>
                  <a:lnTo>
                    <a:pt x="7039" y="13363"/>
                  </a:lnTo>
                  <a:lnTo>
                    <a:pt x="6911" y="13143"/>
                  </a:lnTo>
                  <a:lnTo>
                    <a:pt x="6880" y="13039"/>
                  </a:lnTo>
                  <a:lnTo>
                    <a:pt x="6842" y="12954"/>
                  </a:lnTo>
                  <a:lnTo>
                    <a:pt x="6797" y="12878"/>
                  </a:lnTo>
                  <a:lnTo>
                    <a:pt x="6740" y="12830"/>
                  </a:lnTo>
                  <a:lnTo>
                    <a:pt x="6712" y="12773"/>
                  </a:lnTo>
                  <a:lnTo>
                    <a:pt x="6654" y="12729"/>
                  </a:lnTo>
                  <a:lnTo>
                    <a:pt x="6599" y="12625"/>
                  </a:lnTo>
                  <a:lnTo>
                    <a:pt x="6483" y="12579"/>
                  </a:lnTo>
                  <a:lnTo>
                    <a:pt x="6507" y="12664"/>
                  </a:lnTo>
                  <a:lnTo>
                    <a:pt x="6577" y="12829"/>
                  </a:lnTo>
                  <a:lnTo>
                    <a:pt x="6646" y="13026"/>
                  </a:lnTo>
                  <a:lnTo>
                    <a:pt x="6615" y="13148"/>
                  </a:lnTo>
                  <a:lnTo>
                    <a:pt x="6463" y="13222"/>
                  </a:lnTo>
                  <a:lnTo>
                    <a:pt x="6243" y="13222"/>
                  </a:lnTo>
                  <a:lnTo>
                    <a:pt x="6154" y="13273"/>
                  </a:lnTo>
                  <a:lnTo>
                    <a:pt x="6072" y="13370"/>
                  </a:lnTo>
                  <a:lnTo>
                    <a:pt x="5852" y="13371"/>
                  </a:lnTo>
                  <a:lnTo>
                    <a:pt x="5716" y="13281"/>
                  </a:lnTo>
                  <a:lnTo>
                    <a:pt x="5629" y="13330"/>
                  </a:lnTo>
                  <a:lnTo>
                    <a:pt x="5535" y="13389"/>
                  </a:lnTo>
                  <a:lnTo>
                    <a:pt x="5480" y="13521"/>
                  </a:lnTo>
                  <a:lnTo>
                    <a:pt x="5422" y="13605"/>
                  </a:lnTo>
                  <a:lnTo>
                    <a:pt x="5317" y="13575"/>
                  </a:lnTo>
                  <a:lnTo>
                    <a:pt x="5253" y="13510"/>
                  </a:lnTo>
                  <a:lnTo>
                    <a:pt x="5163" y="13457"/>
                  </a:lnTo>
                  <a:lnTo>
                    <a:pt x="5079" y="13433"/>
                  </a:lnTo>
                  <a:lnTo>
                    <a:pt x="5020" y="13460"/>
                  </a:lnTo>
                  <a:lnTo>
                    <a:pt x="4918" y="13499"/>
                  </a:lnTo>
                  <a:lnTo>
                    <a:pt x="4834" y="13515"/>
                  </a:lnTo>
                  <a:lnTo>
                    <a:pt x="4771" y="13507"/>
                  </a:lnTo>
                  <a:lnTo>
                    <a:pt x="4647" y="13556"/>
                  </a:lnTo>
                  <a:lnTo>
                    <a:pt x="4609" y="13543"/>
                  </a:lnTo>
                  <a:lnTo>
                    <a:pt x="4536" y="13447"/>
                  </a:lnTo>
                  <a:lnTo>
                    <a:pt x="4437" y="13515"/>
                  </a:lnTo>
                  <a:lnTo>
                    <a:pt x="4281" y="13578"/>
                  </a:lnTo>
                  <a:lnTo>
                    <a:pt x="4211" y="13637"/>
                  </a:lnTo>
                  <a:lnTo>
                    <a:pt x="4107" y="13630"/>
                  </a:lnTo>
                  <a:lnTo>
                    <a:pt x="4004" y="13562"/>
                  </a:lnTo>
                  <a:lnTo>
                    <a:pt x="3880" y="13564"/>
                  </a:lnTo>
                  <a:lnTo>
                    <a:pt x="3806" y="13496"/>
                  </a:lnTo>
                  <a:lnTo>
                    <a:pt x="3751" y="13365"/>
                  </a:lnTo>
                  <a:lnTo>
                    <a:pt x="3665" y="13414"/>
                  </a:lnTo>
                  <a:lnTo>
                    <a:pt x="3577" y="13368"/>
                  </a:lnTo>
                  <a:lnTo>
                    <a:pt x="3548" y="13308"/>
                  </a:lnTo>
                  <a:lnTo>
                    <a:pt x="3542" y="13192"/>
                  </a:lnTo>
                  <a:lnTo>
                    <a:pt x="3505" y="13067"/>
                  </a:lnTo>
                  <a:lnTo>
                    <a:pt x="3506" y="12968"/>
                  </a:lnTo>
                  <a:lnTo>
                    <a:pt x="3432" y="12710"/>
                  </a:lnTo>
                  <a:lnTo>
                    <a:pt x="3300" y="12451"/>
                  </a:lnTo>
                  <a:lnTo>
                    <a:pt x="3250" y="12402"/>
                  </a:lnTo>
                  <a:lnTo>
                    <a:pt x="3155" y="12249"/>
                  </a:lnTo>
                  <a:lnTo>
                    <a:pt x="3115" y="12141"/>
                  </a:lnTo>
                  <a:lnTo>
                    <a:pt x="3051" y="12035"/>
                  </a:lnTo>
                  <a:lnTo>
                    <a:pt x="3045" y="11939"/>
                  </a:lnTo>
                  <a:lnTo>
                    <a:pt x="2988" y="11804"/>
                  </a:lnTo>
                  <a:lnTo>
                    <a:pt x="2922" y="11692"/>
                  </a:lnTo>
                  <a:lnTo>
                    <a:pt x="2883" y="11545"/>
                  </a:lnTo>
                  <a:lnTo>
                    <a:pt x="2824" y="11482"/>
                  </a:lnTo>
                  <a:lnTo>
                    <a:pt x="2778" y="11392"/>
                  </a:lnTo>
                  <a:lnTo>
                    <a:pt x="2780" y="11302"/>
                  </a:lnTo>
                  <a:lnTo>
                    <a:pt x="2735" y="11290"/>
                  </a:lnTo>
                  <a:lnTo>
                    <a:pt x="2684" y="11216"/>
                  </a:lnTo>
                  <a:lnTo>
                    <a:pt x="2630" y="11136"/>
                  </a:lnTo>
                  <a:lnTo>
                    <a:pt x="2594" y="11063"/>
                  </a:lnTo>
                  <a:lnTo>
                    <a:pt x="2403" y="10864"/>
                  </a:lnTo>
                  <a:lnTo>
                    <a:pt x="2337" y="10769"/>
                  </a:lnTo>
                  <a:lnTo>
                    <a:pt x="2226" y="10656"/>
                  </a:lnTo>
                  <a:lnTo>
                    <a:pt x="2088" y="10588"/>
                  </a:lnTo>
                  <a:lnTo>
                    <a:pt x="1929" y="10569"/>
                  </a:lnTo>
                  <a:lnTo>
                    <a:pt x="1808" y="10516"/>
                  </a:lnTo>
                  <a:lnTo>
                    <a:pt x="1767" y="10467"/>
                  </a:lnTo>
                  <a:lnTo>
                    <a:pt x="1579" y="10444"/>
                  </a:lnTo>
                  <a:lnTo>
                    <a:pt x="1322" y="10444"/>
                  </a:lnTo>
                  <a:lnTo>
                    <a:pt x="1246" y="10388"/>
                  </a:lnTo>
                  <a:lnTo>
                    <a:pt x="1152" y="10394"/>
                  </a:lnTo>
                  <a:lnTo>
                    <a:pt x="890" y="10343"/>
                  </a:lnTo>
                  <a:lnTo>
                    <a:pt x="769" y="10395"/>
                  </a:lnTo>
                  <a:lnTo>
                    <a:pt x="659" y="10386"/>
                  </a:lnTo>
                  <a:close/>
                </a:path>
              </a:pathLst>
            </a:custGeom>
            <a:solidFill>
              <a:srgbClr val="B2D4EF"/>
            </a:solidFill>
            <a:ln w="19050" cmpd="sng">
              <a:noFill/>
              <a:prstDash val="solid"/>
              <a:round/>
              <a:headEnd/>
              <a:tailEnd/>
            </a:ln>
            <a:effectLst/>
          </p:spPr>
          <p:txBody>
            <a:bodyPr/>
            <a:lstStyle/>
            <a:p>
              <a:endParaRPr lang="zh-CN" altLang="en-US" kern="0">
                <a:solidFill>
                  <a:sysClr val="windowText" lastClr="000000"/>
                </a:solidFill>
              </a:endParaRPr>
            </a:p>
          </p:txBody>
        </p:sp>
        <p:grpSp>
          <p:nvGrpSpPr>
            <p:cNvPr id="638" name="Group 637"/>
            <p:cNvGrpSpPr/>
            <p:nvPr/>
          </p:nvGrpSpPr>
          <p:grpSpPr>
            <a:xfrm>
              <a:off x="3595082" y="5149682"/>
              <a:ext cx="1220199" cy="995340"/>
              <a:chOff x="473869" y="1392238"/>
              <a:chExt cx="8196263" cy="4073524"/>
            </a:xfrm>
            <a:solidFill>
              <a:srgbClr val="B2D4EF"/>
            </a:solidFill>
          </p:grpSpPr>
          <p:sp>
            <p:nvSpPr>
              <p:cNvPr id="647" name="Freeform 191"/>
              <p:cNvSpPr>
                <a:spLocks/>
              </p:cNvSpPr>
              <p:nvPr/>
            </p:nvSpPr>
            <p:spPr bwMode="auto">
              <a:xfrm>
                <a:off x="5295107" y="4305300"/>
                <a:ext cx="169863" cy="319087"/>
              </a:xfrm>
              <a:custGeom>
                <a:avLst/>
                <a:gdLst/>
                <a:ahLst/>
                <a:cxnLst>
                  <a:cxn ang="0">
                    <a:pos x="11" y="129"/>
                  </a:cxn>
                  <a:cxn ang="0">
                    <a:pos x="11" y="125"/>
                  </a:cxn>
                  <a:cxn ang="0">
                    <a:pos x="16" y="117"/>
                  </a:cxn>
                  <a:cxn ang="0">
                    <a:pos x="18" y="108"/>
                  </a:cxn>
                  <a:cxn ang="0">
                    <a:pos x="21" y="107"/>
                  </a:cxn>
                  <a:cxn ang="0">
                    <a:pos x="19" y="100"/>
                  </a:cxn>
                  <a:cxn ang="0">
                    <a:pos x="18" y="93"/>
                  </a:cxn>
                  <a:cxn ang="0">
                    <a:pos x="14" y="86"/>
                  </a:cxn>
                  <a:cxn ang="0">
                    <a:pos x="14" y="81"/>
                  </a:cxn>
                  <a:cxn ang="0">
                    <a:pos x="14" y="70"/>
                  </a:cxn>
                  <a:cxn ang="0">
                    <a:pos x="16" y="65"/>
                  </a:cxn>
                  <a:cxn ang="0">
                    <a:pos x="19" y="60"/>
                  </a:cxn>
                  <a:cxn ang="0">
                    <a:pos x="25" y="57"/>
                  </a:cxn>
                  <a:cxn ang="0">
                    <a:pos x="33" y="51"/>
                  </a:cxn>
                  <a:cxn ang="0">
                    <a:pos x="47" y="48"/>
                  </a:cxn>
                  <a:cxn ang="0">
                    <a:pos x="55" y="39"/>
                  </a:cxn>
                  <a:cxn ang="0">
                    <a:pos x="66" y="31"/>
                  </a:cxn>
                  <a:cxn ang="0">
                    <a:pos x="74" y="21"/>
                  </a:cxn>
                  <a:cxn ang="0">
                    <a:pos x="83" y="14"/>
                  </a:cxn>
                  <a:cxn ang="0">
                    <a:pos x="83" y="7"/>
                  </a:cxn>
                  <a:cxn ang="0">
                    <a:pos x="85" y="0"/>
                  </a:cxn>
                  <a:cxn ang="0">
                    <a:pos x="93" y="5"/>
                  </a:cxn>
                  <a:cxn ang="0">
                    <a:pos x="100" y="19"/>
                  </a:cxn>
                  <a:cxn ang="0">
                    <a:pos x="102" y="34"/>
                  </a:cxn>
                  <a:cxn ang="0">
                    <a:pos x="107" y="48"/>
                  </a:cxn>
                  <a:cxn ang="0">
                    <a:pos x="107" y="55"/>
                  </a:cxn>
                  <a:cxn ang="0">
                    <a:pos x="100" y="53"/>
                  </a:cxn>
                  <a:cxn ang="0">
                    <a:pos x="98" y="53"/>
                  </a:cxn>
                  <a:cxn ang="0">
                    <a:pos x="97" y="65"/>
                  </a:cxn>
                  <a:cxn ang="0">
                    <a:pos x="95" y="77"/>
                  </a:cxn>
                  <a:cxn ang="0">
                    <a:pos x="92" y="89"/>
                  </a:cxn>
                  <a:cxn ang="0">
                    <a:pos x="90" y="101"/>
                  </a:cxn>
                  <a:cxn ang="0">
                    <a:pos x="85" y="112"/>
                  </a:cxn>
                  <a:cxn ang="0">
                    <a:pos x="81" y="122"/>
                  </a:cxn>
                  <a:cxn ang="0">
                    <a:pos x="78" y="132"/>
                  </a:cxn>
                  <a:cxn ang="0">
                    <a:pos x="74" y="144"/>
                  </a:cxn>
                  <a:cxn ang="0">
                    <a:pos x="69" y="151"/>
                  </a:cxn>
                  <a:cxn ang="0">
                    <a:pos x="66" y="162"/>
                  </a:cxn>
                  <a:cxn ang="0">
                    <a:pos x="62" y="170"/>
                  </a:cxn>
                  <a:cxn ang="0">
                    <a:pos x="59" y="180"/>
                  </a:cxn>
                  <a:cxn ang="0">
                    <a:pos x="52" y="187"/>
                  </a:cxn>
                  <a:cxn ang="0">
                    <a:pos x="47" y="194"/>
                  </a:cxn>
                  <a:cxn ang="0">
                    <a:pos x="38" y="198"/>
                  </a:cxn>
                  <a:cxn ang="0">
                    <a:pos x="30" y="201"/>
                  </a:cxn>
                  <a:cxn ang="0">
                    <a:pos x="19" y="198"/>
                  </a:cxn>
                  <a:cxn ang="0">
                    <a:pos x="12" y="191"/>
                  </a:cxn>
                  <a:cxn ang="0">
                    <a:pos x="6" y="180"/>
                  </a:cxn>
                  <a:cxn ang="0">
                    <a:pos x="6" y="172"/>
                  </a:cxn>
                  <a:cxn ang="0">
                    <a:pos x="6" y="165"/>
                  </a:cxn>
                  <a:cxn ang="0">
                    <a:pos x="7" y="160"/>
                  </a:cxn>
                  <a:cxn ang="0">
                    <a:pos x="0" y="150"/>
                  </a:cxn>
                  <a:cxn ang="0">
                    <a:pos x="0" y="139"/>
                  </a:cxn>
                  <a:cxn ang="0">
                    <a:pos x="6" y="132"/>
                  </a:cxn>
                  <a:cxn ang="0">
                    <a:pos x="11" y="129"/>
                  </a:cxn>
                </a:cxnLst>
                <a:rect l="0" t="0" r="r" b="b"/>
                <a:pathLst>
                  <a:path w="107" h="201">
                    <a:moveTo>
                      <a:pt x="11" y="129"/>
                    </a:moveTo>
                    <a:lnTo>
                      <a:pt x="11" y="125"/>
                    </a:lnTo>
                    <a:lnTo>
                      <a:pt x="16" y="117"/>
                    </a:lnTo>
                    <a:lnTo>
                      <a:pt x="18" y="108"/>
                    </a:lnTo>
                    <a:lnTo>
                      <a:pt x="21" y="107"/>
                    </a:lnTo>
                    <a:lnTo>
                      <a:pt x="19" y="100"/>
                    </a:lnTo>
                    <a:lnTo>
                      <a:pt x="18" y="93"/>
                    </a:lnTo>
                    <a:lnTo>
                      <a:pt x="14" y="86"/>
                    </a:lnTo>
                    <a:lnTo>
                      <a:pt x="14" y="81"/>
                    </a:lnTo>
                    <a:lnTo>
                      <a:pt x="14" y="70"/>
                    </a:lnTo>
                    <a:lnTo>
                      <a:pt x="16" y="65"/>
                    </a:lnTo>
                    <a:lnTo>
                      <a:pt x="19" y="60"/>
                    </a:lnTo>
                    <a:lnTo>
                      <a:pt x="25" y="57"/>
                    </a:lnTo>
                    <a:lnTo>
                      <a:pt x="33" y="51"/>
                    </a:lnTo>
                    <a:lnTo>
                      <a:pt x="47" y="48"/>
                    </a:lnTo>
                    <a:lnTo>
                      <a:pt x="55" y="39"/>
                    </a:lnTo>
                    <a:lnTo>
                      <a:pt x="66" y="31"/>
                    </a:lnTo>
                    <a:lnTo>
                      <a:pt x="74" y="21"/>
                    </a:lnTo>
                    <a:lnTo>
                      <a:pt x="83" y="14"/>
                    </a:lnTo>
                    <a:lnTo>
                      <a:pt x="83" y="7"/>
                    </a:lnTo>
                    <a:lnTo>
                      <a:pt x="85" y="0"/>
                    </a:lnTo>
                    <a:lnTo>
                      <a:pt x="93" y="5"/>
                    </a:lnTo>
                    <a:lnTo>
                      <a:pt x="100" y="19"/>
                    </a:lnTo>
                    <a:lnTo>
                      <a:pt x="102" y="34"/>
                    </a:lnTo>
                    <a:lnTo>
                      <a:pt x="107" y="48"/>
                    </a:lnTo>
                    <a:lnTo>
                      <a:pt x="107" y="55"/>
                    </a:lnTo>
                    <a:lnTo>
                      <a:pt x="100" y="53"/>
                    </a:lnTo>
                    <a:lnTo>
                      <a:pt x="98" y="53"/>
                    </a:lnTo>
                    <a:lnTo>
                      <a:pt x="97" y="65"/>
                    </a:lnTo>
                    <a:lnTo>
                      <a:pt x="95" y="77"/>
                    </a:lnTo>
                    <a:lnTo>
                      <a:pt x="92" y="89"/>
                    </a:lnTo>
                    <a:lnTo>
                      <a:pt x="90" y="101"/>
                    </a:lnTo>
                    <a:lnTo>
                      <a:pt x="85" y="112"/>
                    </a:lnTo>
                    <a:lnTo>
                      <a:pt x="81" y="122"/>
                    </a:lnTo>
                    <a:lnTo>
                      <a:pt x="78" y="132"/>
                    </a:lnTo>
                    <a:lnTo>
                      <a:pt x="74" y="144"/>
                    </a:lnTo>
                    <a:lnTo>
                      <a:pt x="69" y="151"/>
                    </a:lnTo>
                    <a:lnTo>
                      <a:pt x="66" y="162"/>
                    </a:lnTo>
                    <a:lnTo>
                      <a:pt x="62" y="170"/>
                    </a:lnTo>
                    <a:lnTo>
                      <a:pt x="59" y="180"/>
                    </a:lnTo>
                    <a:lnTo>
                      <a:pt x="52" y="187"/>
                    </a:lnTo>
                    <a:lnTo>
                      <a:pt x="47" y="194"/>
                    </a:lnTo>
                    <a:lnTo>
                      <a:pt x="38" y="198"/>
                    </a:lnTo>
                    <a:lnTo>
                      <a:pt x="30" y="201"/>
                    </a:lnTo>
                    <a:lnTo>
                      <a:pt x="19" y="198"/>
                    </a:lnTo>
                    <a:lnTo>
                      <a:pt x="12" y="191"/>
                    </a:lnTo>
                    <a:lnTo>
                      <a:pt x="6" y="180"/>
                    </a:lnTo>
                    <a:lnTo>
                      <a:pt x="6" y="172"/>
                    </a:lnTo>
                    <a:lnTo>
                      <a:pt x="6" y="165"/>
                    </a:lnTo>
                    <a:lnTo>
                      <a:pt x="7" y="160"/>
                    </a:lnTo>
                    <a:lnTo>
                      <a:pt x="0" y="150"/>
                    </a:lnTo>
                    <a:lnTo>
                      <a:pt x="0" y="139"/>
                    </a:lnTo>
                    <a:lnTo>
                      <a:pt x="6" y="132"/>
                    </a:lnTo>
                    <a:lnTo>
                      <a:pt x="11" y="1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8" name="Freeform 192"/>
              <p:cNvSpPr>
                <a:spLocks/>
              </p:cNvSpPr>
              <p:nvPr/>
            </p:nvSpPr>
            <p:spPr bwMode="auto">
              <a:xfrm>
                <a:off x="3920332" y="3114675"/>
                <a:ext cx="1563688" cy="1747837"/>
              </a:xfrm>
              <a:custGeom>
                <a:avLst/>
                <a:gdLst/>
                <a:ahLst/>
                <a:cxnLst>
                  <a:cxn ang="0">
                    <a:pos x="607" y="93"/>
                  </a:cxn>
                  <a:cxn ang="0">
                    <a:pos x="681" y="102"/>
                  </a:cxn>
                  <a:cxn ang="0">
                    <a:pos x="741" y="102"/>
                  </a:cxn>
                  <a:cxn ang="0">
                    <a:pos x="741" y="157"/>
                  </a:cxn>
                  <a:cxn ang="0">
                    <a:pos x="762" y="217"/>
                  </a:cxn>
                  <a:cxn ang="0">
                    <a:pos x="784" y="289"/>
                  </a:cxn>
                  <a:cxn ang="0">
                    <a:pos x="811" y="332"/>
                  </a:cxn>
                  <a:cxn ang="0">
                    <a:pos x="856" y="380"/>
                  </a:cxn>
                  <a:cxn ang="0">
                    <a:pos x="884" y="418"/>
                  </a:cxn>
                  <a:cxn ang="0">
                    <a:pos x="939" y="408"/>
                  </a:cxn>
                  <a:cxn ang="0">
                    <a:pos x="983" y="415"/>
                  </a:cxn>
                  <a:cxn ang="0">
                    <a:pos x="954" y="480"/>
                  </a:cxn>
                  <a:cxn ang="0">
                    <a:pos x="896" y="549"/>
                  </a:cxn>
                  <a:cxn ang="0">
                    <a:pos x="830" y="604"/>
                  </a:cxn>
                  <a:cxn ang="0">
                    <a:pos x="810" y="660"/>
                  </a:cxn>
                  <a:cxn ang="0">
                    <a:pos x="829" y="716"/>
                  </a:cxn>
                  <a:cxn ang="0">
                    <a:pos x="827" y="759"/>
                  </a:cxn>
                  <a:cxn ang="0">
                    <a:pos x="820" y="808"/>
                  </a:cxn>
                  <a:cxn ang="0">
                    <a:pos x="760" y="857"/>
                  </a:cxn>
                  <a:cxn ang="0">
                    <a:pos x="758" y="905"/>
                  </a:cxn>
                  <a:cxn ang="0">
                    <a:pos x="739" y="937"/>
                  </a:cxn>
                  <a:cxn ang="0">
                    <a:pos x="712" y="991"/>
                  </a:cxn>
                  <a:cxn ang="0">
                    <a:pos x="663" y="1058"/>
                  </a:cxn>
                  <a:cxn ang="0">
                    <a:pos x="603" y="1090"/>
                  </a:cxn>
                  <a:cxn ang="0">
                    <a:pos x="536" y="1101"/>
                  </a:cxn>
                  <a:cxn ang="0">
                    <a:pos x="505" y="1066"/>
                  </a:cxn>
                  <a:cxn ang="0">
                    <a:pos x="495" y="1025"/>
                  </a:cxn>
                  <a:cxn ang="0">
                    <a:pos x="457" y="949"/>
                  </a:cxn>
                  <a:cxn ang="0">
                    <a:pos x="443" y="889"/>
                  </a:cxn>
                  <a:cxn ang="0">
                    <a:pos x="414" y="814"/>
                  </a:cxn>
                  <a:cxn ang="0">
                    <a:pos x="447" y="743"/>
                  </a:cxn>
                  <a:cxn ang="0">
                    <a:pos x="433" y="688"/>
                  </a:cxn>
                  <a:cxn ang="0">
                    <a:pos x="392" y="614"/>
                  </a:cxn>
                  <a:cxn ang="0">
                    <a:pos x="388" y="562"/>
                  </a:cxn>
                  <a:cxn ang="0">
                    <a:pos x="393" y="530"/>
                  </a:cxn>
                  <a:cxn ang="0">
                    <a:pos x="340" y="507"/>
                  </a:cxn>
                  <a:cxn ang="0">
                    <a:pos x="282" y="478"/>
                  </a:cxn>
                  <a:cxn ang="0">
                    <a:pos x="218" y="506"/>
                  </a:cxn>
                  <a:cxn ang="0">
                    <a:pos x="141" y="507"/>
                  </a:cxn>
                  <a:cxn ang="0">
                    <a:pos x="70" y="459"/>
                  </a:cxn>
                  <a:cxn ang="0">
                    <a:pos x="29" y="408"/>
                  </a:cxn>
                  <a:cxn ang="0">
                    <a:pos x="8" y="378"/>
                  </a:cxn>
                  <a:cxn ang="0">
                    <a:pos x="17" y="320"/>
                  </a:cxn>
                  <a:cxn ang="0">
                    <a:pos x="17" y="239"/>
                  </a:cxn>
                  <a:cxn ang="0">
                    <a:pos x="72" y="155"/>
                  </a:cxn>
                  <a:cxn ang="0">
                    <a:pos x="113" y="96"/>
                  </a:cxn>
                  <a:cxn ang="0">
                    <a:pos x="161" y="40"/>
                  </a:cxn>
                  <a:cxn ang="0">
                    <a:pos x="215" y="40"/>
                  </a:cxn>
                  <a:cxn ang="0">
                    <a:pos x="273" y="14"/>
                  </a:cxn>
                  <a:cxn ang="0">
                    <a:pos x="332" y="12"/>
                  </a:cxn>
                  <a:cxn ang="0">
                    <a:pos x="388" y="0"/>
                  </a:cxn>
                  <a:cxn ang="0">
                    <a:pos x="404" y="19"/>
                  </a:cxn>
                  <a:cxn ang="0">
                    <a:pos x="411" y="66"/>
                  </a:cxn>
                  <a:cxn ang="0">
                    <a:pos x="462" y="79"/>
                  </a:cxn>
                  <a:cxn ang="0">
                    <a:pos x="522" y="114"/>
                  </a:cxn>
                  <a:cxn ang="0">
                    <a:pos x="540" y="79"/>
                  </a:cxn>
                </a:cxnLst>
                <a:rect l="0" t="0" r="r" b="b"/>
                <a:pathLst>
                  <a:path w="985" h="1101">
                    <a:moveTo>
                      <a:pt x="562" y="76"/>
                    </a:moveTo>
                    <a:lnTo>
                      <a:pt x="574" y="76"/>
                    </a:lnTo>
                    <a:lnTo>
                      <a:pt x="576" y="83"/>
                    </a:lnTo>
                    <a:lnTo>
                      <a:pt x="581" y="88"/>
                    </a:lnTo>
                    <a:lnTo>
                      <a:pt x="591" y="90"/>
                    </a:lnTo>
                    <a:lnTo>
                      <a:pt x="607" y="93"/>
                    </a:lnTo>
                    <a:lnTo>
                      <a:pt x="619" y="96"/>
                    </a:lnTo>
                    <a:lnTo>
                      <a:pt x="633" y="102"/>
                    </a:lnTo>
                    <a:lnTo>
                      <a:pt x="648" y="103"/>
                    </a:lnTo>
                    <a:lnTo>
                      <a:pt x="663" y="107"/>
                    </a:lnTo>
                    <a:lnTo>
                      <a:pt x="672" y="103"/>
                    </a:lnTo>
                    <a:lnTo>
                      <a:pt x="681" y="102"/>
                    </a:lnTo>
                    <a:lnTo>
                      <a:pt x="688" y="98"/>
                    </a:lnTo>
                    <a:lnTo>
                      <a:pt x="700" y="98"/>
                    </a:lnTo>
                    <a:lnTo>
                      <a:pt x="712" y="102"/>
                    </a:lnTo>
                    <a:lnTo>
                      <a:pt x="727" y="105"/>
                    </a:lnTo>
                    <a:lnTo>
                      <a:pt x="734" y="103"/>
                    </a:lnTo>
                    <a:lnTo>
                      <a:pt x="741" y="102"/>
                    </a:lnTo>
                    <a:lnTo>
                      <a:pt x="746" y="114"/>
                    </a:lnTo>
                    <a:lnTo>
                      <a:pt x="751" y="126"/>
                    </a:lnTo>
                    <a:lnTo>
                      <a:pt x="748" y="131"/>
                    </a:lnTo>
                    <a:lnTo>
                      <a:pt x="746" y="139"/>
                    </a:lnTo>
                    <a:lnTo>
                      <a:pt x="743" y="148"/>
                    </a:lnTo>
                    <a:lnTo>
                      <a:pt x="741" y="157"/>
                    </a:lnTo>
                    <a:lnTo>
                      <a:pt x="732" y="152"/>
                    </a:lnTo>
                    <a:lnTo>
                      <a:pt x="725" y="141"/>
                    </a:lnTo>
                    <a:lnTo>
                      <a:pt x="719" y="131"/>
                    </a:lnTo>
                    <a:lnTo>
                      <a:pt x="713" y="122"/>
                    </a:lnTo>
                    <a:lnTo>
                      <a:pt x="713" y="133"/>
                    </a:lnTo>
                    <a:lnTo>
                      <a:pt x="762" y="217"/>
                    </a:lnTo>
                    <a:lnTo>
                      <a:pt x="762" y="225"/>
                    </a:lnTo>
                    <a:lnTo>
                      <a:pt x="767" y="237"/>
                    </a:lnTo>
                    <a:lnTo>
                      <a:pt x="774" y="248"/>
                    </a:lnTo>
                    <a:lnTo>
                      <a:pt x="780" y="256"/>
                    </a:lnTo>
                    <a:lnTo>
                      <a:pt x="780" y="282"/>
                    </a:lnTo>
                    <a:lnTo>
                      <a:pt x="784" y="289"/>
                    </a:lnTo>
                    <a:lnTo>
                      <a:pt x="791" y="294"/>
                    </a:lnTo>
                    <a:lnTo>
                      <a:pt x="796" y="299"/>
                    </a:lnTo>
                    <a:lnTo>
                      <a:pt x="805" y="306"/>
                    </a:lnTo>
                    <a:lnTo>
                      <a:pt x="808" y="315"/>
                    </a:lnTo>
                    <a:lnTo>
                      <a:pt x="810" y="323"/>
                    </a:lnTo>
                    <a:lnTo>
                      <a:pt x="811" y="332"/>
                    </a:lnTo>
                    <a:lnTo>
                      <a:pt x="817" y="341"/>
                    </a:lnTo>
                    <a:lnTo>
                      <a:pt x="827" y="348"/>
                    </a:lnTo>
                    <a:lnTo>
                      <a:pt x="839" y="356"/>
                    </a:lnTo>
                    <a:lnTo>
                      <a:pt x="844" y="363"/>
                    </a:lnTo>
                    <a:lnTo>
                      <a:pt x="851" y="372"/>
                    </a:lnTo>
                    <a:lnTo>
                      <a:pt x="856" y="380"/>
                    </a:lnTo>
                    <a:lnTo>
                      <a:pt x="868" y="384"/>
                    </a:lnTo>
                    <a:lnTo>
                      <a:pt x="870" y="392"/>
                    </a:lnTo>
                    <a:lnTo>
                      <a:pt x="868" y="399"/>
                    </a:lnTo>
                    <a:lnTo>
                      <a:pt x="873" y="403"/>
                    </a:lnTo>
                    <a:lnTo>
                      <a:pt x="878" y="411"/>
                    </a:lnTo>
                    <a:lnTo>
                      <a:pt x="884" y="418"/>
                    </a:lnTo>
                    <a:lnTo>
                      <a:pt x="891" y="421"/>
                    </a:lnTo>
                    <a:lnTo>
                      <a:pt x="897" y="416"/>
                    </a:lnTo>
                    <a:lnTo>
                      <a:pt x="906" y="411"/>
                    </a:lnTo>
                    <a:lnTo>
                      <a:pt x="915" y="411"/>
                    </a:lnTo>
                    <a:lnTo>
                      <a:pt x="925" y="411"/>
                    </a:lnTo>
                    <a:lnTo>
                      <a:pt x="939" y="408"/>
                    </a:lnTo>
                    <a:lnTo>
                      <a:pt x="952" y="404"/>
                    </a:lnTo>
                    <a:lnTo>
                      <a:pt x="966" y="399"/>
                    </a:lnTo>
                    <a:lnTo>
                      <a:pt x="982" y="397"/>
                    </a:lnTo>
                    <a:lnTo>
                      <a:pt x="983" y="401"/>
                    </a:lnTo>
                    <a:lnTo>
                      <a:pt x="985" y="404"/>
                    </a:lnTo>
                    <a:lnTo>
                      <a:pt x="983" y="415"/>
                    </a:lnTo>
                    <a:lnTo>
                      <a:pt x="980" y="427"/>
                    </a:lnTo>
                    <a:lnTo>
                      <a:pt x="975" y="437"/>
                    </a:lnTo>
                    <a:lnTo>
                      <a:pt x="971" y="451"/>
                    </a:lnTo>
                    <a:lnTo>
                      <a:pt x="964" y="461"/>
                    </a:lnTo>
                    <a:lnTo>
                      <a:pt x="959" y="471"/>
                    </a:lnTo>
                    <a:lnTo>
                      <a:pt x="954" y="480"/>
                    </a:lnTo>
                    <a:lnTo>
                      <a:pt x="949" y="489"/>
                    </a:lnTo>
                    <a:lnTo>
                      <a:pt x="937" y="502"/>
                    </a:lnTo>
                    <a:lnTo>
                      <a:pt x="930" y="516"/>
                    </a:lnTo>
                    <a:lnTo>
                      <a:pt x="920" y="528"/>
                    </a:lnTo>
                    <a:lnTo>
                      <a:pt x="909" y="542"/>
                    </a:lnTo>
                    <a:lnTo>
                      <a:pt x="896" y="549"/>
                    </a:lnTo>
                    <a:lnTo>
                      <a:pt x="882" y="557"/>
                    </a:lnTo>
                    <a:lnTo>
                      <a:pt x="870" y="564"/>
                    </a:lnTo>
                    <a:lnTo>
                      <a:pt x="860" y="573"/>
                    </a:lnTo>
                    <a:lnTo>
                      <a:pt x="848" y="581"/>
                    </a:lnTo>
                    <a:lnTo>
                      <a:pt x="839" y="592"/>
                    </a:lnTo>
                    <a:lnTo>
                      <a:pt x="830" y="604"/>
                    </a:lnTo>
                    <a:lnTo>
                      <a:pt x="827" y="621"/>
                    </a:lnTo>
                    <a:lnTo>
                      <a:pt x="822" y="628"/>
                    </a:lnTo>
                    <a:lnTo>
                      <a:pt x="817" y="635"/>
                    </a:lnTo>
                    <a:lnTo>
                      <a:pt x="811" y="640"/>
                    </a:lnTo>
                    <a:lnTo>
                      <a:pt x="810" y="652"/>
                    </a:lnTo>
                    <a:lnTo>
                      <a:pt x="810" y="660"/>
                    </a:lnTo>
                    <a:lnTo>
                      <a:pt x="811" y="671"/>
                    </a:lnTo>
                    <a:lnTo>
                      <a:pt x="811" y="678"/>
                    </a:lnTo>
                    <a:lnTo>
                      <a:pt x="813" y="690"/>
                    </a:lnTo>
                    <a:lnTo>
                      <a:pt x="815" y="700"/>
                    </a:lnTo>
                    <a:lnTo>
                      <a:pt x="822" y="709"/>
                    </a:lnTo>
                    <a:lnTo>
                      <a:pt x="829" y="716"/>
                    </a:lnTo>
                    <a:lnTo>
                      <a:pt x="832" y="724"/>
                    </a:lnTo>
                    <a:lnTo>
                      <a:pt x="830" y="728"/>
                    </a:lnTo>
                    <a:lnTo>
                      <a:pt x="829" y="733"/>
                    </a:lnTo>
                    <a:lnTo>
                      <a:pt x="829" y="745"/>
                    </a:lnTo>
                    <a:lnTo>
                      <a:pt x="827" y="750"/>
                    </a:lnTo>
                    <a:lnTo>
                      <a:pt x="827" y="759"/>
                    </a:lnTo>
                    <a:lnTo>
                      <a:pt x="827" y="767"/>
                    </a:lnTo>
                    <a:lnTo>
                      <a:pt x="827" y="777"/>
                    </a:lnTo>
                    <a:lnTo>
                      <a:pt x="830" y="781"/>
                    </a:lnTo>
                    <a:lnTo>
                      <a:pt x="832" y="788"/>
                    </a:lnTo>
                    <a:lnTo>
                      <a:pt x="829" y="798"/>
                    </a:lnTo>
                    <a:lnTo>
                      <a:pt x="820" y="808"/>
                    </a:lnTo>
                    <a:lnTo>
                      <a:pt x="810" y="815"/>
                    </a:lnTo>
                    <a:lnTo>
                      <a:pt x="798" y="824"/>
                    </a:lnTo>
                    <a:lnTo>
                      <a:pt x="784" y="829"/>
                    </a:lnTo>
                    <a:lnTo>
                      <a:pt x="772" y="836"/>
                    </a:lnTo>
                    <a:lnTo>
                      <a:pt x="763" y="844"/>
                    </a:lnTo>
                    <a:lnTo>
                      <a:pt x="760" y="857"/>
                    </a:lnTo>
                    <a:lnTo>
                      <a:pt x="748" y="860"/>
                    </a:lnTo>
                    <a:lnTo>
                      <a:pt x="744" y="870"/>
                    </a:lnTo>
                    <a:lnTo>
                      <a:pt x="746" y="877"/>
                    </a:lnTo>
                    <a:lnTo>
                      <a:pt x="751" y="886"/>
                    </a:lnTo>
                    <a:lnTo>
                      <a:pt x="755" y="893"/>
                    </a:lnTo>
                    <a:lnTo>
                      <a:pt x="758" y="905"/>
                    </a:lnTo>
                    <a:lnTo>
                      <a:pt x="756" y="912"/>
                    </a:lnTo>
                    <a:lnTo>
                      <a:pt x="756" y="920"/>
                    </a:lnTo>
                    <a:lnTo>
                      <a:pt x="755" y="929"/>
                    </a:lnTo>
                    <a:lnTo>
                      <a:pt x="755" y="934"/>
                    </a:lnTo>
                    <a:lnTo>
                      <a:pt x="746" y="936"/>
                    </a:lnTo>
                    <a:lnTo>
                      <a:pt x="739" y="937"/>
                    </a:lnTo>
                    <a:lnTo>
                      <a:pt x="724" y="946"/>
                    </a:lnTo>
                    <a:lnTo>
                      <a:pt x="713" y="961"/>
                    </a:lnTo>
                    <a:lnTo>
                      <a:pt x="719" y="967"/>
                    </a:lnTo>
                    <a:lnTo>
                      <a:pt x="720" y="972"/>
                    </a:lnTo>
                    <a:lnTo>
                      <a:pt x="717" y="980"/>
                    </a:lnTo>
                    <a:lnTo>
                      <a:pt x="712" y="991"/>
                    </a:lnTo>
                    <a:lnTo>
                      <a:pt x="705" y="998"/>
                    </a:lnTo>
                    <a:lnTo>
                      <a:pt x="701" y="1004"/>
                    </a:lnTo>
                    <a:lnTo>
                      <a:pt x="689" y="1020"/>
                    </a:lnTo>
                    <a:lnTo>
                      <a:pt x="681" y="1037"/>
                    </a:lnTo>
                    <a:lnTo>
                      <a:pt x="670" y="1047"/>
                    </a:lnTo>
                    <a:lnTo>
                      <a:pt x="663" y="1058"/>
                    </a:lnTo>
                    <a:lnTo>
                      <a:pt x="653" y="1066"/>
                    </a:lnTo>
                    <a:lnTo>
                      <a:pt x="641" y="1077"/>
                    </a:lnTo>
                    <a:lnTo>
                      <a:pt x="627" y="1078"/>
                    </a:lnTo>
                    <a:lnTo>
                      <a:pt x="619" y="1087"/>
                    </a:lnTo>
                    <a:lnTo>
                      <a:pt x="610" y="1089"/>
                    </a:lnTo>
                    <a:lnTo>
                      <a:pt x="603" y="1090"/>
                    </a:lnTo>
                    <a:lnTo>
                      <a:pt x="596" y="1087"/>
                    </a:lnTo>
                    <a:lnTo>
                      <a:pt x="590" y="1085"/>
                    </a:lnTo>
                    <a:lnTo>
                      <a:pt x="572" y="1087"/>
                    </a:lnTo>
                    <a:lnTo>
                      <a:pt x="560" y="1092"/>
                    </a:lnTo>
                    <a:lnTo>
                      <a:pt x="548" y="1097"/>
                    </a:lnTo>
                    <a:lnTo>
                      <a:pt x="536" y="1101"/>
                    </a:lnTo>
                    <a:lnTo>
                      <a:pt x="524" y="1097"/>
                    </a:lnTo>
                    <a:lnTo>
                      <a:pt x="519" y="1090"/>
                    </a:lnTo>
                    <a:lnTo>
                      <a:pt x="516" y="1090"/>
                    </a:lnTo>
                    <a:lnTo>
                      <a:pt x="514" y="1092"/>
                    </a:lnTo>
                    <a:lnTo>
                      <a:pt x="510" y="1077"/>
                    </a:lnTo>
                    <a:lnTo>
                      <a:pt x="505" y="1066"/>
                    </a:lnTo>
                    <a:lnTo>
                      <a:pt x="509" y="1059"/>
                    </a:lnTo>
                    <a:lnTo>
                      <a:pt x="512" y="1053"/>
                    </a:lnTo>
                    <a:lnTo>
                      <a:pt x="509" y="1044"/>
                    </a:lnTo>
                    <a:lnTo>
                      <a:pt x="504" y="1037"/>
                    </a:lnTo>
                    <a:lnTo>
                      <a:pt x="498" y="1028"/>
                    </a:lnTo>
                    <a:lnTo>
                      <a:pt x="495" y="1025"/>
                    </a:lnTo>
                    <a:lnTo>
                      <a:pt x="486" y="1013"/>
                    </a:lnTo>
                    <a:lnTo>
                      <a:pt x="481" y="1001"/>
                    </a:lnTo>
                    <a:lnTo>
                      <a:pt x="473" y="989"/>
                    </a:lnTo>
                    <a:lnTo>
                      <a:pt x="467" y="977"/>
                    </a:lnTo>
                    <a:lnTo>
                      <a:pt x="461" y="963"/>
                    </a:lnTo>
                    <a:lnTo>
                      <a:pt x="457" y="949"/>
                    </a:lnTo>
                    <a:lnTo>
                      <a:pt x="454" y="934"/>
                    </a:lnTo>
                    <a:lnTo>
                      <a:pt x="454" y="920"/>
                    </a:lnTo>
                    <a:lnTo>
                      <a:pt x="454" y="910"/>
                    </a:lnTo>
                    <a:lnTo>
                      <a:pt x="454" y="906"/>
                    </a:lnTo>
                    <a:lnTo>
                      <a:pt x="448" y="898"/>
                    </a:lnTo>
                    <a:lnTo>
                      <a:pt x="443" y="889"/>
                    </a:lnTo>
                    <a:lnTo>
                      <a:pt x="431" y="870"/>
                    </a:lnTo>
                    <a:lnTo>
                      <a:pt x="423" y="853"/>
                    </a:lnTo>
                    <a:lnTo>
                      <a:pt x="418" y="843"/>
                    </a:lnTo>
                    <a:lnTo>
                      <a:pt x="416" y="834"/>
                    </a:lnTo>
                    <a:lnTo>
                      <a:pt x="414" y="824"/>
                    </a:lnTo>
                    <a:lnTo>
                      <a:pt x="414" y="814"/>
                    </a:lnTo>
                    <a:lnTo>
                      <a:pt x="414" y="800"/>
                    </a:lnTo>
                    <a:lnTo>
                      <a:pt x="418" y="789"/>
                    </a:lnTo>
                    <a:lnTo>
                      <a:pt x="423" y="781"/>
                    </a:lnTo>
                    <a:lnTo>
                      <a:pt x="430" y="774"/>
                    </a:lnTo>
                    <a:lnTo>
                      <a:pt x="440" y="759"/>
                    </a:lnTo>
                    <a:lnTo>
                      <a:pt x="447" y="743"/>
                    </a:lnTo>
                    <a:lnTo>
                      <a:pt x="445" y="733"/>
                    </a:lnTo>
                    <a:lnTo>
                      <a:pt x="443" y="726"/>
                    </a:lnTo>
                    <a:lnTo>
                      <a:pt x="440" y="719"/>
                    </a:lnTo>
                    <a:lnTo>
                      <a:pt x="440" y="714"/>
                    </a:lnTo>
                    <a:lnTo>
                      <a:pt x="436" y="698"/>
                    </a:lnTo>
                    <a:lnTo>
                      <a:pt x="433" y="688"/>
                    </a:lnTo>
                    <a:lnTo>
                      <a:pt x="430" y="679"/>
                    </a:lnTo>
                    <a:lnTo>
                      <a:pt x="426" y="671"/>
                    </a:lnTo>
                    <a:lnTo>
                      <a:pt x="423" y="655"/>
                    </a:lnTo>
                    <a:lnTo>
                      <a:pt x="418" y="642"/>
                    </a:lnTo>
                    <a:lnTo>
                      <a:pt x="404" y="628"/>
                    </a:lnTo>
                    <a:lnTo>
                      <a:pt x="392" y="614"/>
                    </a:lnTo>
                    <a:lnTo>
                      <a:pt x="380" y="599"/>
                    </a:lnTo>
                    <a:lnTo>
                      <a:pt x="376" y="583"/>
                    </a:lnTo>
                    <a:lnTo>
                      <a:pt x="376" y="576"/>
                    </a:lnTo>
                    <a:lnTo>
                      <a:pt x="380" y="571"/>
                    </a:lnTo>
                    <a:lnTo>
                      <a:pt x="383" y="564"/>
                    </a:lnTo>
                    <a:lnTo>
                      <a:pt x="388" y="562"/>
                    </a:lnTo>
                    <a:lnTo>
                      <a:pt x="387" y="557"/>
                    </a:lnTo>
                    <a:lnTo>
                      <a:pt x="388" y="556"/>
                    </a:lnTo>
                    <a:lnTo>
                      <a:pt x="388" y="547"/>
                    </a:lnTo>
                    <a:lnTo>
                      <a:pt x="388" y="540"/>
                    </a:lnTo>
                    <a:lnTo>
                      <a:pt x="388" y="533"/>
                    </a:lnTo>
                    <a:lnTo>
                      <a:pt x="393" y="530"/>
                    </a:lnTo>
                    <a:lnTo>
                      <a:pt x="387" y="519"/>
                    </a:lnTo>
                    <a:lnTo>
                      <a:pt x="380" y="513"/>
                    </a:lnTo>
                    <a:lnTo>
                      <a:pt x="371" y="507"/>
                    </a:lnTo>
                    <a:lnTo>
                      <a:pt x="361" y="507"/>
                    </a:lnTo>
                    <a:lnTo>
                      <a:pt x="347" y="507"/>
                    </a:lnTo>
                    <a:lnTo>
                      <a:pt x="340" y="507"/>
                    </a:lnTo>
                    <a:lnTo>
                      <a:pt x="328" y="502"/>
                    </a:lnTo>
                    <a:lnTo>
                      <a:pt x="321" y="492"/>
                    </a:lnTo>
                    <a:lnTo>
                      <a:pt x="313" y="482"/>
                    </a:lnTo>
                    <a:lnTo>
                      <a:pt x="301" y="478"/>
                    </a:lnTo>
                    <a:lnTo>
                      <a:pt x="290" y="478"/>
                    </a:lnTo>
                    <a:lnTo>
                      <a:pt x="282" y="478"/>
                    </a:lnTo>
                    <a:lnTo>
                      <a:pt x="273" y="480"/>
                    </a:lnTo>
                    <a:lnTo>
                      <a:pt x="266" y="485"/>
                    </a:lnTo>
                    <a:lnTo>
                      <a:pt x="251" y="490"/>
                    </a:lnTo>
                    <a:lnTo>
                      <a:pt x="237" y="497"/>
                    </a:lnTo>
                    <a:lnTo>
                      <a:pt x="227" y="501"/>
                    </a:lnTo>
                    <a:lnTo>
                      <a:pt x="218" y="506"/>
                    </a:lnTo>
                    <a:lnTo>
                      <a:pt x="204" y="502"/>
                    </a:lnTo>
                    <a:lnTo>
                      <a:pt x="189" y="499"/>
                    </a:lnTo>
                    <a:lnTo>
                      <a:pt x="173" y="499"/>
                    </a:lnTo>
                    <a:lnTo>
                      <a:pt x="163" y="502"/>
                    </a:lnTo>
                    <a:lnTo>
                      <a:pt x="151" y="504"/>
                    </a:lnTo>
                    <a:lnTo>
                      <a:pt x="141" y="507"/>
                    </a:lnTo>
                    <a:lnTo>
                      <a:pt x="130" y="506"/>
                    </a:lnTo>
                    <a:lnTo>
                      <a:pt x="125" y="504"/>
                    </a:lnTo>
                    <a:lnTo>
                      <a:pt x="111" y="494"/>
                    </a:lnTo>
                    <a:lnTo>
                      <a:pt x="96" y="483"/>
                    </a:lnTo>
                    <a:lnTo>
                      <a:pt x="80" y="471"/>
                    </a:lnTo>
                    <a:lnTo>
                      <a:pt x="70" y="459"/>
                    </a:lnTo>
                    <a:lnTo>
                      <a:pt x="63" y="449"/>
                    </a:lnTo>
                    <a:lnTo>
                      <a:pt x="58" y="439"/>
                    </a:lnTo>
                    <a:lnTo>
                      <a:pt x="51" y="430"/>
                    </a:lnTo>
                    <a:lnTo>
                      <a:pt x="46" y="423"/>
                    </a:lnTo>
                    <a:lnTo>
                      <a:pt x="39" y="416"/>
                    </a:lnTo>
                    <a:lnTo>
                      <a:pt x="29" y="408"/>
                    </a:lnTo>
                    <a:lnTo>
                      <a:pt x="19" y="399"/>
                    </a:lnTo>
                    <a:lnTo>
                      <a:pt x="15" y="394"/>
                    </a:lnTo>
                    <a:lnTo>
                      <a:pt x="12" y="391"/>
                    </a:lnTo>
                    <a:lnTo>
                      <a:pt x="8" y="387"/>
                    </a:lnTo>
                    <a:lnTo>
                      <a:pt x="10" y="387"/>
                    </a:lnTo>
                    <a:lnTo>
                      <a:pt x="8" y="378"/>
                    </a:lnTo>
                    <a:lnTo>
                      <a:pt x="6" y="372"/>
                    </a:lnTo>
                    <a:lnTo>
                      <a:pt x="3" y="363"/>
                    </a:lnTo>
                    <a:lnTo>
                      <a:pt x="0" y="354"/>
                    </a:lnTo>
                    <a:lnTo>
                      <a:pt x="6" y="346"/>
                    </a:lnTo>
                    <a:lnTo>
                      <a:pt x="13" y="334"/>
                    </a:lnTo>
                    <a:lnTo>
                      <a:pt x="17" y="320"/>
                    </a:lnTo>
                    <a:lnTo>
                      <a:pt x="20" y="310"/>
                    </a:lnTo>
                    <a:lnTo>
                      <a:pt x="17" y="293"/>
                    </a:lnTo>
                    <a:lnTo>
                      <a:pt x="15" y="280"/>
                    </a:lnTo>
                    <a:lnTo>
                      <a:pt x="12" y="267"/>
                    </a:lnTo>
                    <a:lnTo>
                      <a:pt x="12" y="253"/>
                    </a:lnTo>
                    <a:lnTo>
                      <a:pt x="17" y="239"/>
                    </a:lnTo>
                    <a:lnTo>
                      <a:pt x="25" y="229"/>
                    </a:lnTo>
                    <a:lnTo>
                      <a:pt x="31" y="212"/>
                    </a:lnTo>
                    <a:lnTo>
                      <a:pt x="39" y="195"/>
                    </a:lnTo>
                    <a:lnTo>
                      <a:pt x="49" y="177"/>
                    </a:lnTo>
                    <a:lnTo>
                      <a:pt x="60" y="165"/>
                    </a:lnTo>
                    <a:lnTo>
                      <a:pt x="72" y="155"/>
                    </a:lnTo>
                    <a:lnTo>
                      <a:pt x="89" y="152"/>
                    </a:lnTo>
                    <a:lnTo>
                      <a:pt x="101" y="139"/>
                    </a:lnTo>
                    <a:lnTo>
                      <a:pt x="111" y="127"/>
                    </a:lnTo>
                    <a:lnTo>
                      <a:pt x="111" y="114"/>
                    </a:lnTo>
                    <a:lnTo>
                      <a:pt x="113" y="105"/>
                    </a:lnTo>
                    <a:lnTo>
                      <a:pt x="113" y="96"/>
                    </a:lnTo>
                    <a:lnTo>
                      <a:pt x="120" y="88"/>
                    </a:lnTo>
                    <a:lnTo>
                      <a:pt x="130" y="76"/>
                    </a:lnTo>
                    <a:lnTo>
                      <a:pt x="141" y="64"/>
                    </a:lnTo>
                    <a:lnTo>
                      <a:pt x="151" y="52"/>
                    </a:lnTo>
                    <a:lnTo>
                      <a:pt x="163" y="40"/>
                    </a:lnTo>
                    <a:lnTo>
                      <a:pt x="161" y="40"/>
                    </a:lnTo>
                    <a:lnTo>
                      <a:pt x="166" y="33"/>
                    </a:lnTo>
                    <a:lnTo>
                      <a:pt x="172" y="26"/>
                    </a:lnTo>
                    <a:lnTo>
                      <a:pt x="180" y="31"/>
                    </a:lnTo>
                    <a:lnTo>
                      <a:pt x="191" y="36"/>
                    </a:lnTo>
                    <a:lnTo>
                      <a:pt x="201" y="38"/>
                    </a:lnTo>
                    <a:lnTo>
                      <a:pt x="215" y="40"/>
                    </a:lnTo>
                    <a:lnTo>
                      <a:pt x="227" y="35"/>
                    </a:lnTo>
                    <a:lnTo>
                      <a:pt x="234" y="29"/>
                    </a:lnTo>
                    <a:lnTo>
                      <a:pt x="240" y="24"/>
                    </a:lnTo>
                    <a:lnTo>
                      <a:pt x="251" y="21"/>
                    </a:lnTo>
                    <a:lnTo>
                      <a:pt x="261" y="17"/>
                    </a:lnTo>
                    <a:lnTo>
                      <a:pt x="273" y="14"/>
                    </a:lnTo>
                    <a:lnTo>
                      <a:pt x="283" y="11"/>
                    </a:lnTo>
                    <a:lnTo>
                      <a:pt x="294" y="9"/>
                    </a:lnTo>
                    <a:lnTo>
                      <a:pt x="304" y="7"/>
                    </a:lnTo>
                    <a:lnTo>
                      <a:pt x="314" y="7"/>
                    </a:lnTo>
                    <a:lnTo>
                      <a:pt x="323" y="9"/>
                    </a:lnTo>
                    <a:lnTo>
                      <a:pt x="332" y="12"/>
                    </a:lnTo>
                    <a:lnTo>
                      <a:pt x="340" y="7"/>
                    </a:lnTo>
                    <a:lnTo>
                      <a:pt x="354" y="4"/>
                    </a:lnTo>
                    <a:lnTo>
                      <a:pt x="361" y="5"/>
                    </a:lnTo>
                    <a:lnTo>
                      <a:pt x="368" y="7"/>
                    </a:lnTo>
                    <a:lnTo>
                      <a:pt x="378" y="4"/>
                    </a:lnTo>
                    <a:lnTo>
                      <a:pt x="388" y="0"/>
                    </a:lnTo>
                    <a:lnTo>
                      <a:pt x="395" y="4"/>
                    </a:lnTo>
                    <a:lnTo>
                      <a:pt x="404" y="9"/>
                    </a:lnTo>
                    <a:lnTo>
                      <a:pt x="407" y="7"/>
                    </a:lnTo>
                    <a:lnTo>
                      <a:pt x="412" y="5"/>
                    </a:lnTo>
                    <a:lnTo>
                      <a:pt x="407" y="12"/>
                    </a:lnTo>
                    <a:lnTo>
                      <a:pt x="404" y="19"/>
                    </a:lnTo>
                    <a:lnTo>
                      <a:pt x="407" y="24"/>
                    </a:lnTo>
                    <a:lnTo>
                      <a:pt x="411" y="29"/>
                    </a:lnTo>
                    <a:lnTo>
                      <a:pt x="407" y="40"/>
                    </a:lnTo>
                    <a:lnTo>
                      <a:pt x="404" y="50"/>
                    </a:lnTo>
                    <a:lnTo>
                      <a:pt x="406" y="57"/>
                    </a:lnTo>
                    <a:lnTo>
                      <a:pt x="411" y="66"/>
                    </a:lnTo>
                    <a:lnTo>
                      <a:pt x="418" y="71"/>
                    </a:lnTo>
                    <a:lnTo>
                      <a:pt x="426" y="74"/>
                    </a:lnTo>
                    <a:lnTo>
                      <a:pt x="433" y="74"/>
                    </a:lnTo>
                    <a:lnTo>
                      <a:pt x="442" y="74"/>
                    </a:lnTo>
                    <a:lnTo>
                      <a:pt x="452" y="74"/>
                    </a:lnTo>
                    <a:lnTo>
                      <a:pt x="462" y="79"/>
                    </a:lnTo>
                    <a:lnTo>
                      <a:pt x="471" y="84"/>
                    </a:lnTo>
                    <a:lnTo>
                      <a:pt x="479" y="93"/>
                    </a:lnTo>
                    <a:lnTo>
                      <a:pt x="488" y="100"/>
                    </a:lnTo>
                    <a:lnTo>
                      <a:pt x="498" y="107"/>
                    </a:lnTo>
                    <a:lnTo>
                      <a:pt x="509" y="110"/>
                    </a:lnTo>
                    <a:lnTo>
                      <a:pt x="522" y="114"/>
                    </a:lnTo>
                    <a:lnTo>
                      <a:pt x="529" y="110"/>
                    </a:lnTo>
                    <a:lnTo>
                      <a:pt x="533" y="107"/>
                    </a:lnTo>
                    <a:lnTo>
                      <a:pt x="533" y="102"/>
                    </a:lnTo>
                    <a:lnTo>
                      <a:pt x="533" y="96"/>
                    </a:lnTo>
                    <a:lnTo>
                      <a:pt x="533" y="84"/>
                    </a:lnTo>
                    <a:lnTo>
                      <a:pt x="540" y="79"/>
                    </a:lnTo>
                    <a:lnTo>
                      <a:pt x="548" y="76"/>
                    </a:lnTo>
                    <a:lnTo>
                      <a:pt x="562" y="74"/>
                    </a:lnTo>
                    <a:lnTo>
                      <a:pt x="562" y="7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9" name="Freeform 193"/>
              <p:cNvSpPr>
                <a:spLocks/>
              </p:cNvSpPr>
              <p:nvPr/>
            </p:nvSpPr>
            <p:spPr bwMode="auto">
              <a:xfrm>
                <a:off x="4907757" y="2989263"/>
                <a:ext cx="852488" cy="739775"/>
              </a:xfrm>
              <a:custGeom>
                <a:avLst/>
                <a:gdLst/>
                <a:ahLst/>
                <a:cxnLst>
                  <a:cxn ang="0">
                    <a:pos x="126" y="157"/>
                  </a:cxn>
                  <a:cxn ang="0">
                    <a:pos x="140" y="98"/>
                  </a:cxn>
                  <a:cxn ang="0">
                    <a:pos x="134" y="93"/>
                  </a:cxn>
                  <a:cxn ang="0">
                    <a:pos x="107" y="100"/>
                  </a:cxn>
                  <a:cxn ang="0">
                    <a:pos x="55" y="102"/>
                  </a:cxn>
                  <a:cxn ang="0">
                    <a:pos x="26" y="91"/>
                  </a:cxn>
                  <a:cxn ang="0">
                    <a:pos x="16" y="76"/>
                  </a:cxn>
                  <a:cxn ang="0">
                    <a:pos x="11" y="50"/>
                  </a:cxn>
                  <a:cxn ang="0">
                    <a:pos x="7" y="31"/>
                  </a:cxn>
                  <a:cxn ang="0">
                    <a:pos x="43" y="17"/>
                  </a:cxn>
                  <a:cxn ang="0">
                    <a:pos x="81" y="10"/>
                  </a:cxn>
                  <a:cxn ang="0">
                    <a:pos x="122" y="0"/>
                  </a:cxn>
                  <a:cxn ang="0">
                    <a:pos x="148" y="10"/>
                  </a:cxn>
                  <a:cxn ang="0">
                    <a:pos x="189" y="17"/>
                  </a:cxn>
                  <a:cxn ang="0">
                    <a:pos x="224" y="5"/>
                  </a:cxn>
                  <a:cxn ang="0">
                    <a:pos x="256" y="24"/>
                  </a:cxn>
                  <a:cxn ang="0">
                    <a:pos x="284" y="48"/>
                  </a:cxn>
                  <a:cxn ang="0">
                    <a:pos x="320" y="38"/>
                  </a:cxn>
                  <a:cxn ang="0">
                    <a:pos x="325" y="53"/>
                  </a:cxn>
                  <a:cxn ang="0">
                    <a:pos x="346" y="79"/>
                  </a:cxn>
                  <a:cxn ang="0">
                    <a:pos x="391" y="90"/>
                  </a:cxn>
                  <a:cxn ang="0">
                    <a:pos x="413" y="72"/>
                  </a:cxn>
                  <a:cxn ang="0">
                    <a:pos x="459" y="64"/>
                  </a:cxn>
                  <a:cxn ang="0">
                    <a:pos x="506" y="84"/>
                  </a:cxn>
                  <a:cxn ang="0">
                    <a:pos x="506" y="114"/>
                  </a:cxn>
                  <a:cxn ang="0">
                    <a:pos x="499" y="138"/>
                  </a:cxn>
                  <a:cxn ang="0">
                    <a:pos x="504" y="170"/>
                  </a:cxn>
                  <a:cxn ang="0">
                    <a:pos x="508" y="201"/>
                  </a:cxn>
                  <a:cxn ang="0">
                    <a:pos x="537" y="248"/>
                  </a:cxn>
                  <a:cxn ang="0">
                    <a:pos x="516" y="272"/>
                  </a:cxn>
                  <a:cxn ang="0">
                    <a:pos x="494" y="274"/>
                  </a:cxn>
                  <a:cxn ang="0">
                    <a:pos x="453" y="265"/>
                  </a:cxn>
                  <a:cxn ang="0">
                    <a:pos x="435" y="246"/>
                  </a:cxn>
                  <a:cxn ang="0">
                    <a:pos x="382" y="239"/>
                  </a:cxn>
                  <a:cxn ang="0">
                    <a:pos x="353" y="212"/>
                  </a:cxn>
                  <a:cxn ang="0">
                    <a:pos x="320" y="210"/>
                  </a:cxn>
                  <a:cxn ang="0">
                    <a:pos x="339" y="253"/>
                  </a:cxn>
                  <a:cxn ang="0">
                    <a:pos x="363" y="261"/>
                  </a:cxn>
                  <a:cxn ang="0">
                    <a:pos x="361" y="286"/>
                  </a:cxn>
                  <a:cxn ang="0">
                    <a:pos x="399" y="291"/>
                  </a:cxn>
                  <a:cxn ang="0">
                    <a:pos x="435" y="277"/>
                  </a:cxn>
                  <a:cxn ang="0">
                    <a:pos x="471" y="304"/>
                  </a:cxn>
                  <a:cxn ang="0">
                    <a:pos x="484" y="325"/>
                  </a:cxn>
                  <a:cxn ang="0">
                    <a:pos x="458" y="356"/>
                  </a:cxn>
                  <a:cxn ang="0">
                    <a:pos x="437" y="382"/>
                  </a:cxn>
                  <a:cxn ang="0">
                    <a:pos x="392" y="406"/>
                  </a:cxn>
                  <a:cxn ang="0">
                    <a:pos x="367" y="425"/>
                  </a:cxn>
                  <a:cxn ang="0">
                    <a:pos x="320" y="444"/>
                  </a:cxn>
                  <a:cxn ang="0">
                    <a:pos x="269" y="464"/>
                  </a:cxn>
                  <a:cxn ang="0">
                    <a:pos x="250" y="454"/>
                  </a:cxn>
                  <a:cxn ang="0">
                    <a:pos x="236" y="399"/>
                  </a:cxn>
                  <a:cxn ang="0">
                    <a:pos x="208" y="356"/>
                  </a:cxn>
                  <a:cxn ang="0">
                    <a:pos x="181" y="310"/>
                  </a:cxn>
                  <a:cxn ang="0">
                    <a:pos x="160" y="289"/>
                  </a:cxn>
                  <a:cxn ang="0">
                    <a:pos x="141" y="249"/>
                  </a:cxn>
                  <a:cxn ang="0">
                    <a:pos x="129" y="201"/>
                  </a:cxn>
                </a:cxnLst>
                <a:rect l="0" t="0" r="r" b="b"/>
                <a:pathLst>
                  <a:path w="537" h="466">
                    <a:moveTo>
                      <a:pt x="129" y="205"/>
                    </a:moveTo>
                    <a:lnTo>
                      <a:pt x="117" y="177"/>
                    </a:lnTo>
                    <a:lnTo>
                      <a:pt x="119" y="174"/>
                    </a:lnTo>
                    <a:lnTo>
                      <a:pt x="122" y="172"/>
                    </a:lnTo>
                    <a:lnTo>
                      <a:pt x="126" y="157"/>
                    </a:lnTo>
                    <a:lnTo>
                      <a:pt x="129" y="145"/>
                    </a:lnTo>
                    <a:lnTo>
                      <a:pt x="136" y="133"/>
                    </a:lnTo>
                    <a:lnTo>
                      <a:pt x="143" y="120"/>
                    </a:lnTo>
                    <a:lnTo>
                      <a:pt x="141" y="108"/>
                    </a:lnTo>
                    <a:lnTo>
                      <a:pt x="140" y="98"/>
                    </a:lnTo>
                    <a:lnTo>
                      <a:pt x="141" y="95"/>
                    </a:lnTo>
                    <a:lnTo>
                      <a:pt x="143" y="93"/>
                    </a:lnTo>
                    <a:lnTo>
                      <a:pt x="143" y="88"/>
                    </a:lnTo>
                    <a:lnTo>
                      <a:pt x="138" y="90"/>
                    </a:lnTo>
                    <a:lnTo>
                      <a:pt x="134" y="93"/>
                    </a:lnTo>
                    <a:lnTo>
                      <a:pt x="127" y="91"/>
                    </a:lnTo>
                    <a:lnTo>
                      <a:pt x="124" y="90"/>
                    </a:lnTo>
                    <a:lnTo>
                      <a:pt x="117" y="93"/>
                    </a:lnTo>
                    <a:lnTo>
                      <a:pt x="114" y="96"/>
                    </a:lnTo>
                    <a:lnTo>
                      <a:pt x="107" y="100"/>
                    </a:lnTo>
                    <a:lnTo>
                      <a:pt x="98" y="102"/>
                    </a:lnTo>
                    <a:lnTo>
                      <a:pt x="86" y="95"/>
                    </a:lnTo>
                    <a:lnTo>
                      <a:pt x="74" y="90"/>
                    </a:lnTo>
                    <a:lnTo>
                      <a:pt x="62" y="95"/>
                    </a:lnTo>
                    <a:lnTo>
                      <a:pt x="55" y="102"/>
                    </a:lnTo>
                    <a:lnTo>
                      <a:pt x="48" y="98"/>
                    </a:lnTo>
                    <a:lnTo>
                      <a:pt x="43" y="95"/>
                    </a:lnTo>
                    <a:lnTo>
                      <a:pt x="36" y="90"/>
                    </a:lnTo>
                    <a:lnTo>
                      <a:pt x="31" y="91"/>
                    </a:lnTo>
                    <a:lnTo>
                      <a:pt x="26" y="91"/>
                    </a:lnTo>
                    <a:lnTo>
                      <a:pt x="28" y="90"/>
                    </a:lnTo>
                    <a:lnTo>
                      <a:pt x="29" y="88"/>
                    </a:lnTo>
                    <a:lnTo>
                      <a:pt x="24" y="84"/>
                    </a:lnTo>
                    <a:lnTo>
                      <a:pt x="19" y="81"/>
                    </a:lnTo>
                    <a:lnTo>
                      <a:pt x="16" y="76"/>
                    </a:lnTo>
                    <a:lnTo>
                      <a:pt x="17" y="72"/>
                    </a:lnTo>
                    <a:lnTo>
                      <a:pt x="9" y="65"/>
                    </a:lnTo>
                    <a:lnTo>
                      <a:pt x="0" y="64"/>
                    </a:lnTo>
                    <a:lnTo>
                      <a:pt x="7" y="57"/>
                    </a:lnTo>
                    <a:lnTo>
                      <a:pt x="11" y="50"/>
                    </a:lnTo>
                    <a:lnTo>
                      <a:pt x="9" y="47"/>
                    </a:lnTo>
                    <a:lnTo>
                      <a:pt x="11" y="43"/>
                    </a:lnTo>
                    <a:lnTo>
                      <a:pt x="4" y="41"/>
                    </a:lnTo>
                    <a:lnTo>
                      <a:pt x="2" y="41"/>
                    </a:lnTo>
                    <a:lnTo>
                      <a:pt x="7" y="31"/>
                    </a:lnTo>
                    <a:lnTo>
                      <a:pt x="21" y="28"/>
                    </a:lnTo>
                    <a:lnTo>
                      <a:pt x="35" y="26"/>
                    </a:lnTo>
                    <a:lnTo>
                      <a:pt x="47" y="24"/>
                    </a:lnTo>
                    <a:lnTo>
                      <a:pt x="45" y="19"/>
                    </a:lnTo>
                    <a:lnTo>
                      <a:pt x="43" y="17"/>
                    </a:lnTo>
                    <a:lnTo>
                      <a:pt x="48" y="14"/>
                    </a:lnTo>
                    <a:lnTo>
                      <a:pt x="55" y="16"/>
                    </a:lnTo>
                    <a:lnTo>
                      <a:pt x="66" y="16"/>
                    </a:lnTo>
                    <a:lnTo>
                      <a:pt x="71" y="16"/>
                    </a:lnTo>
                    <a:lnTo>
                      <a:pt x="81" y="10"/>
                    </a:lnTo>
                    <a:lnTo>
                      <a:pt x="91" y="5"/>
                    </a:lnTo>
                    <a:lnTo>
                      <a:pt x="97" y="0"/>
                    </a:lnTo>
                    <a:lnTo>
                      <a:pt x="105" y="0"/>
                    </a:lnTo>
                    <a:lnTo>
                      <a:pt x="114" y="0"/>
                    </a:lnTo>
                    <a:lnTo>
                      <a:pt x="122" y="0"/>
                    </a:lnTo>
                    <a:lnTo>
                      <a:pt x="129" y="0"/>
                    </a:lnTo>
                    <a:lnTo>
                      <a:pt x="134" y="4"/>
                    </a:lnTo>
                    <a:lnTo>
                      <a:pt x="138" y="5"/>
                    </a:lnTo>
                    <a:lnTo>
                      <a:pt x="146" y="9"/>
                    </a:lnTo>
                    <a:lnTo>
                      <a:pt x="148" y="10"/>
                    </a:lnTo>
                    <a:lnTo>
                      <a:pt x="157" y="14"/>
                    </a:lnTo>
                    <a:lnTo>
                      <a:pt x="164" y="16"/>
                    </a:lnTo>
                    <a:lnTo>
                      <a:pt x="172" y="17"/>
                    </a:lnTo>
                    <a:lnTo>
                      <a:pt x="181" y="17"/>
                    </a:lnTo>
                    <a:lnTo>
                      <a:pt x="189" y="17"/>
                    </a:lnTo>
                    <a:lnTo>
                      <a:pt x="195" y="17"/>
                    </a:lnTo>
                    <a:lnTo>
                      <a:pt x="201" y="17"/>
                    </a:lnTo>
                    <a:lnTo>
                      <a:pt x="208" y="14"/>
                    </a:lnTo>
                    <a:lnTo>
                      <a:pt x="217" y="10"/>
                    </a:lnTo>
                    <a:lnTo>
                      <a:pt x="224" y="5"/>
                    </a:lnTo>
                    <a:lnTo>
                      <a:pt x="236" y="4"/>
                    </a:lnTo>
                    <a:lnTo>
                      <a:pt x="244" y="4"/>
                    </a:lnTo>
                    <a:lnTo>
                      <a:pt x="250" y="9"/>
                    </a:lnTo>
                    <a:lnTo>
                      <a:pt x="253" y="16"/>
                    </a:lnTo>
                    <a:lnTo>
                      <a:pt x="256" y="24"/>
                    </a:lnTo>
                    <a:lnTo>
                      <a:pt x="262" y="28"/>
                    </a:lnTo>
                    <a:lnTo>
                      <a:pt x="269" y="33"/>
                    </a:lnTo>
                    <a:lnTo>
                      <a:pt x="274" y="36"/>
                    </a:lnTo>
                    <a:lnTo>
                      <a:pt x="279" y="43"/>
                    </a:lnTo>
                    <a:lnTo>
                      <a:pt x="284" y="48"/>
                    </a:lnTo>
                    <a:lnTo>
                      <a:pt x="294" y="52"/>
                    </a:lnTo>
                    <a:lnTo>
                      <a:pt x="303" y="45"/>
                    </a:lnTo>
                    <a:lnTo>
                      <a:pt x="312" y="40"/>
                    </a:lnTo>
                    <a:lnTo>
                      <a:pt x="315" y="38"/>
                    </a:lnTo>
                    <a:lnTo>
                      <a:pt x="320" y="38"/>
                    </a:lnTo>
                    <a:lnTo>
                      <a:pt x="320" y="41"/>
                    </a:lnTo>
                    <a:lnTo>
                      <a:pt x="324" y="47"/>
                    </a:lnTo>
                    <a:lnTo>
                      <a:pt x="322" y="48"/>
                    </a:lnTo>
                    <a:lnTo>
                      <a:pt x="324" y="50"/>
                    </a:lnTo>
                    <a:lnTo>
                      <a:pt x="325" y="53"/>
                    </a:lnTo>
                    <a:lnTo>
                      <a:pt x="329" y="59"/>
                    </a:lnTo>
                    <a:lnTo>
                      <a:pt x="330" y="65"/>
                    </a:lnTo>
                    <a:lnTo>
                      <a:pt x="332" y="74"/>
                    </a:lnTo>
                    <a:lnTo>
                      <a:pt x="337" y="77"/>
                    </a:lnTo>
                    <a:lnTo>
                      <a:pt x="346" y="79"/>
                    </a:lnTo>
                    <a:lnTo>
                      <a:pt x="351" y="81"/>
                    </a:lnTo>
                    <a:lnTo>
                      <a:pt x="355" y="88"/>
                    </a:lnTo>
                    <a:lnTo>
                      <a:pt x="365" y="90"/>
                    </a:lnTo>
                    <a:lnTo>
                      <a:pt x="379" y="91"/>
                    </a:lnTo>
                    <a:lnTo>
                      <a:pt x="391" y="90"/>
                    </a:lnTo>
                    <a:lnTo>
                      <a:pt x="403" y="88"/>
                    </a:lnTo>
                    <a:lnTo>
                      <a:pt x="403" y="83"/>
                    </a:lnTo>
                    <a:lnTo>
                      <a:pt x="403" y="79"/>
                    </a:lnTo>
                    <a:lnTo>
                      <a:pt x="404" y="74"/>
                    </a:lnTo>
                    <a:lnTo>
                      <a:pt x="413" y="72"/>
                    </a:lnTo>
                    <a:lnTo>
                      <a:pt x="418" y="69"/>
                    </a:lnTo>
                    <a:lnTo>
                      <a:pt x="423" y="65"/>
                    </a:lnTo>
                    <a:lnTo>
                      <a:pt x="434" y="62"/>
                    </a:lnTo>
                    <a:lnTo>
                      <a:pt x="446" y="59"/>
                    </a:lnTo>
                    <a:lnTo>
                      <a:pt x="459" y="64"/>
                    </a:lnTo>
                    <a:lnTo>
                      <a:pt x="475" y="71"/>
                    </a:lnTo>
                    <a:lnTo>
                      <a:pt x="482" y="74"/>
                    </a:lnTo>
                    <a:lnTo>
                      <a:pt x="489" y="77"/>
                    </a:lnTo>
                    <a:lnTo>
                      <a:pt x="494" y="81"/>
                    </a:lnTo>
                    <a:lnTo>
                      <a:pt x="506" y="84"/>
                    </a:lnTo>
                    <a:lnTo>
                      <a:pt x="508" y="88"/>
                    </a:lnTo>
                    <a:lnTo>
                      <a:pt x="509" y="91"/>
                    </a:lnTo>
                    <a:lnTo>
                      <a:pt x="509" y="102"/>
                    </a:lnTo>
                    <a:lnTo>
                      <a:pt x="511" y="110"/>
                    </a:lnTo>
                    <a:lnTo>
                      <a:pt x="506" y="114"/>
                    </a:lnTo>
                    <a:lnTo>
                      <a:pt x="502" y="120"/>
                    </a:lnTo>
                    <a:lnTo>
                      <a:pt x="499" y="127"/>
                    </a:lnTo>
                    <a:lnTo>
                      <a:pt x="499" y="133"/>
                    </a:lnTo>
                    <a:lnTo>
                      <a:pt x="499" y="134"/>
                    </a:lnTo>
                    <a:lnTo>
                      <a:pt x="499" y="138"/>
                    </a:lnTo>
                    <a:lnTo>
                      <a:pt x="501" y="139"/>
                    </a:lnTo>
                    <a:lnTo>
                      <a:pt x="502" y="143"/>
                    </a:lnTo>
                    <a:lnTo>
                      <a:pt x="502" y="158"/>
                    </a:lnTo>
                    <a:lnTo>
                      <a:pt x="502" y="163"/>
                    </a:lnTo>
                    <a:lnTo>
                      <a:pt x="504" y="170"/>
                    </a:lnTo>
                    <a:lnTo>
                      <a:pt x="509" y="172"/>
                    </a:lnTo>
                    <a:lnTo>
                      <a:pt x="516" y="181"/>
                    </a:lnTo>
                    <a:lnTo>
                      <a:pt x="511" y="189"/>
                    </a:lnTo>
                    <a:lnTo>
                      <a:pt x="506" y="198"/>
                    </a:lnTo>
                    <a:lnTo>
                      <a:pt x="508" y="201"/>
                    </a:lnTo>
                    <a:lnTo>
                      <a:pt x="511" y="206"/>
                    </a:lnTo>
                    <a:lnTo>
                      <a:pt x="518" y="215"/>
                    </a:lnTo>
                    <a:lnTo>
                      <a:pt x="527" y="224"/>
                    </a:lnTo>
                    <a:lnTo>
                      <a:pt x="533" y="232"/>
                    </a:lnTo>
                    <a:lnTo>
                      <a:pt x="537" y="248"/>
                    </a:lnTo>
                    <a:lnTo>
                      <a:pt x="527" y="249"/>
                    </a:lnTo>
                    <a:lnTo>
                      <a:pt x="521" y="253"/>
                    </a:lnTo>
                    <a:lnTo>
                      <a:pt x="516" y="256"/>
                    </a:lnTo>
                    <a:lnTo>
                      <a:pt x="516" y="267"/>
                    </a:lnTo>
                    <a:lnTo>
                      <a:pt x="516" y="272"/>
                    </a:lnTo>
                    <a:lnTo>
                      <a:pt x="518" y="277"/>
                    </a:lnTo>
                    <a:lnTo>
                      <a:pt x="516" y="277"/>
                    </a:lnTo>
                    <a:lnTo>
                      <a:pt x="514" y="277"/>
                    </a:lnTo>
                    <a:lnTo>
                      <a:pt x="504" y="275"/>
                    </a:lnTo>
                    <a:lnTo>
                      <a:pt x="494" y="274"/>
                    </a:lnTo>
                    <a:lnTo>
                      <a:pt x="480" y="270"/>
                    </a:lnTo>
                    <a:lnTo>
                      <a:pt x="470" y="270"/>
                    </a:lnTo>
                    <a:lnTo>
                      <a:pt x="465" y="268"/>
                    </a:lnTo>
                    <a:lnTo>
                      <a:pt x="459" y="267"/>
                    </a:lnTo>
                    <a:lnTo>
                      <a:pt x="453" y="265"/>
                    </a:lnTo>
                    <a:lnTo>
                      <a:pt x="451" y="265"/>
                    </a:lnTo>
                    <a:lnTo>
                      <a:pt x="447" y="258"/>
                    </a:lnTo>
                    <a:lnTo>
                      <a:pt x="446" y="253"/>
                    </a:lnTo>
                    <a:lnTo>
                      <a:pt x="441" y="248"/>
                    </a:lnTo>
                    <a:lnTo>
                      <a:pt x="435" y="246"/>
                    </a:lnTo>
                    <a:lnTo>
                      <a:pt x="428" y="248"/>
                    </a:lnTo>
                    <a:lnTo>
                      <a:pt x="425" y="253"/>
                    </a:lnTo>
                    <a:lnTo>
                      <a:pt x="399" y="253"/>
                    </a:lnTo>
                    <a:lnTo>
                      <a:pt x="389" y="246"/>
                    </a:lnTo>
                    <a:lnTo>
                      <a:pt x="382" y="239"/>
                    </a:lnTo>
                    <a:lnTo>
                      <a:pt x="372" y="234"/>
                    </a:lnTo>
                    <a:lnTo>
                      <a:pt x="363" y="231"/>
                    </a:lnTo>
                    <a:lnTo>
                      <a:pt x="360" y="225"/>
                    </a:lnTo>
                    <a:lnTo>
                      <a:pt x="360" y="220"/>
                    </a:lnTo>
                    <a:lnTo>
                      <a:pt x="353" y="212"/>
                    </a:lnTo>
                    <a:lnTo>
                      <a:pt x="348" y="203"/>
                    </a:lnTo>
                    <a:lnTo>
                      <a:pt x="337" y="196"/>
                    </a:lnTo>
                    <a:lnTo>
                      <a:pt x="329" y="194"/>
                    </a:lnTo>
                    <a:lnTo>
                      <a:pt x="322" y="200"/>
                    </a:lnTo>
                    <a:lnTo>
                      <a:pt x="320" y="210"/>
                    </a:lnTo>
                    <a:lnTo>
                      <a:pt x="320" y="215"/>
                    </a:lnTo>
                    <a:lnTo>
                      <a:pt x="320" y="222"/>
                    </a:lnTo>
                    <a:lnTo>
                      <a:pt x="324" y="231"/>
                    </a:lnTo>
                    <a:lnTo>
                      <a:pt x="330" y="243"/>
                    </a:lnTo>
                    <a:lnTo>
                      <a:pt x="339" y="253"/>
                    </a:lnTo>
                    <a:lnTo>
                      <a:pt x="349" y="258"/>
                    </a:lnTo>
                    <a:lnTo>
                      <a:pt x="351" y="263"/>
                    </a:lnTo>
                    <a:lnTo>
                      <a:pt x="353" y="270"/>
                    </a:lnTo>
                    <a:lnTo>
                      <a:pt x="358" y="265"/>
                    </a:lnTo>
                    <a:lnTo>
                      <a:pt x="363" y="261"/>
                    </a:lnTo>
                    <a:lnTo>
                      <a:pt x="363" y="263"/>
                    </a:lnTo>
                    <a:lnTo>
                      <a:pt x="363" y="267"/>
                    </a:lnTo>
                    <a:lnTo>
                      <a:pt x="361" y="274"/>
                    </a:lnTo>
                    <a:lnTo>
                      <a:pt x="360" y="282"/>
                    </a:lnTo>
                    <a:lnTo>
                      <a:pt x="361" y="286"/>
                    </a:lnTo>
                    <a:lnTo>
                      <a:pt x="367" y="291"/>
                    </a:lnTo>
                    <a:lnTo>
                      <a:pt x="373" y="292"/>
                    </a:lnTo>
                    <a:lnTo>
                      <a:pt x="380" y="294"/>
                    </a:lnTo>
                    <a:lnTo>
                      <a:pt x="391" y="292"/>
                    </a:lnTo>
                    <a:lnTo>
                      <a:pt x="399" y="291"/>
                    </a:lnTo>
                    <a:lnTo>
                      <a:pt x="406" y="286"/>
                    </a:lnTo>
                    <a:lnTo>
                      <a:pt x="413" y="282"/>
                    </a:lnTo>
                    <a:lnTo>
                      <a:pt x="422" y="270"/>
                    </a:lnTo>
                    <a:lnTo>
                      <a:pt x="435" y="260"/>
                    </a:lnTo>
                    <a:lnTo>
                      <a:pt x="435" y="277"/>
                    </a:lnTo>
                    <a:lnTo>
                      <a:pt x="441" y="286"/>
                    </a:lnTo>
                    <a:lnTo>
                      <a:pt x="447" y="291"/>
                    </a:lnTo>
                    <a:lnTo>
                      <a:pt x="456" y="294"/>
                    </a:lnTo>
                    <a:lnTo>
                      <a:pt x="466" y="299"/>
                    </a:lnTo>
                    <a:lnTo>
                      <a:pt x="471" y="304"/>
                    </a:lnTo>
                    <a:lnTo>
                      <a:pt x="477" y="311"/>
                    </a:lnTo>
                    <a:lnTo>
                      <a:pt x="477" y="311"/>
                    </a:lnTo>
                    <a:lnTo>
                      <a:pt x="482" y="315"/>
                    </a:lnTo>
                    <a:lnTo>
                      <a:pt x="487" y="320"/>
                    </a:lnTo>
                    <a:lnTo>
                      <a:pt x="484" y="325"/>
                    </a:lnTo>
                    <a:lnTo>
                      <a:pt x="478" y="332"/>
                    </a:lnTo>
                    <a:lnTo>
                      <a:pt x="473" y="339"/>
                    </a:lnTo>
                    <a:lnTo>
                      <a:pt x="471" y="347"/>
                    </a:lnTo>
                    <a:lnTo>
                      <a:pt x="461" y="349"/>
                    </a:lnTo>
                    <a:lnTo>
                      <a:pt x="458" y="356"/>
                    </a:lnTo>
                    <a:lnTo>
                      <a:pt x="454" y="365"/>
                    </a:lnTo>
                    <a:lnTo>
                      <a:pt x="449" y="370"/>
                    </a:lnTo>
                    <a:lnTo>
                      <a:pt x="444" y="372"/>
                    </a:lnTo>
                    <a:lnTo>
                      <a:pt x="441" y="377"/>
                    </a:lnTo>
                    <a:lnTo>
                      <a:pt x="437" y="382"/>
                    </a:lnTo>
                    <a:lnTo>
                      <a:pt x="434" y="385"/>
                    </a:lnTo>
                    <a:lnTo>
                      <a:pt x="425" y="389"/>
                    </a:lnTo>
                    <a:lnTo>
                      <a:pt x="420" y="399"/>
                    </a:lnTo>
                    <a:lnTo>
                      <a:pt x="406" y="401"/>
                    </a:lnTo>
                    <a:lnTo>
                      <a:pt x="392" y="406"/>
                    </a:lnTo>
                    <a:lnTo>
                      <a:pt x="379" y="409"/>
                    </a:lnTo>
                    <a:lnTo>
                      <a:pt x="375" y="418"/>
                    </a:lnTo>
                    <a:lnTo>
                      <a:pt x="375" y="420"/>
                    </a:lnTo>
                    <a:lnTo>
                      <a:pt x="377" y="423"/>
                    </a:lnTo>
                    <a:lnTo>
                      <a:pt x="367" y="425"/>
                    </a:lnTo>
                    <a:lnTo>
                      <a:pt x="358" y="428"/>
                    </a:lnTo>
                    <a:lnTo>
                      <a:pt x="348" y="432"/>
                    </a:lnTo>
                    <a:lnTo>
                      <a:pt x="337" y="435"/>
                    </a:lnTo>
                    <a:lnTo>
                      <a:pt x="329" y="437"/>
                    </a:lnTo>
                    <a:lnTo>
                      <a:pt x="320" y="444"/>
                    </a:lnTo>
                    <a:lnTo>
                      <a:pt x="312" y="449"/>
                    </a:lnTo>
                    <a:lnTo>
                      <a:pt x="305" y="454"/>
                    </a:lnTo>
                    <a:lnTo>
                      <a:pt x="289" y="454"/>
                    </a:lnTo>
                    <a:lnTo>
                      <a:pt x="279" y="461"/>
                    </a:lnTo>
                    <a:lnTo>
                      <a:pt x="269" y="464"/>
                    </a:lnTo>
                    <a:lnTo>
                      <a:pt x="265" y="466"/>
                    </a:lnTo>
                    <a:lnTo>
                      <a:pt x="256" y="463"/>
                    </a:lnTo>
                    <a:lnTo>
                      <a:pt x="250" y="459"/>
                    </a:lnTo>
                    <a:lnTo>
                      <a:pt x="250" y="457"/>
                    </a:lnTo>
                    <a:lnTo>
                      <a:pt x="250" y="454"/>
                    </a:lnTo>
                    <a:lnTo>
                      <a:pt x="241" y="440"/>
                    </a:lnTo>
                    <a:lnTo>
                      <a:pt x="239" y="428"/>
                    </a:lnTo>
                    <a:lnTo>
                      <a:pt x="236" y="421"/>
                    </a:lnTo>
                    <a:lnTo>
                      <a:pt x="239" y="413"/>
                    </a:lnTo>
                    <a:lnTo>
                      <a:pt x="236" y="399"/>
                    </a:lnTo>
                    <a:lnTo>
                      <a:pt x="227" y="392"/>
                    </a:lnTo>
                    <a:lnTo>
                      <a:pt x="220" y="384"/>
                    </a:lnTo>
                    <a:lnTo>
                      <a:pt x="215" y="375"/>
                    </a:lnTo>
                    <a:lnTo>
                      <a:pt x="210" y="365"/>
                    </a:lnTo>
                    <a:lnTo>
                      <a:pt x="208" y="356"/>
                    </a:lnTo>
                    <a:lnTo>
                      <a:pt x="196" y="351"/>
                    </a:lnTo>
                    <a:lnTo>
                      <a:pt x="189" y="344"/>
                    </a:lnTo>
                    <a:lnTo>
                      <a:pt x="186" y="334"/>
                    </a:lnTo>
                    <a:lnTo>
                      <a:pt x="186" y="322"/>
                    </a:lnTo>
                    <a:lnTo>
                      <a:pt x="181" y="310"/>
                    </a:lnTo>
                    <a:lnTo>
                      <a:pt x="177" y="298"/>
                    </a:lnTo>
                    <a:lnTo>
                      <a:pt x="172" y="294"/>
                    </a:lnTo>
                    <a:lnTo>
                      <a:pt x="170" y="292"/>
                    </a:lnTo>
                    <a:lnTo>
                      <a:pt x="165" y="291"/>
                    </a:lnTo>
                    <a:lnTo>
                      <a:pt x="160" y="289"/>
                    </a:lnTo>
                    <a:lnTo>
                      <a:pt x="157" y="282"/>
                    </a:lnTo>
                    <a:lnTo>
                      <a:pt x="157" y="275"/>
                    </a:lnTo>
                    <a:lnTo>
                      <a:pt x="153" y="268"/>
                    </a:lnTo>
                    <a:lnTo>
                      <a:pt x="150" y="263"/>
                    </a:lnTo>
                    <a:lnTo>
                      <a:pt x="141" y="249"/>
                    </a:lnTo>
                    <a:lnTo>
                      <a:pt x="134" y="237"/>
                    </a:lnTo>
                    <a:lnTo>
                      <a:pt x="129" y="231"/>
                    </a:lnTo>
                    <a:lnTo>
                      <a:pt x="126" y="225"/>
                    </a:lnTo>
                    <a:lnTo>
                      <a:pt x="127" y="213"/>
                    </a:lnTo>
                    <a:lnTo>
                      <a:pt x="129" y="201"/>
                    </a:lnTo>
                    <a:lnTo>
                      <a:pt x="129" y="20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0" name="Freeform 194"/>
              <p:cNvSpPr>
                <a:spLocks/>
              </p:cNvSpPr>
              <p:nvPr/>
            </p:nvSpPr>
            <p:spPr bwMode="auto">
              <a:xfrm>
                <a:off x="6136482" y="3794125"/>
                <a:ext cx="44450" cy="87312"/>
              </a:xfrm>
              <a:custGeom>
                <a:avLst/>
                <a:gdLst/>
                <a:ahLst/>
                <a:cxnLst>
                  <a:cxn ang="0">
                    <a:pos x="28" y="35"/>
                  </a:cxn>
                  <a:cxn ang="0">
                    <a:pos x="23" y="47"/>
                  </a:cxn>
                  <a:cxn ang="0">
                    <a:pos x="12" y="55"/>
                  </a:cxn>
                  <a:cxn ang="0">
                    <a:pos x="4" y="50"/>
                  </a:cxn>
                  <a:cxn ang="0">
                    <a:pos x="0" y="42"/>
                  </a:cxn>
                  <a:cxn ang="0">
                    <a:pos x="0" y="30"/>
                  </a:cxn>
                  <a:cxn ang="0">
                    <a:pos x="4" y="19"/>
                  </a:cxn>
                  <a:cxn ang="0">
                    <a:pos x="5" y="9"/>
                  </a:cxn>
                  <a:cxn ang="0">
                    <a:pos x="7" y="0"/>
                  </a:cxn>
                  <a:cxn ang="0">
                    <a:pos x="12" y="7"/>
                  </a:cxn>
                  <a:cxn ang="0">
                    <a:pos x="19" y="14"/>
                  </a:cxn>
                  <a:cxn ang="0">
                    <a:pos x="24" y="23"/>
                  </a:cxn>
                  <a:cxn ang="0">
                    <a:pos x="28" y="35"/>
                  </a:cxn>
                </a:cxnLst>
                <a:rect l="0" t="0" r="r" b="b"/>
                <a:pathLst>
                  <a:path w="28" h="55">
                    <a:moveTo>
                      <a:pt x="28" y="35"/>
                    </a:moveTo>
                    <a:lnTo>
                      <a:pt x="23" y="47"/>
                    </a:lnTo>
                    <a:lnTo>
                      <a:pt x="12" y="55"/>
                    </a:lnTo>
                    <a:lnTo>
                      <a:pt x="4" y="50"/>
                    </a:lnTo>
                    <a:lnTo>
                      <a:pt x="0" y="42"/>
                    </a:lnTo>
                    <a:lnTo>
                      <a:pt x="0" y="30"/>
                    </a:lnTo>
                    <a:lnTo>
                      <a:pt x="4" y="19"/>
                    </a:lnTo>
                    <a:lnTo>
                      <a:pt x="5" y="9"/>
                    </a:lnTo>
                    <a:lnTo>
                      <a:pt x="7" y="0"/>
                    </a:lnTo>
                    <a:lnTo>
                      <a:pt x="12" y="7"/>
                    </a:lnTo>
                    <a:lnTo>
                      <a:pt x="19" y="14"/>
                    </a:lnTo>
                    <a:lnTo>
                      <a:pt x="24" y="23"/>
                    </a:lnTo>
                    <a:lnTo>
                      <a:pt x="28" y="3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1" name="Freeform 195"/>
              <p:cNvSpPr>
                <a:spLocks/>
              </p:cNvSpPr>
              <p:nvPr/>
            </p:nvSpPr>
            <p:spPr bwMode="auto">
              <a:xfrm>
                <a:off x="5699919" y="3082925"/>
                <a:ext cx="930275" cy="747712"/>
              </a:xfrm>
              <a:custGeom>
                <a:avLst/>
                <a:gdLst/>
                <a:ahLst/>
                <a:cxnLst>
                  <a:cxn ang="0">
                    <a:pos x="174" y="325"/>
                  </a:cxn>
                  <a:cxn ang="0">
                    <a:pos x="196" y="374"/>
                  </a:cxn>
                  <a:cxn ang="0">
                    <a:pos x="212" y="417"/>
                  </a:cxn>
                  <a:cxn ang="0">
                    <a:pos x="236" y="466"/>
                  </a:cxn>
                  <a:cxn ang="0">
                    <a:pos x="253" y="457"/>
                  </a:cxn>
                  <a:cxn ang="0">
                    <a:pos x="270" y="438"/>
                  </a:cxn>
                  <a:cxn ang="0">
                    <a:pos x="277" y="407"/>
                  </a:cxn>
                  <a:cxn ang="0">
                    <a:pos x="298" y="354"/>
                  </a:cxn>
                  <a:cxn ang="0">
                    <a:pos x="344" y="306"/>
                  </a:cxn>
                  <a:cxn ang="0">
                    <a:pos x="377" y="276"/>
                  </a:cxn>
                  <a:cxn ang="0">
                    <a:pos x="413" y="266"/>
                  </a:cxn>
                  <a:cxn ang="0">
                    <a:pos x="451" y="263"/>
                  </a:cxn>
                  <a:cxn ang="0">
                    <a:pos x="480" y="309"/>
                  </a:cxn>
                  <a:cxn ang="0">
                    <a:pos x="487" y="347"/>
                  </a:cxn>
                  <a:cxn ang="0">
                    <a:pos x="516" y="342"/>
                  </a:cxn>
                  <a:cxn ang="0">
                    <a:pos x="533" y="347"/>
                  </a:cxn>
                  <a:cxn ang="0">
                    <a:pos x="537" y="380"/>
                  </a:cxn>
                  <a:cxn ang="0">
                    <a:pos x="549" y="441"/>
                  </a:cxn>
                  <a:cxn ang="0">
                    <a:pos x="562" y="404"/>
                  </a:cxn>
                  <a:cxn ang="0">
                    <a:pos x="543" y="368"/>
                  </a:cxn>
                  <a:cxn ang="0">
                    <a:pos x="549" y="354"/>
                  </a:cxn>
                  <a:cxn ang="0">
                    <a:pos x="537" y="304"/>
                  </a:cxn>
                  <a:cxn ang="0">
                    <a:pos x="571" y="280"/>
                  </a:cxn>
                  <a:cxn ang="0">
                    <a:pos x="566" y="257"/>
                  </a:cxn>
                  <a:cxn ang="0">
                    <a:pos x="552" y="230"/>
                  </a:cxn>
                  <a:cxn ang="0">
                    <a:pos x="540" y="213"/>
                  </a:cxn>
                  <a:cxn ang="0">
                    <a:pos x="540" y="165"/>
                  </a:cxn>
                  <a:cxn ang="0">
                    <a:pos x="509" y="144"/>
                  </a:cxn>
                  <a:cxn ang="0">
                    <a:pos x="483" y="156"/>
                  </a:cxn>
                  <a:cxn ang="0">
                    <a:pos x="444" y="168"/>
                  </a:cxn>
                  <a:cxn ang="0">
                    <a:pos x="404" y="166"/>
                  </a:cxn>
                  <a:cxn ang="0">
                    <a:pos x="358" y="165"/>
                  </a:cxn>
                  <a:cxn ang="0">
                    <a:pos x="335" y="146"/>
                  </a:cxn>
                  <a:cxn ang="0">
                    <a:pos x="282" y="127"/>
                  </a:cxn>
                  <a:cxn ang="0">
                    <a:pos x="261" y="103"/>
                  </a:cxn>
                  <a:cxn ang="0">
                    <a:pos x="265" y="79"/>
                  </a:cxn>
                  <a:cxn ang="0">
                    <a:pos x="277" y="44"/>
                  </a:cxn>
                  <a:cxn ang="0">
                    <a:pos x="224" y="39"/>
                  </a:cxn>
                  <a:cxn ang="0">
                    <a:pos x="198" y="17"/>
                  </a:cxn>
                  <a:cxn ang="0">
                    <a:pos x="157" y="12"/>
                  </a:cxn>
                  <a:cxn ang="0">
                    <a:pos x="132" y="12"/>
                  </a:cxn>
                  <a:cxn ang="0">
                    <a:pos x="91" y="20"/>
                  </a:cxn>
                  <a:cxn ang="0">
                    <a:pos x="62" y="22"/>
                  </a:cxn>
                  <a:cxn ang="0">
                    <a:pos x="34" y="49"/>
                  </a:cxn>
                  <a:cxn ang="0">
                    <a:pos x="12" y="51"/>
                  </a:cxn>
                  <a:cxn ang="0">
                    <a:pos x="0" y="75"/>
                  </a:cxn>
                  <a:cxn ang="0">
                    <a:pos x="3" y="104"/>
                  </a:cxn>
                  <a:cxn ang="0">
                    <a:pos x="7" y="139"/>
                  </a:cxn>
                  <a:cxn ang="0">
                    <a:pos x="34" y="173"/>
                  </a:cxn>
                  <a:cxn ang="0">
                    <a:pos x="17" y="208"/>
                  </a:cxn>
                  <a:cxn ang="0">
                    <a:pos x="41" y="213"/>
                  </a:cxn>
                  <a:cxn ang="0">
                    <a:pos x="83" y="213"/>
                  </a:cxn>
                  <a:cxn ang="0">
                    <a:pos x="115" y="247"/>
                  </a:cxn>
                  <a:cxn ang="0">
                    <a:pos x="131" y="259"/>
                  </a:cxn>
                  <a:cxn ang="0">
                    <a:pos x="136" y="282"/>
                  </a:cxn>
                  <a:cxn ang="0">
                    <a:pos x="167" y="261"/>
                  </a:cxn>
                  <a:cxn ang="0">
                    <a:pos x="174" y="288"/>
                  </a:cxn>
                </a:cxnLst>
                <a:rect l="0" t="0" r="r" b="b"/>
                <a:pathLst>
                  <a:path w="586" h="471">
                    <a:moveTo>
                      <a:pt x="174" y="304"/>
                    </a:moveTo>
                    <a:lnTo>
                      <a:pt x="170" y="302"/>
                    </a:lnTo>
                    <a:lnTo>
                      <a:pt x="170" y="306"/>
                    </a:lnTo>
                    <a:lnTo>
                      <a:pt x="172" y="311"/>
                    </a:lnTo>
                    <a:lnTo>
                      <a:pt x="174" y="325"/>
                    </a:lnTo>
                    <a:lnTo>
                      <a:pt x="181" y="338"/>
                    </a:lnTo>
                    <a:lnTo>
                      <a:pt x="182" y="347"/>
                    </a:lnTo>
                    <a:lnTo>
                      <a:pt x="187" y="357"/>
                    </a:lnTo>
                    <a:lnTo>
                      <a:pt x="191" y="366"/>
                    </a:lnTo>
                    <a:lnTo>
                      <a:pt x="196" y="374"/>
                    </a:lnTo>
                    <a:lnTo>
                      <a:pt x="198" y="383"/>
                    </a:lnTo>
                    <a:lnTo>
                      <a:pt x="201" y="392"/>
                    </a:lnTo>
                    <a:lnTo>
                      <a:pt x="203" y="400"/>
                    </a:lnTo>
                    <a:lnTo>
                      <a:pt x="206" y="412"/>
                    </a:lnTo>
                    <a:lnTo>
                      <a:pt x="212" y="417"/>
                    </a:lnTo>
                    <a:lnTo>
                      <a:pt x="218" y="428"/>
                    </a:lnTo>
                    <a:lnTo>
                      <a:pt x="224" y="443"/>
                    </a:lnTo>
                    <a:lnTo>
                      <a:pt x="232" y="460"/>
                    </a:lnTo>
                    <a:lnTo>
                      <a:pt x="232" y="462"/>
                    </a:lnTo>
                    <a:lnTo>
                      <a:pt x="236" y="466"/>
                    </a:lnTo>
                    <a:lnTo>
                      <a:pt x="237" y="469"/>
                    </a:lnTo>
                    <a:lnTo>
                      <a:pt x="244" y="471"/>
                    </a:lnTo>
                    <a:lnTo>
                      <a:pt x="246" y="467"/>
                    </a:lnTo>
                    <a:lnTo>
                      <a:pt x="249" y="460"/>
                    </a:lnTo>
                    <a:lnTo>
                      <a:pt x="253" y="457"/>
                    </a:lnTo>
                    <a:lnTo>
                      <a:pt x="260" y="455"/>
                    </a:lnTo>
                    <a:lnTo>
                      <a:pt x="261" y="450"/>
                    </a:lnTo>
                    <a:lnTo>
                      <a:pt x="263" y="447"/>
                    </a:lnTo>
                    <a:lnTo>
                      <a:pt x="265" y="440"/>
                    </a:lnTo>
                    <a:lnTo>
                      <a:pt x="270" y="438"/>
                    </a:lnTo>
                    <a:lnTo>
                      <a:pt x="272" y="436"/>
                    </a:lnTo>
                    <a:lnTo>
                      <a:pt x="275" y="436"/>
                    </a:lnTo>
                    <a:lnTo>
                      <a:pt x="277" y="435"/>
                    </a:lnTo>
                    <a:lnTo>
                      <a:pt x="275" y="423"/>
                    </a:lnTo>
                    <a:lnTo>
                      <a:pt x="277" y="407"/>
                    </a:lnTo>
                    <a:lnTo>
                      <a:pt x="280" y="392"/>
                    </a:lnTo>
                    <a:lnTo>
                      <a:pt x="279" y="380"/>
                    </a:lnTo>
                    <a:lnTo>
                      <a:pt x="277" y="369"/>
                    </a:lnTo>
                    <a:lnTo>
                      <a:pt x="282" y="359"/>
                    </a:lnTo>
                    <a:lnTo>
                      <a:pt x="298" y="354"/>
                    </a:lnTo>
                    <a:lnTo>
                      <a:pt x="303" y="349"/>
                    </a:lnTo>
                    <a:lnTo>
                      <a:pt x="310" y="343"/>
                    </a:lnTo>
                    <a:lnTo>
                      <a:pt x="323" y="328"/>
                    </a:lnTo>
                    <a:lnTo>
                      <a:pt x="339" y="313"/>
                    </a:lnTo>
                    <a:lnTo>
                      <a:pt x="344" y="306"/>
                    </a:lnTo>
                    <a:lnTo>
                      <a:pt x="354" y="302"/>
                    </a:lnTo>
                    <a:lnTo>
                      <a:pt x="363" y="297"/>
                    </a:lnTo>
                    <a:lnTo>
                      <a:pt x="371" y="294"/>
                    </a:lnTo>
                    <a:lnTo>
                      <a:pt x="373" y="285"/>
                    </a:lnTo>
                    <a:lnTo>
                      <a:pt x="377" y="276"/>
                    </a:lnTo>
                    <a:lnTo>
                      <a:pt x="384" y="270"/>
                    </a:lnTo>
                    <a:lnTo>
                      <a:pt x="392" y="263"/>
                    </a:lnTo>
                    <a:lnTo>
                      <a:pt x="397" y="266"/>
                    </a:lnTo>
                    <a:lnTo>
                      <a:pt x="404" y="268"/>
                    </a:lnTo>
                    <a:lnTo>
                      <a:pt x="413" y="266"/>
                    </a:lnTo>
                    <a:lnTo>
                      <a:pt x="423" y="264"/>
                    </a:lnTo>
                    <a:lnTo>
                      <a:pt x="428" y="259"/>
                    </a:lnTo>
                    <a:lnTo>
                      <a:pt x="432" y="251"/>
                    </a:lnTo>
                    <a:lnTo>
                      <a:pt x="444" y="254"/>
                    </a:lnTo>
                    <a:lnTo>
                      <a:pt x="451" y="263"/>
                    </a:lnTo>
                    <a:lnTo>
                      <a:pt x="452" y="271"/>
                    </a:lnTo>
                    <a:lnTo>
                      <a:pt x="456" y="282"/>
                    </a:lnTo>
                    <a:lnTo>
                      <a:pt x="463" y="290"/>
                    </a:lnTo>
                    <a:lnTo>
                      <a:pt x="473" y="299"/>
                    </a:lnTo>
                    <a:lnTo>
                      <a:pt x="480" y="309"/>
                    </a:lnTo>
                    <a:lnTo>
                      <a:pt x="487" y="325"/>
                    </a:lnTo>
                    <a:lnTo>
                      <a:pt x="488" y="328"/>
                    </a:lnTo>
                    <a:lnTo>
                      <a:pt x="490" y="331"/>
                    </a:lnTo>
                    <a:lnTo>
                      <a:pt x="488" y="338"/>
                    </a:lnTo>
                    <a:lnTo>
                      <a:pt x="487" y="347"/>
                    </a:lnTo>
                    <a:lnTo>
                      <a:pt x="488" y="356"/>
                    </a:lnTo>
                    <a:lnTo>
                      <a:pt x="495" y="359"/>
                    </a:lnTo>
                    <a:lnTo>
                      <a:pt x="502" y="356"/>
                    </a:lnTo>
                    <a:lnTo>
                      <a:pt x="511" y="350"/>
                    </a:lnTo>
                    <a:lnTo>
                      <a:pt x="516" y="342"/>
                    </a:lnTo>
                    <a:lnTo>
                      <a:pt x="521" y="337"/>
                    </a:lnTo>
                    <a:lnTo>
                      <a:pt x="523" y="340"/>
                    </a:lnTo>
                    <a:lnTo>
                      <a:pt x="526" y="345"/>
                    </a:lnTo>
                    <a:lnTo>
                      <a:pt x="530" y="345"/>
                    </a:lnTo>
                    <a:lnTo>
                      <a:pt x="533" y="347"/>
                    </a:lnTo>
                    <a:lnTo>
                      <a:pt x="533" y="352"/>
                    </a:lnTo>
                    <a:lnTo>
                      <a:pt x="533" y="361"/>
                    </a:lnTo>
                    <a:lnTo>
                      <a:pt x="533" y="366"/>
                    </a:lnTo>
                    <a:lnTo>
                      <a:pt x="537" y="369"/>
                    </a:lnTo>
                    <a:lnTo>
                      <a:pt x="537" y="380"/>
                    </a:lnTo>
                    <a:lnTo>
                      <a:pt x="542" y="392"/>
                    </a:lnTo>
                    <a:lnTo>
                      <a:pt x="545" y="404"/>
                    </a:lnTo>
                    <a:lnTo>
                      <a:pt x="549" y="421"/>
                    </a:lnTo>
                    <a:lnTo>
                      <a:pt x="547" y="431"/>
                    </a:lnTo>
                    <a:lnTo>
                      <a:pt x="549" y="441"/>
                    </a:lnTo>
                    <a:lnTo>
                      <a:pt x="554" y="428"/>
                    </a:lnTo>
                    <a:lnTo>
                      <a:pt x="559" y="417"/>
                    </a:lnTo>
                    <a:lnTo>
                      <a:pt x="561" y="414"/>
                    </a:lnTo>
                    <a:lnTo>
                      <a:pt x="564" y="411"/>
                    </a:lnTo>
                    <a:lnTo>
                      <a:pt x="562" y="404"/>
                    </a:lnTo>
                    <a:lnTo>
                      <a:pt x="559" y="395"/>
                    </a:lnTo>
                    <a:lnTo>
                      <a:pt x="556" y="385"/>
                    </a:lnTo>
                    <a:lnTo>
                      <a:pt x="554" y="380"/>
                    </a:lnTo>
                    <a:lnTo>
                      <a:pt x="545" y="374"/>
                    </a:lnTo>
                    <a:lnTo>
                      <a:pt x="543" y="368"/>
                    </a:lnTo>
                    <a:lnTo>
                      <a:pt x="543" y="366"/>
                    </a:lnTo>
                    <a:lnTo>
                      <a:pt x="545" y="364"/>
                    </a:lnTo>
                    <a:lnTo>
                      <a:pt x="545" y="364"/>
                    </a:lnTo>
                    <a:lnTo>
                      <a:pt x="547" y="359"/>
                    </a:lnTo>
                    <a:lnTo>
                      <a:pt x="549" y="354"/>
                    </a:lnTo>
                    <a:lnTo>
                      <a:pt x="547" y="342"/>
                    </a:lnTo>
                    <a:lnTo>
                      <a:pt x="545" y="331"/>
                    </a:lnTo>
                    <a:lnTo>
                      <a:pt x="538" y="325"/>
                    </a:lnTo>
                    <a:lnTo>
                      <a:pt x="535" y="318"/>
                    </a:lnTo>
                    <a:lnTo>
                      <a:pt x="537" y="304"/>
                    </a:lnTo>
                    <a:lnTo>
                      <a:pt x="543" y="297"/>
                    </a:lnTo>
                    <a:lnTo>
                      <a:pt x="549" y="294"/>
                    </a:lnTo>
                    <a:lnTo>
                      <a:pt x="557" y="292"/>
                    </a:lnTo>
                    <a:lnTo>
                      <a:pt x="564" y="285"/>
                    </a:lnTo>
                    <a:lnTo>
                      <a:pt x="571" y="280"/>
                    </a:lnTo>
                    <a:lnTo>
                      <a:pt x="578" y="273"/>
                    </a:lnTo>
                    <a:lnTo>
                      <a:pt x="586" y="264"/>
                    </a:lnTo>
                    <a:lnTo>
                      <a:pt x="581" y="264"/>
                    </a:lnTo>
                    <a:lnTo>
                      <a:pt x="578" y="266"/>
                    </a:lnTo>
                    <a:lnTo>
                      <a:pt x="566" y="257"/>
                    </a:lnTo>
                    <a:lnTo>
                      <a:pt x="562" y="244"/>
                    </a:lnTo>
                    <a:lnTo>
                      <a:pt x="557" y="240"/>
                    </a:lnTo>
                    <a:lnTo>
                      <a:pt x="556" y="237"/>
                    </a:lnTo>
                    <a:lnTo>
                      <a:pt x="554" y="232"/>
                    </a:lnTo>
                    <a:lnTo>
                      <a:pt x="552" y="230"/>
                    </a:lnTo>
                    <a:lnTo>
                      <a:pt x="545" y="230"/>
                    </a:lnTo>
                    <a:lnTo>
                      <a:pt x="540" y="232"/>
                    </a:lnTo>
                    <a:lnTo>
                      <a:pt x="538" y="228"/>
                    </a:lnTo>
                    <a:lnTo>
                      <a:pt x="538" y="227"/>
                    </a:lnTo>
                    <a:lnTo>
                      <a:pt x="540" y="213"/>
                    </a:lnTo>
                    <a:lnTo>
                      <a:pt x="545" y="206"/>
                    </a:lnTo>
                    <a:lnTo>
                      <a:pt x="549" y="199"/>
                    </a:lnTo>
                    <a:lnTo>
                      <a:pt x="552" y="187"/>
                    </a:lnTo>
                    <a:lnTo>
                      <a:pt x="547" y="175"/>
                    </a:lnTo>
                    <a:lnTo>
                      <a:pt x="540" y="165"/>
                    </a:lnTo>
                    <a:lnTo>
                      <a:pt x="530" y="159"/>
                    </a:lnTo>
                    <a:lnTo>
                      <a:pt x="523" y="158"/>
                    </a:lnTo>
                    <a:lnTo>
                      <a:pt x="516" y="151"/>
                    </a:lnTo>
                    <a:lnTo>
                      <a:pt x="513" y="144"/>
                    </a:lnTo>
                    <a:lnTo>
                      <a:pt x="509" y="144"/>
                    </a:lnTo>
                    <a:lnTo>
                      <a:pt x="506" y="149"/>
                    </a:lnTo>
                    <a:lnTo>
                      <a:pt x="495" y="147"/>
                    </a:lnTo>
                    <a:lnTo>
                      <a:pt x="488" y="149"/>
                    </a:lnTo>
                    <a:lnTo>
                      <a:pt x="485" y="151"/>
                    </a:lnTo>
                    <a:lnTo>
                      <a:pt x="483" y="156"/>
                    </a:lnTo>
                    <a:lnTo>
                      <a:pt x="476" y="158"/>
                    </a:lnTo>
                    <a:lnTo>
                      <a:pt x="470" y="163"/>
                    </a:lnTo>
                    <a:lnTo>
                      <a:pt x="461" y="168"/>
                    </a:lnTo>
                    <a:lnTo>
                      <a:pt x="456" y="172"/>
                    </a:lnTo>
                    <a:lnTo>
                      <a:pt x="444" y="168"/>
                    </a:lnTo>
                    <a:lnTo>
                      <a:pt x="430" y="165"/>
                    </a:lnTo>
                    <a:lnTo>
                      <a:pt x="416" y="170"/>
                    </a:lnTo>
                    <a:lnTo>
                      <a:pt x="408" y="178"/>
                    </a:lnTo>
                    <a:lnTo>
                      <a:pt x="406" y="170"/>
                    </a:lnTo>
                    <a:lnTo>
                      <a:pt x="404" y="166"/>
                    </a:lnTo>
                    <a:lnTo>
                      <a:pt x="399" y="168"/>
                    </a:lnTo>
                    <a:lnTo>
                      <a:pt x="394" y="170"/>
                    </a:lnTo>
                    <a:lnTo>
                      <a:pt x="384" y="170"/>
                    </a:lnTo>
                    <a:lnTo>
                      <a:pt x="373" y="170"/>
                    </a:lnTo>
                    <a:lnTo>
                      <a:pt x="358" y="165"/>
                    </a:lnTo>
                    <a:lnTo>
                      <a:pt x="349" y="156"/>
                    </a:lnTo>
                    <a:lnTo>
                      <a:pt x="344" y="156"/>
                    </a:lnTo>
                    <a:lnTo>
                      <a:pt x="341" y="156"/>
                    </a:lnTo>
                    <a:lnTo>
                      <a:pt x="337" y="149"/>
                    </a:lnTo>
                    <a:lnTo>
                      <a:pt x="335" y="146"/>
                    </a:lnTo>
                    <a:lnTo>
                      <a:pt x="323" y="142"/>
                    </a:lnTo>
                    <a:lnTo>
                      <a:pt x="316" y="139"/>
                    </a:lnTo>
                    <a:lnTo>
                      <a:pt x="306" y="134"/>
                    </a:lnTo>
                    <a:lnTo>
                      <a:pt x="294" y="134"/>
                    </a:lnTo>
                    <a:lnTo>
                      <a:pt x="282" y="127"/>
                    </a:lnTo>
                    <a:lnTo>
                      <a:pt x="272" y="122"/>
                    </a:lnTo>
                    <a:lnTo>
                      <a:pt x="267" y="120"/>
                    </a:lnTo>
                    <a:lnTo>
                      <a:pt x="265" y="118"/>
                    </a:lnTo>
                    <a:lnTo>
                      <a:pt x="263" y="110"/>
                    </a:lnTo>
                    <a:lnTo>
                      <a:pt x="261" y="103"/>
                    </a:lnTo>
                    <a:lnTo>
                      <a:pt x="261" y="98"/>
                    </a:lnTo>
                    <a:lnTo>
                      <a:pt x="268" y="96"/>
                    </a:lnTo>
                    <a:lnTo>
                      <a:pt x="273" y="92"/>
                    </a:lnTo>
                    <a:lnTo>
                      <a:pt x="268" y="86"/>
                    </a:lnTo>
                    <a:lnTo>
                      <a:pt x="265" y="79"/>
                    </a:lnTo>
                    <a:lnTo>
                      <a:pt x="267" y="70"/>
                    </a:lnTo>
                    <a:lnTo>
                      <a:pt x="273" y="67"/>
                    </a:lnTo>
                    <a:lnTo>
                      <a:pt x="280" y="61"/>
                    </a:lnTo>
                    <a:lnTo>
                      <a:pt x="284" y="55"/>
                    </a:lnTo>
                    <a:lnTo>
                      <a:pt x="277" y="44"/>
                    </a:lnTo>
                    <a:lnTo>
                      <a:pt x="268" y="41"/>
                    </a:lnTo>
                    <a:lnTo>
                      <a:pt x="258" y="44"/>
                    </a:lnTo>
                    <a:lnTo>
                      <a:pt x="248" y="49"/>
                    </a:lnTo>
                    <a:lnTo>
                      <a:pt x="234" y="44"/>
                    </a:lnTo>
                    <a:lnTo>
                      <a:pt x="224" y="39"/>
                    </a:lnTo>
                    <a:lnTo>
                      <a:pt x="222" y="32"/>
                    </a:lnTo>
                    <a:lnTo>
                      <a:pt x="218" y="27"/>
                    </a:lnTo>
                    <a:lnTo>
                      <a:pt x="208" y="25"/>
                    </a:lnTo>
                    <a:lnTo>
                      <a:pt x="206" y="18"/>
                    </a:lnTo>
                    <a:lnTo>
                      <a:pt x="198" y="17"/>
                    </a:lnTo>
                    <a:lnTo>
                      <a:pt x="189" y="17"/>
                    </a:lnTo>
                    <a:lnTo>
                      <a:pt x="175" y="20"/>
                    </a:lnTo>
                    <a:lnTo>
                      <a:pt x="163" y="25"/>
                    </a:lnTo>
                    <a:lnTo>
                      <a:pt x="157" y="20"/>
                    </a:lnTo>
                    <a:lnTo>
                      <a:pt x="157" y="12"/>
                    </a:lnTo>
                    <a:lnTo>
                      <a:pt x="155" y="3"/>
                    </a:lnTo>
                    <a:lnTo>
                      <a:pt x="151" y="0"/>
                    </a:lnTo>
                    <a:lnTo>
                      <a:pt x="139" y="5"/>
                    </a:lnTo>
                    <a:lnTo>
                      <a:pt x="134" y="12"/>
                    </a:lnTo>
                    <a:lnTo>
                      <a:pt x="132" y="12"/>
                    </a:lnTo>
                    <a:lnTo>
                      <a:pt x="122" y="20"/>
                    </a:lnTo>
                    <a:lnTo>
                      <a:pt x="110" y="24"/>
                    </a:lnTo>
                    <a:lnTo>
                      <a:pt x="105" y="20"/>
                    </a:lnTo>
                    <a:lnTo>
                      <a:pt x="100" y="18"/>
                    </a:lnTo>
                    <a:lnTo>
                      <a:pt x="91" y="20"/>
                    </a:lnTo>
                    <a:lnTo>
                      <a:pt x="84" y="17"/>
                    </a:lnTo>
                    <a:lnTo>
                      <a:pt x="79" y="15"/>
                    </a:lnTo>
                    <a:lnTo>
                      <a:pt x="76" y="15"/>
                    </a:lnTo>
                    <a:lnTo>
                      <a:pt x="67" y="17"/>
                    </a:lnTo>
                    <a:lnTo>
                      <a:pt x="62" y="22"/>
                    </a:lnTo>
                    <a:lnTo>
                      <a:pt x="57" y="29"/>
                    </a:lnTo>
                    <a:lnTo>
                      <a:pt x="53" y="37"/>
                    </a:lnTo>
                    <a:lnTo>
                      <a:pt x="46" y="41"/>
                    </a:lnTo>
                    <a:lnTo>
                      <a:pt x="40" y="44"/>
                    </a:lnTo>
                    <a:lnTo>
                      <a:pt x="34" y="49"/>
                    </a:lnTo>
                    <a:lnTo>
                      <a:pt x="28" y="53"/>
                    </a:lnTo>
                    <a:lnTo>
                      <a:pt x="21" y="51"/>
                    </a:lnTo>
                    <a:lnTo>
                      <a:pt x="15" y="49"/>
                    </a:lnTo>
                    <a:lnTo>
                      <a:pt x="14" y="49"/>
                    </a:lnTo>
                    <a:lnTo>
                      <a:pt x="12" y="51"/>
                    </a:lnTo>
                    <a:lnTo>
                      <a:pt x="7" y="55"/>
                    </a:lnTo>
                    <a:lnTo>
                      <a:pt x="3" y="61"/>
                    </a:lnTo>
                    <a:lnTo>
                      <a:pt x="0" y="68"/>
                    </a:lnTo>
                    <a:lnTo>
                      <a:pt x="0" y="74"/>
                    </a:lnTo>
                    <a:lnTo>
                      <a:pt x="0" y="75"/>
                    </a:lnTo>
                    <a:lnTo>
                      <a:pt x="0" y="79"/>
                    </a:lnTo>
                    <a:lnTo>
                      <a:pt x="2" y="80"/>
                    </a:lnTo>
                    <a:lnTo>
                      <a:pt x="3" y="84"/>
                    </a:lnTo>
                    <a:lnTo>
                      <a:pt x="3" y="99"/>
                    </a:lnTo>
                    <a:lnTo>
                      <a:pt x="3" y="104"/>
                    </a:lnTo>
                    <a:lnTo>
                      <a:pt x="5" y="111"/>
                    </a:lnTo>
                    <a:lnTo>
                      <a:pt x="10" y="113"/>
                    </a:lnTo>
                    <a:lnTo>
                      <a:pt x="17" y="122"/>
                    </a:lnTo>
                    <a:lnTo>
                      <a:pt x="12" y="130"/>
                    </a:lnTo>
                    <a:lnTo>
                      <a:pt x="7" y="139"/>
                    </a:lnTo>
                    <a:lnTo>
                      <a:pt x="9" y="142"/>
                    </a:lnTo>
                    <a:lnTo>
                      <a:pt x="12" y="147"/>
                    </a:lnTo>
                    <a:lnTo>
                      <a:pt x="19" y="156"/>
                    </a:lnTo>
                    <a:lnTo>
                      <a:pt x="28" y="165"/>
                    </a:lnTo>
                    <a:lnTo>
                      <a:pt x="34" y="173"/>
                    </a:lnTo>
                    <a:lnTo>
                      <a:pt x="38" y="189"/>
                    </a:lnTo>
                    <a:lnTo>
                      <a:pt x="28" y="190"/>
                    </a:lnTo>
                    <a:lnTo>
                      <a:pt x="22" y="194"/>
                    </a:lnTo>
                    <a:lnTo>
                      <a:pt x="17" y="197"/>
                    </a:lnTo>
                    <a:lnTo>
                      <a:pt x="17" y="208"/>
                    </a:lnTo>
                    <a:lnTo>
                      <a:pt x="17" y="213"/>
                    </a:lnTo>
                    <a:lnTo>
                      <a:pt x="19" y="218"/>
                    </a:lnTo>
                    <a:lnTo>
                      <a:pt x="36" y="216"/>
                    </a:lnTo>
                    <a:lnTo>
                      <a:pt x="38" y="215"/>
                    </a:lnTo>
                    <a:lnTo>
                      <a:pt x="41" y="213"/>
                    </a:lnTo>
                    <a:lnTo>
                      <a:pt x="55" y="216"/>
                    </a:lnTo>
                    <a:lnTo>
                      <a:pt x="58" y="215"/>
                    </a:lnTo>
                    <a:lnTo>
                      <a:pt x="67" y="213"/>
                    </a:lnTo>
                    <a:lnTo>
                      <a:pt x="74" y="211"/>
                    </a:lnTo>
                    <a:lnTo>
                      <a:pt x="83" y="213"/>
                    </a:lnTo>
                    <a:lnTo>
                      <a:pt x="88" y="220"/>
                    </a:lnTo>
                    <a:lnTo>
                      <a:pt x="95" y="233"/>
                    </a:lnTo>
                    <a:lnTo>
                      <a:pt x="98" y="239"/>
                    </a:lnTo>
                    <a:lnTo>
                      <a:pt x="107" y="244"/>
                    </a:lnTo>
                    <a:lnTo>
                      <a:pt x="115" y="247"/>
                    </a:lnTo>
                    <a:lnTo>
                      <a:pt x="126" y="251"/>
                    </a:lnTo>
                    <a:lnTo>
                      <a:pt x="131" y="251"/>
                    </a:lnTo>
                    <a:lnTo>
                      <a:pt x="138" y="252"/>
                    </a:lnTo>
                    <a:lnTo>
                      <a:pt x="134" y="256"/>
                    </a:lnTo>
                    <a:lnTo>
                      <a:pt x="131" y="259"/>
                    </a:lnTo>
                    <a:lnTo>
                      <a:pt x="124" y="259"/>
                    </a:lnTo>
                    <a:lnTo>
                      <a:pt x="117" y="261"/>
                    </a:lnTo>
                    <a:lnTo>
                      <a:pt x="122" y="268"/>
                    </a:lnTo>
                    <a:lnTo>
                      <a:pt x="129" y="275"/>
                    </a:lnTo>
                    <a:lnTo>
                      <a:pt x="136" y="282"/>
                    </a:lnTo>
                    <a:lnTo>
                      <a:pt x="148" y="285"/>
                    </a:lnTo>
                    <a:lnTo>
                      <a:pt x="153" y="282"/>
                    </a:lnTo>
                    <a:lnTo>
                      <a:pt x="158" y="275"/>
                    </a:lnTo>
                    <a:lnTo>
                      <a:pt x="162" y="266"/>
                    </a:lnTo>
                    <a:lnTo>
                      <a:pt x="167" y="261"/>
                    </a:lnTo>
                    <a:lnTo>
                      <a:pt x="172" y="261"/>
                    </a:lnTo>
                    <a:lnTo>
                      <a:pt x="170" y="264"/>
                    </a:lnTo>
                    <a:lnTo>
                      <a:pt x="169" y="268"/>
                    </a:lnTo>
                    <a:lnTo>
                      <a:pt x="170" y="276"/>
                    </a:lnTo>
                    <a:lnTo>
                      <a:pt x="174" y="288"/>
                    </a:lnTo>
                    <a:lnTo>
                      <a:pt x="172" y="295"/>
                    </a:lnTo>
                    <a:lnTo>
                      <a:pt x="170" y="304"/>
                    </a:lnTo>
                    <a:lnTo>
                      <a:pt x="174" y="3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2" name="Freeform 196"/>
              <p:cNvSpPr>
                <a:spLocks/>
              </p:cNvSpPr>
              <p:nvPr/>
            </p:nvSpPr>
            <p:spPr bwMode="auto">
              <a:xfrm>
                <a:off x="6493669" y="3887788"/>
                <a:ext cx="244475" cy="261937"/>
              </a:xfrm>
              <a:custGeom>
                <a:avLst/>
                <a:gdLst/>
                <a:ahLst/>
                <a:cxnLst>
                  <a:cxn ang="0">
                    <a:pos x="69" y="86"/>
                  </a:cxn>
                  <a:cxn ang="0">
                    <a:pos x="68" y="82"/>
                  </a:cxn>
                  <a:cxn ang="0">
                    <a:pos x="68" y="81"/>
                  </a:cxn>
                  <a:cxn ang="0">
                    <a:pos x="62" y="79"/>
                  </a:cxn>
                  <a:cxn ang="0">
                    <a:pos x="59" y="79"/>
                  </a:cxn>
                  <a:cxn ang="0">
                    <a:pos x="56" y="70"/>
                  </a:cxn>
                  <a:cxn ang="0">
                    <a:pos x="52" y="60"/>
                  </a:cxn>
                  <a:cxn ang="0">
                    <a:pos x="42" y="50"/>
                  </a:cxn>
                  <a:cxn ang="0">
                    <a:pos x="33" y="45"/>
                  </a:cxn>
                  <a:cxn ang="0">
                    <a:pos x="28" y="36"/>
                  </a:cxn>
                  <a:cxn ang="0">
                    <a:pos x="26" y="29"/>
                  </a:cxn>
                  <a:cxn ang="0">
                    <a:pos x="19" y="24"/>
                  </a:cxn>
                  <a:cxn ang="0">
                    <a:pos x="14" y="24"/>
                  </a:cxn>
                  <a:cxn ang="0">
                    <a:pos x="9" y="19"/>
                  </a:cxn>
                  <a:cxn ang="0">
                    <a:pos x="6" y="14"/>
                  </a:cxn>
                  <a:cxn ang="0">
                    <a:pos x="0" y="7"/>
                  </a:cxn>
                  <a:cxn ang="0">
                    <a:pos x="0" y="3"/>
                  </a:cxn>
                  <a:cxn ang="0">
                    <a:pos x="0" y="0"/>
                  </a:cxn>
                  <a:cxn ang="0">
                    <a:pos x="4" y="0"/>
                  </a:cxn>
                  <a:cxn ang="0">
                    <a:pos x="9" y="0"/>
                  </a:cxn>
                  <a:cxn ang="0">
                    <a:pos x="14" y="3"/>
                  </a:cxn>
                  <a:cxn ang="0">
                    <a:pos x="30" y="3"/>
                  </a:cxn>
                  <a:cxn ang="0">
                    <a:pos x="42" y="12"/>
                  </a:cxn>
                  <a:cxn ang="0">
                    <a:pos x="49" y="24"/>
                  </a:cxn>
                  <a:cxn ang="0">
                    <a:pos x="50" y="24"/>
                  </a:cxn>
                  <a:cxn ang="0">
                    <a:pos x="54" y="26"/>
                  </a:cxn>
                  <a:cxn ang="0">
                    <a:pos x="62" y="31"/>
                  </a:cxn>
                  <a:cxn ang="0">
                    <a:pos x="71" y="39"/>
                  </a:cxn>
                  <a:cxn ang="0">
                    <a:pos x="76" y="45"/>
                  </a:cxn>
                  <a:cxn ang="0">
                    <a:pos x="83" y="51"/>
                  </a:cxn>
                  <a:cxn ang="0">
                    <a:pos x="90" y="55"/>
                  </a:cxn>
                  <a:cxn ang="0">
                    <a:pos x="100" y="60"/>
                  </a:cxn>
                  <a:cxn ang="0">
                    <a:pos x="111" y="63"/>
                  </a:cxn>
                  <a:cxn ang="0">
                    <a:pos x="116" y="74"/>
                  </a:cxn>
                  <a:cxn ang="0">
                    <a:pos x="116" y="75"/>
                  </a:cxn>
                  <a:cxn ang="0">
                    <a:pos x="117" y="75"/>
                  </a:cxn>
                  <a:cxn ang="0">
                    <a:pos x="119" y="75"/>
                  </a:cxn>
                  <a:cxn ang="0">
                    <a:pos x="121" y="77"/>
                  </a:cxn>
                  <a:cxn ang="0">
                    <a:pos x="124" y="81"/>
                  </a:cxn>
                  <a:cxn ang="0">
                    <a:pos x="123" y="86"/>
                  </a:cxn>
                  <a:cxn ang="0">
                    <a:pos x="124" y="91"/>
                  </a:cxn>
                  <a:cxn ang="0">
                    <a:pos x="131" y="93"/>
                  </a:cxn>
                  <a:cxn ang="0">
                    <a:pos x="135" y="105"/>
                  </a:cxn>
                  <a:cxn ang="0">
                    <a:pos x="143" y="113"/>
                  </a:cxn>
                  <a:cxn ang="0">
                    <a:pos x="148" y="115"/>
                  </a:cxn>
                  <a:cxn ang="0">
                    <a:pos x="154" y="122"/>
                  </a:cxn>
                  <a:cxn ang="0">
                    <a:pos x="154" y="131"/>
                  </a:cxn>
                  <a:cxn ang="0">
                    <a:pos x="154" y="144"/>
                  </a:cxn>
                  <a:cxn ang="0">
                    <a:pos x="148" y="149"/>
                  </a:cxn>
                  <a:cxn ang="0">
                    <a:pos x="150" y="158"/>
                  </a:cxn>
                  <a:cxn ang="0">
                    <a:pos x="145" y="163"/>
                  </a:cxn>
                  <a:cxn ang="0">
                    <a:pos x="136" y="165"/>
                  </a:cxn>
                  <a:cxn ang="0">
                    <a:pos x="129" y="158"/>
                  </a:cxn>
                  <a:cxn ang="0">
                    <a:pos x="124" y="151"/>
                  </a:cxn>
                  <a:cxn ang="0">
                    <a:pos x="111" y="139"/>
                  </a:cxn>
                  <a:cxn ang="0">
                    <a:pos x="97" y="129"/>
                  </a:cxn>
                  <a:cxn ang="0">
                    <a:pos x="85" y="113"/>
                  </a:cxn>
                  <a:cxn ang="0">
                    <a:pos x="78" y="98"/>
                  </a:cxn>
                  <a:cxn ang="0">
                    <a:pos x="73" y="91"/>
                  </a:cxn>
                  <a:cxn ang="0">
                    <a:pos x="69" y="86"/>
                  </a:cxn>
                </a:cxnLst>
                <a:rect l="0" t="0" r="r" b="b"/>
                <a:pathLst>
                  <a:path w="154" h="165">
                    <a:moveTo>
                      <a:pt x="69" y="86"/>
                    </a:moveTo>
                    <a:lnTo>
                      <a:pt x="68" y="82"/>
                    </a:lnTo>
                    <a:lnTo>
                      <a:pt x="68" y="81"/>
                    </a:lnTo>
                    <a:lnTo>
                      <a:pt x="62" y="79"/>
                    </a:lnTo>
                    <a:lnTo>
                      <a:pt x="59" y="79"/>
                    </a:lnTo>
                    <a:lnTo>
                      <a:pt x="56" y="70"/>
                    </a:lnTo>
                    <a:lnTo>
                      <a:pt x="52" y="60"/>
                    </a:lnTo>
                    <a:lnTo>
                      <a:pt x="42" y="50"/>
                    </a:lnTo>
                    <a:lnTo>
                      <a:pt x="33" y="45"/>
                    </a:lnTo>
                    <a:lnTo>
                      <a:pt x="28" y="36"/>
                    </a:lnTo>
                    <a:lnTo>
                      <a:pt x="26" y="29"/>
                    </a:lnTo>
                    <a:lnTo>
                      <a:pt x="19" y="24"/>
                    </a:lnTo>
                    <a:lnTo>
                      <a:pt x="14" y="24"/>
                    </a:lnTo>
                    <a:lnTo>
                      <a:pt x="9" y="19"/>
                    </a:lnTo>
                    <a:lnTo>
                      <a:pt x="6" y="14"/>
                    </a:lnTo>
                    <a:lnTo>
                      <a:pt x="0" y="7"/>
                    </a:lnTo>
                    <a:lnTo>
                      <a:pt x="0" y="3"/>
                    </a:lnTo>
                    <a:lnTo>
                      <a:pt x="0" y="0"/>
                    </a:lnTo>
                    <a:lnTo>
                      <a:pt x="4" y="0"/>
                    </a:lnTo>
                    <a:lnTo>
                      <a:pt x="9" y="0"/>
                    </a:lnTo>
                    <a:lnTo>
                      <a:pt x="14" y="3"/>
                    </a:lnTo>
                    <a:lnTo>
                      <a:pt x="30" y="3"/>
                    </a:lnTo>
                    <a:lnTo>
                      <a:pt x="42" y="12"/>
                    </a:lnTo>
                    <a:lnTo>
                      <a:pt x="49" y="24"/>
                    </a:lnTo>
                    <a:lnTo>
                      <a:pt x="50" y="24"/>
                    </a:lnTo>
                    <a:lnTo>
                      <a:pt x="54" y="26"/>
                    </a:lnTo>
                    <a:lnTo>
                      <a:pt x="62" y="31"/>
                    </a:lnTo>
                    <a:lnTo>
                      <a:pt x="71" y="39"/>
                    </a:lnTo>
                    <a:lnTo>
                      <a:pt x="76" y="45"/>
                    </a:lnTo>
                    <a:lnTo>
                      <a:pt x="83" y="51"/>
                    </a:lnTo>
                    <a:lnTo>
                      <a:pt x="90" y="55"/>
                    </a:lnTo>
                    <a:lnTo>
                      <a:pt x="100" y="60"/>
                    </a:lnTo>
                    <a:lnTo>
                      <a:pt x="111" y="63"/>
                    </a:lnTo>
                    <a:lnTo>
                      <a:pt x="116" y="74"/>
                    </a:lnTo>
                    <a:lnTo>
                      <a:pt x="116" y="75"/>
                    </a:lnTo>
                    <a:lnTo>
                      <a:pt x="117" y="75"/>
                    </a:lnTo>
                    <a:lnTo>
                      <a:pt x="119" y="75"/>
                    </a:lnTo>
                    <a:lnTo>
                      <a:pt x="121" y="77"/>
                    </a:lnTo>
                    <a:lnTo>
                      <a:pt x="124" y="81"/>
                    </a:lnTo>
                    <a:lnTo>
                      <a:pt x="123" y="86"/>
                    </a:lnTo>
                    <a:lnTo>
                      <a:pt x="124" y="91"/>
                    </a:lnTo>
                    <a:lnTo>
                      <a:pt x="131" y="93"/>
                    </a:lnTo>
                    <a:lnTo>
                      <a:pt x="135" y="105"/>
                    </a:lnTo>
                    <a:lnTo>
                      <a:pt x="143" y="113"/>
                    </a:lnTo>
                    <a:lnTo>
                      <a:pt x="148" y="115"/>
                    </a:lnTo>
                    <a:lnTo>
                      <a:pt x="154" y="122"/>
                    </a:lnTo>
                    <a:lnTo>
                      <a:pt x="154" y="131"/>
                    </a:lnTo>
                    <a:lnTo>
                      <a:pt x="154" y="144"/>
                    </a:lnTo>
                    <a:lnTo>
                      <a:pt x="148" y="149"/>
                    </a:lnTo>
                    <a:lnTo>
                      <a:pt x="150" y="158"/>
                    </a:lnTo>
                    <a:lnTo>
                      <a:pt x="145" y="163"/>
                    </a:lnTo>
                    <a:lnTo>
                      <a:pt x="136" y="165"/>
                    </a:lnTo>
                    <a:lnTo>
                      <a:pt x="129" y="158"/>
                    </a:lnTo>
                    <a:lnTo>
                      <a:pt x="124" y="151"/>
                    </a:lnTo>
                    <a:lnTo>
                      <a:pt x="111" y="139"/>
                    </a:lnTo>
                    <a:lnTo>
                      <a:pt x="97" y="129"/>
                    </a:lnTo>
                    <a:lnTo>
                      <a:pt x="85" y="113"/>
                    </a:lnTo>
                    <a:lnTo>
                      <a:pt x="78" y="98"/>
                    </a:lnTo>
                    <a:lnTo>
                      <a:pt x="73" y="91"/>
                    </a:lnTo>
                    <a:lnTo>
                      <a:pt x="69" y="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3" name="Freeform 197"/>
              <p:cNvSpPr>
                <a:spLocks/>
              </p:cNvSpPr>
              <p:nvPr/>
            </p:nvSpPr>
            <p:spPr bwMode="auto">
              <a:xfrm>
                <a:off x="6807994" y="3854450"/>
                <a:ext cx="231775" cy="257175"/>
              </a:xfrm>
              <a:custGeom>
                <a:avLst/>
                <a:gdLst/>
                <a:ahLst/>
                <a:cxnLst>
                  <a:cxn ang="0">
                    <a:pos x="42" y="146"/>
                  </a:cxn>
                  <a:cxn ang="0">
                    <a:pos x="36" y="143"/>
                  </a:cxn>
                  <a:cxn ang="0">
                    <a:pos x="21" y="141"/>
                  </a:cxn>
                  <a:cxn ang="0">
                    <a:pos x="16" y="126"/>
                  </a:cxn>
                  <a:cxn ang="0">
                    <a:pos x="14" y="115"/>
                  </a:cxn>
                  <a:cxn ang="0">
                    <a:pos x="11" y="112"/>
                  </a:cxn>
                  <a:cxn ang="0">
                    <a:pos x="4" y="107"/>
                  </a:cxn>
                  <a:cxn ang="0">
                    <a:pos x="0" y="93"/>
                  </a:cxn>
                  <a:cxn ang="0">
                    <a:pos x="5" y="83"/>
                  </a:cxn>
                  <a:cxn ang="0">
                    <a:pos x="24" y="81"/>
                  </a:cxn>
                  <a:cxn ang="0">
                    <a:pos x="33" y="67"/>
                  </a:cxn>
                  <a:cxn ang="0">
                    <a:pos x="43" y="59"/>
                  </a:cxn>
                  <a:cxn ang="0">
                    <a:pos x="59" y="52"/>
                  </a:cxn>
                  <a:cxn ang="0">
                    <a:pos x="64" y="43"/>
                  </a:cxn>
                  <a:cxn ang="0">
                    <a:pos x="69" y="38"/>
                  </a:cxn>
                  <a:cxn ang="0">
                    <a:pos x="74" y="35"/>
                  </a:cxn>
                  <a:cxn ang="0">
                    <a:pos x="86" y="29"/>
                  </a:cxn>
                  <a:cxn ang="0">
                    <a:pos x="98" y="19"/>
                  </a:cxn>
                  <a:cxn ang="0">
                    <a:pos x="110" y="2"/>
                  </a:cxn>
                  <a:cxn ang="0">
                    <a:pos x="124" y="4"/>
                  </a:cxn>
                  <a:cxn ang="0">
                    <a:pos x="128" y="16"/>
                  </a:cxn>
                  <a:cxn ang="0">
                    <a:pos x="143" y="21"/>
                  </a:cxn>
                  <a:cxn ang="0">
                    <a:pos x="141" y="29"/>
                  </a:cxn>
                  <a:cxn ang="0">
                    <a:pos x="136" y="35"/>
                  </a:cxn>
                  <a:cxn ang="0">
                    <a:pos x="133" y="36"/>
                  </a:cxn>
                  <a:cxn ang="0">
                    <a:pos x="124" y="41"/>
                  </a:cxn>
                  <a:cxn ang="0">
                    <a:pos x="122" y="45"/>
                  </a:cxn>
                  <a:cxn ang="0">
                    <a:pos x="122" y="48"/>
                  </a:cxn>
                  <a:cxn ang="0">
                    <a:pos x="122" y="59"/>
                  </a:cxn>
                  <a:cxn ang="0">
                    <a:pos x="136" y="79"/>
                  </a:cxn>
                  <a:cxn ang="0">
                    <a:pos x="140" y="90"/>
                  </a:cxn>
                  <a:cxn ang="0">
                    <a:pos x="129" y="90"/>
                  </a:cxn>
                  <a:cxn ang="0">
                    <a:pos x="126" y="95"/>
                  </a:cxn>
                  <a:cxn ang="0">
                    <a:pos x="119" y="117"/>
                  </a:cxn>
                  <a:cxn ang="0">
                    <a:pos x="107" y="129"/>
                  </a:cxn>
                  <a:cxn ang="0">
                    <a:pos x="110" y="136"/>
                  </a:cxn>
                  <a:cxn ang="0">
                    <a:pos x="103" y="153"/>
                  </a:cxn>
                  <a:cxn ang="0">
                    <a:pos x="88" y="162"/>
                  </a:cxn>
                  <a:cxn ang="0">
                    <a:pos x="81" y="155"/>
                  </a:cxn>
                  <a:cxn ang="0">
                    <a:pos x="59" y="146"/>
                  </a:cxn>
                  <a:cxn ang="0">
                    <a:pos x="47" y="152"/>
                  </a:cxn>
                  <a:cxn ang="0">
                    <a:pos x="43" y="150"/>
                  </a:cxn>
                </a:cxnLst>
                <a:rect l="0" t="0" r="r" b="b"/>
                <a:pathLst>
                  <a:path w="146" h="162">
                    <a:moveTo>
                      <a:pt x="43" y="150"/>
                    </a:moveTo>
                    <a:lnTo>
                      <a:pt x="42" y="146"/>
                    </a:lnTo>
                    <a:lnTo>
                      <a:pt x="42" y="143"/>
                    </a:lnTo>
                    <a:lnTo>
                      <a:pt x="36" y="143"/>
                    </a:lnTo>
                    <a:lnTo>
                      <a:pt x="31" y="145"/>
                    </a:lnTo>
                    <a:lnTo>
                      <a:pt x="21" y="141"/>
                    </a:lnTo>
                    <a:lnTo>
                      <a:pt x="17" y="134"/>
                    </a:lnTo>
                    <a:lnTo>
                      <a:pt x="16" y="126"/>
                    </a:lnTo>
                    <a:lnTo>
                      <a:pt x="14" y="117"/>
                    </a:lnTo>
                    <a:lnTo>
                      <a:pt x="14" y="115"/>
                    </a:lnTo>
                    <a:lnTo>
                      <a:pt x="14" y="114"/>
                    </a:lnTo>
                    <a:lnTo>
                      <a:pt x="11" y="112"/>
                    </a:lnTo>
                    <a:lnTo>
                      <a:pt x="7" y="112"/>
                    </a:lnTo>
                    <a:lnTo>
                      <a:pt x="4" y="107"/>
                    </a:lnTo>
                    <a:lnTo>
                      <a:pt x="2" y="100"/>
                    </a:lnTo>
                    <a:lnTo>
                      <a:pt x="0" y="93"/>
                    </a:lnTo>
                    <a:lnTo>
                      <a:pt x="0" y="90"/>
                    </a:lnTo>
                    <a:lnTo>
                      <a:pt x="5" y="83"/>
                    </a:lnTo>
                    <a:lnTo>
                      <a:pt x="17" y="84"/>
                    </a:lnTo>
                    <a:lnTo>
                      <a:pt x="24" y="81"/>
                    </a:lnTo>
                    <a:lnTo>
                      <a:pt x="30" y="76"/>
                    </a:lnTo>
                    <a:lnTo>
                      <a:pt x="33" y="67"/>
                    </a:lnTo>
                    <a:lnTo>
                      <a:pt x="38" y="62"/>
                    </a:lnTo>
                    <a:lnTo>
                      <a:pt x="43" y="59"/>
                    </a:lnTo>
                    <a:lnTo>
                      <a:pt x="52" y="57"/>
                    </a:lnTo>
                    <a:lnTo>
                      <a:pt x="59" y="52"/>
                    </a:lnTo>
                    <a:lnTo>
                      <a:pt x="64" y="47"/>
                    </a:lnTo>
                    <a:lnTo>
                      <a:pt x="64" y="43"/>
                    </a:lnTo>
                    <a:lnTo>
                      <a:pt x="67" y="41"/>
                    </a:lnTo>
                    <a:lnTo>
                      <a:pt x="69" y="38"/>
                    </a:lnTo>
                    <a:lnTo>
                      <a:pt x="73" y="38"/>
                    </a:lnTo>
                    <a:lnTo>
                      <a:pt x="74" y="35"/>
                    </a:lnTo>
                    <a:lnTo>
                      <a:pt x="76" y="33"/>
                    </a:lnTo>
                    <a:lnTo>
                      <a:pt x="86" y="29"/>
                    </a:lnTo>
                    <a:lnTo>
                      <a:pt x="95" y="28"/>
                    </a:lnTo>
                    <a:lnTo>
                      <a:pt x="98" y="19"/>
                    </a:lnTo>
                    <a:lnTo>
                      <a:pt x="103" y="11"/>
                    </a:lnTo>
                    <a:lnTo>
                      <a:pt x="110" y="2"/>
                    </a:lnTo>
                    <a:lnTo>
                      <a:pt x="117" y="0"/>
                    </a:lnTo>
                    <a:lnTo>
                      <a:pt x="124" y="4"/>
                    </a:lnTo>
                    <a:lnTo>
                      <a:pt x="126" y="12"/>
                    </a:lnTo>
                    <a:lnTo>
                      <a:pt x="128" y="16"/>
                    </a:lnTo>
                    <a:lnTo>
                      <a:pt x="136" y="19"/>
                    </a:lnTo>
                    <a:lnTo>
                      <a:pt x="143" y="21"/>
                    </a:lnTo>
                    <a:lnTo>
                      <a:pt x="146" y="28"/>
                    </a:lnTo>
                    <a:lnTo>
                      <a:pt x="141" y="29"/>
                    </a:lnTo>
                    <a:lnTo>
                      <a:pt x="136" y="33"/>
                    </a:lnTo>
                    <a:lnTo>
                      <a:pt x="136" y="35"/>
                    </a:lnTo>
                    <a:lnTo>
                      <a:pt x="138" y="36"/>
                    </a:lnTo>
                    <a:lnTo>
                      <a:pt x="133" y="36"/>
                    </a:lnTo>
                    <a:lnTo>
                      <a:pt x="129" y="40"/>
                    </a:lnTo>
                    <a:lnTo>
                      <a:pt x="124" y="41"/>
                    </a:lnTo>
                    <a:lnTo>
                      <a:pt x="122" y="43"/>
                    </a:lnTo>
                    <a:lnTo>
                      <a:pt x="122" y="45"/>
                    </a:lnTo>
                    <a:lnTo>
                      <a:pt x="124" y="48"/>
                    </a:lnTo>
                    <a:lnTo>
                      <a:pt x="122" y="48"/>
                    </a:lnTo>
                    <a:lnTo>
                      <a:pt x="121" y="52"/>
                    </a:lnTo>
                    <a:lnTo>
                      <a:pt x="122" y="59"/>
                    </a:lnTo>
                    <a:lnTo>
                      <a:pt x="128" y="71"/>
                    </a:lnTo>
                    <a:lnTo>
                      <a:pt x="136" y="79"/>
                    </a:lnTo>
                    <a:lnTo>
                      <a:pt x="145" y="84"/>
                    </a:lnTo>
                    <a:lnTo>
                      <a:pt x="140" y="90"/>
                    </a:lnTo>
                    <a:lnTo>
                      <a:pt x="133" y="90"/>
                    </a:lnTo>
                    <a:lnTo>
                      <a:pt x="129" y="90"/>
                    </a:lnTo>
                    <a:lnTo>
                      <a:pt x="128" y="90"/>
                    </a:lnTo>
                    <a:lnTo>
                      <a:pt x="126" y="95"/>
                    </a:lnTo>
                    <a:lnTo>
                      <a:pt x="121" y="107"/>
                    </a:lnTo>
                    <a:lnTo>
                      <a:pt x="119" y="117"/>
                    </a:lnTo>
                    <a:lnTo>
                      <a:pt x="110" y="122"/>
                    </a:lnTo>
                    <a:lnTo>
                      <a:pt x="107" y="129"/>
                    </a:lnTo>
                    <a:lnTo>
                      <a:pt x="109" y="133"/>
                    </a:lnTo>
                    <a:lnTo>
                      <a:pt x="110" y="136"/>
                    </a:lnTo>
                    <a:lnTo>
                      <a:pt x="107" y="145"/>
                    </a:lnTo>
                    <a:lnTo>
                      <a:pt x="103" y="153"/>
                    </a:lnTo>
                    <a:lnTo>
                      <a:pt x="95" y="158"/>
                    </a:lnTo>
                    <a:lnTo>
                      <a:pt x="88" y="162"/>
                    </a:lnTo>
                    <a:lnTo>
                      <a:pt x="81" y="158"/>
                    </a:lnTo>
                    <a:lnTo>
                      <a:pt x="81" y="155"/>
                    </a:lnTo>
                    <a:lnTo>
                      <a:pt x="69" y="150"/>
                    </a:lnTo>
                    <a:lnTo>
                      <a:pt x="59" y="146"/>
                    </a:lnTo>
                    <a:lnTo>
                      <a:pt x="52" y="148"/>
                    </a:lnTo>
                    <a:lnTo>
                      <a:pt x="47" y="152"/>
                    </a:lnTo>
                    <a:lnTo>
                      <a:pt x="45" y="150"/>
                    </a:lnTo>
                    <a:lnTo>
                      <a:pt x="43" y="15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4" name="Freeform 198"/>
              <p:cNvSpPr>
                <a:spLocks/>
              </p:cNvSpPr>
              <p:nvPr/>
            </p:nvSpPr>
            <p:spPr bwMode="auto">
              <a:xfrm>
                <a:off x="7031832" y="3978275"/>
                <a:ext cx="147638" cy="168275"/>
              </a:xfrm>
              <a:custGeom>
                <a:avLst/>
                <a:gdLst/>
                <a:ahLst/>
                <a:cxnLst>
                  <a:cxn ang="0">
                    <a:pos x="33" y="41"/>
                  </a:cxn>
                  <a:cxn ang="0">
                    <a:pos x="23" y="36"/>
                  </a:cxn>
                  <a:cxn ang="0">
                    <a:pos x="26" y="18"/>
                  </a:cxn>
                  <a:cxn ang="0">
                    <a:pos x="47" y="17"/>
                  </a:cxn>
                  <a:cxn ang="0">
                    <a:pos x="66" y="18"/>
                  </a:cxn>
                  <a:cxn ang="0">
                    <a:pos x="85" y="13"/>
                  </a:cxn>
                  <a:cxn ang="0">
                    <a:pos x="91" y="1"/>
                  </a:cxn>
                  <a:cxn ang="0">
                    <a:pos x="90" y="0"/>
                  </a:cxn>
                  <a:cxn ang="0">
                    <a:pos x="73" y="12"/>
                  </a:cxn>
                  <a:cxn ang="0">
                    <a:pos x="33" y="5"/>
                  </a:cxn>
                  <a:cxn ang="0">
                    <a:pos x="18" y="13"/>
                  </a:cxn>
                  <a:cxn ang="0">
                    <a:pos x="14" y="34"/>
                  </a:cxn>
                  <a:cxn ang="0">
                    <a:pos x="11" y="41"/>
                  </a:cxn>
                  <a:cxn ang="0">
                    <a:pos x="0" y="68"/>
                  </a:cxn>
                  <a:cxn ang="0">
                    <a:pos x="11" y="75"/>
                  </a:cxn>
                  <a:cxn ang="0">
                    <a:pos x="11" y="99"/>
                  </a:cxn>
                  <a:cxn ang="0">
                    <a:pos x="19" y="106"/>
                  </a:cxn>
                  <a:cxn ang="0">
                    <a:pos x="24" y="96"/>
                  </a:cxn>
                  <a:cxn ang="0">
                    <a:pos x="26" y="86"/>
                  </a:cxn>
                  <a:cxn ang="0">
                    <a:pos x="23" y="70"/>
                  </a:cxn>
                  <a:cxn ang="0">
                    <a:pos x="30" y="63"/>
                  </a:cxn>
                  <a:cxn ang="0">
                    <a:pos x="33" y="63"/>
                  </a:cxn>
                  <a:cxn ang="0">
                    <a:pos x="35" y="80"/>
                  </a:cxn>
                  <a:cxn ang="0">
                    <a:pos x="40" y="91"/>
                  </a:cxn>
                  <a:cxn ang="0">
                    <a:pos x="47" y="94"/>
                  </a:cxn>
                  <a:cxn ang="0">
                    <a:pos x="57" y="84"/>
                  </a:cxn>
                  <a:cxn ang="0">
                    <a:pos x="50" y="74"/>
                  </a:cxn>
                  <a:cxn ang="0">
                    <a:pos x="52" y="72"/>
                  </a:cxn>
                  <a:cxn ang="0">
                    <a:pos x="43" y="60"/>
                  </a:cxn>
                  <a:cxn ang="0">
                    <a:pos x="40" y="49"/>
                  </a:cxn>
                  <a:cxn ang="0">
                    <a:pos x="54" y="43"/>
                  </a:cxn>
                  <a:cxn ang="0">
                    <a:pos x="67" y="36"/>
                  </a:cxn>
                  <a:cxn ang="0">
                    <a:pos x="61" y="31"/>
                  </a:cxn>
                  <a:cxn ang="0">
                    <a:pos x="40" y="37"/>
                  </a:cxn>
                  <a:cxn ang="0">
                    <a:pos x="36" y="39"/>
                  </a:cxn>
                </a:cxnLst>
                <a:rect l="0" t="0" r="r" b="b"/>
                <a:pathLst>
                  <a:path w="93" h="106">
                    <a:moveTo>
                      <a:pt x="36" y="39"/>
                    </a:moveTo>
                    <a:lnTo>
                      <a:pt x="33" y="41"/>
                    </a:lnTo>
                    <a:lnTo>
                      <a:pt x="31" y="43"/>
                    </a:lnTo>
                    <a:lnTo>
                      <a:pt x="23" y="36"/>
                    </a:lnTo>
                    <a:lnTo>
                      <a:pt x="21" y="25"/>
                    </a:lnTo>
                    <a:lnTo>
                      <a:pt x="26" y="18"/>
                    </a:lnTo>
                    <a:lnTo>
                      <a:pt x="38" y="18"/>
                    </a:lnTo>
                    <a:lnTo>
                      <a:pt x="47" y="17"/>
                    </a:lnTo>
                    <a:lnTo>
                      <a:pt x="57" y="17"/>
                    </a:lnTo>
                    <a:lnTo>
                      <a:pt x="66" y="18"/>
                    </a:lnTo>
                    <a:lnTo>
                      <a:pt x="74" y="20"/>
                    </a:lnTo>
                    <a:lnTo>
                      <a:pt x="85" y="13"/>
                    </a:lnTo>
                    <a:lnTo>
                      <a:pt x="90" y="3"/>
                    </a:lnTo>
                    <a:lnTo>
                      <a:pt x="91" y="1"/>
                    </a:lnTo>
                    <a:lnTo>
                      <a:pt x="93" y="0"/>
                    </a:lnTo>
                    <a:lnTo>
                      <a:pt x="90" y="0"/>
                    </a:lnTo>
                    <a:lnTo>
                      <a:pt x="79" y="5"/>
                    </a:lnTo>
                    <a:lnTo>
                      <a:pt x="73" y="12"/>
                    </a:lnTo>
                    <a:lnTo>
                      <a:pt x="69" y="12"/>
                    </a:lnTo>
                    <a:lnTo>
                      <a:pt x="33" y="5"/>
                    </a:lnTo>
                    <a:lnTo>
                      <a:pt x="23" y="6"/>
                    </a:lnTo>
                    <a:lnTo>
                      <a:pt x="18" y="13"/>
                    </a:lnTo>
                    <a:lnTo>
                      <a:pt x="14" y="24"/>
                    </a:lnTo>
                    <a:lnTo>
                      <a:pt x="14" y="34"/>
                    </a:lnTo>
                    <a:lnTo>
                      <a:pt x="12" y="37"/>
                    </a:lnTo>
                    <a:lnTo>
                      <a:pt x="11" y="41"/>
                    </a:lnTo>
                    <a:lnTo>
                      <a:pt x="2" y="55"/>
                    </a:lnTo>
                    <a:lnTo>
                      <a:pt x="0" y="68"/>
                    </a:lnTo>
                    <a:lnTo>
                      <a:pt x="4" y="74"/>
                    </a:lnTo>
                    <a:lnTo>
                      <a:pt x="11" y="75"/>
                    </a:lnTo>
                    <a:lnTo>
                      <a:pt x="11" y="87"/>
                    </a:lnTo>
                    <a:lnTo>
                      <a:pt x="11" y="99"/>
                    </a:lnTo>
                    <a:lnTo>
                      <a:pt x="12" y="103"/>
                    </a:lnTo>
                    <a:lnTo>
                      <a:pt x="19" y="106"/>
                    </a:lnTo>
                    <a:lnTo>
                      <a:pt x="21" y="103"/>
                    </a:lnTo>
                    <a:lnTo>
                      <a:pt x="24" y="96"/>
                    </a:lnTo>
                    <a:lnTo>
                      <a:pt x="24" y="89"/>
                    </a:lnTo>
                    <a:lnTo>
                      <a:pt x="26" y="86"/>
                    </a:lnTo>
                    <a:lnTo>
                      <a:pt x="24" y="77"/>
                    </a:lnTo>
                    <a:lnTo>
                      <a:pt x="23" y="70"/>
                    </a:lnTo>
                    <a:lnTo>
                      <a:pt x="24" y="65"/>
                    </a:lnTo>
                    <a:lnTo>
                      <a:pt x="30" y="63"/>
                    </a:lnTo>
                    <a:lnTo>
                      <a:pt x="31" y="63"/>
                    </a:lnTo>
                    <a:lnTo>
                      <a:pt x="33" y="63"/>
                    </a:lnTo>
                    <a:lnTo>
                      <a:pt x="31" y="74"/>
                    </a:lnTo>
                    <a:lnTo>
                      <a:pt x="35" y="80"/>
                    </a:lnTo>
                    <a:lnTo>
                      <a:pt x="40" y="89"/>
                    </a:lnTo>
                    <a:lnTo>
                      <a:pt x="40" y="91"/>
                    </a:lnTo>
                    <a:lnTo>
                      <a:pt x="40" y="94"/>
                    </a:lnTo>
                    <a:lnTo>
                      <a:pt x="47" y="94"/>
                    </a:lnTo>
                    <a:lnTo>
                      <a:pt x="52" y="89"/>
                    </a:lnTo>
                    <a:lnTo>
                      <a:pt x="57" y="84"/>
                    </a:lnTo>
                    <a:lnTo>
                      <a:pt x="52" y="79"/>
                    </a:lnTo>
                    <a:lnTo>
                      <a:pt x="50" y="74"/>
                    </a:lnTo>
                    <a:lnTo>
                      <a:pt x="50" y="72"/>
                    </a:lnTo>
                    <a:lnTo>
                      <a:pt x="52" y="72"/>
                    </a:lnTo>
                    <a:lnTo>
                      <a:pt x="47" y="67"/>
                    </a:lnTo>
                    <a:lnTo>
                      <a:pt x="43" y="60"/>
                    </a:lnTo>
                    <a:lnTo>
                      <a:pt x="40" y="51"/>
                    </a:lnTo>
                    <a:lnTo>
                      <a:pt x="40" y="49"/>
                    </a:lnTo>
                    <a:lnTo>
                      <a:pt x="47" y="46"/>
                    </a:lnTo>
                    <a:lnTo>
                      <a:pt x="54" y="43"/>
                    </a:lnTo>
                    <a:lnTo>
                      <a:pt x="59" y="39"/>
                    </a:lnTo>
                    <a:lnTo>
                      <a:pt x="67" y="36"/>
                    </a:lnTo>
                    <a:lnTo>
                      <a:pt x="67" y="31"/>
                    </a:lnTo>
                    <a:lnTo>
                      <a:pt x="61" y="31"/>
                    </a:lnTo>
                    <a:lnTo>
                      <a:pt x="50" y="34"/>
                    </a:lnTo>
                    <a:lnTo>
                      <a:pt x="40" y="37"/>
                    </a:lnTo>
                    <a:lnTo>
                      <a:pt x="36" y="41"/>
                    </a:lnTo>
                    <a:lnTo>
                      <a:pt x="36" y="3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5" name="Freeform 199"/>
              <p:cNvSpPr>
                <a:spLocks/>
              </p:cNvSpPr>
              <p:nvPr/>
            </p:nvSpPr>
            <p:spPr bwMode="auto">
              <a:xfrm>
                <a:off x="6728619" y="4149725"/>
                <a:ext cx="233363" cy="68262"/>
              </a:xfrm>
              <a:custGeom>
                <a:avLst/>
                <a:gdLst/>
                <a:ahLst/>
                <a:cxnLst>
                  <a:cxn ang="0">
                    <a:pos x="141" y="41"/>
                  </a:cxn>
                  <a:cxn ang="0">
                    <a:pos x="136" y="39"/>
                  </a:cxn>
                  <a:cxn ang="0">
                    <a:pos x="131" y="38"/>
                  </a:cxn>
                  <a:cxn ang="0">
                    <a:pos x="129" y="39"/>
                  </a:cxn>
                  <a:cxn ang="0">
                    <a:pos x="131" y="43"/>
                  </a:cxn>
                  <a:cxn ang="0">
                    <a:pos x="117" y="38"/>
                  </a:cxn>
                  <a:cxn ang="0">
                    <a:pos x="104" y="36"/>
                  </a:cxn>
                  <a:cxn ang="0">
                    <a:pos x="90" y="36"/>
                  </a:cxn>
                  <a:cxn ang="0">
                    <a:pos x="78" y="36"/>
                  </a:cxn>
                  <a:cxn ang="0">
                    <a:pos x="69" y="33"/>
                  </a:cxn>
                  <a:cxn ang="0">
                    <a:pos x="64" y="29"/>
                  </a:cxn>
                  <a:cxn ang="0">
                    <a:pos x="50" y="27"/>
                  </a:cxn>
                  <a:cxn ang="0">
                    <a:pos x="37" y="26"/>
                  </a:cxn>
                  <a:cxn ang="0">
                    <a:pos x="24" y="24"/>
                  </a:cxn>
                  <a:cxn ang="0">
                    <a:pos x="16" y="24"/>
                  </a:cxn>
                  <a:cxn ang="0">
                    <a:pos x="7" y="15"/>
                  </a:cxn>
                  <a:cxn ang="0">
                    <a:pos x="0" y="12"/>
                  </a:cxn>
                  <a:cxn ang="0">
                    <a:pos x="4" y="5"/>
                  </a:cxn>
                  <a:cxn ang="0">
                    <a:pos x="12" y="2"/>
                  </a:cxn>
                  <a:cxn ang="0">
                    <a:pos x="14" y="2"/>
                  </a:cxn>
                  <a:cxn ang="0">
                    <a:pos x="16" y="3"/>
                  </a:cxn>
                  <a:cxn ang="0">
                    <a:pos x="19" y="2"/>
                  </a:cxn>
                  <a:cxn ang="0">
                    <a:pos x="24" y="0"/>
                  </a:cxn>
                  <a:cxn ang="0">
                    <a:pos x="33" y="2"/>
                  </a:cxn>
                  <a:cxn ang="0">
                    <a:pos x="43" y="8"/>
                  </a:cxn>
                  <a:cxn ang="0">
                    <a:pos x="52" y="14"/>
                  </a:cxn>
                  <a:cxn ang="0">
                    <a:pos x="64" y="17"/>
                  </a:cxn>
                  <a:cxn ang="0">
                    <a:pos x="71" y="12"/>
                  </a:cxn>
                  <a:cxn ang="0">
                    <a:pos x="78" y="8"/>
                  </a:cxn>
                  <a:cxn ang="0">
                    <a:pos x="90" y="14"/>
                  </a:cxn>
                  <a:cxn ang="0">
                    <a:pos x="102" y="19"/>
                  </a:cxn>
                  <a:cxn ang="0">
                    <a:pos x="116" y="15"/>
                  </a:cxn>
                  <a:cxn ang="0">
                    <a:pos x="121" y="15"/>
                  </a:cxn>
                  <a:cxn ang="0">
                    <a:pos x="117" y="17"/>
                  </a:cxn>
                  <a:cxn ang="0">
                    <a:pos x="110" y="19"/>
                  </a:cxn>
                  <a:cxn ang="0">
                    <a:pos x="104" y="19"/>
                  </a:cxn>
                  <a:cxn ang="0">
                    <a:pos x="102" y="19"/>
                  </a:cxn>
                  <a:cxn ang="0">
                    <a:pos x="110" y="24"/>
                  </a:cxn>
                  <a:cxn ang="0">
                    <a:pos x="123" y="26"/>
                  </a:cxn>
                  <a:cxn ang="0">
                    <a:pos x="124" y="27"/>
                  </a:cxn>
                  <a:cxn ang="0">
                    <a:pos x="128" y="31"/>
                  </a:cxn>
                  <a:cxn ang="0">
                    <a:pos x="133" y="31"/>
                  </a:cxn>
                  <a:cxn ang="0">
                    <a:pos x="140" y="33"/>
                  </a:cxn>
                  <a:cxn ang="0">
                    <a:pos x="143" y="33"/>
                  </a:cxn>
                  <a:cxn ang="0">
                    <a:pos x="147" y="36"/>
                  </a:cxn>
                  <a:cxn ang="0">
                    <a:pos x="143" y="38"/>
                  </a:cxn>
                  <a:cxn ang="0">
                    <a:pos x="141" y="41"/>
                  </a:cxn>
                </a:cxnLst>
                <a:rect l="0" t="0" r="r" b="b"/>
                <a:pathLst>
                  <a:path w="147" h="43">
                    <a:moveTo>
                      <a:pt x="141" y="41"/>
                    </a:moveTo>
                    <a:lnTo>
                      <a:pt x="136" y="39"/>
                    </a:lnTo>
                    <a:lnTo>
                      <a:pt x="131" y="38"/>
                    </a:lnTo>
                    <a:lnTo>
                      <a:pt x="129" y="39"/>
                    </a:lnTo>
                    <a:lnTo>
                      <a:pt x="131" y="43"/>
                    </a:lnTo>
                    <a:lnTo>
                      <a:pt x="117" y="38"/>
                    </a:lnTo>
                    <a:lnTo>
                      <a:pt x="104" y="36"/>
                    </a:lnTo>
                    <a:lnTo>
                      <a:pt x="90" y="36"/>
                    </a:lnTo>
                    <a:lnTo>
                      <a:pt x="78" y="36"/>
                    </a:lnTo>
                    <a:lnTo>
                      <a:pt x="69" y="33"/>
                    </a:lnTo>
                    <a:lnTo>
                      <a:pt x="64" y="29"/>
                    </a:lnTo>
                    <a:lnTo>
                      <a:pt x="50" y="27"/>
                    </a:lnTo>
                    <a:lnTo>
                      <a:pt x="37" y="26"/>
                    </a:lnTo>
                    <a:lnTo>
                      <a:pt x="24" y="24"/>
                    </a:lnTo>
                    <a:lnTo>
                      <a:pt x="16" y="24"/>
                    </a:lnTo>
                    <a:lnTo>
                      <a:pt x="7" y="15"/>
                    </a:lnTo>
                    <a:lnTo>
                      <a:pt x="0" y="12"/>
                    </a:lnTo>
                    <a:lnTo>
                      <a:pt x="4" y="5"/>
                    </a:lnTo>
                    <a:lnTo>
                      <a:pt x="12" y="2"/>
                    </a:lnTo>
                    <a:lnTo>
                      <a:pt x="14" y="2"/>
                    </a:lnTo>
                    <a:lnTo>
                      <a:pt x="16" y="3"/>
                    </a:lnTo>
                    <a:lnTo>
                      <a:pt x="19" y="2"/>
                    </a:lnTo>
                    <a:lnTo>
                      <a:pt x="24" y="0"/>
                    </a:lnTo>
                    <a:lnTo>
                      <a:pt x="33" y="2"/>
                    </a:lnTo>
                    <a:lnTo>
                      <a:pt x="43" y="8"/>
                    </a:lnTo>
                    <a:lnTo>
                      <a:pt x="52" y="14"/>
                    </a:lnTo>
                    <a:lnTo>
                      <a:pt x="64" y="17"/>
                    </a:lnTo>
                    <a:lnTo>
                      <a:pt x="71" y="12"/>
                    </a:lnTo>
                    <a:lnTo>
                      <a:pt x="78" y="8"/>
                    </a:lnTo>
                    <a:lnTo>
                      <a:pt x="90" y="14"/>
                    </a:lnTo>
                    <a:lnTo>
                      <a:pt x="102" y="19"/>
                    </a:lnTo>
                    <a:lnTo>
                      <a:pt x="116" y="15"/>
                    </a:lnTo>
                    <a:lnTo>
                      <a:pt x="121" y="15"/>
                    </a:lnTo>
                    <a:lnTo>
                      <a:pt x="117" y="17"/>
                    </a:lnTo>
                    <a:lnTo>
                      <a:pt x="110" y="19"/>
                    </a:lnTo>
                    <a:lnTo>
                      <a:pt x="104" y="19"/>
                    </a:lnTo>
                    <a:lnTo>
                      <a:pt x="102" y="19"/>
                    </a:lnTo>
                    <a:lnTo>
                      <a:pt x="110" y="24"/>
                    </a:lnTo>
                    <a:lnTo>
                      <a:pt x="123" y="26"/>
                    </a:lnTo>
                    <a:lnTo>
                      <a:pt x="124" y="27"/>
                    </a:lnTo>
                    <a:lnTo>
                      <a:pt x="128" y="31"/>
                    </a:lnTo>
                    <a:lnTo>
                      <a:pt x="133" y="31"/>
                    </a:lnTo>
                    <a:lnTo>
                      <a:pt x="140" y="33"/>
                    </a:lnTo>
                    <a:lnTo>
                      <a:pt x="143" y="33"/>
                    </a:lnTo>
                    <a:lnTo>
                      <a:pt x="147" y="36"/>
                    </a:lnTo>
                    <a:lnTo>
                      <a:pt x="143" y="38"/>
                    </a:lnTo>
                    <a:lnTo>
                      <a:pt x="141"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6" name="Freeform 200"/>
              <p:cNvSpPr>
                <a:spLocks/>
              </p:cNvSpPr>
              <p:nvPr/>
            </p:nvSpPr>
            <p:spPr bwMode="auto">
              <a:xfrm>
                <a:off x="7060407" y="4203700"/>
                <a:ext cx="69850" cy="17462"/>
              </a:xfrm>
              <a:custGeom>
                <a:avLst/>
                <a:gdLst/>
                <a:ahLst/>
                <a:cxnLst>
                  <a:cxn ang="0">
                    <a:pos x="29" y="11"/>
                  </a:cxn>
                  <a:cxn ang="0">
                    <a:pos x="18" y="11"/>
                  </a:cxn>
                  <a:cxn ang="0">
                    <a:pos x="10" y="11"/>
                  </a:cxn>
                  <a:cxn ang="0">
                    <a:pos x="3" y="9"/>
                  </a:cxn>
                  <a:cxn ang="0">
                    <a:pos x="0" y="5"/>
                  </a:cxn>
                  <a:cxn ang="0">
                    <a:pos x="1" y="2"/>
                  </a:cxn>
                  <a:cxn ang="0">
                    <a:pos x="8" y="2"/>
                  </a:cxn>
                  <a:cxn ang="0">
                    <a:pos x="18" y="4"/>
                  </a:cxn>
                  <a:cxn ang="0">
                    <a:pos x="29" y="5"/>
                  </a:cxn>
                  <a:cxn ang="0">
                    <a:pos x="36" y="4"/>
                  </a:cxn>
                  <a:cxn ang="0">
                    <a:pos x="44" y="0"/>
                  </a:cxn>
                  <a:cxn ang="0">
                    <a:pos x="37" y="7"/>
                  </a:cxn>
                  <a:cxn ang="0">
                    <a:pos x="29" y="11"/>
                  </a:cxn>
                </a:cxnLst>
                <a:rect l="0" t="0" r="r" b="b"/>
                <a:pathLst>
                  <a:path w="44" h="11">
                    <a:moveTo>
                      <a:pt x="29" y="11"/>
                    </a:moveTo>
                    <a:lnTo>
                      <a:pt x="18" y="11"/>
                    </a:lnTo>
                    <a:lnTo>
                      <a:pt x="10" y="11"/>
                    </a:lnTo>
                    <a:lnTo>
                      <a:pt x="3" y="9"/>
                    </a:lnTo>
                    <a:lnTo>
                      <a:pt x="0" y="5"/>
                    </a:lnTo>
                    <a:lnTo>
                      <a:pt x="1" y="2"/>
                    </a:lnTo>
                    <a:lnTo>
                      <a:pt x="8" y="2"/>
                    </a:lnTo>
                    <a:lnTo>
                      <a:pt x="18" y="4"/>
                    </a:lnTo>
                    <a:lnTo>
                      <a:pt x="29" y="5"/>
                    </a:lnTo>
                    <a:lnTo>
                      <a:pt x="36" y="4"/>
                    </a:lnTo>
                    <a:lnTo>
                      <a:pt x="44" y="0"/>
                    </a:lnTo>
                    <a:lnTo>
                      <a:pt x="37" y="7"/>
                    </a:lnTo>
                    <a:lnTo>
                      <a:pt x="29"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7" name="Freeform 201"/>
              <p:cNvSpPr>
                <a:spLocks/>
              </p:cNvSpPr>
              <p:nvPr/>
            </p:nvSpPr>
            <p:spPr bwMode="auto">
              <a:xfrm>
                <a:off x="6988969" y="4210050"/>
                <a:ext cx="49213" cy="15875"/>
              </a:xfrm>
              <a:custGeom>
                <a:avLst/>
                <a:gdLst/>
                <a:ahLst/>
                <a:cxnLst>
                  <a:cxn ang="0">
                    <a:pos x="31" y="7"/>
                  </a:cxn>
                  <a:cxn ang="0">
                    <a:pos x="27" y="7"/>
                  </a:cxn>
                  <a:cxn ang="0">
                    <a:pos x="22" y="5"/>
                  </a:cxn>
                  <a:cxn ang="0">
                    <a:pos x="15" y="7"/>
                  </a:cxn>
                  <a:cxn ang="0">
                    <a:pos x="10" y="10"/>
                  </a:cxn>
                  <a:cxn ang="0">
                    <a:pos x="3" y="8"/>
                  </a:cxn>
                  <a:cxn ang="0">
                    <a:pos x="0" y="7"/>
                  </a:cxn>
                  <a:cxn ang="0">
                    <a:pos x="2" y="1"/>
                  </a:cxn>
                  <a:cxn ang="0">
                    <a:pos x="8" y="1"/>
                  </a:cxn>
                  <a:cxn ang="0">
                    <a:pos x="14" y="1"/>
                  </a:cxn>
                  <a:cxn ang="0">
                    <a:pos x="19" y="3"/>
                  </a:cxn>
                  <a:cxn ang="0">
                    <a:pos x="19" y="0"/>
                  </a:cxn>
                  <a:cxn ang="0">
                    <a:pos x="31" y="0"/>
                  </a:cxn>
                  <a:cxn ang="0">
                    <a:pos x="31" y="3"/>
                  </a:cxn>
                  <a:cxn ang="0">
                    <a:pos x="31" y="7"/>
                  </a:cxn>
                </a:cxnLst>
                <a:rect l="0" t="0" r="r" b="b"/>
                <a:pathLst>
                  <a:path w="31" h="10">
                    <a:moveTo>
                      <a:pt x="31" y="7"/>
                    </a:moveTo>
                    <a:lnTo>
                      <a:pt x="27" y="7"/>
                    </a:lnTo>
                    <a:lnTo>
                      <a:pt x="22" y="5"/>
                    </a:lnTo>
                    <a:lnTo>
                      <a:pt x="15" y="7"/>
                    </a:lnTo>
                    <a:lnTo>
                      <a:pt x="10" y="10"/>
                    </a:lnTo>
                    <a:lnTo>
                      <a:pt x="3" y="8"/>
                    </a:lnTo>
                    <a:lnTo>
                      <a:pt x="0" y="7"/>
                    </a:lnTo>
                    <a:lnTo>
                      <a:pt x="2" y="1"/>
                    </a:lnTo>
                    <a:lnTo>
                      <a:pt x="8" y="1"/>
                    </a:lnTo>
                    <a:lnTo>
                      <a:pt x="14" y="1"/>
                    </a:lnTo>
                    <a:lnTo>
                      <a:pt x="19" y="3"/>
                    </a:lnTo>
                    <a:lnTo>
                      <a:pt x="19" y="0"/>
                    </a:lnTo>
                    <a:lnTo>
                      <a:pt x="31" y="0"/>
                    </a:lnTo>
                    <a:lnTo>
                      <a:pt x="31" y="3"/>
                    </a:lnTo>
                    <a:lnTo>
                      <a:pt x="31"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8" name="Freeform 202"/>
              <p:cNvSpPr>
                <a:spLocks/>
              </p:cNvSpPr>
              <p:nvPr/>
            </p:nvSpPr>
            <p:spPr bwMode="auto">
              <a:xfrm>
                <a:off x="7039769" y="4229100"/>
                <a:ext cx="36513" cy="26987"/>
              </a:xfrm>
              <a:custGeom>
                <a:avLst/>
                <a:gdLst/>
                <a:ahLst/>
                <a:cxnLst>
                  <a:cxn ang="0">
                    <a:pos x="18" y="17"/>
                  </a:cxn>
                  <a:cxn ang="0">
                    <a:pos x="14" y="14"/>
                  </a:cxn>
                  <a:cxn ang="0">
                    <a:pos x="14" y="10"/>
                  </a:cxn>
                  <a:cxn ang="0">
                    <a:pos x="4" y="8"/>
                  </a:cxn>
                  <a:cxn ang="0">
                    <a:pos x="0" y="5"/>
                  </a:cxn>
                  <a:cxn ang="0">
                    <a:pos x="4" y="0"/>
                  </a:cxn>
                  <a:cxn ang="0">
                    <a:pos x="11" y="1"/>
                  </a:cxn>
                  <a:cxn ang="0">
                    <a:pos x="13" y="1"/>
                  </a:cxn>
                  <a:cxn ang="0">
                    <a:pos x="16" y="1"/>
                  </a:cxn>
                  <a:cxn ang="0">
                    <a:pos x="19" y="7"/>
                  </a:cxn>
                  <a:cxn ang="0">
                    <a:pos x="23" y="14"/>
                  </a:cxn>
                  <a:cxn ang="0">
                    <a:pos x="21" y="15"/>
                  </a:cxn>
                  <a:cxn ang="0">
                    <a:pos x="19" y="17"/>
                  </a:cxn>
                  <a:cxn ang="0">
                    <a:pos x="18" y="17"/>
                  </a:cxn>
                </a:cxnLst>
                <a:rect l="0" t="0" r="r" b="b"/>
                <a:pathLst>
                  <a:path w="23" h="17">
                    <a:moveTo>
                      <a:pt x="18" y="17"/>
                    </a:moveTo>
                    <a:lnTo>
                      <a:pt x="14" y="14"/>
                    </a:lnTo>
                    <a:lnTo>
                      <a:pt x="14" y="10"/>
                    </a:lnTo>
                    <a:lnTo>
                      <a:pt x="4" y="8"/>
                    </a:lnTo>
                    <a:lnTo>
                      <a:pt x="0" y="5"/>
                    </a:lnTo>
                    <a:lnTo>
                      <a:pt x="4" y="0"/>
                    </a:lnTo>
                    <a:lnTo>
                      <a:pt x="11" y="1"/>
                    </a:lnTo>
                    <a:lnTo>
                      <a:pt x="13" y="1"/>
                    </a:lnTo>
                    <a:lnTo>
                      <a:pt x="16" y="1"/>
                    </a:lnTo>
                    <a:lnTo>
                      <a:pt x="19" y="7"/>
                    </a:lnTo>
                    <a:lnTo>
                      <a:pt x="23" y="14"/>
                    </a:lnTo>
                    <a:lnTo>
                      <a:pt x="21" y="15"/>
                    </a:lnTo>
                    <a:lnTo>
                      <a:pt x="19" y="17"/>
                    </a:lnTo>
                    <a:lnTo>
                      <a:pt x="18"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59" name="Freeform 203"/>
              <p:cNvSpPr>
                <a:spLocks/>
              </p:cNvSpPr>
              <p:nvPr/>
            </p:nvSpPr>
            <p:spPr bwMode="auto">
              <a:xfrm>
                <a:off x="6971507" y="4206875"/>
                <a:ext cx="14288" cy="14287"/>
              </a:xfrm>
              <a:custGeom>
                <a:avLst/>
                <a:gdLst/>
                <a:ahLst/>
                <a:cxnLst>
                  <a:cxn ang="0">
                    <a:pos x="0" y="0"/>
                  </a:cxn>
                  <a:cxn ang="0">
                    <a:pos x="4" y="0"/>
                  </a:cxn>
                  <a:cxn ang="0">
                    <a:pos x="6" y="2"/>
                  </a:cxn>
                  <a:cxn ang="0">
                    <a:pos x="9" y="3"/>
                  </a:cxn>
                  <a:cxn ang="0">
                    <a:pos x="6" y="7"/>
                  </a:cxn>
                  <a:cxn ang="0">
                    <a:pos x="4" y="9"/>
                  </a:cxn>
                  <a:cxn ang="0">
                    <a:pos x="0" y="7"/>
                  </a:cxn>
                  <a:cxn ang="0">
                    <a:pos x="0" y="5"/>
                  </a:cxn>
                  <a:cxn ang="0">
                    <a:pos x="0" y="2"/>
                  </a:cxn>
                  <a:cxn ang="0">
                    <a:pos x="0" y="0"/>
                  </a:cxn>
                </a:cxnLst>
                <a:rect l="0" t="0" r="r" b="b"/>
                <a:pathLst>
                  <a:path w="9" h="9">
                    <a:moveTo>
                      <a:pt x="0" y="0"/>
                    </a:moveTo>
                    <a:lnTo>
                      <a:pt x="4" y="0"/>
                    </a:lnTo>
                    <a:lnTo>
                      <a:pt x="6" y="2"/>
                    </a:lnTo>
                    <a:lnTo>
                      <a:pt x="9" y="3"/>
                    </a:lnTo>
                    <a:lnTo>
                      <a:pt x="6" y="7"/>
                    </a:lnTo>
                    <a:lnTo>
                      <a:pt x="4" y="9"/>
                    </a:lnTo>
                    <a:lnTo>
                      <a:pt x="0" y="7"/>
                    </a:lnTo>
                    <a:lnTo>
                      <a:pt x="0" y="5"/>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60" name="Freeform 204"/>
              <p:cNvSpPr>
                <a:spLocks/>
              </p:cNvSpPr>
              <p:nvPr/>
            </p:nvSpPr>
            <p:spPr bwMode="auto">
              <a:xfrm>
                <a:off x="7141369" y="4210050"/>
                <a:ext cx="82550" cy="46037"/>
              </a:xfrm>
              <a:custGeom>
                <a:avLst/>
                <a:gdLst/>
                <a:ahLst/>
                <a:cxnLst>
                  <a:cxn ang="0">
                    <a:pos x="22" y="13"/>
                  </a:cxn>
                  <a:cxn ang="0">
                    <a:pos x="21" y="15"/>
                  </a:cxn>
                  <a:cxn ang="0">
                    <a:pos x="21" y="20"/>
                  </a:cxn>
                  <a:cxn ang="0">
                    <a:pos x="14" y="26"/>
                  </a:cxn>
                  <a:cxn ang="0">
                    <a:pos x="4" y="29"/>
                  </a:cxn>
                  <a:cxn ang="0">
                    <a:pos x="0" y="27"/>
                  </a:cxn>
                  <a:cxn ang="0">
                    <a:pos x="0" y="26"/>
                  </a:cxn>
                  <a:cxn ang="0">
                    <a:pos x="5" y="13"/>
                  </a:cxn>
                  <a:cxn ang="0">
                    <a:pos x="17" y="12"/>
                  </a:cxn>
                  <a:cxn ang="0">
                    <a:pos x="19" y="8"/>
                  </a:cxn>
                  <a:cxn ang="0">
                    <a:pos x="21" y="7"/>
                  </a:cxn>
                  <a:cxn ang="0">
                    <a:pos x="26" y="1"/>
                  </a:cxn>
                  <a:cxn ang="0">
                    <a:pos x="36" y="1"/>
                  </a:cxn>
                  <a:cxn ang="0">
                    <a:pos x="45" y="0"/>
                  </a:cxn>
                  <a:cxn ang="0">
                    <a:pos x="52" y="3"/>
                  </a:cxn>
                  <a:cxn ang="0">
                    <a:pos x="45" y="7"/>
                  </a:cxn>
                  <a:cxn ang="0">
                    <a:pos x="38" y="10"/>
                  </a:cxn>
                  <a:cxn ang="0">
                    <a:pos x="29" y="12"/>
                  </a:cxn>
                  <a:cxn ang="0">
                    <a:pos x="22" y="13"/>
                  </a:cxn>
                </a:cxnLst>
                <a:rect l="0" t="0" r="r" b="b"/>
                <a:pathLst>
                  <a:path w="52" h="29">
                    <a:moveTo>
                      <a:pt x="22" y="13"/>
                    </a:moveTo>
                    <a:lnTo>
                      <a:pt x="21" y="15"/>
                    </a:lnTo>
                    <a:lnTo>
                      <a:pt x="21" y="20"/>
                    </a:lnTo>
                    <a:lnTo>
                      <a:pt x="14" y="26"/>
                    </a:lnTo>
                    <a:lnTo>
                      <a:pt x="4" y="29"/>
                    </a:lnTo>
                    <a:lnTo>
                      <a:pt x="0" y="27"/>
                    </a:lnTo>
                    <a:lnTo>
                      <a:pt x="0" y="26"/>
                    </a:lnTo>
                    <a:lnTo>
                      <a:pt x="5" y="13"/>
                    </a:lnTo>
                    <a:lnTo>
                      <a:pt x="17" y="12"/>
                    </a:lnTo>
                    <a:lnTo>
                      <a:pt x="19" y="8"/>
                    </a:lnTo>
                    <a:lnTo>
                      <a:pt x="21" y="7"/>
                    </a:lnTo>
                    <a:lnTo>
                      <a:pt x="26" y="1"/>
                    </a:lnTo>
                    <a:lnTo>
                      <a:pt x="36" y="1"/>
                    </a:lnTo>
                    <a:lnTo>
                      <a:pt x="45" y="0"/>
                    </a:lnTo>
                    <a:lnTo>
                      <a:pt x="52" y="3"/>
                    </a:lnTo>
                    <a:lnTo>
                      <a:pt x="45" y="7"/>
                    </a:lnTo>
                    <a:lnTo>
                      <a:pt x="38" y="10"/>
                    </a:lnTo>
                    <a:lnTo>
                      <a:pt x="29" y="12"/>
                    </a:lnTo>
                    <a:lnTo>
                      <a:pt x="22"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61" name="Freeform 205"/>
              <p:cNvSpPr>
                <a:spLocks/>
              </p:cNvSpPr>
              <p:nvPr/>
            </p:nvSpPr>
            <p:spPr bwMode="auto">
              <a:xfrm>
                <a:off x="7384257" y="4143375"/>
                <a:ext cx="14288" cy="33337"/>
              </a:xfrm>
              <a:custGeom>
                <a:avLst/>
                <a:gdLst/>
                <a:ahLst/>
                <a:cxnLst>
                  <a:cxn ang="0">
                    <a:pos x="7" y="0"/>
                  </a:cxn>
                  <a:cxn ang="0">
                    <a:pos x="7" y="2"/>
                  </a:cxn>
                  <a:cxn ang="0">
                    <a:pos x="9" y="6"/>
                  </a:cxn>
                  <a:cxn ang="0">
                    <a:pos x="7" y="9"/>
                  </a:cxn>
                  <a:cxn ang="0">
                    <a:pos x="5" y="11"/>
                  </a:cxn>
                  <a:cxn ang="0">
                    <a:pos x="5" y="18"/>
                  </a:cxn>
                  <a:cxn ang="0">
                    <a:pos x="2" y="21"/>
                  </a:cxn>
                  <a:cxn ang="0">
                    <a:pos x="0" y="19"/>
                  </a:cxn>
                  <a:cxn ang="0">
                    <a:pos x="0" y="18"/>
                  </a:cxn>
                  <a:cxn ang="0">
                    <a:pos x="2" y="11"/>
                  </a:cxn>
                  <a:cxn ang="0">
                    <a:pos x="4" y="9"/>
                  </a:cxn>
                  <a:cxn ang="0">
                    <a:pos x="4" y="2"/>
                  </a:cxn>
                  <a:cxn ang="0">
                    <a:pos x="7" y="0"/>
                  </a:cxn>
                </a:cxnLst>
                <a:rect l="0" t="0" r="r" b="b"/>
                <a:pathLst>
                  <a:path w="9" h="21">
                    <a:moveTo>
                      <a:pt x="7" y="0"/>
                    </a:moveTo>
                    <a:lnTo>
                      <a:pt x="7" y="2"/>
                    </a:lnTo>
                    <a:lnTo>
                      <a:pt x="9" y="6"/>
                    </a:lnTo>
                    <a:lnTo>
                      <a:pt x="7" y="9"/>
                    </a:lnTo>
                    <a:lnTo>
                      <a:pt x="5" y="11"/>
                    </a:lnTo>
                    <a:lnTo>
                      <a:pt x="5" y="18"/>
                    </a:lnTo>
                    <a:lnTo>
                      <a:pt x="2" y="21"/>
                    </a:lnTo>
                    <a:lnTo>
                      <a:pt x="0" y="19"/>
                    </a:lnTo>
                    <a:lnTo>
                      <a:pt x="0" y="18"/>
                    </a:lnTo>
                    <a:lnTo>
                      <a:pt x="2" y="11"/>
                    </a:lnTo>
                    <a:lnTo>
                      <a:pt x="4" y="9"/>
                    </a:lnTo>
                    <a:lnTo>
                      <a:pt x="4" y="2"/>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62" name="Freeform 206"/>
              <p:cNvSpPr>
                <a:spLocks/>
              </p:cNvSpPr>
              <p:nvPr/>
            </p:nvSpPr>
            <p:spPr bwMode="auto">
              <a:xfrm>
                <a:off x="7201694" y="4084638"/>
                <a:ext cx="22225" cy="20637"/>
              </a:xfrm>
              <a:custGeom>
                <a:avLst/>
                <a:gdLst/>
                <a:ahLst/>
                <a:cxnLst>
                  <a:cxn ang="0">
                    <a:pos x="14" y="7"/>
                  </a:cxn>
                  <a:cxn ang="0">
                    <a:pos x="10" y="10"/>
                  </a:cxn>
                  <a:cxn ang="0">
                    <a:pos x="9" y="13"/>
                  </a:cxn>
                  <a:cxn ang="0">
                    <a:pos x="2" y="10"/>
                  </a:cxn>
                  <a:cxn ang="0">
                    <a:pos x="0" y="3"/>
                  </a:cxn>
                  <a:cxn ang="0">
                    <a:pos x="2" y="0"/>
                  </a:cxn>
                  <a:cxn ang="0">
                    <a:pos x="7" y="0"/>
                  </a:cxn>
                  <a:cxn ang="0">
                    <a:pos x="10" y="1"/>
                  </a:cxn>
                  <a:cxn ang="0">
                    <a:pos x="14" y="7"/>
                  </a:cxn>
                </a:cxnLst>
                <a:rect l="0" t="0" r="r" b="b"/>
                <a:pathLst>
                  <a:path w="14" h="13">
                    <a:moveTo>
                      <a:pt x="14" y="7"/>
                    </a:moveTo>
                    <a:lnTo>
                      <a:pt x="10" y="10"/>
                    </a:lnTo>
                    <a:lnTo>
                      <a:pt x="9" y="13"/>
                    </a:lnTo>
                    <a:lnTo>
                      <a:pt x="2" y="10"/>
                    </a:lnTo>
                    <a:lnTo>
                      <a:pt x="0" y="3"/>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63" name="Freeform 207"/>
              <p:cNvSpPr>
                <a:spLocks/>
              </p:cNvSpPr>
              <p:nvPr/>
            </p:nvSpPr>
            <p:spPr bwMode="auto">
              <a:xfrm>
                <a:off x="7242969" y="4084638"/>
                <a:ext cx="65088" cy="19050"/>
              </a:xfrm>
              <a:custGeom>
                <a:avLst/>
                <a:gdLst/>
                <a:ahLst/>
                <a:cxnLst>
                  <a:cxn ang="0">
                    <a:pos x="36" y="1"/>
                  </a:cxn>
                  <a:cxn ang="0">
                    <a:pos x="38" y="5"/>
                  </a:cxn>
                  <a:cxn ang="0">
                    <a:pos x="41" y="10"/>
                  </a:cxn>
                  <a:cxn ang="0">
                    <a:pos x="39" y="10"/>
                  </a:cxn>
                  <a:cxn ang="0">
                    <a:pos x="38" y="12"/>
                  </a:cxn>
                  <a:cxn ang="0">
                    <a:pos x="29" y="8"/>
                  </a:cxn>
                  <a:cxn ang="0">
                    <a:pos x="20" y="7"/>
                  </a:cxn>
                  <a:cxn ang="0">
                    <a:pos x="14" y="7"/>
                  </a:cxn>
                  <a:cxn ang="0">
                    <a:pos x="8" y="7"/>
                  </a:cxn>
                  <a:cxn ang="0">
                    <a:pos x="3" y="5"/>
                  </a:cxn>
                  <a:cxn ang="0">
                    <a:pos x="0" y="3"/>
                  </a:cxn>
                  <a:cxn ang="0">
                    <a:pos x="0" y="0"/>
                  </a:cxn>
                  <a:cxn ang="0">
                    <a:pos x="3" y="0"/>
                  </a:cxn>
                  <a:cxn ang="0">
                    <a:pos x="26" y="0"/>
                  </a:cxn>
                  <a:cxn ang="0">
                    <a:pos x="29" y="1"/>
                  </a:cxn>
                  <a:cxn ang="0">
                    <a:pos x="34" y="1"/>
                  </a:cxn>
                  <a:cxn ang="0">
                    <a:pos x="36" y="1"/>
                  </a:cxn>
                </a:cxnLst>
                <a:rect l="0" t="0" r="r" b="b"/>
                <a:pathLst>
                  <a:path w="41" h="12">
                    <a:moveTo>
                      <a:pt x="36" y="1"/>
                    </a:moveTo>
                    <a:lnTo>
                      <a:pt x="38" y="5"/>
                    </a:lnTo>
                    <a:lnTo>
                      <a:pt x="41" y="10"/>
                    </a:lnTo>
                    <a:lnTo>
                      <a:pt x="39" y="10"/>
                    </a:lnTo>
                    <a:lnTo>
                      <a:pt x="38" y="12"/>
                    </a:lnTo>
                    <a:lnTo>
                      <a:pt x="29" y="8"/>
                    </a:lnTo>
                    <a:lnTo>
                      <a:pt x="20" y="7"/>
                    </a:lnTo>
                    <a:lnTo>
                      <a:pt x="14" y="7"/>
                    </a:lnTo>
                    <a:lnTo>
                      <a:pt x="8" y="7"/>
                    </a:lnTo>
                    <a:lnTo>
                      <a:pt x="3" y="5"/>
                    </a:lnTo>
                    <a:lnTo>
                      <a:pt x="0" y="3"/>
                    </a:lnTo>
                    <a:lnTo>
                      <a:pt x="0" y="0"/>
                    </a:lnTo>
                    <a:lnTo>
                      <a:pt x="3" y="0"/>
                    </a:lnTo>
                    <a:lnTo>
                      <a:pt x="26" y="0"/>
                    </a:lnTo>
                    <a:lnTo>
                      <a:pt x="29" y="1"/>
                    </a:lnTo>
                    <a:lnTo>
                      <a:pt x="34" y="1"/>
                    </a:lnTo>
                    <a:lnTo>
                      <a:pt x="36"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64" name="Freeform 208"/>
              <p:cNvSpPr>
                <a:spLocks/>
              </p:cNvSpPr>
              <p:nvPr/>
            </p:nvSpPr>
            <p:spPr bwMode="auto">
              <a:xfrm>
                <a:off x="7231857" y="3963988"/>
                <a:ext cx="26988" cy="63500"/>
              </a:xfrm>
              <a:custGeom>
                <a:avLst/>
                <a:gdLst/>
                <a:ahLst/>
                <a:cxnLst>
                  <a:cxn ang="0">
                    <a:pos x="5" y="31"/>
                  </a:cxn>
                  <a:cxn ang="0">
                    <a:pos x="5" y="27"/>
                  </a:cxn>
                  <a:cxn ang="0">
                    <a:pos x="10" y="27"/>
                  </a:cxn>
                  <a:cxn ang="0">
                    <a:pos x="17" y="27"/>
                  </a:cxn>
                  <a:cxn ang="0">
                    <a:pos x="14" y="22"/>
                  </a:cxn>
                  <a:cxn ang="0">
                    <a:pos x="12" y="19"/>
                  </a:cxn>
                  <a:cxn ang="0">
                    <a:pos x="14" y="15"/>
                  </a:cxn>
                  <a:cxn ang="0">
                    <a:pos x="17" y="12"/>
                  </a:cxn>
                  <a:cxn ang="0">
                    <a:pos x="7" y="7"/>
                  </a:cxn>
                  <a:cxn ang="0">
                    <a:pos x="5" y="0"/>
                  </a:cxn>
                  <a:cxn ang="0">
                    <a:pos x="0" y="3"/>
                  </a:cxn>
                  <a:cxn ang="0">
                    <a:pos x="0" y="10"/>
                  </a:cxn>
                  <a:cxn ang="0">
                    <a:pos x="2" y="15"/>
                  </a:cxn>
                  <a:cxn ang="0">
                    <a:pos x="3" y="24"/>
                  </a:cxn>
                  <a:cxn ang="0">
                    <a:pos x="3" y="27"/>
                  </a:cxn>
                  <a:cxn ang="0">
                    <a:pos x="3" y="31"/>
                  </a:cxn>
                  <a:cxn ang="0">
                    <a:pos x="3" y="34"/>
                  </a:cxn>
                  <a:cxn ang="0">
                    <a:pos x="10" y="40"/>
                  </a:cxn>
                  <a:cxn ang="0">
                    <a:pos x="7" y="34"/>
                  </a:cxn>
                  <a:cxn ang="0">
                    <a:pos x="5" y="31"/>
                  </a:cxn>
                </a:cxnLst>
                <a:rect l="0" t="0" r="r" b="b"/>
                <a:pathLst>
                  <a:path w="17" h="40">
                    <a:moveTo>
                      <a:pt x="5" y="31"/>
                    </a:moveTo>
                    <a:lnTo>
                      <a:pt x="5" y="27"/>
                    </a:lnTo>
                    <a:lnTo>
                      <a:pt x="10" y="27"/>
                    </a:lnTo>
                    <a:lnTo>
                      <a:pt x="17" y="27"/>
                    </a:lnTo>
                    <a:lnTo>
                      <a:pt x="14" y="22"/>
                    </a:lnTo>
                    <a:lnTo>
                      <a:pt x="12" y="19"/>
                    </a:lnTo>
                    <a:lnTo>
                      <a:pt x="14" y="15"/>
                    </a:lnTo>
                    <a:lnTo>
                      <a:pt x="17" y="12"/>
                    </a:lnTo>
                    <a:lnTo>
                      <a:pt x="7" y="7"/>
                    </a:lnTo>
                    <a:lnTo>
                      <a:pt x="5" y="0"/>
                    </a:lnTo>
                    <a:lnTo>
                      <a:pt x="0" y="3"/>
                    </a:lnTo>
                    <a:lnTo>
                      <a:pt x="0" y="10"/>
                    </a:lnTo>
                    <a:lnTo>
                      <a:pt x="2" y="15"/>
                    </a:lnTo>
                    <a:lnTo>
                      <a:pt x="3" y="24"/>
                    </a:lnTo>
                    <a:lnTo>
                      <a:pt x="3" y="27"/>
                    </a:lnTo>
                    <a:lnTo>
                      <a:pt x="3" y="31"/>
                    </a:lnTo>
                    <a:lnTo>
                      <a:pt x="3" y="34"/>
                    </a:lnTo>
                    <a:lnTo>
                      <a:pt x="10" y="40"/>
                    </a:lnTo>
                    <a:lnTo>
                      <a:pt x="7" y="34"/>
                    </a:lnTo>
                    <a:lnTo>
                      <a:pt x="5"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65" name="Freeform 209"/>
              <p:cNvSpPr>
                <a:spLocks/>
              </p:cNvSpPr>
              <p:nvPr/>
            </p:nvSpPr>
            <p:spPr bwMode="auto">
              <a:xfrm>
                <a:off x="7717632" y="4111625"/>
                <a:ext cx="90488" cy="50800"/>
              </a:xfrm>
              <a:custGeom>
                <a:avLst/>
                <a:gdLst/>
                <a:ahLst/>
                <a:cxnLst>
                  <a:cxn ang="0">
                    <a:pos x="16" y="31"/>
                  </a:cxn>
                  <a:cxn ang="0">
                    <a:pos x="5" y="26"/>
                  </a:cxn>
                  <a:cxn ang="0">
                    <a:pos x="0" y="20"/>
                  </a:cxn>
                  <a:cxn ang="0">
                    <a:pos x="16" y="20"/>
                  </a:cxn>
                  <a:cxn ang="0">
                    <a:pos x="17" y="19"/>
                  </a:cxn>
                  <a:cxn ang="0">
                    <a:pos x="21" y="19"/>
                  </a:cxn>
                  <a:cxn ang="0">
                    <a:pos x="31" y="15"/>
                  </a:cxn>
                  <a:cxn ang="0">
                    <a:pos x="41" y="14"/>
                  </a:cxn>
                  <a:cxn ang="0">
                    <a:pos x="46" y="5"/>
                  </a:cxn>
                  <a:cxn ang="0">
                    <a:pos x="52" y="0"/>
                  </a:cxn>
                  <a:cxn ang="0">
                    <a:pos x="55" y="2"/>
                  </a:cxn>
                  <a:cxn ang="0">
                    <a:pos x="57" y="7"/>
                  </a:cxn>
                  <a:cxn ang="0">
                    <a:pos x="52" y="15"/>
                  </a:cxn>
                  <a:cxn ang="0">
                    <a:pos x="46" y="26"/>
                  </a:cxn>
                  <a:cxn ang="0">
                    <a:pos x="34" y="29"/>
                  </a:cxn>
                  <a:cxn ang="0">
                    <a:pos x="22" y="32"/>
                  </a:cxn>
                  <a:cxn ang="0">
                    <a:pos x="16" y="29"/>
                  </a:cxn>
                  <a:cxn ang="0">
                    <a:pos x="12" y="27"/>
                  </a:cxn>
                  <a:cxn ang="0">
                    <a:pos x="16" y="31"/>
                  </a:cxn>
                </a:cxnLst>
                <a:rect l="0" t="0" r="r" b="b"/>
                <a:pathLst>
                  <a:path w="57" h="32">
                    <a:moveTo>
                      <a:pt x="16" y="31"/>
                    </a:moveTo>
                    <a:lnTo>
                      <a:pt x="5" y="26"/>
                    </a:lnTo>
                    <a:lnTo>
                      <a:pt x="0" y="20"/>
                    </a:lnTo>
                    <a:lnTo>
                      <a:pt x="16" y="20"/>
                    </a:lnTo>
                    <a:lnTo>
                      <a:pt x="17" y="19"/>
                    </a:lnTo>
                    <a:lnTo>
                      <a:pt x="21" y="19"/>
                    </a:lnTo>
                    <a:lnTo>
                      <a:pt x="31" y="15"/>
                    </a:lnTo>
                    <a:lnTo>
                      <a:pt x="41" y="14"/>
                    </a:lnTo>
                    <a:lnTo>
                      <a:pt x="46" y="5"/>
                    </a:lnTo>
                    <a:lnTo>
                      <a:pt x="52" y="0"/>
                    </a:lnTo>
                    <a:lnTo>
                      <a:pt x="55" y="2"/>
                    </a:lnTo>
                    <a:lnTo>
                      <a:pt x="57" y="7"/>
                    </a:lnTo>
                    <a:lnTo>
                      <a:pt x="52" y="15"/>
                    </a:lnTo>
                    <a:lnTo>
                      <a:pt x="46" y="26"/>
                    </a:lnTo>
                    <a:lnTo>
                      <a:pt x="34" y="29"/>
                    </a:lnTo>
                    <a:lnTo>
                      <a:pt x="22" y="32"/>
                    </a:lnTo>
                    <a:lnTo>
                      <a:pt x="16" y="29"/>
                    </a:lnTo>
                    <a:lnTo>
                      <a:pt x="12" y="27"/>
                    </a:lnTo>
                    <a:lnTo>
                      <a:pt x="1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66" name="Freeform 210"/>
              <p:cNvSpPr>
                <a:spLocks/>
              </p:cNvSpPr>
              <p:nvPr/>
            </p:nvSpPr>
            <p:spPr bwMode="auto">
              <a:xfrm>
                <a:off x="7308057" y="4021138"/>
                <a:ext cx="466725" cy="242887"/>
              </a:xfrm>
              <a:custGeom>
                <a:avLst/>
                <a:gdLst/>
                <a:ahLst/>
                <a:cxnLst>
                  <a:cxn ang="0">
                    <a:pos x="162" y="40"/>
                  </a:cxn>
                  <a:cxn ang="0">
                    <a:pos x="191" y="48"/>
                  </a:cxn>
                  <a:cxn ang="0">
                    <a:pos x="205" y="57"/>
                  </a:cxn>
                  <a:cxn ang="0">
                    <a:pos x="225" y="74"/>
                  </a:cxn>
                  <a:cxn ang="0">
                    <a:pos x="249" y="89"/>
                  </a:cxn>
                  <a:cxn ang="0">
                    <a:pos x="243" y="103"/>
                  </a:cxn>
                  <a:cxn ang="0">
                    <a:pos x="256" y="124"/>
                  </a:cxn>
                  <a:cxn ang="0">
                    <a:pos x="270" y="131"/>
                  </a:cxn>
                  <a:cxn ang="0">
                    <a:pos x="279" y="136"/>
                  </a:cxn>
                  <a:cxn ang="0">
                    <a:pos x="287" y="143"/>
                  </a:cxn>
                  <a:cxn ang="0">
                    <a:pos x="287" y="153"/>
                  </a:cxn>
                  <a:cxn ang="0">
                    <a:pos x="279" y="150"/>
                  </a:cxn>
                  <a:cxn ang="0">
                    <a:pos x="248" y="141"/>
                  </a:cxn>
                  <a:cxn ang="0">
                    <a:pos x="237" y="129"/>
                  </a:cxn>
                  <a:cxn ang="0">
                    <a:pos x="210" y="107"/>
                  </a:cxn>
                  <a:cxn ang="0">
                    <a:pos x="189" y="108"/>
                  </a:cxn>
                  <a:cxn ang="0">
                    <a:pos x="181" y="124"/>
                  </a:cxn>
                  <a:cxn ang="0">
                    <a:pos x="160" y="131"/>
                  </a:cxn>
                  <a:cxn ang="0">
                    <a:pos x="138" y="115"/>
                  </a:cxn>
                  <a:cxn ang="0">
                    <a:pos x="122" y="117"/>
                  </a:cxn>
                  <a:cxn ang="0">
                    <a:pos x="103" y="114"/>
                  </a:cxn>
                  <a:cxn ang="0">
                    <a:pos x="110" y="91"/>
                  </a:cxn>
                  <a:cxn ang="0">
                    <a:pos x="100" y="72"/>
                  </a:cxn>
                  <a:cxn ang="0">
                    <a:pos x="81" y="64"/>
                  </a:cxn>
                  <a:cxn ang="0">
                    <a:pos x="62" y="62"/>
                  </a:cxn>
                  <a:cxn ang="0">
                    <a:pos x="46" y="50"/>
                  </a:cxn>
                  <a:cxn ang="0">
                    <a:pos x="38" y="53"/>
                  </a:cxn>
                  <a:cxn ang="0">
                    <a:pos x="29" y="55"/>
                  </a:cxn>
                  <a:cxn ang="0">
                    <a:pos x="21" y="40"/>
                  </a:cxn>
                  <a:cxn ang="0">
                    <a:pos x="31" y="33"/>
                  </a:cxn>
                  <a:cxn ang="0">
                    <a:pos x="40" y="29"/>
                  </a:cxn>
                  <a:cxn ang="0">
                    <a:pos x="21" y="29"/>
                  </a:cxn>
                  <a:cxn ang="0">
                    <a:pos x="16" y="24"/>
                  </a:cxn>
                  <a:cxn ang="0">
                    <a:pos x="2" y="9"/>
                  </a:cxn>
                  <a:cxn ang="0">
                    <a:pos x="26" y="0"/>
                  </a:cxn>
                  <a:cxn ang="0">
                    <a:pos x="50" y="19"/>
                  </a:cxn>
                  <a:cxn ang="0">
                    <a:pos x="57" y="33"/>
                  </a:cxn>
                  <a:cxn ang="0">
                    <a:pos x="72" y="38"/>
                  </a:cxn>
                  <a:cxn ang="0">
                    <a:pos x="89" y="28"/>
                  </a:cxn>
                  <a:cxn ang="0">
                    <a:pos x="108" y="17"/>
                  </a:cxn>
                  <a:cxn ang="0">
                    <a:pos x="126" y="29"/>
                  </a:cxn>
                  <a:cxn ang="0">
                    <a:pos x="148" y="33"/>
                  </a:cxn>
                </a:cxnLst>
                <a:rect l="0" t="0" r="r" b="b"/>
                <a:pathLst>
                  <a:path w="294" h="153">
                    <a:moveTo>
                      <a:pt x="146" y="31"/>
                    </a:moveTo>
                    <a:lnTo>
                      <a:pt x="151" y="34"/>
                    </a:lnTo>
                    <a:lnTo>
                      <a:pt x="162" y="40"/>
                    </a:lnTo>
                    <a:lnTo>
                      <a:pt x="172" y="43"/>
                    </a:lnTo>
                    <a:lnTo>
                      <a:pt x="184" y="45"/>
                    </a:lnTo>
                    <a:lnTo>
                      <a:pt x="191" y="48"/>
                    </a:lnTo>
                    <a:lnTo>
                      <a:pt x="198" y="52"/>
                    </a:lnTo>
                    <a:lnTo>
                      <a:pt x="200" y="55"/>
                    </a:lnTo>
                    <a:lnTo>
                      <a:pt x="205" y="57"/>
                    </a:lnTo>
                    <a:lnTo>
                      <a:pt x="213" y="60"/>
                    </a:lnTo>
                    <a:lnTo>
                      <a:pt x="220" y="69"/>
                    </a:lnTo>
                    <a:lnTo>
                      <a:pt x="225" y="74"/>
                    </a:lnTo>
                    <a:lnTo>
                      <a:pt x="234" y="81"/>
                    </a:lnTo>
                    <a:lnTo>
                      <a:pt x="243" y="81"/>
                    </a:lnTo>
                    <a:lnTo>
                      <a:pt x="249" y="89"/>
                    </a:lnTo>
                    <a:lnTo>
                      <a:pt x="244" y="93"/>
                    </a:lnTo>
                    <a:lnTo>
                      <a:pt x="239" y="98"/>
                    </a:lnTo>
                    <a:lnTo>
                      <a:pt x="243" y="103"/>
                    </a:lnTo>
                    <a:lnTo>
                      <a:pt x="249" y="110"/>
                    </a:lnTo>
                    <a:lnTo>
                      <a:pt x="253" y="117"/>
                    </a:lnTo>
                    <a:lnTo>
                      <a:pt x="256" y="124"/>
                    </a:lnTo>
                    <a:lnTo>
                      <a:pt x="261" y="127"/>
                    </a:lnTo>
                    <a:lnTo>
                      <a:pt x="268" y="129"/>
                    </a:lnTo>
                    <a:lnTo>
                      <a:pt x="270" y="131"/>
                    </a:lnTo>
                    <a:lnTo>
                      <a:pt x="272" y="136"/>
                    </a:lnTo>
                    <a:lnTo>
                      <a:pt x="275" y="136"/>
                    </a:lnTo>
                    <a:lnTo>
                      <a:pt x="279" y="136"/>
                    </a:lnTo>
                    <a:lnTo>
                      <a:pt x="280" y="138"/>
                    </a:lnTo>
                    <a:lnTo>
                      <a:pt x="284" y="143"/>
                    </a:lnTo>
                    <a:lnTo>
                      <a:pt x="287" y="143"/>
                    </a:lnTo>
                    <a:lnTo>
                      <a:pt x="294" y="145"/>
                    </a:lnTo>
                    <a:lnTo>
                      <a:pt x="289" y="146"/>
                    </a:lnTo>
                    <a:lnTo>
                      <a:pt x="287" y="153"/>
                    </a:lnTo>
                    <a:lnTo>
                      <a:pt x="286" y="153"/>
                    </a:lnTo>
                    <a:lnTo>
                      <a:pt x="284" y="153"/>
                    </a:lnTo>
                    <a:lnTo>
                      <a:pt x="279" y="150"/>
                    </a:lnTo>
                    <a:lnTo>
                      <a:pt x="274" y="146"/>
                    </a:lnTo>
                    <a:lnTo>
                      <a:pt x="261" y="146"/>
                    </a:lnTo>
                    <a:lnTo>
                      <a:pt x="248" y="141"/>
                    </a:lnTo>
                    <a:lnTo>
                      <a:pt x="241" y="134"/>
                    </a:lnTo>
                    <a:lnTo>
                      <a:pt x="239" y="131"/>
                    </a:lnTo>
                    <a:lnTo>
                      <a:pt x="237" y="129"/>
                    </a:lnTo>
                    <a:lnTo>
                      <a:pt x="229" y="120"/>
                    </a:lnTo>
                    <a:lnTo>
                      <a:pt x="220" y="112"/>
                    </a:lnTo>
                    <a:lnTo>
                      <a:pt x="210" y="107"/>
                    </a:lnTo>
                    <a:lnTo>
                      <a:pt x="201" y="105"/>
                    </a:lnTo>
                    <a:lnTo>
                      <a:pt x="193" y="105"/>
                    </a:lnTo>
                    <a:lnTo>
                      <a:pt x="189" y="108"/>
                    </a:lnTo>
                    <a:lnTo>
                      <a:pt x="186" y="114"/>
                    </a:lnTo>
                    <a:lnTo>
                      <a:pt x="182" y="119"/>
                    </a:lnTo>
                    <a:lnTo>
                      <a:pt x="181" y="124"/>
                    </a:lnTo>
                    <a:lnTo>
                      <a:pt x="179" y="131"/>
                    </a:lnTo>
                    <a:lnTo>
                      <a:pt x="167" y="131"/>
                    </a:lnTo>
                    <a:lnTo>
                      <a:pt x="160" y="131"/>
                    </a:lnTo>
                    <a:lnTo>
                      <a:pt x="150" y="127"/>
                    </a:lnTo>
                    <a:lnTo>
                      <a:pt x="145" y="122"/>
                    </a:lnTo>
                    <a:lnTo>
                      <a:pt x="138" y="115"/>
                    </a:lnTo>
                    <a:lnTo>
                      <a:pt x="131" y="114"/>
                    </a:lnTo>
                    <a:lnTo>
                      <a:pt x="124" y="114"/>
                    </a:lnTo>
                    <a:lnTo>
                      <a:pt x="122" y="117"/>
                    </a:lnTo>
                    <a:lnTo>
                      <a:pt x="112" y="117"/>
                    </a:lnTo>
                    <a:lnTo>
                      <a:pt x="105" y="115"/>
                    </a:lnTo>
                    <a:lnTo>
                      <a:pt x="103" y="114"/>
                    </a:lnTo>
                    <a:lnTo>
                      <a:pt x="108" y="105"/>
                    </a:lnTo>
                    <a:lnTo>
                      <a:pt x="117" y="103"/>
                    </a:lnTo>
                    <a:lnTo>
                      <a:pt x="110" y="91"/>
                    </a:lnTo>
                    <a:lnTo>
                      <a:pt x="110" y="81"/>
                    </a:lnTo>
                    <a:lnTo>
                      <a:pt x="105" y="76"/>
                    </a:lnTo>
                    <a:lnTo>
                      <a:pt x="100" y="72"/>
                    </a:lnTo>
                    <a:lnTo>
                      <a:pt x="91" y="69"/>
                    </a:lnTo>
                    <a:lnTo>
                      <a:pt x="88" y="67"/>
                    </a:lnTo>
                    <a:lnTo>
                      <a:pt x="81" y="64"/>
                    </a:lnTo>
                    <a:lnTo>
                      <a:pt x="74" y="64"/>
                    </a:lnTo>
                    <a:lnTo>
                      <a:pt x="67" y="62"/>
                    </a:lnTo>
                    <a:lnTo>
                      <a:pt x="62" y="62"/>
                    </a:lnTo>
                    <a:lnTo>
                      <a:pt x="55" y="59"/>
                    </a:lnTo>
                    <a:lnTo>
                      <a:pt x="52" y="55"/>
                    </a:lnTo>
                    <a:lnTo>
                      <a:pt x="46" y="50"/>
                    </a:lnTo>
                    <a:lnTo>
                      <a:pt x="43" y="52"/>
                    </a:lnTo>
                    <a:lnTo>
                      <a:pt x="43" y="47"/>
                    </a:lnTo>
                    <a:lnTo>
                      <a:pt x="38" y="53"/>
                    </a:lnTo>
                    <a:lnTo>
                      <a:pt x="34" y="57"/>
                    </a:lnTo>
                    <a:lnTo>
                      <a:pt x="31" y="55"/>
                    </a:lnTo>
                    <a:lnTo>
                      <a:pt x="29" y="55"/>
                    </a:lnTo>
                    <a:lnTo>
                      <a:pt x="28" y="48"/>
                    </a:lnTo>
                    <a:lnTo>
                      <a:pt x="28" y="43"/>
                    </a:lnTo>
                    <a:lnTo>
                      <a:pt x="21" y="40"/>
                    </a:lnTo>
                    <a:lnTo>
                      <a:pt x="17" y="38"/>
                    </a:lnTo>
                    <a:lnTo>
                      <a:pt x="22" y="34"/>
                    </a:lnTo>
                    <a:lnTo>
                      <a:pt x="31" y="33"/>
                    </a:lnTo>
                    <a:lnTo>
                      <a:pt x="38" y="31"/>
                    </a:lnTo>
                    <a:lnTo>
                      <a:pt x="43" y="29"/>
                    </a:lnTo>
                    <a:lnTo>
                      <a:pt x="40" y="29"/>
                    </a:lnTo>
                    <a:lnTo>
                      <a:pt x="33" y="29"/>
                    </a:lnTo>
                    <a:lnTo>
                      <a:pt x="26" y="31"/>
                    </a:lnTo>
                    <a:lnTo>
                      <a:pt x="21" y="29"/>
                    </a:lnTo>
                    <a:lnTo>
                      <a:pt x="19" y="29"/>
                    </a:lnTo>
                    <a:lnTo>
                      <a:pt x="16" y="26"/>
                    </a:lnTo>
                    <a:lnTo>
                      <a:pt x="16" y="24"/>
                    </a:lnTo>
                    <a:lnTo>
                      <a:pt x="5" y="19"/>
                    </a:lnTo>
                    <a:lnTo>
                      <a:pt x="0" y="14"/>
                    </a:lnTo>
                    <a:lnTo>
                      <a:pt x="2" y="9"/>
                    </a:lnTo>
                    <a:lnTo>
                      <a:pt x="7" y="9"/>
                    </a:lnTo>
                    <a:lnTo>
                      <a:pt x="14" y="4"/>
                    </a:lnTo>
                    <a:lnTo>
                      <a:pt x="26" y="0"/>
                    </a:lnTo>
                    <a:lnTo>
                      <a:pt x="38" y="4"/>
                    </a:lnTo>
                    <a:lnTo>
                      <a:pt x="50" y="10"/>
                    </a:lnTo>
                    <a:lnTo>
                      <a:pt x="50" y="19"/>
                    </a:lnTo>
                    <a:lnTo>
                      <a:pt x="50" y="29"/>
                    </a:lnTo>
                    <a:lnTo>
                      <a:pt x="52" y="31"/>
                    </a:lnTo>
                    <a:lnTo>
                      <a:pt x="57" y="33"/>
                    </a:lnTo>
                    <a:lnTo>
                      <a:pt x="60" y="38"/>
                    </a:lnTo>
                    <a:lnTo>
                      <a:pt x="67" y="43"/>
                    </a:lnTo>
                    <a:lnTo>
                      <a:pt x="72" y="38"/>
                    </a:lnTo>
                    <a:lnTo>
                      <a:pt x="77" y="34"/>
                    </a:lnTo>
                    <a:lnTo>
                      <a:pt x="81" y="29"/>
                    </a:lnTo>
                    <a:lnTo>
                      <a:pt x="89" y="28"/>
                    </a:lnTo>
                    <a:lnTo>
                      <a:pt x="96" y="21"/>
                    </a:lnTo>
                    <a:lnTo>
                      <a:pt x="105" y="16"/>
                    </a:lnTo>
                    <a:lnTo>
                      <a:pt x="108" y="17"/>
                    </a:lnTo>
                    <a:lnTo>
                      <a:pt x="112" y="19"/>
                    </a:lnTo>
                    <a:lnTo>
                      <a:pt x="119" y="24"/>
                    </a:lnTo>
                    <a:lnTo>
                      <a:pt x="126" y="29"/>
                    </a:lnTo>
                    <a:lnTo>
                      <a:pt x="139" y="29"/>
                    </a:lnTo>
                    <a:lnTo>
                      <a:pt x="143" y="31"/>
                    </a:lnTo>
                    <a:lnTo>
                      <a:pt x="148" y="33"/>
                    </a:lnTo>
                    <a:lnTo>
                      <a:pt x="148" y="34"/>
                    </a:lnTo>
                    <a:lnTo>
                      <a:pt x="14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67" name="Freeform 211"/>
              <p:cNvSpPr>
                <a:spLocks/>
              </p:cNvSpPr>
              <p:nvPr/>
            </p:nvSpPr>
            <p:spPr bwMode="auto">
              <a:xfrm>
                <a:off x="7781132" y="4075113"/>
                <a:ext cx="46038" cy="44450"/>
              </a:xfrm>
              <a:custGeom>
                <a:avLst/>
                <a:gdLst/>
                <a:ahLst/>
                <a:cxnLst>
                  <a:cxn ang="0">
                    <a:pos x="27" y="28"/>
                  </a:cxn>
                  <a:cxn ang="0">
                    <a:pos x="20" y="23"/>
                  </a:cxn>
                  <a:cxn ang="0">
                    <a:pos x="22" y="18"/>
                  </a:cxn>
                  <a:cxn ang="0">
                    <a:pos x="15" y="11"/>
                  </a:cxn>
                  <a:cxn ang="0">
                    <a:pos x="10" y="6"/>
                  </a:cxn>
                  <a:cxn ang="0">
                    <a:pos x="3" y="2"/>
                  </a:cxn>
                  <a:cxn ang="0">
                    <a:pos x="0" y="0"/>
                  </a:cxn>
                  <a:cxn ang="0">
                    <a:pos x="12" y="6"/>
                  </a:cxn>
                  <a:cxn ang="0">
                    <a:pos x="20" y="14"/>
                  </a:cxn>
                  <a:cxn ang="0">
                    <a:pos x="25" y="18"/>
                  </a:cxn>
                  <a:cxn ang="0">
                    <a:pos x="29" y="25"/>
                  </a:cxn>
                  <a:cxn ang="0">
                    <a:pos x="29" y="26"/>
                  </a:cxn>
                  <a:cxn ang="0">
                    <a:pos x="29" y="28"/>
                  </a:cxn>
                  <a:cxn ang="0">
                    <a:pos x="27" y="28"/>
                  </a:cxn>
                </a:cxnLst>
                <a:rect l="0" t="0" r="r" b="b"/>
                <a:pathLst>
                  <a:path w="29" h="28">
                    <a:moveTo>
                      <a:pt x="27" y="28"/>
                    </a:moveTo>
                    <a:lnTo>
                      <a:pt x="20" y="23"/>
                    </a:lnTo>
                    <a:lnTo>
                      <a:pt x="22" y="18"/>
                    </a:lnTo>
                    <a:lnTo>
                      <a:pt x="15" y="11"/>
                    </a:lnTo>
                    <a:lnTo>
                      <a:pt x="10" y="6"/>
                    </a:lnTo>
                    <a:lnTo>
                      <a:pt x="3" y="2"/>
                    </a:lnTo>
                    <a:lnTo>
                      <a:pt x="0" y="0"/>
                    </a:lnTo>
                    <a:lnTo>
                      <a:pt x="12" y="6"/>
                    </a:lnTo>
                    <a:lnTo>
                      <a:pt x="20" y="14"/>
                    </a:lnTo>
                    <a:lnTo>
                      <a:pt x="25" y="18"/>
                    </a:lnTo>
                    <a:lnTo>
                      <a:pt x="29" y="25"/>
                    </a:lnTo>
                    <a:lnTo>
                      <a:pt x="29" y="26"/>
                    </a:lnTo>
                    <a:lnTo>
                      <a:pt x="29" y="28"/>
                    </a:lnTo>
                    <a:lnTo>
                      <a:pt x="27"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68" name="Freeform 212"/>
              <p:cNvSpPr>
                <a:spLocks/>
              </p:cNvSpPr>
              <p:nvPr/>
            </p:nvSpPr>
            <p:spPr bwMode="auto">
              <a:xfrm>
                <a:off x="7865269" y="4141788"/>
                <a:ext cx="22225" cy="30162"/>
              </a:xfrm>
              <a:custGeom>
                <a:avLst/>
                <a:gdLst/>
                <a:ahLst/>
                <a:cxnLst>
                  <a:cxn ang="0">
                    <a:pos x="7" y="10"/>
                  </a:cxn>
                  <a:cxn ang="0">
                    <a:pos x="0" y="7"/>
                  </a:cxn>
                  <a:cxn ang="0">
                    <a:pos x="0" y="0"/>
                  </a:cxn>
                  <a:cxn ang="0">
                    <a:pos x="7" y="7"/>
                  </a:cxn>
                  <a:cxn ang="0">
                    <a:pos x="14" y="13"/>
                  </a:cxn>
                  <a:cxn ang="0">
                    <a:pos x="12" y="15"/>
                  </a:cxn>
                  <a:cxn ang="0">
                    <a:pos x="10" y="19"/>
                  </a:cxn>
                  <a:cxn ang="0">
                    <a:pos x="7" y="17"/>
                  </a:cxn>
                  <a:cxn ang="0">
                    <a:pos x="7" y="15"/>
                  </a:cxn>
                  <a:cxn ang="0">
                    <a:pos x="7" y="12"/>
                  </a:cxn>
                  <a:cxn ang="0">
                    <a:pos x="7" y="10"/>
                  </a:cxn>
                </a:cxnLst>
                <a:rect l="0" t="0" r="r" b="b"/>
                <a:pathLst>
                  <a:path w="14" h="19">
                    <a:moveTo>
                      <a:pt x="7" y="10"/>
                    </a:moveTo>
                    <a:lnTo>
                      <a:pt x="0" y="7"/>
                    </a:lnTo>
                    <a:lnTo>
                      <a:pt x="0" y="0"/>
                    </a:lnTo>
                    <a:lnTo>
                      <a:pt x="7" y="7"/>
                    </a:lnTo>
                    <a:lnTo>
                      <a:pt x="14" y="13"/>
                    </a:lnTo>
                    <a:lnTo>
                      <a:pt x="12" y="15"/>
                    </a:lnTo>
                    <a:lnTo>
                      <a:pt x="10" y="19"/>
                    </a:lnTo>
                    <a:lnTo>
                      <a:pt x="7" y="17"/>
                    </a:lnTo>
                    <a:lnTo>
                      <a:pt x="7" y="15"/>
                    </a:lnTo>
                    <a:lnTo>
                      <a:pt x="7" y="12"/>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69" name="Freeform 213"/>
              <p:cNvSpPr>
                <a:spLocks/>
              </p:cNvSpPr>
              <p:nvPr/>
            </p:nvSpPr>
            <p:spPr bwMode="auto">
              <a:xfrm>
                <a:off x="8020844" y="4248150"/>
                <a:ext cx="14288" cy="15875"/>
              </a:xfrm>
              <a:custGeom>
                <a:avLst/>
                <a:gdLst/>
                <a:ahLst/>
                <a:cxnLst>
                  <a:cxn ang="0">
                    <a:pos x="9" y="8"/>
                  </a:cxn>
                  <a:cxn ang="0">
                    <a:pos x="7" y="8"/>
                  </a:cxn>
                  <a:cxn ang="0">
                    <a:pos x="9" y="10"/>
                  </a:cxn>
                  <a:cxn ang="0">
                    <a:pos x="2" y="5"/>
                  </a:cxn>
                  <a:cxn ang="0">
                    <a:pos x="0" y="0"/>
                  </a:cxn>
                  <a:cxn ang="0">
                    <a:pos x="5" y="3"/>
                  </a:cxn>
                  <a:cxn ang="0">
                    <a:pos x="9" y="8"/>
                  </a:cxn>
                </a:cxnLst>
                <a:rect l="0" t="0" r="r" b="b"/>
                <a:pathLst>
                  <a:path w="9" h="10">
                    <a:moveTo>
                      <a:pt x="9" y="8"/>
                    </a:moveTo>
                    <a:lnTo>
                      <a:pt x="7" y="8"/>
                    </a:lnTo>
                    <a:lnTo>
                      <a:pt x="9" y="10"/>
                    </a:lnTo>
                    <a:lnTo>
                      <a:pt x="2" y="5"/>
                    </a:lnTo>
                    <a:lnTo>
                      <a:pt x="0" y="0"/>
                    </a:lnTo>
                    <a:lnTo>
                      <a:pt x="5" y="3"/>
                    </a:lnTo>
                    <a:lnTo>
                      <a:pt x="9" y="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70" name="Freeform 214"/>
              <p:cNvSpPr>
                <a:spLocks/>
              </p:cNvSpPr>
              <p:nvPr/>
            </p:nvSpPr>
            <p:spPr bwMode="auto">
              <a:xfrm>
                <a:off x="7985919" y="4237038"/>
                <a:ext cx="26988" cy="11112"/>
              </a:xfrm>
              <a:custGeom>
                <a:avLst/>
                <a:gdLst/>
                <a:ahLst/>
                <a:cxnLst>
                  <a:cxn ang="0">
                    <a:pos x="17" y="7"/>
                  </a:cxn>
                  <a:cxn ang="0">
                    <a:pos x="13" y="7"/>
                  </a:cxn>
                  <a:cxn ang="0">
                    <a:pos x="3" y="5"/>
                  </a:cxn>
                  <a:cxn ang="0">
                    <a:pos x="0" y="0"/>
                  </a:cxn>
                  <a:cxn ang="0">
                    <a:pos x="10" y="0"/>
                  </a:cxn>
                  <a:cxn ang="0">
                    <a:pos x="17" y="7"/>
                  </a:cxn>
                </a:cxnLst>
                <a:rect l="0" t="0" r="r" b="b"/>
                <a:pathLst>
                  <a:path w="17" h="7">
                    <a:moveTo>
                      <a:pt x="17" y="7"/>
                    </a:moveTo>
                    <a:lnTo>
                      <a:pt x="13" y="7"/>
                    </a:lnTo>
                    <a:lnTo>
                      <a:pt x="3" y="5"/>
                    </a:lnTo>
                    <a:lnTo>
                      <a:pt x="0" y="0"/>
                    </a:lnTo>
                    <a:lnTo>
                      <a:pt x="10" y="0"/>
                    </a:lnTo>
                    <a:lnTo>
                      <a:pt x="1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71" name="Freeform 215"/>
              <p:cNvSpPr>
                <a:spLocks/>
              </p:cNvSpPr>
              <p:nvPr/>
            </p:nvSpPr>
            <p:spPr bwMode="auto">
              <a:xfrm>
                <a:off x="7987507" y="4203700"/>
                <a:ext cx="25400" cy="25400"/>
              </a:xfrm>
              <a:custGeom>
                <a:avLst/>
                <a:gdLst/>
                <a:ahLst/>
                <a:cxnLst>
                  <a:cxn ang="0">
                    <a:pos x="16" y="16"/>
                  </a:cxn>
                  <a:cxn ang="0">
                    <a:pos x="5" y="9"/>
                  </a:cxn>
                  <a:cxn ang="0">
                    <a:pos x="0" y="0"/>
                  </a:cxn>
                  <a:cxn ang="0">
                    <a:pos x="9" y="5"/>
                  </a:cxn>
                  <a:cxn ang="0">
                    <a:pos x="16" y="16"/>
                  </a:cxn>
                </a:cxnLst>
                <a:rect l="0" t="0" r="r" b="b"/>
                <a:pathLst>
                  <a:path w="16" h="16">
                    <a:moveTo>
                      <a:pt x="16" y="16"/>
                    </a:moveTo>
                    <a:lnTo>
                      <a:pt x="5" y="9"/>
                    </a:lnTo>
                    <a:lnTo>
                      <a:pt x="0" y="0"/>
                    </a:lnTo>
                    <a:lnTo>
                      <a:pt x="9" y="5"/>
                    </a:lnTo>
                    <a:lnTo>
                      <a:pt x="16"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72" name="Freeform 216"/>
              <p:cNvSpPr>
                <a:spLocks/>
              </p:cNvSpPr>
              <p:nvPr/>
            </p:nvSpPr>
            <p:spPr bwMode="auto">
              <a:xfrm>
                <a:off x="7938294" y="4184650"/>
                <a:ext cx="33338" cy="17462"/>
              </a:xfrm>
              <a:custGeom>
                <a:avLst/>
                <a:gdLst/>
                <a:ahLst/>
                <a:cxnLst>
                  <a:cxn ang="0">
                    <a:pos x="4" y="0"/>
                  </a:cxn>
                  <a:cxn ang="0">
                    <a:pos x="12" y="4"/>
                  </a:cxn>
                  <a:cxn ang="0">
                    <a:pos x="21" y="11"/>
                  </a:cxn>
                  <a:cxn ang="0">
                    <a:pos x="18" y="11"/>
                  </a:cxn>
                  <a:cxn ang="0">
                    <a:pos x="5" y="7"/>
                  </a:cxn>
                  <a:cxn ang="0">
                    <a:pos x="0" y="2"/>
                  </a:cxn>
                  <a:cxn ang="0">
                    <a:pos x="2" y="2"/>
                  </a:cxn>
                  <a:cxn ang="0">
                    <a:pos x="4" y="0"/>
                  </a:cxn>
                </a:cxnLst>
                <a:rect l="0" t="0" r="r" b="b"/>
                <a:pathLst>
                  <a:path w="21" h="11">
                    <a:moveTo>
                      <a:pt x="4" y="0"/>
                    </a:moveTo>
                    <a:lnTo>
                      <a:pt x="12" y="4"/>
                    </a:lnTo>
                    <a:lnTo>
                      <a:pt x="21" y="11"/>
                    </a:lnTo>
                    <a:lnTo>
                      <a:pt x="18" y="11"/>
                    </a:lnTo>
                    <a:lnTo>
                      <a:pt x="5" y="7"/>
                    </a:lnTo>
                    <a:lnTo>
                      <a:pt x="0" y="2"/>
                    </a:lnTo>
                    <a:lnTo>
                      <a:pt x="2"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73" name="Freeform 217"/>
              <p:cNvSpPr>
                <a:spLocks/>
              </p:cNvSpPr>
              <p:nvPr/>
            </p:nvSpPr>
            <p:spPr bwMode="auto">
              <a:xfrm>
                <a:off x="7903369" y="4165600"/>
                <a:ext cx="19050" cy="11112"/>
              </a:xfrm>
              <a:custGeom>
                <a:avLst/>
                <a:gdLst/>
                <a:ahLst/>
                <a:cxnLst>
                  <a:cxn ang="0">
                    <a:pos x="0" y="0"/>
                  </a:cxn>
                  <a:cxn ang="0">
                    <a:pos x="5" y="2"/>
                  </a:cxn>
                  <a:cxn ang="0">
                    <a:pos x="12" y="7"/>
                  </a:cxn>
                  <a:cxn ang="0">
                    <a:pos x="9" y="7"/>
                  </a:cxn>
                  <a:cxn ang="0">
                    <a:pos x="0" y="2"/>
                  </a:cxn>
                  <a:cxn ang="0">
                    <a:pos x="2" y="0"/>
                  </a:cxn>
                  <a:cxn ang="0">
                    <a:pos x="3" y="0"/>
                  </a:cxn>
                  <a:cxn ang="0">
                    <a:pos x="0" y="0"/>
                  </a:cxn>
                </a:cxnLst>
                <a:rect l="0" t="0" r="r" b="b"/>
                <a:pathLst>
                  <a:path w="12" h="7">
                    <a:moveTo>
                      <a:pt x="0" y="0"/>
                    </a:moveTo>
                    <a:lnTo>
                      <a:pt x="5" y="2"/>
                    </a:lnTo>
                    <a:lnTo>
                      <a:pt x="12" y="7"/>
                    </a:lnTo>
                    <a:lnTo>
                      <a:pt x="9" y="7"/>
                    </a:lnTo>
                    <a:lnTo>
                      <a:pt x="0" y="2"/>
                    </a:lnTo>
                    <a:lnTo>
                      <a:pt x="2" y="0"/>
                    </a:lnTo>
                    <a:lnTo>
                      <a:pt x="3"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74" name="Freeform 218"/>
              <p:cNvSpPr>
                <a:spLocks/>
              </p:cNvSpPr>
              <p:nvPr/>
            </p:nvSpPr>
            <p:spPr bwMode="auto">
              <a:xfrm>
                <a:off x="7627144" y="5006975"/>
                <a:ext cx="87313" cy="84137"/>
              </a:xfrm>
              <a:custGeom>
                <a:avLst/>
                <a:gdLst/>
                <a:ahLst/>
                <a:cxnLst>
                  <a:cxn ang="0">
                    <a:pos x="28" y="5"/>
                  </a:cxn>
                  <a:cxn ang="0">
                    <a:pos x="38" y="2"/>
                  </a:cxn>
                  <a:cxn ang="0">
                    <a:pos x="50" y="0"/>
                  </a:cxn>
                  <a:cxn ang="0">
                    <a:pos x="52" y="7"/>
                  </a:cxn>
                  <a:cxn ang="0">
                    <a:pos x="55" y="15"/>
                  </a:cxn>
                  <a:cxn ang="0">
                    <a:pos x="52" y="24"/>
                  </a:cxn>
                  <a:cxn ang="0">
                    <a:pos x="47" y="38"/>
                  </a:cxn>
                  <a:cxn ang="0">
                    <a:pos x="38" y="48"/>
                  </a:cxn>
                  <a:cxn ang="0">
                    <a:pos x="31" y="53"/>
                  </a:cxn>
                  <a:cxn ang="0">
                    <a:pos x="19" y="46"/>
                  </a:cxn>
                  <a:cxn ang="0">
                    <a:pos x="9" y="32"/>
                  </a:cxn>
                  <a:cxn ang="0">
                    <a:pos x="2" y="15"/>
                  </a:cxn>
                  <a:cxn ang="0">
                    <a:pos x="0" y="5"/>
                  </a:cxn>
                  <a:cxn ang="0">
                    <a:pos x="4" y="0"/>
                  </a:cxn>
                  <a:cxn ang="0">
                    <a:pos x="12" y="2"/>
                  </a:cxn>
                  <a:cxn ang="0">
                    <a:pos x="21" y="3"/>
                  </a:cxn>
                  <a:cxn ang="0">
                    <a:pos x="28" y="5"/>
                  </a:cxn>
                </a:cxnLst>
                <a:rect l="0" t="0" r="r" b="b"/>
                <a:pathLst>
                  <a:path w="55" h="53">
                    <a:moveTo>
                      <a:pt x="28" y="5"/>
                    </a:moveTo>
                    <a:lnTo>
                      <a:pt x="38" y="2"/>
                    </a:lnTo>
                    <a:lnTo>
                      <a:pt x="50" y="0"/>
                    </a:lnTo>
                    <a:lnTo>
                      <a:pt x="52" y="7"/>
                    </a:lnTo>
                    <a:lnTo>
                      <a:pt x="55" y="15"/>
                    </a:lnTo>
                    <a:lnTo>
                      <a:pt x="52" y="24"/>
                    </a:lnTo>
                    <a:lnTo>
                      <a:pt x="47" y="38"/>
                    </a:lnTo>
                    <a:lnTo>
                      <a:pt x="38" y="48"/>
                    </a:lnTo>
                    <a:lnTo>
                      <a:pt x="31" y="53"/>
                    </a:lnTo>
                    <a:lnTo>
                      <a:pt x="19" y="46"/>
                    </a:lnTo>
                    <a:lnTo>
                      <a:pt x="9" y="32"/>
                    </a:lnTo>
                    <a:lnTo>
                      <a:pt x="2" y="15"/>
                    </a:lnTo>
                    <a:lnTo>
                      <a:pt x="0" y="5"/>
                    </a:lnTo>
                    <a:lnTo>
                      <a:pt x="4" y="0"/>
                    </a:lnTo>
                    <a:lnTo>
                      <a:pt x="12" y="2"/>
                    </a:lnTo>
                    <a:lnTo>
                      <a:pt x="21" y="3"/>
                    </a:lnTo>
                    <a:lnTo>
                      <a:pt x="2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75" name="Freeform 219"/>
              <p:cNvSpPr>
                <a:spLocks/>
              </p:cNvSpPr>
              <p:nvPr/>
            </p:nvSpPr>
            <p:spPr bwMode="auto">
              <a:xfrm>
                <a:off x="7703344" y="4984750"/>
                <a:ext cx="9525" cy="14287"/>
              </a:xfrm>
              <a:custGeom>
                <a:avLst/>
                <a:gdLst/>
                <a:ahLst/>
                <a:cxnLst>
                  <a:cxn ang="0">
                    <a:pos x="6" y="0"/>
                  </a:cxn>
                  <a:cxn ang="0">
                    <a:pos x="6" y="4"/>
                  </a:cxn>
                  <a:cxn ang="0">
                    <a:pos x="6" y="9"/>
                  </a:cxn>
                  <a:cxn ang="0">
                    <a:pos x="0" y="4"/>
                  </a:cxn>
                  <a:cxn ang="0">
                    <a:pos x="0" y="0"/>
                  </a:cxn>
                  <a:cxn ang="0">
                    <a:pos x="2" y="0"/>
                  </a:cxn>
                  <a:cxn ang="0">
                    <a:pos x="6" y="0"/>
                  </a:cxn>
                </a:cxnLst>
                <a:rect l="0" t="0" r="r" b="b"/>
                <a:pathLst>
                  <a:path w="6" h="9">
                    <a:moveTo>
                      <a:pt x="6" y="0"/>
                    </a:moveTo>
                    <a:lnTo>
                      <a:pt x="6" y="4"/>
                    </a:lnTo>
                    <a:lnTo>
                      <a:pt x="6" y="9"/>
                    </a:lnTo>
                    <a:lnTo>
                      <a:pt x="0" y="4"/>
                    </a:lnTo>
                    <a:lnTo>
                      <a:pt x="0" y="0"/>
                    </a:lnTo>
                    <a:lnTo>
                      <a:pt x="2" y="0"/>
                    </a:lnTo>
                    <a:lnTo>
                      <a:pt x="6"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76" name="Freeform 220"/>
              <p:cNvSpPr>
                <a:spLocks/>
              </p:cNvSpPr>
              <p:nvPr/>
            </p:nvSpPr>
            <p:spPr bwMode="auto">
              <a:xfrm>
                <a:off x="7441407" y="4873625"/>
                <a:ext cx="28575" cy="7937"/>
              </a:xfrm>
              <a:custGeom>
                <a:avLst/>
                <a:gdLst/>
                <a:ahLst/>
                <a:cxnLst>
                  <a:cxn ang="0">
                    <a:pos x="18" y="3"/>
                  </a:cxn>
                  <a:cxn ang="0">
                    <a:pos x="7" y="5"/>
                  </a:cxn>
                  <a:cxn ang="0">
                    <a:pos x="0" y="3"/>
                  </a:cxn>
                  <a:cxn ang="0">
                    <a:pos x="9" y="0"/>
                  </a:cxn>
                  <a:cxn ang="0">
                    <a:pos x="18" y="3"/>
                  </a:cxn>
                </a:cxnLst>
                <a:rect l="0" t="0" r="r" b="b"/>
                <a:pathLst>
                  <a:path w="18" h="5">
                    <a:moveTo>
                      <a:pt x="18" y="3"/>
                    </a:moveTo>
                    <a:lnTo>
                      <a:pt x="7" y="5"/>
                    </a:lnTo>
                    <a:lnTo>
                      <a:pt x="0" y="3"/>
                    </a:lnTo>
                    <a:lnTo>
                      <a:pt x="9" y="0"/>
                    </a:lnTo>
                    <a:lnTo>
                      <a:pt x="18"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77" name="Freeform 221"/>
              <p:cNvSpPr>
                <a:spLocks/>
              </p:cNvSpPr>
              <p:nvPr/>
            </p:nvSpPr>
            <p:spPr bwMode="auto">
              <a:xfrm>
                <a:off x="7292182" y="4278313"/>
                <a:ext cx="30163" cy="11112"/>
              </a:xfrm>
              <a:custGeom>
                <a:avLst/>
                <a:gdLst/>
                <a:ahLst/>
                <a:cxnLst>
                  <a:cxn ang="0">
                    <a:pos x="19" y="0"/>
                  </a:cxn>
                  <a:cxn ang="0">
                    <a:pos x="19" y="7"/>
                  </a:cxn>
                  <a:cxn ang="0">
                    <a:pos x="15" y="7"/>
                  </a:cxn>
                  <a:cxn ang="0">
                    <a:pos x="13" y="7"/>
                  </a:cxn>
                  <a:cxn ang="0">
                    <a:pos x="5" y="5"/>
                  </a:cxn>
                  <a:cxn ang="0">
                    <a:pos x="0" y="1"/>
                  </a:cxn>
                  <a:cxn ang="0">
                    <a:pos x="8" y="0"/>
                  </a:cxn>
                  <a:cxn ang="0">
                    <a:pos x="19" y="0"/>
                  </a:cxn>
                </a:cxnLst>
                <a:rect l="0" t="0" r="r" b="b"/>
                <a:pathLst>
                  <a:path w="19" h="7">
                    <a:moveTo>
                      <a:pt x="19" y="0"/>
                    </a:moveTo>
                    <a:lnTo>
                      <a:pt x="19" y="7"/>
                    </a:lnTo>
                    <a:lnTo>
                      <a:pt x="15" y="7"/>
                    </a:lnTo>
                    <a:lnTo>
                      <a:pt x="13" y="7"/>
                    </a:lnTo>
                    <a:lnTo>
                      <a:pt x="5" y="5"/>
                    </a:lnTo>
                    <a:lnTo>
                      <a:pt x="0" y="1"/>
                    </a:lnTo>
                    <a:lnTo>
                      <a:pt x="8"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78" name="Freeform 222"/>
              <p:cNvSpPr>
                <a:spLocks/>
              </p:cNvSpPr>
              <p:nvPr/>
            </p:nvSpPr>
            <p:spPr bwMode="auto">
              <a:xfrm>
                <a:off x="6909594" y="4264025"/>
                <a:ext cx="922338" cy="698500"/>
              </a:xfrm>
              <a:custGeom>
                <a:avLst/>
                <a:gdLst/>
                <a:ahLst/>
                <a:cxnLst>
                  <a:cxn ang="0">
                    <a:pos x="580" y="253"/>
                  </a:cxn>
                  <a:cxn ang="0">
                    <a:pos x="576" y="292"/>
                  </a:cxn>
                  <a:cxn ang="0">
                    <a:pos x="571" y="323"/>
                  </a:cxn>
                  <a:cxn ang="0">
                    <a:pos x="547" y="359"/>
                  </a:cxn>
                  <a:cxn ang="0">
                    <a:pos x="533" y="404"/>
                  </a:cxn>
                  <a:cxn ang="0">
                    <a:pos x="488" y="427"/>
                  </a:cxn>
                  <a:cxn ang="0">
                    <a:pos x="457" y="428"/>
                  </a:cxn>
                  <a:cxn ang="0">
                    <a:pos x="418" y="433"/>
                  </a:cxn>
                  <a:cxn ang="0">
                    <a:pos x="380" y="392"/>
                  </a:cxn>
                  <a:cxn ang="0">
                    <a:pos x="365" y="384"/>
                  </a:cxn>
                  <a:cxn ang="0">
                    <a:pos x="359" y="365"/>
                  </a:cxn>
                  <a:cxn ang="0">
                    <a:pos x="351" y="373"/>
                  </a:cxn>
                  <a:cxn ang="0">
                    <a:pos x="344" y="366"/>
                  </a:cxn>
                  <a:cxn ang="0">
                    <a:pos x="346" y="344"/>
                  </a:cxn>
                  <a:cxn ang="0">
                    <a:pos x="316" y="368"/>
                  </a:cxn>
                  <a:cxn ang="0">
                    <a:pos x="303" y="339"/>
                  </a:cxn>
                  <a:cxn ang="0">
                    <a:pos x="256" y="318"/>
                  </a:cxn>
                  <a:cxn ang="0">
                    <a:pos x="217" y="325"/>
                  </a:cxn>
                  <a:cxn ang="0">
                    <a:pos x="179" y="334"/>
                  </a:cxn>
                  <a:cxn ang="0">
                    <a:pos x="151" y="344"/>
                  </a:cxn>
                  <a:cxn ang="0">
                    <a:pos x="110" y="356"/>
                  </a:cxn>
                  <a:cxn ang="0">
                    <a:pos x="69" y="372"/>
                  </a:cxn>
                  <a:cxn ang="0">
                    <a:pos x="26" y="363"/>
                  </a:cxn>
                  <a:cxn ang="0">
                    <a:pos x="33" y="323"/>
                  </a:cxn>
                  <a:cxn ang="0">
                    <a:pos x="19" y="287"/>
                  </a:cxn>
                  <a:cxn ang="0">
                    <a:pos x="3" y="244"/>
                  </a:cxn>
                  <a:cxn ang="0">
                    <a:pos x="5" y="232"/>
                  </a:cxn>
                  <a:cxn ang="0">
                    <a:pos x="5" y="217"/>
                  </a:cxn>
                  <a:cxn ang="0">
                    <a:pos x="2" y="179"/>
                  </a:cxn>
                  <a:cxn ang="0">
                    <a:pos x="7" y="169"/>
                  </a:cxn>
                  <a:cxn ang="0">
                    <a:pos x="39" y="148"/>
                  </a:cxn>
                  <a:cxn ang="0">
                    <a:pos x="76" y="141"/>
                  </a:cxn>
                  <a:cxn ang="0">
                    <a:pos x="113" y="126"/>
                  </a:cxn>
                  <a:cxn ang="0">
                    <a:pos x="129" y="105"/>
                  </a:cxn>
                  <a:cxn ang="0">
                    <a:pos x="139" y="93"/>
                  </a:cxn>
                  <a:cxn ang="0">
                    <a:pos x="153" y="84"/>
                  </a:cxn>
                  <a:cxn ang="0">
                    <a:pos x="167" y="64"/>
                  </a:cxn>
                  <a:cxn ang="0">
                    <a:pos x="189" y="48"/>
                  </a:cxn>
                  <a:cxn ang="0">
                    <a:pos x="217" y="62"/>
                  </a:cxn>
                  <a:cxn ang="0">
                    <a:pos x="232" y="59"/>
                  </a:cxn>
                  <a:cxn ang="0">
                    <a:pos x="242" y="29"/>
                  </a:cxn>
                  <a:cxn ang="0">
                    <a:pos x="273" y="22"/>
                  </a:cxn>
                  <a:cxn ang="0">
                    <a:pos x="279" y="12"/>
                  </a:cxn>
                  <a:cxn ang="0">
                    <a:pos x="322" y="21"/>
                  </a:cxn>
                  <a:cxn ang="0">
                    <a:pos x="334" y="33"/>
                  </a:cxn>
                  <a:cxn ang="0">
                    <a:pos x="332" y="69"/>
                  </a:cxn>
                  <a:cxn ang="0">
                    <a:pos x="353" y="84"/>
                  </a:cxn>
                  <a:cxn ang="0">
                    <a:pos x="390" y="105"/>
                  </a:cxn>
                  <a:cxn ang="0">
                    <a:pos x="411" y="64"/>
                  </a:cxn>
                  <a:cxn ang="0">
                    <a:pos x="425" y="9"/>
                  </a:cxn>
                  <a:cxn ang="0">
                    <a:pos x="437" y="43"/>
                  </a:cxn>
                  <a:cxn ang="0">
                    <a:pos x="461" y="62"/>
                  </a:cxn>
                  <a:cxn ang="0">
                    <a:pos x="468" y="95"/>
                  </a:cxn>
                  <a:cxn ang="0">
                    <a:pos x="483" y="126"/>
                  </a:cxn>
                  <a:cxn ang="0">
                    <a:pos x="519" y="157"/>
                  </a:cxn>
                  <a:cxn ang="0">
                    <a:pos x="542" y="186"/>
                  </a:cxn>
                  <a:cxn ang="0">
                    <a:pos x="568" y="215"/>
                  </a:cxn>
                </a:cxnLst>
                <a:rect l="0" t="0" r="r" b="b"/>
                <a:pathLst>
                  <a:path w="581" h="440">
                    <a:moveTo>
                      <a:pt x="568" y="215"/>
                    </a:moveTo>
                    <a:lnTo>
                      <a:pt x="571" y="224"/>
                    </a:lnTo>
                    <a:lnTo>
                      <a:pt x="576" y="239"/>
                    </a:lnTo>
                    <a:lnTo>
                      <a:pt x="580" y="253"/>
                    </a:lnTo>
                    <a:lnTo>
                      <a:pt x="581" y="268"/>
                    </a:lnTo>
                    <a:lnTo>
                      <a:pt x="580" y="275"/>
                    </a:lnTo>
                    <a:lnTo>
                      <a:pt x="578" y="286"/>
                    </a:lnTo>
                    <a:lnTo>
                      <a:pt x="576" y="292"/>
                    </a:lnTo>
                    <a:lnTo>
                      <a:pt x="574" y="299"/>
                    </a:lnTo>
                    <a:lnTo>
                      <a:pt x="574" y="313"/>
                    </a:lnTo>
                    <a:lnTo>
                      <a:pt x="571" y="318"/>
                    </a:lnTo>
                    <a:lnTo>
                      <a:pt x="571" y="323"/>
                    </a:lnTo>
                    <a:lnTo>
                      <a:pt x="562" y="332"/>
                    </a:lnTo>
                    <a:lnTo>
                      <a:pt x="555" y="341"/>
                    </a:lnTo>
                    <a:lnTo>
                      <a:pt x="550" y="347"/>
                    </a:lnTo>
                    <a:lnTo>
                      <a:pt x="547" y="359"/>
                    </a:lnTo>
                    <a:lnTo>
                      <a:pt x="542" y="368"/>
                    </a:lnTo>
                    <a:lnTo>
                      <a:pt x="538" y="378"/>
                    </a:lnTo>
                    <a:lnTo>
                      <a:pt x="533" y="390"/>
                    </a:lnTo>
                    <a:lnTo>
                      <a:pt x="533" y="404"/>
                    </a:lnTo>
                    <a:lnTo>
                      <a:pt x="533" y="404"/>
                    </a:lnTo>
                    <a:lnTo>
                      <a:pt x="521" y="415"/>
                    </a:lnTo>
                    <a:lnTo>
                      <a:pt x="506" y="421"/>
                    </a:lnTo>
                    <a:lnTo>
                      <a:pt x="488" y="427"/>
                    </a:lnTo>
                    <a:lnTo>
                      <a:pt x="482" y="440"/>
                    </a:lnTo>
                    <a:lnTo>
                      <a:pt x="473" y="437"/>
                    </a:lnTo>
                    <a:lnTo>
                      <a:pt x="466" y="433"/>
                    </a:lnTo>
                    <a:lnTo>
                      <a:pt x="457" y="428"/>
                    </a:lnTo>
                    <a:lnTo>
                      <a:pt x="456" y="425"/>
                    </a:lnTo>
                    <a:lnTo>
                      <a:pt x="445" y="430"/>
                    </a:lnTo>
                    <a:lnTo>
                      <a:pt x="435" y="437"/>
                    </a:lnTo>
                    <a:lnTo>
                      <a:pt x="418" y="433"/>
                    </a:lnTo>
                    <a:lnTo>
                      <a:pt x="401" y="427"/>
                    </a:lnTo>
                    <a:lnTo>
                      <a:pt x="387" y="416"/>
                    </a:lnTo>
                    <a:lnTo>
                      <a:pt x="383" y="402"/>
                    </a:lnTo>
                    <a:lnTo>
                      <a:pt x="380" y="392"/>
                    </a:lnTo>
                    <a:lnTo>
                      <a:pt x="377" y="382"/>
                    </a:lnTo>
                    <a:lnTo>
                      <a:pt x="375" y="380"/>
                    </a:lnTo>
                    <a:lnTo>
                      <a:pt x="370" y="382"/>
                    </a:lnTo>
                    <a:lnTo>
                      <a:pt x="365" y="384"/>
                    </a:lnTo>
                    <a:lnTo>
                      <a:pt x="359" y="384"/>
                    </a:lnTo>
                    <a:lnTo>
                      <a:pt x="361" y="378"/>
                    </a:lnTo>
                    <a:lnTo>
                      <a:pt x="363" y="373"/>
                    </a:lnTo>
                    <a:lnTo>
                      <a:pt x="359" y="365"/>
                    </a:lnTo>
                    <a:lnTo>
                      <a:pt x="358" y="363"/>
                    </a:lnTo>
                    <a:lnTo>
                      <a:pt x="356" y="365"/>
                    </a:lnTo>
                    <a:lnTo>
                      <a:pt x="356" y="368"/>
                    </a:lnTo>
                    <a:lnTo>
                      <a:pt x="351" y="373"/>
                    </a:lnTo>
                    <a:lnTo>
                      <a:pt x="344" y="378"/>
                    </a:lnTo>
                    <a:lnTo>
                      <a:pt x="340" y="377"/>
                    </a:lnTo>
                    <a:lnTo>
                      <a:pt x="339" y="373"/>
                    </a:lnTo>
                    <a:lnTo>
                      <a:pt x="344" y="366"/>
                    </a:lnTo>
                    <a:lnTo>
                      <a:pt x="351" y="356"/>
                    </a:lnTo>
                    <a:lnTo>
                      <a:pt x="353" y="344"/>
                    </a:lnTo>
                    <a:lnTo>
                      <a:pt x="354" y="337"/>
                    </a:lnTo>
                    <a:lnTo>
                      <a:pt x="346" y="344"/>
                    </a:lnTo>
                    <a:lnTo>
                      <a:pt x="337" y="358"/>
                    </a:lnTo>
                    <a:lnTo>
                      <a:pt x="328" y="368"/>
                    </a:lnTo>
                    <a:lnTo>
                      <a:pt x="322" y="373"/>
                    </a:lnTo>
                    <a:lnTo>
                      <a:pt x="316" y="368"/>
                    </a:lnTo>
                    <a:lnTo>
                      <a:pt x="316" y="363"/>
                    </a:lnTo>
                    <a:lnTo>
                      <a:pt x="311" y="358"/>
                    </a:lnTo>
                    <a:lnTo>
                      <a:pt x="308" y="349"/>
                    </a:lnTo>
                    <a:lnTo>
                      <a:pt x="303" y="339"/>
                    </a:lnTo>
                    <a:lnTo>
                      <a:pt x="299" y="334"/>
                    </a:lnTo>
                    <a:lnTo>
                      <a:pt x="287" y="325"/>
                    </a:lnTo>
                    <a:lnTo>
                      <a:pt x="273" y="322"/>
                    </a:lnTo>
                    <a:lnTo>
                      <a:pt x="256" y="318"/>
                    </a:lnTo>
                    <a:lnTo>
                      <a:pt x="244" y="318"/>
                    </a:lnTo>
                    <a:lnTo>
                      <a:pt x="230" y="318"/>
                    </a:lnTo>
                    <a:lnTo>
                      <a:pt x="224" y="322"/>
                    </a:lnTo>
                    <a:lnTo>
                      <a:pt x="217" y="325"/>
                    </a:lnTo>
                    <a:lnTo>
                      <a:pt x="210" y="329"/>
                    </a:lnTo>
                    <a:lnTo>
                      <a:pt x="199" y="330"/>
                    </a:lnTo>
                    <a:lnTo>
                      <a:pt x="189" y="332"/>
                    </a:lnTo>
                    <a:lnTo>
                      <a:pt x="179" y="334"/>
                    </a:lnTo>
                    <a:lnTo>
                      <a:pt x="170" y="335"/>
                    </a:lnTo>
                    <a:lnTo>
                      <a:pt x="162" y="335"/>
                    </a:lnTo>
                    <a:lnTo>
                      <a:pt x="156" y="339"/>
                    </a:lnTo>
                    <a:lnTo>
                      <a:pt x="151" y="344"/>
                    </a:lnTo>
                    <a:lnTo>
                      <a:pt x="150" y="354"/>
                    </a:lnTo>
                    <a:lnTo>
                      <a:pt x="132" y="356"/>
                    </a:lnTo>
                    <a:lnTo>
                      <a:pt x="119" y="358"/>
                    </a:lnTo>
                    <a:lnTo>
                      <a:pt x="110" y="356"/>
                    </a:lnTo>
                    <a:lnTo>
                      <a:pt x="105" y="358"/>
                    </a:lnTo>
                    <a:lnTo>
                      <a:pt x="91" y="359"/>
                    </a:lnTo>
                    <a:lnTo>
                      <a:pt x="81" y="366"/>
                    </a:lnTo>
                    <a:lnTo>
                      <a:pt x="69" y="372"/>
                    </a:lnTo>
                    <a:lnTo>
                      <a:pt x="57" y="375"/>
                    </a:lnTo>
                    <a:lnTo>
                      <a:pt x="46" y="372"/>
                    </a:lnTo>
                    <a:lnTo>
                      <a:pt x="34" y="368"/>
                    </a:lnTo>
                    <a:lnTo>
                      <a:pt x="26" y="363"/>
                    </a:lnTo>
                    <a:lnTo>
                      <a:pt x="22" y="358"/>
                    </a:lnTo>
                    <a:lnTo>
                      <a:pt x="27" y="346"/>
                    </a:lnTo>
                    <a:lnTo>
                      <a:pt x="34" y="334"/>
                    </a:lnTo>
                    <a:lnTo>
                      <a:pt x="33" y="323"/>
                    </a:lnTo>
                    <a:lnTo>
                      <a:pt x="29" y="315"/>
                    </a:lnTo>
                    <a:lnTo>
                      <a:pt x="26" y="308"/>
                    </a:lnTo>
                    <a:lnTo>
                      <a:pt x="24" y="303"/>
                    </a:lnTo>
                    <a:lnTo>
                      <a:pt x="19" y="287"/>
                    </a:lnTo>
                    <a:lnTo>
                      <a:pt x="17" y="277"/>
                    </a:lnTo>
                    <a:lnTo>
                      <a:pt x="14" y="265"/>
                    </a:lnTo>
                    <a:lnTo>
                      <a:pt x="10" y="253"/>
                    </a:lnTo>
                    <a:lnTo>
                      <a:pt x="3" y="244"/>
                    </a:lnTo>
                    <a:lnTo>
                      <a:pt x="0" y="236"/>
                    </a:lnTo>
                    <a:lnTo>
                      <a:pt x="2" y="232"/>
                    </a:lnTo>
                    <a:lnTo>
                      <a:pt x="3" y="229"/>
                    </a:lnTo>
                    <a:lnTo>
                      <a:pt x="5" y="232"/>
                    </a:lnTo>
                    <a:lnTo>
                      <a:pt x="9" y="236"/>
                    </a:lnTo>
                    <a:lnTo>
                      <a:pt x="9" y="232"/>
                    </a:lnTo>
                    <a:lnTo>
                      <a:pt x="9" y="229"/>
                    </a:lnTo>
                    <a:lnTo>
                      <a:pt x="5" y="217"/>
                    </a:lnTo>
                    <a:lnTo>
                      <a:pt x="2" y="203"/>
                    </a:lnTo>
                    <a:lnTo>
                      <a:pt x="2" y="193"/>
                    </a:lnTo>
                    <a:lnTo>
                      <a:pt x="2" y="186"/>
                    </a:lnTo>
                    <a:lnTo>
                      <a:pt x="2" y="179"/>
                    </a:lnTo>
                    <a:lnTo>
                      <a:pt x="2" y="174"/>
                    </a:lnTo>
                    <a:lnTo>
                      <a:pt x="3" y="169"/>
                    </a:lnTo>
                    <a:lnTo>
                      <a:pt x="7" y="167"/>
                    </a:lnTo>
                    <a:lnTo>
                      <a:pt x="7" y="169"/>
                    </a:lnTo>
                    <a:lnTo>
                      <a:pt x="9" y="172"/>
                    </a:lnTo>
                    <a:lnTo>
                      <a:pt x="22" y="163"/>
                    </a:lnTo>
                    <a:lnTo>
                      <a:pt x="34" y="153"/>
                    </a:lnTo>
                    <a:lnTo>
                      <a:pt x="39" y="148"/>
                    </a:lnTo>
                    <a:lnTo>
                      <a:pt x="50" y="146"/>
                    </a:lnTo>
                    <a:lnTo>
                      <a:pt x="58" y="145"/>
                    </a:lnTo>
                    <a:lnTo>
                      <a:pt x="69" y="145"/>
                    </a:lnTo>
                    <a:lnTo>
                      <a:pt x="76" y="141"/>
                    </a:lnTo>
                    <a:lnTo>
                      <a:pt x="84" y="139"/>
                    </a:lnTo>
                    <a:lnTo>
                      <a:pt x="95" y="136"/>
                    </a:lnTo>
                    <a:lnTo>
                      <a:pt x="105" y="133"/>
                    </a:lnTo>
                    <a:lnTo>
                      <a:pt x="113" y="126"/>
                    </a:lnTo>
                    <a:lnTo>
                      <a:pt x="122" y="120"/>
                    </a:lnTo>
                    <a:lnTo>
                      <a:pt x="125" y="115"/>
                    </a:lnTo>
                    <a:lnTo>
                      <a:pt x="129" y="110"/>
                    </a:lnTo>
                    <a:lnTo>
                      <a:pt x="129" y="105"/>
                    </a:lnTo>
                    <a:lnTo>
                      <a:pt x="129" y="102"/>
                    </a:lnTo>
                    <a:lnTo>
                      <a:pt x="129" y="93"/>
                    </a:lnTo>
                    <a:lnTo>
                      <a:pt x="136" y="88"/>
                    </a:lnTo>
                    <a:lnTo>
                      <a:pt x="139" y="93"/>
                    </a:lnTo>
                    <a:lnTo>
                      <a:pt x="143" y="98"/>
                    </a:lnTo>
                    <a:lnTo>
                      <a:pt x="146" y="90"/>
                    </a:lnTo>
                    <a:lnTo>
                      <a:pt x="148" y="83"/>
                    </a:lnTo>
                    <a:lnTo>
                      <a:pt x="153" y="84"/>
                    </a:lnTo>
                    <a:lnTo>
                      <a:pt x="158" y="86"/>
                    </a:lnTo>
                    <a:lnTo>
                      <a:pt x="158" y="76"/>
                    </a:lnTo>
                    <a:lnTo>
                      <a:pt x="163" y="71"/>
                    </a:lnTo>
                    <a:lnTo>
                      <a:pt x="167" y="64"/>
                    </a:lnTo>
                    <a:lnTo>
                      <a:pt x="170" y="59"/>
                    </a:lnTo>
                    <a:lnTo>
                      <a:pt x="177" y="55"/>
                    </a:lnTo>
                    <a:lnTo>
                      <a:pt x="184" y="53"/>
                    </a:lnTo>
                    <a:lnTo>
                      <a:pt x="189" y="48"/>
                    </a:lnTo>
                    <a:lnTo>
                      <a:pt x="198" y="48"/>
                    </a:lnTo>
                    <a:lnTo>
                      <a:pt x="206" y="53"/>
                    </a:lnTo>
                    <a:lnTo>
                      <a:pt x="211" y="67"/>
                    </a:lnTo>
                    <a:lnTo>
                      <a:pt x="217" y="62"/>
                    </a:lnTo>
                    <a:lnTo>
                      <a:pt x="224" y="62"/>
                    </a:lnTo>
                    <a:lnTo>
                      <a:pt x="227" y="64"/>
                    </a:lnTo>
                    <a:lnTo>
                      <a:pt x="230" y="65"/>
                    </a:lnTo>
                    <a:lnTo>
                      <a:pt x="232" y="59"/>
                    </a:lnTo>
                    <a:lnTo>
                      <a:pt x="232" y="53"/>
                    </a:lnTo>
                    <a:lnTo>
                      <a:pt x="236" y="43"/>
                    </a:lnTo>
                    <a:lnTo>
                      <a:pt x="241" y="35"/>
                    </a:lnTo>
                    <a:lnTo>
                      <a:pt x="242" y="29"/>
                    </a:lnTo>
                    <a:lnTo>
                      <a:pt x="251" y="26"/>
                    </a:lnTo>
                    <a:lnTo>
                      <a:pt x="260" y="24"/>
                    </a:lnTo>
                    <a:lnTo>
                      <a:pt x="268" y="24"/>
                    </a:lnTo>
                    <a:lnTo>
                      <a:pt x="273" y="22"/>
                    </a:lnTo>
                    <a:lnTo>
                      <a:pt x="279" y="21"/>
                    </a:lnTo>
                    <a:lnTo>
                      <a:pt x="272" y="14"/>
                    </a:lnTo>
                    <a:lnTo>
                      <a:pt x="268" y="9"/>
                    </a:lnTo>
                    <a:lnTo>
                      <a:pt x="279" y="12"/>
                    </a:lnTo>
                    <a:lnTo>
                      <a:pt x="291" y="17"/>
                    </a:lnTo>
                    <a:lnTo>
                      <a:pt x="301" y="21"/>
                    </a:lnTo>
                    <a:lnTo>
                      <a:pt x="315" y="22"/>
                    </a:lnTo>
                    <a:lnTo>
                      <a:pt x="322" y="21"/>
                    </a:lnTo>
                    <a:lnTo>
                      <a:pt x="328" y="19"/>
                    </a:lnTo>
                    <a:lnTo>
                      <a:pt x="334" y="21"/>
                    </a:lnTo>
                    <a:lnTo>
                      <a:pt x="339" y="28"/>
                    </a:lnTo>
                    <a:lnTo>
                      <a:pt x="334" y="33"/>
                    </a:lnTo>
                    <a:lnTo>
                      <a:pt x="327" y="38"/>
                    </a:lnTo>
                    <a:lnTo>
                      <a:pt x="322" y="64"/>
                    </a:lnTo>
                    <a:lnTo>
                      <a:pt x="325" y="65"/>
                    </a:lnTo>
                    <a:lnTo>
                      <a:pt x="332" y="69"/>
                    </a:lnTo>
                    <a:lnTo>
                      <a:pt x="334" y="74"/>
                    </a:lnTo>
                    <a:lnTo>
                      <a:pt x="337" y="79"/>
                    </a:lnTo>
                    <a:lnTo>
                      <a:pt x="346" y="81"/>
                    </a:lnTo>
                    <a:lnTo>
                      <a:pt x="353" y="84"/>
                    </a:lnTo>
                    <a:lnTo>
                      <a:pt x="359" y="86"/>
                    </a:lnTo>
                    <a:lnTo>
                      <a:pt x="370" y="91"/>
                    </a:lnTo>
                    <a:lnTo>
                      <a:pt x="378" y="98"/>
                    </a:lnTo>
                    <a:lnTo>
                      <a:pt x="390" y="105"/>
                    </a:lnTo>
                    <a:lnTo>
                      <a:pt x="399" y="98"/>
                    </a:lnTo>
                    <a:lnTo>
                      <a:pt x="406" y="88"/>
                    </a:lnTo>
                    <a:lnTo>
                      <a:pt x="408" y="74"/>
                    </a:lnTo>
                    <a:lnTo>
                      <a:pt x="411" y="64"/>
                    </a:lnTo>
                    <a:lnTo>
                      <a:pt x="411" y="17"/>
                    </a:lnTo>
                    <a:lnTo>
                      <a:pt x="418" y="9"/>
                    </a:lnTo>
                    <a:lnTo>
                      <a:pt x="425" y="0"/>
                    </a:lnTo>
                    <a:lnTo>
                      <a:pt x="425" y="9"/>
                    </a:lnTo>
                    <a:lnTo>
                      <a:pt x="430" y="17"/>
                    </a:lnTo>
                    <a:lnTo>
                      <a:pt x="433" y="24"/>
                    </a:lnTo>
                    <a:lnTo>
                      <a:pt x="437" y="33"/>
                    </a:lnTo>
                    <a:lnTo>
                      <a:pt x="437" y="43"/>
                    </a:lnTo>
                    <a:lnTo>
                      <a:pt x="442" y="53"/>
                    </a:lnTo>
                    <a:lnTo>
                      <a:pt x="451" y="55"/>
                    </a:lnTo>
                    <a:lnTo>
                      <a:pt x="457" y="59"/>
                    </a:lnTo>
                    <a:lnTo>
                      <a:pt x="461" y="62"/>
                    </a:lnTo>
                    <a:lnTo>
                      <a:pt x="463" y="71"/>
                    </a:lnTo>
                    <a:lnTo>
                      <a:pt x="464" y="79"/>
                    </a:lnTo>
                    <a:lnTo>
                      <a:pt x="466" y="88"/>
                    </a:lnTo>
                    <a:lnTo>
                      <a:pt x="468" y="95"/>
                    </a:lnTo>
                    <a:lnTo>
                      <a:pt x="473" y="103"/>
                    </a:lnTo>
                    <a:lnTo>
                      <a:pt x="475" y="110"/>
                    </a:lnTo>
                    <a:lnTo>
                      <a:pt x="480" y="120"/>
                    </a:lnTo>
                    <a:lnTo>
                      <a:pt x="483" y="126"/>
                    </a:lnTo>
                    <a:lnTo>
                      <a:pt x="494" y="133"/>
                    </a:lnTo>
                    <a:lnTo>
                      <a:pt x="504" y="138"/>
                    </a:lnTo>
                    <a:lnTo>
                      <a:pt x="514" y="145"/>
                    </a:lnTo>
                    <a:lnTo>
                      <a:pt x="519" y="157"/>
                    </a:lnTo>
                    <a:lnTo>
                      <a:pt x="523" y="169"/>
                    </a:lnTo>
                    <a:lnTo>
                      <a:pt x="528" y="174"/>
                    </a:lnTo>
                    <a:lnTo>
                      <a:pt x="540" y="176"/>
                    </a:lnTo>
                    <a:lnTo>
                      <a:pt x="542" y="186"/>
                    </a:lnTo>
                    <a:lnTo>
                      <a:pt x="550" y="196"/>
                    </a:lnTo>
                    <a:lnTo>
                      <a:pt x="559" y="205"/>
                    </a:lnTo>
                    <a:lnTo>
                      <a:pt x="569" y="213"/>
                    </a:lnTo>
                    <a:lnTo>
                      <a:pt x="568" y="2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79" name="Freeform 223"/>
              <p:cNvSpPr>
                <a:spLocks/>
              </p:cNvSpPr>
              <p:nvPr/>
            </p:nvSpPr>
            <p:spPr bwMode="auto">
              <a:xfrm>
                <a:off x="8149432" y="5181600"/>
                <a:ext cx="15875" cy="12700"/>
              </a:xfrm>
              <a:custGeom>
                <a:avLst/>
                <a:gdLst/>
                <a:ahLst/>
                <a:cxnLst>
                  <a:cxn ang="0">
                    <a:pos x="10" y="0"/>
                  </a:cxn>
                  <a:cxn ang="0">
                    <a:pos x="5" y="5"/>
                  </a:cxn>
                  <a:cxn ang="0">
                    <a:pos x="0" y="8"/>
                  </a:cxn>
                  <a:cxn ang="0">
                    <a:pos x="0" y="3"/>
                  </a:cxn>
                  <a:cxn ang="0">
                    <a:pos x="0" y="0"/>
                  </a:cxn>
                  <a:cxn ang="0">
                    <a:pos x="10" y="0"/>
                  </a:cxn>
                </a:cxnLst>
                <a:rect l="0" t="0" r="r" b="b"/>
                <a:pathLst>
                  <a:path w="10" h="8">
                    <a:moveTo>
                      <a:pt x="10" y="0"/>
                    </a:moveTo>
                    <a:lnTo>
                      <a:pt x="5" y="5"/>
                    </a:lnTo>
                    <a:lnTo>
                      <a:pt x="0" y="8"/>
                    </a:lnTo>
                    <a:lnTo>
                      <a:pt x="0" y="3"/>
                    </a:lnTo>
                    <a:lnTo>
                      <a:pt x="0"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80" name="Freeform 224"/>
              <p:cNvSpPr>
                <a:spLocks/>
              </p:cNvSpPr>
              <p:nvPr/>
            </p:nvSpPr>
            <p:spPr bwMode="auto">
              <a:xfrm>
                <a:off x="8127207" y="5006975"/>
                <a:ext cx="174625" cy="171450"/>
              </a:xfrm>
              <a:custGeom>
                <a:avLst/>
                <a:gdLst/>
                <a:ahLst/>
                <a:cxnLst>
                  <a:cxn ang="0">
                    <a:pos x="67" y="29"/>
                  </a:cxn>
                  <a:cxn ang="0">
                    <a:pos x="67" y="26"/>
                  </a:cxn>
                  <a:cxn ang="0">
                    <a:pos x="67" y="24"/>
                  </a:cxn>
                  <a:cxn ang="0">
                    <a:pos x="71" y="19"/>
                  </a:cxn>
                  <a:cxn ang="0">
                    <a:pos x="77" y="19"/>
                  </a:cxn>
                  <a:cxn ang="0">
                    <a:pos x="77" y="17"/>
                  </a:cxn>
                  <a:cxn ang="0">
                    <a:pos x="77" y="15"/>
                  </a:cxn>
                  <a:cxn ang="0">
                    <a:pos x="81" y="5"/>
                  </a:cxn>
                  <a:cxn ang="0">
                    <a:pos x="89" y="0"/>
                  </a:cxn>
                  <a:cxn ang="0">
                    <a:pos x="89" y="3"/>
                  </a:cxn>
                  <a:cxn ang="0">
                    <a:pos x="93" y="5"/>
                  </a:cxn>
                  <a:cxn ang="0">
                    <a:pos x="93" y="8"/>
                  </a:cxn>
                  <a:cxn ang="0">
                    <a:pos x="96" y="12"/>
                  </a:cxn>
                  <a:cxn ang="0">
                    <a:pos x="100" y="8"/>
                  </a:cxn>
                  <a:cxn ang="0">
                    <a:pos x="105" y="7"/>
                  </a:cxn>
                  <a:cxn ang="0">
                    <a:pos x="108" y="8"/>
                  </a:cxn>
                  <a:cxn ang="0">
                    <a:pos x="108" y="14"/>
                  </a:cxn>
                  <a:cxn ang="0">
                    <a:pos x="110" y="17"/>
                  </a:cxn>
                  <a:cxn ang="0">
                    <a:pos x="107" y="22"/>
                  </a:cxn>
                  <a:cxn ang="0">
                    <a:pos x="103" y="31"/>
                  </a:cxn>
                  <a:cxn ang="0">
                    <a:pos x="96" y="39"/>
                  </a:cxn>
                  <a:cxn ang="0">
                    <a:pos x="91" y="43"/>
                  </a:cxn>
                  <a:cxn ang="0">
                    <a:pos x="89" y="50"/>
                  </a:cxn>
                  <a:cxn ang="0">
                    <a:pos x="91" y="58"/>
                  </a:cxn>
                  <a:cxn ang="0">
                    <a:pos x="81" y="58"/>
                  </a:cxn>
                  <a:cxn ang="0">
                    <a:pos x="72" y="60"/>
                  </a:cxn>
                  <a:cxn ang="0">
                    <a:pos x="67" y="67"/>
                  </a:cxn>
                  <a:cxn ang="0">
                    <a:pos x="64" y="81"/>
                  </a:cxn>
                  <a:cxn ang="0">
                    <a:pos x="58" y="91"/>
                  </a:cxn>
                  <a:cxn ang="0">
                    <a:pos x="57" y="96"/>
                  </a:cxn>
                  <a:cxn ang="0">
                    <a:pos x="46" y="103"/>
                  </a:cxn>
                  <a:cxn ang="0">
                    <a:pos x="38" y="108"/>
                  </a:cxn>
                  <a:cxn ang="0">
                    <a:pos x="31" y="106"/>
                  </a:cxn>
                  <a:cxn ang="0">
                    <a:pos x="26" y="105"/>
                  </a:cxn>
                  <a:cxn ang="0">
                    <a:pos x="19" y="103"/>
                  </a:cxn>
                  <a:cxn ang="0">
                    <a:pos x="12" y="100"/>
                  </a:cxn>
                  <a:cxn ang="0">
                    <a:pos x="5" y="96"/>
                  </a:cxn>
                  <a:cxn ang="0">
                    <a:pos x="3" y="94"/>
                  </a:cxn>
                  <a:cxn ang="0">
                    <a:pos x="0" y="93"/>
                  </a:cxn>
                  <a:cxn ang="0">
                    <a:pos x="2" y="82"/>
                  </a:cxn>
                  <a:cxn ang="0">
                    <a:pos x="7" y="75"/>
                  </a:cxn>
                  <a:cxn ang="0">
                    <a:pos x="14" y="70"/>
                  </a:cxn>
                  <a:cxn ang="0">
                    <a:pos x="21" y="65"/>
                  </a:cxn>
                  <a:cxn ang="0">
                    <a:pos x="24" y="60"/>
                  </a:cxn>
                  <a:cxn ang="0">
                    <a:pos x="29" y="58"/>
                  </a:cxn>
                  <a:cxn ang="0">
                    <a:pos x="43" y="51"/>
                  </a:cxn>
                  <a:cxn ang="0">
                    <a:pos x="57" y="43"/>
                  </a:cxn>
                  <a:cxn ang="0">
                    <a:pos x="62" y="34"/>
                  </a:cxn>
                  <a:cxn ang="0">
                    <a:pos x="67" y="29"/>
                  </a:cxn>
                </a:cxnLst>
                <a:rect l="0" t="0" r="r" b="b"/>
                <a:pathLst>
                  <a:path w="110" h="108">
                    <a:moveTo>
                      <a:pt x="67" y="29"/>
                    </a:moveTo>
                    <a:lnTo>
                      <a:pt x="67" y="26"/>
                    </a:lnTo>
                    <a:lnTo>
                      <a:pt x="67" y="24"/>
                    </a:lnTo>
                    <a:lnTo>
                      <a:pt x="71" y="19"/>
                    </a:lnTo>
                    <a:lnTo>
                      <a:pt x="77" y="19"/>
                    </a:lnTo>
                    <a:lnTo>
                      <a:pt x="77" y="17"/>
                    </a:lnTo>
                    <a:lnTo>
                      <a:pt x="77" y="15"/>
                    </a:lnTo>
                    <a:lnTo>
                      <a:pt x="81" y="5"/>
                    </a:lnTo>
                    <a:lnTo>
                      <a:pt x="89" y="0"/>
                    </a:lnTo>
                    <a:lnTo>
                      <a:pt x="89" y="3"/>
                    </a:lnTo>
                    <a:lnTo>
                      <a:pt x="93" y="5"/>
                    </a:lnTo>
                    <a:lnTo>
                      <a:pt x="93" y="8"/>
                    </a:lnTo>
                    <a:lnTo>
                      <a:pt x="96" y="12"/>
                    </a:lnTo>
                    <a:lnTo>
                      <a:pt x="100" y="8"/>
                    </a:lnTo>
                    <a:lnTo>
                      <a:pt x="105" y="7"/>
                    </a:lnTo>
                    <a:lnTo>
                      <a:pt x="108" y="8"/>
                    </a:lnTo>
                    <a:lnTo>
                      <a:pt x="108" y="14"/>
                    </a:lnTo>
                    <a:lnTo>
                      <a:pt x="110" y="17"/>
                    </a:lnTo>
                    <a:lnTo>
                      <a:pt x="107" y="22"/>
                    </a:lnTo>
                    <a:lnTo>
                      <a:pt x="103" y="31"/>
                    </a:lnTo>
                    <a:lnTo>
                      <a:pt x="96" y="39"/>
                    </a:lnTo>
                    <a:lnTo>
                      <a:pt x="91" y="43"/>
                    </a:lnTo>
                    <a:lnTo>
                      <a:pt x="89" y="50"/>
                    </a:lnTo>
                    <a:lnTo>
                      <a:pt x="91" y="58"/>
                    </a:lnTo>
                    <a:lnTo>
                      <a:pt x="81" y="58"/>
                    </a:lnTo>
                    <a:lnTo>
                      <a:pt x="72" y="60"/>
                    </a:lnTo>
                    <a:lnTo>
                      <a:pt x="67" y="67"/>
                    </a:lnTo>
                    <a:lnTo>
                      <a:pt x="64" y="81"/>
                    </a:lnTo>
                    <a:lnTo>
                      <a:pt x="58" y="91"/>
                    </a:lnTo>
                    <a:lnTo>
                      <a:pt x="57" y="96"/>
                    </a:lnTo>
                    <a:lnTo>
                      <a:pt x="46" y="103"/>
                    </a:lnTo>
                    <a:lnTo>
                      <a:pt x="38" y="108"/>
                    </a:lnTo>
                    <a:lnTo>
                      <a:pt x="31" y="106"/>
                    </a:lnTo>
                    <a:lnTo>
                      <a:pt x="26" y="105"/>
                    </a:lnTo>
                    <a:lnTo>
                      <a:pt x="19" y="103"/>
                    </a:lnTo>
                    <a:lnTo>
                      <a:pt x="12" y="100"/>
                    </a:lnTo>
                    <a:lnTo>
                      <a:pt x="5" y="96"/>
                    </a:lnTo>
                    <a:lnTo>
                      <a:pt x="3" y="94"/>
                    </a:lnTo>
                    <a:lnTo>
                      <a:pt x="0" y="93"/>
                    </a:lnTo>
                    <a:lnTo>
                      <a:pt x="2" y="82"/>
                    </a:lnTo>
                    <a:lnTo>
                      <a:pt x="7" y="75"/>
                    </a:lnTo>
                    <a:lnTo>
                      <a:pt x="14" y="70"/>
                    </a:lnTo>
                    <a:lnTo>
                      <a:pt x="21" y="65"/>
                    </a:lnTo>
                    <a:lnTo>
                      <a:pt x="24" y="60"/>
                    </a:lnTo>
                    <a:lnTo>
                      <a:pt x="29" y="58"/>
                    </a:lnTo>
                    <a:lnTo>
                      <a:pt x="43" y="51"/>
                    </a:lnTo>
                    <a:lnTo>
                      <a:pt x="57" y="43"/>
                    </a:lnTo>
                    <a:lnTo>
                      <a:pt x="62" y="34"/>
                    </a:lnTo>
                    <a:lnTo>
                      <a:pt x="67"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81" name="Freeform 225"/>
              <p:cNvSpPr>
                <a:spLocks/>
              </p:cNvSpPr>
              <p:nvPr/>
            </p:nvSpPr>
            <p:spPr bwMode="auto">
              <a:xfrm>
                <a:off x="8271669" y="4840288"/>
                <a:ext cx="131763" cy="190500"/>
              </a:xfrm>
              <a:custGeom>
                <a:avLst/>
                <a:gdLst/>
                <a:ahLst/>
                <a:cxnLst>
                  <a:cxn ang="0">
                    <a:pos x="26" y="45"/>
                  </a:cxn>
                  <a:cxn ang="0">
                    <a:pos x="21" y="39"/>
                  </a:cxn>
                  <a:cxn ang="0">
                    <a:pos x="19" y="36"/>
                  </a:cxn>
                  <a:cxn ang="0">
                    <a:pos x="19" y="33"/>
                  </a:cxn>
                  <a:cxn ang="0">
                    <a:pos x="21" y="31"/>
                  </a:cxn>
                  <a:cxn ang="0">
                    <a:pos x="12" y="26"/>
                  </a:cxn>
                  <a:cxn ang="0">
                    <a:pos x="7" y="19"/>
                  </a:cxn>
                  <a:cxn ang="0">
                    <a:pos x="2" y="9"/>
                  </a:cxn>
                  <a:cxn ang="0">
                    <a:pos x="0" y="0"/>
                  </a:cxn>
                  <a:cxn ang="0">
                    <a:pos x="9" y="7"/>
                  </a:cxn>
                  <a:cxn ang="0">
                    <a:pos x="19" y="14"/>
                  </a:cxn>
                  <a:cxn ang="0">
                    <a:pos x="21" y="17"/>
                  </a:cxn>
                  <a:cxn ang="0">
                    <a:pos x="24" y="22"/>
                  </a:cxn>
                  <a:cxn ang="0">
                    <a:pos x="23" y="24"/>
                  </a:cxn>
                  <a:cxn ang="0">
                    <a:pos x="23" y="26"/>
                  </a:cxn>
                  <a:cxn ang="0">
                    <a:pos x="26" y="33"/>
                  </a:cxn>
                  <a:cxn ang="0">
                    <a:pos x="31" y="41"/>
                  </a:cxn>
                  <a:cxn ang="0">
                    <a:pos x="35" y="41"/>
                  </a:cxn>
                  <a:cxn ang="0">
                    <a:pos x="35" y="38"/>
                  </a:cxn>
                  <a:cxn ang="0">
                    <a:pos x="40" y="38"/>
                  </a:cxn>
                  <a:cxn ang="0">
                    <a:pos x="41" y="38"/>
                  </a:cxn>
                  <a:cxn ang="0">
                    <a:pos x="45" y="52"/>
                  </a:cxn>
                  <a:cxn ang="0">
                    <a:pos x="60" y="58"/>
                  </a:cxn>
                  <a:cxn ang="0">
                    <a:pos x="69" y="55"/>
                  </a:cxn>
                  <a:cxn ang="0">
                    <a:pos x="78" y="53"/>
                  </a:cxn>
                  <a:cxn ang="0">
                    <a:pos x="79" y="53"/>
                  </a:cxn>
                  <a:cxn ang="0">
                    <a:pos x="83" y="55"/>
                  </a:cxn>
                  <a:cxn ang="0">
                    <a:pos x="76" y="67"/>
                  </a:cxn>
                  <a:cxn ang="0">
                    <a:pos x="72" y="81"/>
                  </a:cxn>
                  <a:cxn ang="0">
                    <a:pos x="71" y="79"/>
                  </a:cxn>
                  <a:cxn ang="0">
                    <a:pos x="69" y="79"/>
                  </a:cxn>
                  <a:cxn ang="0">
                    <a:pos x="60" y="81"/>
                  </a:cxn>
                  <a:cxn ang="0">
                    <a:pos x="59" y="86"/>
                  </a:cxn>
                  <a:cxn ang="0">
                    <a:pos x="59" y="88"/>
                  </a:cxn>
                  <a:cxn ang="0">
                    <a:pos x="60" y="91"/>
                  </a:cxn>
                  <a:cxn ang="0">
                    <a:pos x="57" y="96"/>
                  </a:cxn>
                  <a:cxn ang="0">
                    <a:pos x="53" y="101"/>
                  </a:cxn>
                  <a:cxn ang="0">
                    <a:pos x="45" y="113"/>
                  </a:cxn>
                  <a:cxn ang="0">
                    <a:pos x="35" y="120"/>
                  </a:cxn>
                  <a:cxn ang="0">
                    <a:pos x="28" y="117"/>
                  </a:cxn>
                  <a:cxn ang="0">
                    <a:pos x="28" y="113"/>
                  </a:cxn>
                  <a:cxn ang="0">
                    <a:pos x="29" y="105"/>
                  </a:cxn>
                  <a:cxn ang="0">
                    <a:pos x="33" y="98"/>
                  </a:cxn>
                  <a:cxn ang="0">
                    <a:pos x="29" y="91"/>
                  </a:cxn>
                  <a:cxn ang="0">
                    <a:pos x="23" y="89"/>
                  </a:cxn>
                  <a:cxn ang="0">
                    <a:pos x="16" y="86"/>
                  </a:cxn>
                  <a:cxn ang="0">
                    <a:pos x="14" y="82"/>
                  </a:cxn>
                  <a:cxn ang="0">
                    <a:pos x="16" y="77"/>
                  </a:cxn>
                  <a:cxn ang="0">
                    <a:pos x="21" y="76"/>
                  </a:cxn>
                  <a:cxn ang="0">
                    <a:pos x="26" y="65"/>
                  </a:cxn>
                  <a:cxn ang="0">
                    <a:pos x="28" y="55"/>
                  </a:cxn>
                  <a:cxn ang="0">
                    <a:pos x="26" y="48"/>
                  </a:cxn>
                  <a:cxn ang="0">
                    <a:pos x="24" y="43"/>
                  </a:cxn>
                  <a:cxn ang="0">
                    <a:pos x="26" y="43"/>
                  </a:cxn>
                  <a:cxn ang="0">
                    <a:pos x="26" y="45"/>
                  </a:cxn>
                </a:cxnLst>
                <a:rect l="0" t="0" r="r" b="b"/>
                <a:pathLst>
                  <a:path w="83" h="120">
                    <a:moveTo>
                      <a:pt x="26" y="45"/>
                    </a:moveTo>
                    <a:lnTo>
                      <a:pt x="21" y="39"/>
                    </a:lnTo>
                    <a:lnTo>
                      <a:pt x="19" y="36"/>
                    </a:lnTo>
                    <a:lnTo>
                      <a:pt x="19" y="33"/>
                    </a:lnTo>
                    <a:lnTo>
                      <a:pt x="21" y="31"/>
                    </a:lnTo>
                    <a:lnTo>
                      <a:pt x="12" y="26"/>
                    </a:lnTo>
                    <a:lnTo>
                      <a:pt x="7" y="19"/>
                    </a:lnTo>
                    <a:lnTo>
                      <a:pt x="2" y="9"/>
                    </a:lnTo>
                    <a:lnTo>
                      <a:pt x="0" y="0"/>
                    </a:lnTo>
                    <a:lnTo>
                      <a:pt x="9" y="7"/>
                    </a:lnTo>
                    <a:lnTo>
                      <a:pt x="19" y="14"/>
                    </a:lnTo>
                    <a:lnTo>
                      <a:pt x="21" y="17"/>
                    </a:lnTo>
                    <a:lnTo>
                      <a:pt x="24" y="22"/>
                    </a:lnTo>
                    <a:lnTo>
                      <a:pt x="23" y="24"/>
                    </a:lnTo>
                    <a:lnTo>
                      <a:pt x="23" y="26"/>
                    </a:lnTo>
                    <a:lnTo>
                      <a:pt x="26" y="33"/>
                    </a:lnTo>
                    <a:lnTo>
                      <a:pt x="31" y="41"/>
                    </a:lnTo>
                    <a:lnTo>
                      <a:pt x="35" y="41"/>
                    </a:lnTo>
                    <a:lnTo>
                      <a:pt x="35" y="38"/>
                    </a:lnTo>
                    <a:lnTo>
                      <a:pt x="40" y="38"/>
                    </a:lnTo>
                    <a:lnTo>
                      <a:pt x="41" y="38"/>
                    </a:lnTo>
                    <a:lnTo>
                      <a:pt x="45" y="52"/>
                    </a:lnTo>
                    <a:lnTo>
                      <a:pt x="60" y="58"/>
                    </a:lnTo>
                    <a:lnTo>
                      <a:pt x="69" y="55"/>
                    </a:lnTo>
                    <a:lnTo>
                      <a:pt x="78" y="53"/>
                    </a:lnTo>
                    <a:lnTo>
                      <a:pt x="79" y="53"/>
                    </a:lnTo>
                    <a:lnTo>
                      <a:pt x="83" y="55"/>
                    </a:lnTo>
                    <a:lnTo>
                      <a:pt x="76" y="67"/>
                    </a:lnTo>
                    <a:lnTo>
                      <a:pt x="72" y="81"/>
                    </a:lnTo>
                    <a:lnTo>
                      <a:pt x="71" y="79"/>
                    </a:lnTo>
                    <a:lnTo>
                      <a:pt x="69" y="79"/>
                    </a:lnTo>
                    <a:lnTo>
                      <a:pt x="60" y="81"/>
                    </a:lnTo>
                    <a:lnTo>
                      <a:pt x="59" y="86"/>
                    </a:lnTo>
                    <a:lnTo>
                      <a:pt x="59" y="88"/>
                    </a:lnTo>
                    <a:lnTo>
                      <a:pt x="60" y="91"/>
                    </a:lnTo>
                    <a:lnTo>
                      <a:pt x="57" y="96"/>
                    </a:lnTo>
                    <a:lnTo>
                      <a:pt x="53" y="101"/>
                    </a:lnTo>
                    <a:lnTo>
                      <a:pt x="45" y="113"/>
                    </a:lnTo>
                    <a:lnTo>
                      <a:pt x="35" y="120"/>
                    </a:lnTo>
                    <a:lnTo>
                      <a:pt x="28" y="117"/>
                    </a:lnTo>
                    <a:lnTo>
                      <a:pt x="28" y="113"/>
                    </a:lnTo>
                    <a:lnTo>
                      <a:pt x="29" y="105"/>
                    </a:lnTo>
                    <a:lnTo>
                      <a:pt x="33" y="98"/>
                    </a:lnTo>
                    <a:lnTo>
                      <a:pt x="29" y="91"/>
                    </a:lnTo>
                    <a:lnTo>
                      <a:pt x="23" y="89"/>
                    </a:lnTo>
                    <a:lnTo>
                      <a:pt x="16" y="86"/>
                    </a:lnTo>
                    <a:lnTo>
                      <a:pt x="14" y="82"/>
                    </a:lnTo>
                    <a:lnTo>
                      <a:pt x="16" y="77"/>
                    </a:lnTo>
                    <a:lnTo>
                      <a:pt x="21" y="76"/>
                    </a:lnTo>
                    <a:lnTo>
                      <a:pt x="26" y="65"/>
                    </a:lnTo>
                    <a:lnTo>
                      <a:pt x="28" y="55"/>
                    </a:lnTo>
                    <a:lnTo>
                      <a:pt x="26" y="48"/>
                    </a:lnTo>
                    <a:lnTo>
                      <a:pt x="24" y="43"/>
                    </a:lnTo>
                    <a:lnTo>
                      <a:pt x="26" y="43"/>
                    </a:lnTo>
                    <a:lnTo>
                      <a:pt x="2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82" name="Freeform 226"/>
              <p:cNvSpPr>
                <a:spLocks/>
              </p:cNvSpPr>
              <p:nvPr/>
            </p:nvSpPr>
            <p:spPr bwMode="auto">
              <a:xfrm>
                <a:off x="8370094" y="4416425"/>
                <a:ext cx="26988" cy="22225"/>
              </a:xfrm>
              <a:custGeom>
                <a:avLst/>
                <a:gdLst/>
                <a:ahLst/>
                <a:cxnLst>
                  <a:cxn ang="0">
                    <a:pos x="12" y="0"/>
                  </a:cxn>
                  <a:cxn ang="0">
                    <a:pos x="14" y="4"/>
                  </a:cxn>
                  <a:cxn ang="0">
                    <a:pos x="17" y="6"/>
                  </a:cxn>
                  <a:cxn ang="0">
                    <a:pos x="17" y="11"/>
                  </a:cxn>
                  <a:cxn ang="0">
                    <a:pos x="14" y="12"/>
                  </a:cxn>
                  <a:cxn ang="0">
                    <a:pos x="10" y="14"/>
                  </a:cxn>
                  <a:cxn ang="0">
                    <a:pos x="4" y="12"/>
                  </a:cxn>
                  <a:cxn ang="0">
                    <a:pos x="0" y="11"/>
                  </a:cxn>
                  <a:cxn ang="0">
                    <a:pos x="4" y="2"/>
                  </a:cxn>
                  <a:cxn ang="0">
                    <a:pos x="12" y="0"/>
                  </a:cxn>
                </a:cxnLst>
                <a:rect l="0" t="0" r="r" b="b"/>
                <a:pathLst>
                  <a:path w="17" h="14">
                    <a:moveTo>
                      <a:pt x="12" y="0"/>
                    </a:moveTo>
                    <a:lnTo>
                      <a:pt x="14" y="4"/>
                    </a:lnTo>
                    <a:lnTo>
                      <a:pt x="17" y="6"/>
                    </a:lnTo>
                    <a:lnTo>
                      <a:pt x="17" y="11"/>
                    </a:lnTo>
                    <a:lnTo>
                      <a:pt x="14" y="12"/>
                    </a:lnTo>
                    <a:lnTo>
                      <a:pt x="10" y="14"/>
                    </a:lnTo>
                    <a:lnTo>
                      <a:pt x="4" y="12"/>
                    </a:lnTo>
                    <a:lnTo>
                      <a:pt x="0" y="11"/>
                    </a:lnTo>
                    <a:lnTo>
                      <a:pt x="4" y="2"/>
                    </a:lnTo>
                    <a:lnTo>
                      <a:pt x="1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83" name="Freeform 227"/>
              <p:cNvSpPr>
                <a:spLocks/>
              </p:cNvSpPr>
              <p:nvPr/>
            </p:nvSpPr>
            <p:spPr bwMode="auto">
              <a:xfrm>
                <a:off x="8403432" y="4395788"/>
                <a:ext cx="23813" cy="15875"/>
              </a:xfrm>
              <a:custGeom>
                <a:avLst/>
                <a:gdLst/>
                <a:ahLst/>
                <a:cxnLst>
                  <a:cxn ang="0">
                    <a:pos x="15" y="0"/>
                  </a:cxn>
                  <a:cxn ang="0">
                    <a:pos x="15" y="3"/>
                  </a:cxn>
                  <a:cxn ang="0">
                    <a:pos x="7" y="7"/>
                  </a:cxn>
                  <a:cxn ang="0">
                    <a:pos x="1" y="10"/>
                  </a:cxn>
                  <a:cxn ang="0">
                    <a:pos x="0" y="7"/>
                  </a:cxn>
                  <a:cxn ang="0">
                    <a:pos x="0" y="5"/>
                  </a:cxn>
                  <a:cxn ang="0">
                    <a:pos x="5" y="0"/>
                  </a:cxn>
                  <a:cxn ang="0">
                    <a:pos x="15" y="0"/>
                  </a:cxn>
                </a:cxnLst>
                <a:rect l="0" t="0" r="r" b="b"/>
                <a:pathLst>
                  <a:path w="15" h="10">
                    <a:moveTo>
                      <a:pt x="15" y="0"/>
                    </a:moveTo>
                    <a:lnTo>
                      <a:pt x="15" y="3"/>
                    </a:lnTo>
                    <a:lnTo>
                      <a:pt x="7" y="7"/>
                    </a:lnTo>
                    <a:lnTo>
                      <a:pt x="1" y="10"/>
                    </a:lnTo>
                    <a:lnTo>
                      <a:pt x="0" y="7"/>
                    </a:lnTo>
                    <a:lnTo>
                      <a:pt x="0" y="5"/>
                    </a:lnTo>
                    <a:lnTo>
                      <a:pt x="5"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84" name="Freeform 228"/>
              <p:cNvSpPr>
                <a:spLocks/>
              </p:cNvSpPr>
              <p:nvPr/>
            </p:nvSpPr>
            <p:spPr bwMode="auto">
              <a:xfrm>
                <a:off x="7114382" y="3789363"/>
                <a:ext cx="101600" cy="98425"/>
              </a:xfrm>
              <a:custGeom>
                <a:avLst/>
                <a:gdLst/>
                <a:ahLst/>
                <a:cxnLst>
                  <a:cxn ang="0">
                    <a:pos x="53" y="43"/>
                  </a:cxn>
                  <a:cxn ang="0">
                    <a:pos x="52" y="41"/>
                  </a:cxn>
                  <a:cxn ang="0">
                    <a:pos x="50" y="39"/>
                  </a:cxn>
                  <a:cxn ang="0">
                    <a:pos x="46" y="43"/>
                  </a:cxn>
                  <a:cxn ang="0">
                    <a:pos x="46" y="46"/>
                  </a:cxn>
                  <a:cxn ang="0">
                    <a:pos x="48" y="48"/>
                  </a:cxn>
                  <a:cxn ang="0">
                    <a:pos x="52" y="55"/>
                  </a:cxn>
                  <a:cxn ang="0">
                    <a:pos x="50" y="58"/>
                  </a:cxn>
                  <a:cxn ang="0">
                    <a:pos x="46" y="62"/>
                  </a:cxn>
                  <a:cxn ang="0">
                    <a:pos x="43" y="60"/>
                  </a:cxn>
                  <a:cxn ang="0">
                    <a:pos x="43" y="58"/>
                  </a:cxn>
                  <a:cxn ang="0">
                    <a:pos x="41" y="58"/>
                  </a:cxn>
                  <a:cxn ang="0">
                    <a:pos x="39" y="58"/>
                  </a:cxn>
                  <a:cxn ang="0">
                    <a:pos x="31" y="53"/>
                  </a:cxn>
                  <a:cxn ang="0">
                    <a:pos x="27" y="43"/>
                  </a:cxn>
                  <a:cxn ang="0">
                    <a:pos x="27" y="38"/>
                  </a:cxn>
                  <a:cxn ang="0">
                    <a:pos x="29" y="38"/>
                  </a:cxn>
                  <a:cxn ang="0">
                    <a:pos x="27" y="34"/>
                  </a:cxn>
                  <a:cxn ang="0">
                    <a:pos x="27" y="33"/>
                  </a:cxn>
                  <a:cxn ang="0">
                    <a:pos x="21" y="33"/>
                  </a:cxn>
                  <a:cxn ang="0">
                    <a:pos x="21" y="34"/>
                  </a:cxn>
                  <a:cxn ang="0">
                    <a:pos x="21" y="36"/>
                  </a:cxn>
                  <a:cxn ang="0">
                    <a:pos x="17" y="34"/>
                  </a:cxn>
                  <a:cxn ang="0">
                    <a:pos x="15" y="34"/>
                  </a:cxn>
                  <a:cxn ang="0">
                    <a:pos x="15" y="36"/>
                  </a:cxn>
                  <a:cxn ang="0">
                    <a:pos x="12" y="34"/>
                  </a:cxn>
                  <a:cxn ang="0">
                    <a:pos x="10" y="33"/>
                  </a:cxn>
                  <a:cxn ang="0">
                    <a:pos x="7" y="36"/>
                  </a:cxn>
                  <a:cxn ang="0">
                    <a:pos x="5" y="43"/>
                  </a:cxn>
                  <a:cxn ang="0">
                    <a:pos x="3" y="48"/>
                  </a:cxn>
                  <a:cxn ang="0">
                    <a:pos x="2" y="52"/>
                  </a:cxn>
                  <a:cxn ang="0">
                    <a:pos x="0" y="46"/>
                  </a:cxn>
                  <a:cxn ang="0">
                    <a:pos x="2" y="41"/>
                  </a:cxn>
                  <a:cxn ang="0">
                    <a:pos x="0" y="38"/>
                  </a:cxn>
                  <a:cxn ang="0">
                    <a:pos x="0" y="36"/>
                  </a:cxn>
                  <a:cxn ang="0">
                    <a:pos x="0" y="31"/>
                  </a:cxn>
                  <a:cxn ang="0">
                    <a:pos x="3" y="26"/>
                  </a:cxn>
                  <a:cxn ang="0">
                    <a:pos x="10" y="21"/>
                  </a:cxn>
                  <a:cxn ang="0">
                    <a:pos x="19" y="15"/>
                  </a:cxn>
                  <a:cxn ang="0">
                    <a:pos x="24" y="19"/>
                  </a:cxn>
                  <a:cxn ang="0">
                    <a:pos x="27" y="22"/>
                  </a:cxn>
                  <a:cxn ang="0">
                    <a:pos x="31" y="22"/>
                  </a:cxn>
                  <a:cxn ang="0">
                    <a:pos x="31" y="19"/>
                  </a:cxn>
                  <a:cxn ang="0">
                    <a:pos x="34" y="17"/>
                  </a:cxn>
                  <a:cxn ang="0">
                    <a:pos x="38" y="12"/>
                  </a:cxn>
                  <a:cxn ang="0">
                    <a:pos x="45" y="10"/>
                  </a:cxn>
                  <a:cxn ang="0">
                    <a:pos x="45" y="3"/>
                  </a:cxn>
                  <a:cxn ang="0">
                    <a:pos x="46" y="0"/>
                  </a:cxn>
                  <a:cxn ang="0">
                    <a:pos x="50" y="0"/>
                  </a:cxn>
                  <a:cxn ang="0">
                    <a:pos x="53" y="3"/>
                  </a:cxn>
                  <a:cxn ang="0">
                    <a:pos x="55" y="9"/>
                  </a:cxn>
                  <a:cxn ang="0">
                    <a:pos x="58" y="21"/>
                  </a:cxn>
                  <a:cxn ang="0">
                    <a:pos x="62" y="31"/>
                  </a:cxn>
                  <a:cxn ang="0">
                    <a:pos x="64" y="38"/>
                  </a:cxn>
                  <a:cxn ang="0">
                    <a:pos x="60" y="43"/>
                  </a:cxn>
                  <a:cxn ang="0">
                    <a:pos x="58" y="53"/>
                  </a:cxn>
                  <a:cxn ang="0">
                    <a:pos x="53" y="46"/>
                  </a:cxn>
                  <a:cxn ang="0">
                    <a:pos x="52" y="41"/>
                  </a:cxn>
                  <a:cxn ang="0">
                    <a:pos x="53" y="43"/>
                  </a:cxn>
                </a:cxnLst>
                <a:rect l="0" t="0" r="r" b="b"/>
                <a:pathLst>
                  <a:path w="64" h="62">
                    <a:moveTo>
                      <a:pt x="53" y="43"/>
                    </a:moveTo>
                    <a:lnTo>
                      <a:pt x="52" y="41"/>
                    </a:lnTo>
                    <a:lnTo>
                      <a:pt x="50" y="39"/>
                    </a:lnTo>
                    <a:lnTo>
                      <a:pt x="46" y="43"/>
                    </a:lnTo>
                    <a:lnTo>
                      <a:pt x="46" y="46"/>
                    </a:lnTo>
                    <a:lnTo>
                      <a:pt x="48" y="48"/>
                    </a:lnTo>
                    <a:lnTo>
                      <a:pt x="52" y="55"/>
                    </a:lnTo>
                    <a:lnTo>
                      <a:pt x="50" y="58"/>
                    </a:lnTo>
                    <a:lnTo>
                      <a:pt x="46" y="62"/>
                    </a:lnTo>
                    <a:lnTo>
                      <a:pt x="43" y="60"/>
                    </a:lnTo>
                    <a:lnTo>
                      <a:pt x="43" y="58"/>
                    </a:lnTo>
                    <a:lnTo>
                      <a:pt x="41" y="58"/>
                    </a:lnTo>
                    <a:lnTo>
                      <a:pt x="39" y="58"/>
                    </a:lnTo>
                    <a:lnTo>
                      <a:pt x="31" y="53"/>
                    </a:lnTo>
                    <a:lnTo>
                      <a:pt x="27" y="43"/>
                    </a:lnTo>
                    <a:lnTo>
                      <a:pt x="27" y="38"/>
                    </a:lnTo>
                    <a:lnTo>
                      <a:pt x="29" y="38"/>
                    </a:lnTo>
                    <a:lnTo>
                      <a:pt x="27" y="34"/>
                    </a:lnTo>
                    <a:lnTo>
                      <a:pt x="27" y="33"/>
                    </a:lnTo>
                    <a:lnTo>
                      <a:pt x="21" y="33"/>
                    </a:lnTo>
                    <a:lnTo>
                      <a:pt x="21" y="34"/>
                    </a:lnTo>
                    <a:lnTo>
                      <a:pt x="21" y="36"/>
                    </a:lnTo>
                    <a:lnTo>
                      <a:pt x="17" y="34"/>
                    </a:lnTo>
                    <a:lnTo>
                      <a:pt x="15" y="34"/>
                    </a:lnTo>
                    <a:lnTo>
                      <a:pt x="15" y="36"/>
                    </a:lnTo>
                    <a:lnTo>
                      <a:pt x="12" y="34"/>
                    </a:lnTo>
                    <a:lnTo>
                      <a:pt x="10" y="33"/>
                    </a:lnTo>
                    <a:lnTo>
                      <a:pt x="7" y="36"/>
                    </a:lnTo>
                    <a:lnTo>
                      <a:pt x="5" y="43"/>
                    </a:lnTo>
                    <a:lnTo>
                      <a:pt x="3" y="48"/>
                    </a:lnTo>
                    <a:lnTo>
                      <a:pt x="2" y="52"/>
                    </a:lnTo>
                    <a:lnTo>
                      <a:pt x="0" y="46"/>
                    </a:lnTo>
                    <a:lnTo>
                      <a:pt x="2" y="41"/>
                    </a:lnTo>
                    <a:lnTo>
                      <a:pt x="0" y="38"/>
                    </a:lnTo>
                    <a:lnTo>
                      <a:pt x="0" y="36"/>
                    </a:lnTo>
                    <a:lnTo>
                      <a:pt x="0" y="31"/>
                    </a:lnTo>
                    <a:lnTo>
                      <a:pt x="3" y="26"/>
                    </a:lnTo>
                    <a:lnTo>
                      <a:pt x="10" y="21"/>
                    </a:lnTo>
                    <a:lnTo>
                      <a:pt x="19" y="15"/>
                    </a:lnTo>
                    <a:lnTo>
                      <a:pt x="24" y="19"/>
                    </a:lnTo>
                    <a:lnTo>
                      <a:pt x="27" y="22"/>
                    </a:lnTo>
                    <a:lnTo>
                      <a:pt x="31" y="22"/>
                    </a:lnTo>
                    <a:lnTo>
                      <a:pt x="31" y="19"/>
                    </a:lnTo>
                    <a:lnTo>
                      <a:pt x="34" y="17"/>
                    </a:lnTo>
                    <a:lnTo>
                      <a:pt x="38" y="12"/>
                    </a:lnTo>
                    <a:lnTo>
                      <a:pt x="45" y="10"/>
                    </a:lnTo>
                    <a:lnTo>
                      <a:pt x="45" y="3"/>
                    </a:lnTo>
                    <a:lnTo>
                      <a:pt x="46" y="0"/>
                    </a:lnTo>
                    <a:lnTo>
                      <a:pt x="50" y="0"/>
                    </a:lnTo>
                    <a:lnTo>
                      <a:pt x="53" y="3"/>
                    </a:lnTo>
                    <a:lnTo>
                      <a:pt x="55" y="9"/>
                    </a:lnTo>
                    <a:lnTo>
                      <a:pt x="58" y="21"/>
                    </a:lnTo>
                    <a:lnTo>
                      <a:pt x="62" y="31"/>
                    </a:lnTo>
                    <a:lnTo>
                      <a:pt x="64" y="38"/>
                    </a:lnTo>
                    <a:lnTo>
                      <a:pt x="60" y="43"/>
                    </a:lnTo>
                    <a:lnTo>
                      <a:pt x="58" y="53"/>
                    </a:lnTo>
                    <a:lnTo>
                      <a:pt x="53" y="46"/>
                    </a:lnTo>
                    <a:lnTo>
                      <a:pt x="52" y="41"/>
                    </a:lnTo>
                    <a:lnTo>
                      <a:pt x="53"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85" name="Freeform 229"/>
              <p:cNvSpPr>
                <a:spLocks/>
              </p:cNvSpPr>
              <p:nvPr/>
            </p:nvSpPr>
            <p:spPr bwMode="auto">
              <a:xfrm>
                <a:off x="7015957" y="3763963"/>
                <a:ext cx="52388" cy="52387"/>
              </a:xfrm>
              <a:custGeom>
                <a:avLst/>
                <a:gdLst/>
                <a:ahLst/>
                <a:cxnLst>
                  <a:cxn ang="0">
                    <a:pos x="3" y="33"/>
                  </a:cxn>
                  <a:cxn ang="0">
                    <a:pos x="0" y="33"/>
                  </a:cxn>
                  <a:cxn ang="0">
                    <a:pos x="3" y="23"/>
                  </a:cxn>
                  <a:cxn ang="0">
                    <a:pos x="12" y="18"/>
                  </a:cxn>
                  <a:cxn ang="0">
                    <a:pos x="19" y="11"/>
                  </a:cxn>
                  <a:cxn ang="0">
                    <a:pos x="26" y="6"/>
                  </a:cxn>
                  <a:cxn ang="0">
                    <a:pos x="26" y="2"/>
                  </a:cxn>
                  <a:cxn ang="0">
                    <a:pos x="28" y="0"/>
                  </a:cxn>
                  <a:cxn ang="0">
                    <a:pos x="29" y="4"/>
                  </a:cxn>
                  <a:cxn ang="0">
                    <a:pos x="33" y="7"/>
                  </a:cxn>
                  <a:cxn ang="0">
                    <a:pos x="29" y="7"/>
                  </a:cxn>
                  <a:cxn ang="0">
                    <a:pos x="28" y="9"/>
                  </a:cxn>
                  <a:cxn ang="0">
                    <a:pos x="22" y="12"/>
                  </a:cxn>
                  <a:cxn ang="0">
                    <a:pos x="19" y="14"/>
                  </a:cxn>
                  <a:cxn ang="0">
                    <a:pos x="12" y="26"/>
                  </a:cxn>
                  <a:cxn ang="0">
                    <a:pos x="3" y="33"/>
                  </a:cxn>
                </a:cxnLst>
                <a:rect l="0" t="0" r="r" b="b"/>
                <a:pathLst>
                  <a:path w="33" h="33">
                    <a:moveTo>
                      <a:pt x="3" y="33"/>
                    </a:moveTo>
                    <a:lnTo>
                      <a:pt x="0" y="33"/>
                    </a:lnTo>
                    <a:lnTo>
                      <a:pt x="3" y="23"/>
                    </a:lnTo>
                    <a:lnTo>
                      <a:pt x="12" y="18"/>
                    </a:lnTo>
                    <a:lnTo>
                      <a:pt x="19" y="11"/>
                    </a:lnTo>
                    <a:lnTo>
                      <a:pt x="26" y="6"/>
                    </a:lnTo>
                    <a:lnTo>
                      <a:pt x="26" y="2"/>
                    </a:lnTo>
                    <a:lnTo>
                      <a:pt x="28" y="0"/>
                    </a:lnTo>
                    <a:lnTo>
                      <a:pt x="29" y="4"/>
                    </a:lnTo>
                    <a:lnTo>
                      <a:pt x="33" y="7"/>
                    </a:lnTo>
                    <a:lnTo>
                      <a:pt x="29" y="7"/>
                    </a:lnTo>
                    <a:lnTo>
                      <a:pt x="28" y="9"/>
                    </a:lnTo>
                    <a:lnTo>
                      <a:pt x="22" y="12"/>
                    </a:lnTo>
                    <a:lnTo>
                      <a:pt x="19" y="14"/>
                    </a:lnTo>
                    <a:lnTo>
                      <a:pt x="12" y="26"/>
                    </a:lnTo>
                    <a:lnTo>
                      <a:pt x="3"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86" name="Freeform 230"/>
              <p:cNvSpPr>
                <a:spLocks/>
              </p:cNvSpPr>
              <p:nvPr/>
            </p:nvSpPr>
            <p:spPr bwMode="auto">
              <a:xfrm>
                <a:off x="7054057" y="3587750"/>
                <a:ext cx="98425" cy="138112"/>
              </a:xfrm>
              <a:custGeom>
                <a:avLst/>
                <a:gdLst/>
                <a:ahLst/>
                <a:cxnLst>
                  <a:cxn ang="0">
                    <a:pos x="4" y="36"/>
                  </a:cxn>
                  <a:cxn ang="0">
                    <a:pos x="5" y="29"/>
                  </a:cxn>
                  <a:cxn ang="0">
                    <a:pos x="7" y="24"/>
                  </a:cxn>
                  <a:cxn ang="0">
                    <a:pos x="5" y="15"/>
                  </a:cxn>
                  <a:cxn ang="0">
                    <a:pos x="5" y="8"/>
                  </a:cxn>
                  <a:cxn ang="0">
                    <a:pos x="5" y="1"/>
                  </a:cxn>
                  <a:cxn ang="0">
                    <a:pos x="10" y="0"/>
                  </a:cxn>
                  <a:cxn ang="0">
                    <a:pos x="14" y="3"/>
                  </a:cxn>
                  <a:cxn ang="0">
                    <a:pos x="17" y="8"/>
                  </a:cxn>
                  <a:cxn ang="0">
                    <a:pos x="21" y="5"/>
                  </a:cxn>
                  <a:cxn ang="0">
                    <a:pos x="24" y="3"/>
                  </a:cxn>
                  <a:cxn ang="0">
                    <a:pos x="24" y="5"/>
                  </a:cxn>
                  <a:cxn ang="0">
                    <a:pos x="26" y="7"/>
                  </a:cxn>
                  <a:cxn ang="0">
                    <a:pos x="26" y="8"/>
                  </a:cxn>
                  <a:cxn ang="0">
                    <a:pos x="28" y="19"/>
                  </a:cxn>
                  <a:cxn ang="0">
                    <a:pos x="31" y="29"/>
                  </a:cxn>
                  <a:cxn ang="0">
                    <a:pos x="26" y="38"/>
                  </a:cxn>
                  <a:cxn ang="0">
                    <a:pos x="22" y="48"/>
                  </a:cxn>
                  <a:cxn ang="0">
                    <a:pos x="26" y="60"/>
                  </a:cxn>
                  <a:cxn ang="0">
                    <a:pos x="34" y="68"/>
                  </a:cxn>
                  <a:cxn ang="0">
                    <a:pos x="34" y="67"/>
                  </a:cxn>
                  <a:cxn ang="0">
                    <a:pos x="34" y="63"/>
                  </a:cxn>
                  <a:cxn ang="0">
                    <a:pos x="40" y="63"/>
                  </a:cxn>
                  <a:cxn ang="0">
                    <a:pos x="45" y="68"/>
                  </a:cxn>
                  <a:cxn ang="0">
                    <a:pos x="48" y="74"/>
                  </a:cxn>
                  <a:cxn ang="0">
                    <a:pos x="50" y="72"/>
                  </a:cxn>
                  <a:cxn ang="0">
                    <a:pos x="53" y="70"/>
                  </a:cxn>
                  <a:cxn ang="0">
                    <a:pos x="55" y="72"/>
                  </a:cxn>
                  <a:cxn ang="0">
                    <a:pos x="53" y="74"/>
                  </a:cxn>
                  <a:cxn ang="0">
                    <a:pos x="53" y="77"/>
                  </a:cxn>
                  <a:cxn ang="0">
                    <a:pos x="57" y="77"/>
                  </a:cxn>
                  <a:cxn ang="0">
                    <a:pos x="57" y="80"/>
                  </a:cxn>
                  <a:cxn ang="0">
                    <a:pos x="62" y="82"/>
                  </a:cxn>
                  <a:cxn ang="0">
                    <a:pos x="62" y="84"/>
                  </a:cxn>
                  <a:cxn ang="0">
                    <a:pos x="62" y="86"/>
                  </a:cxn>
                  <a:cxn ang="0">
                    <a:pos x="60" y="86"/>
                  </a:cxn>
                  <a:cxn ang="0">
                    <a:pos x="60" y="87"/>
                  </a:cxn>
                  <a:cxn ang="0">
                    <a:pos x="59" y="86"/>
                  </a:cxn>
                  <a:cxn ang="0">
                    <a:pos x="59" y="84"/>
                  </a:cxn>
                  <a:cxn ang="0">
                    <a:pos x="50" y="77"/>
                  </a:cxn>
                  <a:cxn ang="0">
                    <a:pos x="41" y="72"/>
                  </a:cxn>
                  <a:cxn ang="0">
                    <a:pos x="40" y="74"/>
                  </a:cxn>
                  <a:cxn ang="0">
                    <a:pos x="41" y="79"/>
                  </a:cxn>
                  <a:cxn ang="0">
                    <a:pos x="34" y="74"/>
                  </a:cxn>
                  <a:cxn ang="0">
                    <a:pos x="29" y="70"/>
                  </a:cxn>
                  <a:cxn ang="0">
                    <a:pos x="24" y="70"/>
                  </a:cxn>
                  <a:cxn ang="0">
                    <a:pos x="21" y="72"/>
                  </a:cxn>
                  <a:cxn ang="0">
                    <a:pos x="16" y="68"/>
                  </a:cxn>
                  <a:cxn ang="0">
                    <a:pos x="14" y="65"/>
                  </a:cxn>
                  <a:cxn ang="0">
                    <a:pos x="14" y="62"/>
                  </a:cxn>
                  <a:cxn ang="0">
                    <a:pos x="17" y="62"/>
                  </a:cxn>
                  <a:cxn ang="0">
                    <a:pos x="17" y="56"/>
                  </a:cxn>
                  <a:cxn ang="0">
                    <a:pos x="14" y="56"/>
                  </a:cxn>
                  <a:cxn ang="0">
                    <a:pos x="12" y="58"/>
                  </a:cxn>
                  <a:cxn ang="0">
                    <a:pos x="10" y="60"/>
                  </a:cxn>
                  <a:cxn ang="0">
                    <a:pos x="5" y="56"/>
                  </a:cxn>
                  <a:cxn ang="0">
                    <a:pos x="2" y="51"/>
                  </a:cxn>
                  <a:cxn ang="0">
                    <a:pos x="0" y="41"/>
                  </a:cxn>
                  <a:cxn ang="0">
                    <a:pos x="4" y="36"/>
                  </a:cxn>
                </a:cxnLst>
                <a:rect l="0" t="0" r="r" b="b"/>
                <a:pathLst>
                  <a:path w="62" h="87">
                    <a:moveTo>
                      <a:pt x="4" y="36"/>
                    </a:moveTo>
                    <a:lnTo>
                      <a:pt x="5" y="29"/>
                    </a:lnTo>
                    <a:lnTo>
                      <a:pt x="7" y="24"/>
                    </a:lnTo>
                    <a:lnTo>
                      <a:pt x="5" y="15"/>
                    </a:lnTo>
                    <a:lnTo>
                      <a:pt x="5" y="8"/>
                    </a:lnTo>
                    <a:lnTo>
                      <a:pt x="5" y="1"/>
                    </a:lnTo>
                    <a:lnTo>
                      <a:pt x="10" y="0"/>
                    </a:lnTo>
                    <a:lnTo>
                      <a:pt x="14" y="3"/>
                    </a:lnTo>
                    <a:lnTo>
                      <a:pt x="17" y="8"/>
                    </a:lnTo>
                    <a:lnTo>
                      <a:pt x="21" y="5"/>
                    </a:lnTo>
                    <a:lnTo>
                      <a:pt x="24" y="3"/>
                    </a:lnTo>
                    <a:lnTo>
                      <a:pt x="24" y="5"/>
                    </a:lnTo>
                    <a:lnTo>
                      <a:pt x="26" y="7"/>
                    </a:lnTo>
                    <a:lnTo>
                      <a:pt x="26" y="8"/>
                    </a:lnTo>
                    <a:lnTo>
                      <a:pt x="28" y="19"/>
                    </a:lnTo>
                    <a:lnTo>
                      <a:pt x="31" y="29"/>
                    </a:lnTo>
                    <a:lnTo>
                      <a:pt x="26" y="38"/>
                    </a:lnTo>
                    <a:lnTo>
                      <a:pt x="22" y="48"/>
                    </a:lnTo>
                    <a:lnTo>
                      <a:pt x="26" y="60"/>
                    </a:lnTo>
                    <a:lnTo>
                      <a:pt x="34" y="68"/>
                    </a:lnTo>
                    <a:lnTo>
                      <a:pt x="34" y="67"/>
                    </a:lnTo>
                    <a:lnTo>
                      <a:pt x="34" y="63"/>
                    </a:lnTo>
                    <a:lnTo>
                      <a:pt x="40" y="63"/>
                    </a:lnTo>
                    <a:lnTo>
                      <a:pt x="45" y="68"/>
                    </a:lnTo>
                    <a:lnTo>
                      <a:pt x="48" y="74"/>
                    </a:lnTo>
                    <a:lnTo>
                      <a:pt x="50" y="72"/>
                    </a:lnTo>
                    <a:lnTo>
                      <a:pt x="53" y="70"/>
                    </a:lnTo>
                    <a:lnTo>
                      <a:pt x="55" y="72"/>
                    </a:lnTo>
                    <a:lnTo>
                      <a:pt x="53" y="74"/>
                    </a:lnTo>
                    <a:lnTo>
                      <a:pt x="53" y="77"/>
                    </a:lnTo>
                    <a:lnTo>
                      <a:pt x="57" y="77"/>
                    </a:lnTo>
                    <a:lnTo>
                      <a:pt x="57" y="80"/>
                    </a:lnTo>
                    <a:lnTo>
                      <a:pt x="62" y="82"/>
                    </a:lnTo>
                    <a:lnTo>
                      <a:pt x="62" y="84"/>
                    </a:lnTo>
                    <a:lnTo>
                      <a:pt x="62" y="86"/>
                    </a:lnTo>
                    <a:lnTo>
                      <a:pt x="60" y="86"/>
                    </a:lnTo>
                    <a:lnTo>
                      <a:pt x="60" y="87"/>
                    </a:lnTo>
                    <a:lnTo>
                      <a:pt x="59" y="86"/>
                    </a:lnTo>
                    <a:lnTo>
                      <a:pt x="59" y="84"/>
                    </a:lnTo>
                    <a:lnTo>
                      <a:pt x="50" y="77"/>
                    </a:lnTo>
                    <a:lnTo>
                      <a:pt x="41" y="72"/>
                    </a:lnTo>
                    <a:lnTo>
                      <a:pt x="40" y="74"/>
                    </a:lnTo>
                    <a:lnTo>
                      <a:pt x="41" y="79"/>
                    </a:lnTo>
                    <a:lnTo>
                      <a:pt x="34" y="74"/>
                    </a:lnTo>
                    <a:lnTo>
                      <a:pt x="29" y="70"/>
                    </a:lnTo>
                    <a:lnTo>
                      <a:pt x="24" y="70"/>
                    </a:lnTo>
                    <a:lnTo>
                      <a:pt x="21" y="72"/>
                    </a:lnTo>
                    <a:lnTo>
                      <a:pt x="16" y="68"/>
                    </a:lnTo>
                    <a:lnTo>
                      <a:pt x="14" y="65"/>
                    </a:lnTo>
                    <a:lnTo>
                      <a:pt x="14" y="62"/>
                    </a:lnTo>
                    <a:lnTo>
                      <a:pt x="17" y="62"/>
                    </a:lnTo>
                    <a:lnTo>
                      <a:pt x="17" y="56"/>
                    </a:lnTo>
                    <a:lnTo>
                      <a:pt x="14" y="56"/>
                    </a:lnTo>
                    <a:lnTo>
                      <a:pt x="12" y="58"/>
                    </a:lnTo>
                    <a:lnTo>
                      <a:pt x="10" y="60"/>
                    </a:lnTo>
                    <a:lnTo>
                      <a:pt x="5" y="56"/>
                    </a:lnTo>
                    <a:lnTo>
                      <a:pt x="2" y="51"/>
                    </a:lnTo>
                    <a:lnTo>
                      <a:pt x="0" y="41"/>
                    </a:lnTo>
                    <a:lnTo>
                      <a:pt x="4"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87" name="Freeform 231"/>
              <p:cNvSpPr>
                <a:spLocks/>
              </p:cNvSpPr>
              <p:nvPr/>
            </p:nvSpPr>
            <p:spPr bwMode="auto">
              <a:xfrm>
                <a:off x="7155657" y="3729038"/>
                <a:ext cx="31750" cy="53975"/>
              </a:xfrm>
              <a:custGeom>
                <a:avLst/>
                <a:gdLst/>
                <a:ahLst/>
                <a:cxnLst>
                  <a:cxn ang="0">
                    <a:pos x="19" y="22"/>
                  </a:cxn>
                  <a:cxn ang="0">
                    <a:pos x="12" y="22"/>
                  </a:cxn>
                  <a:cxn ang="0">
                    <a:pos x="12" y="28"/>
                  </a:cxn>
                  <a:cxn ang="0">
                    <a:pos x="15" y="33"/>
                  </a:cxn>
                  <a:cxn ang="0">
                    <a:pos x="15" y="34"/>
                  </a:cxn>
                  <a:cxn ang="0">
                    <a:pos x="13" y="34"/>
                  </a:cxn>
                  <a:cxn ang="0">
                    <a:pos x="12" y="34"/>
                  </a:cxn>
                  <a:cxn ang="0">
                    <a:pos x="8" y="31"/>
                  </a:cxn>
                  <a:cxn ang="0">
                    <a:pos x="10" y="29"/>
                  </a:cxn>
                  <a:cxn ang="0">
                    <a:pos x="10" y="26"/>
                  </a:cxn>
                  <a:cxn ang="0">
                    <a:pos x="5" y="22"/>
                  </a:cxn>
                  <a:cxn ang="0">
                    <a:pos x="3" y="21"/>
                  </a:cxn>
                  <a:cxn ang="0">
                    <a:pos x="3" y="17"/>
                  </a:cxn>
                  <a:cxn ang="0">
                    <a:pos x="5" y="17"/>
                  </a:cxn>
                  <a:cxn ang="0">
                    <a:pos x="8" y="17"/>
                  </a:cxn>
                  <a:cxn ang="0">
                    <a:pos x="10" y="16"/>
                  </a:cxn>
                  <a:cxn ang="0">
                    <a:pos x="12" y="16"/>
                  </a:cxn>
                  <a:cxn ang="0">
                    <a:pos x="5" y="7"/>
                  </a:cxn>
                  <a:cxn ang="0">
                    <a:pos x="0" y="2"/>
                  </a:cxn>
                  <a:cxn ang="0">
                    <a:pos x="1" y="0"/>
                  </a:cxn>
                  <a:cxn ang="0">
                    <a:pos x="5" y="0"/>
                  </a:cxn>
                  <a:cxn ang="0">
                    <a:pos x="10" y="0"/>
                  </a:cxn>
                  <a:cxn ang="0">
                    <a:pos x="15" y="2"/>
                  </a:cxn>
                  <a:cxn ang="0">
                    <a:pos x="15" y="4"/>
                  </a:cxn>
                  <a:cxn ang="0">
                    <a:pos x="15" y="7"/>
                  </a:cxn>
                  <a:cxn ang="0">
                    <a:pos x="17" y="7"/>
                  </a:cxn>
                  <a:cxn ang="0">
                    <a:pos x="17" y="10"/>
                  </a:cxn>
                  <a:cxn ang="0">
                    <a:pos x="17" y="14"/>
                  </a:cxn>
                  <a:cxn ang="0">
                    <a:pos x="19" y="16"/>
                  </a:cxn>
                  <a:cxn ang="0">
                    <a:pos x="20" y="17"/>
                  </a:cxn>
                  <a:cxn ang="0">
                    <a:pos x="19" y="19"/>
                  </a:cxn>
                  <a:cxn ang="0">
                    <a:pos x="19" y="22"/>
                  </a:cxn>
                </a:cxnLst>
                <a:rect l="0" t="0" r="r" b="b"/>
                <a:pathLst>
                  <a:path w="20" h="34">
                    <a:moveTo>
                      <a:pt x="19" y="22"/>
                    </a:moveTo>
                    <a:lnTo>
                      <a:pt x="12" y="22"/>
                    </a:lnTo>
                    <a:lnTo>
                      <a:pt x="12" y="28"/>
                    </a:lnTo>
                    <a:lnTo>
                      <a:pt x="15" y="33"/>
                    </a:lnTo>
                    <a:lnTo>
                      <a:pt x="15" y="34"/>
                    </a:lnTo>
                    <a:lnTo>
                      <a:pt x="13" y="34"/>
                    </a:lnTo>
                    <a:lnTo>
                      <a:pt x="12" y="34"/>
                    </a:lnTo>
                    <a:lnTo>
                      <a:pt x="8" y="31"/>
                    </a:lnTo>
                    <a:lnTo>
                      <a:pt x="10" y="29"/>
                    </a:lnTo>
                    <a:lnTo>
                      <a:pt x="10" y="26"/>
                    </a:lnTo>
                    <a:lnTo>
                      <a:pt x="5" y="22"/>
                    </a:lnTo>
                    <a:lnTo>
                      <a:pt x="3" y="21"/>
                    </a:lnTo>
                    <a:lnTo>
                      <a:pt x="3" y="17"/>
                    </a:lnTo>
                    <a:lnTo>
                      <a:pt x="5" y="17"/>
                    </a:lnTo>
                    <a:lnTo>
                      <a:pt x="8" y="17"/>
                    </a:lnTo>
                    <a:lnTo>
                      <a:pt x="10" y="16"/>
                    </a:lnTo>
                    <a:lnTo>
                      <a:pt x="12" y="16"/>
                    </a:lnTo>
                    <a:lnTo>
                      <a:pt x="5" y="7"/>
                    </a:lnTo>
                    <a:lnTo>
                      <a:pt x="0" y="2"/>
                    </a:lnTo>
                    <a:lnTo>
                      <a:pt x="1" y="0"/>
                    </a:lnTo>
                    <a:lnTo>
                      <a:pt x="5" y="0"/>
                    </a:lnTo>
                    <a:lnTo>
                      <a:pt x="10" y="0"/>
                    </a:lnTo>
                    <a:lnTo>
                      <a:pt x="15" y="2"/>
                    </a:lnTo>
                    <a:lnTo>
                      <a:pt x="15" y="4"/>
                    </a:lnTo>
                    <a:lnTo>
                      <a:pt x="15" y="7"/>
                    </a:lnTo>
                    <a:lnTo>
                      <a:pt x="17" y="7"/>
                    </a:lnTo>
                    <a:lnTo>
                      <a:pt x="17" y="10"/>
                    </a:lnTo>
                    <a:lnTo>
                      <a:pt x="17" y="14"/>
                    </a:lnTo>
                    <a:lnTo>
                      <a:pt x="19" y="16"/>
                    </a:lnTo>
                    <a:lnTo>
                      <a:pt x="20" y="17"/>
                    </a:lnTo>
                    <a:lnTo>
                      <a:pt x="19" y="19"/>
                    </a:lnTo>
                    <a:lnTo>
                      <a:pt x="19"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88" name="Freeform 232"/>
              <p:cNvSpPr>
                <a:spLocks/>
              </p:cNvSpPr>
              <p:nvPr/>
            </p:nvSpPr>
            <p:spPr bwMode="auto">
              <a:xfrm>
                <a:off x="7108032" y="3743325"/>
                <a:ext cx="25400" cy="34925"/>
              </a:xfrm>
              <a:custGeom>
                <a:avLst/>
                <a:gdLst/>
                <a:ahLst/>
                <a:cxnLst>
                  <a:cxn ang="0">
                    <a:pos x="4" y="1"/>
                  </a:cxn>
                  <a:cxn ang="0">
                    <a:pos x="9" y="3"/>
                  </a:cxn>
                  <a:cxn ang="0">
                    <a:pos x="16" y="8"/>
                  </a:cxn>
                  <a:cxn ang="0">
                    <a:pos x="9" y="17"/>
                  </a:cxn>
                  <a:cxn ang="0">
                    <a:pos x="2" y="22"/>
                  </a:cxn>
                  <a:cxn ang="0">
                    <a:pos x="0" y="10"/>
                  </a:cxn>
                  <a:cxn ang="0">
                    <a:pos x="0" y="3"/>
                  </a:cxn>
                  <a:cxn ang="0">
                    <a:pos x="0" y="0"/>
                  </a:cxn>
                  <a:cxn ang="0">
                    <a:pos x="2" y="0"/>
                  </a:cxn>
                  <a:cxn ang="0">
                    <a:pos x="4" y="0"/>
                  </a:cxn>
                  <a:cxn ang="0">
                    <a:pos x="6" y="3"/>
                  </a:cxn>
                  <a:cxn ang="0">
                    <a:pos x="4" y="1"/>
                  </a:cxn>
                </a:cxnLst>
                <a:rect l="0" t="0" r="r" b="b"/>
                <a:pathLst>
                  <a:path w="16" h="22">
                    <a:moveTo>
                      <a:pt x="4" y="1"/>
                    </a:moveTo>
                    <a:lnTo>
                      <a:pt x="9" y="3"/>
                    </a:lnTo>
                    <a:lnTo>
                      <a:pt x="16" y="8"/>
                    </a:lnTo>
                    <a:lnTo>
                      <a:pt x="9" y="17"/>
                    </a:lnTo>
                    <a:lnTo>
                      <a:pt x="2" y="22"/>
                    </a:lnTo>
                    <a:lnTo>
                      <a:pt x="0" y="10"/>
                    </a:lnTo>
                    <a:lnTo>
                      <a:pt x="0" y="3"/>
                    </a:lnTo>
                    <a:lnTo>
                      <a:pt x="0" y="0"/>
                    </a:lnTo>
                    <a:lnTo>
                      <a:pt x="2" y="0"/>
                    </a:lnTo>
                    <a:lnTo>
                      <a:pt x="4" y="0"/>
                    </a:lnTo>
                    <a:lnTo>
                      <a:pt x="6" y="3"/>
                    </a:lnTo>
                    <a:lnTo>
                      <a:pt x="4"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89" name="Freeform 233"/>
              <p:cNvSpPr>
                <a:spLocks/>
              </p:cNvSpPr>
              <p:nvPr/>
            </p:nvSpPr>
            <p:spPr bwMode="auto">
              <a:xfrm>
                <a:off x="7122319" y="3767138"/>
                <a:ext cx="26988" cy="41275"/>
              </a:xfrm>
              <a:custGeom>
                <a:avLst/>
                <a:gdLst/>
                <a:ahLst/>
                <a:cxnLst>
                  <a:cxn ang="0">
                    <a:pos x="17" y="5"/>
                  </a:cxn>
                  <a:cxn ang="0">
                    <a:pos x="14" y="12"/>
                  </a:cxn>
                  <a:cxn ang="0">
                    <a:pos x="12" y="19"/>
                  </a:cxn>
                  <a:cxn ang="0">
                    <a:pos x="12" y="21"/>
                  </a:cxn>
                  <a:cxn ang="0">
                    <a:pos x="14" y="24"/>
                  </a:cxn>
                  <a:cxn ang="0">
                    <a:pos x="12" y="24"/>
                  </a:cxn>
                  <a:cxn ang="0">
                    <a:pos x="10" y="26"/>
                  </a:cxn>
                  <a:cxn ang="0">
                    <a:pos x="4" y="21"/>
                  </a:cxn>
                  <a:cxn ang="0">
                    <a:pos x="0" y="16"/>
                  </a:cxn>
                  <a:cxn ang="0">
                    <a:pos x="2" y="12"/>
                  </a:cxn>
                  <a:cxn ang="0">
                    <a:pos x="5" y="12"/>
                  </a:cxn>
                  <a:cxn ang="0">
                    <a:pos x="5" y="5"/>
                  </a:cxn>
                  <a:cxn ang="0">
                    <a:pos x="10" y="0"/>
                  </a:cxn>
                  <a:cxn ang="0">
                    <a:pos x="14" y="0"/>
                  </a:cxn>
                  <a:cxn ang="0">
                    <a:pos x="17" y="5"/>
                  </a:cxn>
                </a:cxnLst>
                <a:rect l="0" t="0" r="r" b="b"/>
                <a:pathLst>
                  <a:path w="17" h="26">
                    <a:moveTo>
                      <a:pt x="17" y="5"/>
                    </a:moveTo>
                    <a:lnTo>
                      <a:pt x="14" y="12"/>
                    </a:lnTo>
                    <a:lnTo>
                      <a:pt x="12" y="19"/>
                    </a:lnTo>
                    <a:lnTo>
                      <a:pt x="12" y="21"/>
                    </a:lnTo>
                    <a:lnTo>
                      <a:pt x="14" y="24"/>
                    </a:lnTo>
                    <a:lnTo>
                      <a:pt x="12" y="24"/>
                    </a:lnTo>
                    <a:lnTo>
                      <a:pt x="10" y="26"/>
                    </a:lnTo>
                    <a:lnTo>
                      <a:pt x="4" y="21"/>
                    </a:lnTo>
                    <a:lnTo>
                      <a:pt x="0" y="16"/>
                    </a:lnTo>
                    <a:lnTo>
                      <a:pt x="2" y="12"/>
                    </a:lnTo>
                    <a:lnTo>
                      <a:pt x="5" y="12"/>
                    </a:lnTo>
                    <a:lnTo>
                      <a:pt x="5" y="5"/>
                    </a:lnTo>
                    <a:lnTo>
                      <a:pt x="10" y="0"/>
                    </a:lnTo>
                    <a:lnTo>
                      <a:pt x="14" y="0"/>
                    </a:lnTo>
                    <a:lnTo>
                      <a:pt x="1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90" name="Freeform 234"/>
              <p:cNvSpPr>
                <a:spLocks/>
              </p:cNvSpPr>
              <p:nvPr/>
            </p:nvSpPr>
            <p:spPr bwMode="auto">
              <a:xfrm>
                <a:off x="7144544" y="3767138"/>
                <a:ext cx="12700" cy="26987"/>
              </a:xfrm>
              <a:custGeom>
                <a:avLst/>
                <a:gdLst/>
                <a:ahLst/>
                <a:cxnLst>
                  <a:cxn ang="0">
                    <a:pos x="8" y="0"/>
                  </a:cxn>
                  <a:cxn ang="0">
                    <a:pos x="5" y="9"/>
                  </a:cxn>
                  <a:cxn ang="0">
                    <a:pos x="3" y="17"/>
                  </a:cxn>
                  <a:cxn ang="0">
                    <a:pos x="0" y="17"/>
                  </a:cxn>
                  <a:cxn ang="0">
                    <a:pos x="2" y="9"/>
                  </a:cxn>
                  <a:cxn ang="0">
                    <a:pos x="5" y="0"/>
                  </a:cxn>
                  <a:cxn ang="0">
                    <a:pos x="7" y="0"/>
                  </a:cxn>
                  <a:cxn ang="0">
                    <a:pos x="8" y="0"/>
                  </a:cxn>
                </a:cxnLst>
                <a:rect l="0" t="0" r="r" b="b"/>
                <a:pathLst>
                  <a:path w="8" h="17">
                    <a:moveTo>
                      <a:pt x="8" y="0"/>
                    </a:moveTo>
                    <a:lnTo>
                      <a:pt x="5" y="9"/>
                    </a:lnTo>
                    <a:lnTo>
                      <a:pt x="3" y="17"/>
                    </a:lnTo>
                    <a:lnTo>
                      <a:pt x="0" y="17"/>
                    </a:lnTo>
                    <a:lnTo>
                      <a:pt x="2" y="9"/>
                    </a:lnTo>
                    <a:lnTo>
                      <a:pt x="5" y="0"/>
                    </a:lnTo>
                    <a:lnTo>
                      <a:pt x="7" y="0"/>
                    </a:lnTo>
                    <a:lnTo>
                      <a:pt x="8"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91" name="Freeform 235"/>
              <p:cNvSpPr>
                <a:spLocks/>
              </p:cNvSpPr>
              <p:nvPr/>
            </p:nvSpPr>
            <p:spPr bwMode="auto">
              <a:xfrm>
                <a:off x="7152482" y="3786188"/>
                <a:ext cx="15875" cy="14287"/>
              </a:xfrm>
              <a:custGeom>
                <a:avLst/>
                <a:gdLst/>
                <a:ahLst/>
                <a:cxnLst>
                  <a:cxn ang="0">
                    <a:pos x="10" y="0"/>
                  </a:cxn>
                  <a:cxn ang="0">
                    <a:pos x="7" y="5"/>
                  </a:cxn>
                  <a:cxn ang="0">
                    <a:pos x="2" y="9"/>
                  </a:cxn>
                  <a:cxn ang="0">
                    <a:pos x="0" y="7"/>
                  </a:cxn>
                  <a:cxn ang="0">
                    <a:pos x="0" y="5"/>
                  </a:cxn>
                  <a:cxn ang="0">
                    <a:pos x="0" y="2"/>
                  </a:cxn>
                  <a:cxn ang="0">
                    <a:pos x="3" y="0"/>
                  </a:cxn>
                  <a:cxn ang="0">
                    <a:pos x="7" y="0"/>
                  </a:cxn>
                  <a:cxn ang="0">
                    <a:pos x="10" y="0"/>
                  </a:cxn>
                </a:cxnLst>
                <a:rect l="0" t="0" r="r" b="b"/>
                <a:pathLst>
                  <a:path w="10" h="9">
                    <a:moveTo>
                      <a:pt x="10" y="0"/>
                    </a:moveTo>
                    <a:lnTo>
                      <a:pt x="7" y="5"/>
                    </a:lnTo>
                    <a:lnTo>
                      <a:pt x="2" y="9"/>
                    </a:lnTo>
                    <a:lnTo>
                      <a:pt x="0" y="7"/>
                    </a:lnTo>
                    <a:lnTo>
                      <a:pt x="0" y="5"/>
                    </a:lnTo>
                    <a:lnTo>
                      <a:pt x="0" y="2"/>
                    </a:lnTo>
                    <a:lnTo>
                      <a:pt x="3" y="0"/>
                    </a:lnTo>
                    <a:lnTo>
                      <a:pt x="7"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92" name="Freeform 236"/>
              <p:cNvSpPr>
                <a:spLocks/>
              </p:cNvSpPr>
              <p:nvPr/>
            </p:nvSpPr>
            <p:spPr bwMode="auto">
              <a:xfrm>
                <a:off x="7133432" y="3729038"/>
                <a:ext cx="19050" cy="15875"/>
              </a:xfrm>
              <a:custGeom>
                <a:avLst/>
                <a:gdLst/>
                <a:ahLst/>
                <a:cxnLst>
                  <a:cxn ang="0">
                    <a:pos x="0" y="7"/>
                  </a:cxn>
                  <a:cxn ang="0">
                    <a:pos x="0" y="2"/>
                  </a:cxn>
                  <a:cxn ang="0">
                    <a:pos x="0" y="0"/>
                  </a:cxn>
                  <a:cxn ang="0">
                    <a:pos x="5" y="0"/>
                  </a:cxn>
                  <a:cxn ang="0">
                    <a:pos x="9" y="4"/>
                  </a:cxn>
                  <a:cxn ang="0">
                    <a:pos x="12" y="10"/>
                  </a:cxn>
                  <a:cxn ang="0">
                    <a:pos x="9" y="10"/>
                  </a:cxn>
                  <a:cxn ang="0">
                    <a:pos x="7" y="7"/>
                  </a:cxn>
                  <a:cxn ang="0">
                    <a:pos x="3" y="5"/>
                  </a:cxn>
                  <a:cxn ang="0">
                    <a:pos x="0" y="7"/>
                  </a:cxn>
                </a:cxnLst>
                <a:rect l="0" t="0" r="r" b="b"/>
                <a:pathLst>
                  <a:path w="12" h="10">
                    <a:moveTo>
                      <a:pt x="0" y="7"/>
                    </a:moveTo>
                    <a:lnTo>
                      <a:pt x="0" y="2"/>
                    </a:lnTo>
                    <a:lnTo>
                      <a:pt x="0" y="0"/>
                    </a:lnTo>
                    <a:lnTo>
                      <a:pt x="5" y="0"/>
                    </a:lnTo>
                    <a:lnTo>
                      <a:pt x="9" y="4"/>
                    </a:lnTo>
                    <a:lnTo>
                      <a:pt x="12" y="10"/>
                    </a:lnTo>
                    <a:lnTo>
                      <a:pt x="9" y="10"/>
                    </a:lnTo>
                    <a:lnTo>
                      <a:pt x="7" y="7"/>
                    </a:lnTo>
                    <a:lnTo>
                      <a:pt x="3" y="5"/>
                    </a:lnTo>
                    <a:lnTo>
                      <a:pt x="0"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93" name="Freeform 237"/>
              <p:cNvSpPr>
                <a:spLocks/>
              </p:cNvSpPr>
              <p:nvPr/>
            </p:nvSpPr>
            <p:spPr bwMode="auto">
              <a:xfrm>
                <a:off x="7073107" y="3706813"/>
                <a:ext cx="25400" cy="28575"/>
              </a:xfrm>
              <a:custGeom>
                <a:avLst/>
                <a:gdLst/>
                <a:ahLst/>
                <a:cxnLst>
                  <a:cxn ang="0">
                    <a:pos x="12" y="18"/>
                  </a:cxn>
                  <a:cxn ang="0">
                    <a:pos x="9" y="14"/>
                  </a:cxn>
                  <a:cxn ang="0">
                    <a:pos x="5" y="9"/>
                  </a:cxn>
                  <a:cxn ang="0">
                    <a:pos x="0" y="2"/>
                  </a:cxn>
                  <a:cxn ang="0">
                    <a:pos x="0" y="0"/>
                  </a:cxn>
                  <a:cxn ang="0">
                    <a:pos x="4" y="0"/>
                  </a:cxn>
                  <a:cxn ang="0">
                    <a:pos x="12" y="2"/>
                  </a:cxn>
                  <a:cxn ang="0">
                    <a:pos x="16" y="9"/>
                  </a:cxn>
                  <a:cxn ang="0">
                    <a:pos x="16" y="14"/>
                  </a:cxn>
                  <a:cxn ang="0">
                    <a:pos x="12" y="18"/>
                  </a:cxn>
                </a:cxnLst>
                <a:rect l="0" t="0" r="r" b="b"/>
                <a:pathLst>
                  <a:path w="16" h="18">
                    <a:moveTo>
                      <a:pt x="12" y="18"/>
                    </a:moveTo>
                    <a:lnTo>
                      <a:pt x="9" y="14"/>
                    </a:lnTo>
                    <a:lnTo>
                      <a:pt x="5" y="9"/>
                    </a:lnTo>
                    <a:lnTo>
                      <a:pt x="0" y="2"/>
                    </a:lnTo>
                    <a:lnTo>
                      <a:pt x="0" y="0"/>
                    </a:lnTo>
                    <a:lnTo>
                      <a:pt x="4" y="0"/>
                    </a:lnTo>
                    <a:lnTo>
                      <a:pt x="12" y="2"/>
                    </a:lnTo>
                    <a:lnTo>
                      <a:pt x="16" y="9"/>
                    </a:lnTo>
                    <a:lnTo>
                      <a:pt x="16" y="14"/>
                    </a:lnTo>
                    <a:lnTo>
                      <a:pt x="12" y="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94" name="Freeform 238"/>
              <p:cNvSpPr>
                <a:spLocks/>
              </p:cNvSpPr>
              <p:nvPr/>
            </p:nvSpPr>
            <p:spPr bwMode="auto">
              <a:xfrm>
                <a:off x="7100094" y="3709988"/>
                <a:ext cx="7938" cy="3175"/>
              </a:xfrm>
              <a:custGeom>
                <a:avLst/>
                <a:gdLst/>
                <a:ahLst/>
                <a:cxnLst>
                  <a:cxn ang="0">
                    <a:pos x="0" y="0"/>
                  </a:cxn>
                  <a:cxn ang="0">
                    <a:pos x="2" y="0"/>
                  </a:cxn>
                  <a:cxn ang="0">
                    <a:pos x="5" y="2"/>
                  </a:cxn>
                  <a:cxn ang="0">
                    <a:pos x="2" y="0"/>
                  </a:cxn>
                  <a:cxn ang="0">
                    <a:pos x="0" y="0"/>
                  </a:cxn>
                </a:cxnLst>
                <a:rect l="0" t="0" r="r" b="b"/>
                <a:pathLst>
                  <a:path w="5" h="2">
                    <a:moveTo>
                      <a:pt x="0" y="0"/>
                    </a:moveTo>
                    <a:lnTo>
                      <a:pt x="2" y="0"/>
                    </a:lnTo>
                    <a:lnTo>
                      <a:pt x="5" y="2"/>
                    </a:lnTo>
                    <a:lnTo>
                      <a:pt x="2"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95" name="Freeform 239"/>
              <p:cNvSpPr>
                <a:spLocks/>
              </p:cNvSpPr>
              <p:nvPr/>
            </p:nvSpPr>
            <p:spPr bwMode="auto">
              <a:xfrm>
                <a:off x="7061994" y="3421063"/>
                <a:ext cx="36513" cy="69850"/>
              </a:xfrm>
              <a:custGeom>
                <a:avLst/>
                <a:gdLst/>
                <a:ahLst/>
                <a:cxnLst>
                  <a:cxn ang="0">
                    <a:pos x="9" y="44"/>
                  </a:cxn>
                  <a:cxn ang="0">
                    <a:pos x="0" y="39"/>
                  </a:cxn>
                  <a:cxn ang="0">
                    <a:pos x="0" y="29"/>
                  </a:cxn>
                  <a:cxn ang="0">
                    <a:pos x="0" y="19"/>
                  </a:cxn>
                  <a:cxn ang="0">
                    <a:pos x="5" y="10"/>
                  </a:cxn>
                  <a:cxn ang="0">
                    <a:pos x="11" y="2"/>
                  </a:cxn>
                  <a:cxn ang="0">
                    <a:pos x="17" y="0"/>
                  </a:cxn>
                  <a:cxn ang="0">
                    <a:pos x="23" y="5"/>
                  </a:cxn>
                  <a:cxn ang="0">
                    <a:pos x="21" y="22"/>
                  </a:cxn>
                  <a:cxn ang="0">
                    <a:pos x="16" y="36"/>
                  </a:cxn>
                  <a:cxn ang="0">
                    <a:pos x="9" y="44"/>
                  </a:cxn>
                </a:cxnLst>
                <a:rect l="0" t="0" r="r" b="b"/>
                <a:pathLst>
                  <a:path w="23" h="44">
                    <a:moveTo>
                      <a:pt x="9" y="44"/>
                    </a:moveTo>
                    <a:lnTo>
                      <a:pt x="0" y="39"/>
                    </a:lnTo>
                    <a:lnTo>
                      <a:pt x="0" y="29"/>
                    </a:lnTo>
                    <a:lnTo>
                      <a:pt x="0" y="19"/>
                    </a:lnTo>
                    <a:lnTo>
                      <a:pt x="5" y="10"/>
                    </a:lnTo>
                    <a:lnTo>
                      <a:pt x="11" y="2"/>
                    </a:lnTo>
                    <a:lnTo>
                      <a:pt x="17" y="0"/>
                    </a:lnTo>
                    <a:lnTo>
                      <a:pt x="23" y="5"/>
                    </a:lnTo>
                    <a:lnTo>
                      <a:pt x="21" y="22"/>
                    </a:lnTo>
                    <a:lnTo>
                      <a:pt x="16" y="36"/>
                    </a:lnTo>
                    <a:lnTo>
                      <a:pt x="9" y="4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96" name="Freeform 240"/>
              <p:cNvSpPr>
                <a:spLocks/>
              </p:cNvSpPr>
              <p:nvPr/>
            </p:nvSpPr>
            <p:spPr bwMode="auto">
              <a:xfrm>
                <a:off x="6796882" y="3543300"/>
                <a:ext cx="55563" cy="49212"/>
              </a:xfrm>
              <a:custGeom>
                <a:avLst/>
                <a:gdLst/>
                <a:ahLst/>
                <a:cxnLst>
                  <a:cxn ang="0">
                    <a:pos x="2" y="14"/>
                  </a:cxn>
                  <a:cxn ang="0">
                    <a:pos x="6" y="10"/>
                  </a:cxn>
                  <a:cxn ang="0">
                    <a:pos x="14" y="7"/>
                  </a:cxn>
                  <a:cxn ang="0">
                    <a:pos x="21" y="2"/>
                  </a:cxn>
                  <a:cxn ang="0">
                    <a:pos x="30" y="0"/>
                  </a:cxn>
                  <a:cxn ang="0">
                    <a:pos x="31" y="2"/>
                  </a:cxn>
                  <a:cxn ang="0">
                    <a:pos x="35" y="9"/>
                  </a:cxn>
                  <a:cxn ang="0">
                    <a:pos x="31" y="14"/>
                  </a:cxn>
                  <a:cxn ang="0">
                    <a:pos x="26" y="23"/>
                  </a:cxn>
                  <a:cxn ang="0">
                    <a:pos x="18" y="28"/>
                  </a:cxn>
                  <a:cxn ang="0">
                    <a:pos x="12" y="31"/>
                  </a:cxn>
                  <a:cxn ang="0">
                    <a:pos x="4" y="28"/>
                  </a:cxn>
                  <a:cxn ang="0">
                    <a:pos x="2" y="21"/>
                  </a:cxn>
                  <a:cxn ang="0">
                    <a:pos x="0" y="16"/>
                  </a:cxn>
                  <a:cxn ang="0">
                    <a:pos x="2" y="14"/>
                  </a:cxn>
                </a:cxnLst>
                <a:rect l="0" t="0" r="r" b="b"/>
                <a:pathLst>
                  <a:path w="35" h="31">
                    <a:moveTo>
                      <a:pt x="2" y="14"/>
                    </a:moveTo>
                    <a:lnTo>
                      <a:pt x="6" y="10"/>
                    </a:lnTo>
                    <a:lnTo>
                      <a:pt x="14" y="7"/>
                    </a:lnTo>
                    <a:lnTo>
                      <a:pt x="21" y="2"/>
                    </a:lnTo>
                    <a:lnTo>
                      <a:pt x="30" y="0"/>
                    </a:lnTo>
                    <a:lnTo>
                      <a:pt x="31" y="2"/>
                    </a:lnTo>
                    <a:lnTo>
                      <a:pt x="35" y="9"/>
                    </a:lnTo>
                    <a:lnTo>
                      <a:pt x="31" y="14"/>
                    </a:lnTo>
                    <a:lnTo>
                      <a:pt x="26" y="23"/>
                    </a:lnTo>
                    <a:lnTo>
                      <a:pt x="18" y="28"/>
                    </a:lnTo>
                    <a:lnTo>
                      <a:pt x="12" y="31"/>
                    </a:lnTo>
                    <a:lnTo>
                      <a:pt x="4" y="28"/>
                    </a:lnTo>
                    <a:lnTo>
                      <a:pt x="2" y="21"/>
                    </a:lnTo>
                    <a:lnTo>
                      <a:pt x="0" y="16"/>
                    </a:lnTo>
                    <a:lnTo>
                      <a:pt x="2"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97" name="Freeform 241"/>
              <p:cNvSpPr>
                <a:spLocks/>
              </p:cNvSpPr>
              <p:nvPr/>
            </p:nvSpPr>
            <p:spPr bwMode="auto">
              <a:xfrm>
                <a:off x="6549232" y="3467100"/>
                <a:ext cx="266700" cy="515937"/>
              </a:xfrm>
              <a:custGeom>
                <a:avLst/>
                <a:gdLst/>
                <a:ahLst/>
                <a:cxnLst>
                  <a:cxn ang="0">
                    <a:pos x="24" y="175"/>
                  </a:cxn>
                  <a:cxn ang="0">
                    <a:pos x="27" y="162"/>
                  </a:cxn>
                  <a:cxn ang="0">
                    <a:pos x="19" y="138"/>
                  </a:cxn>
                  <a:cxn ang="0">
                    <a:pos x="8" y="124"/>
                  </a:cxn>
                  <a:cxn ang="0">
                    <a:pos x="12" y="117"/>
                  </a:cxn>
                  <a:cxn ang="0">
                    <a:pos x="10" y="89"/>
                  </a:cxn>
                  <a:cxn ang="0">
                    <a:pos x="2" y="62"/>
                  </a:cxn>
                  <a:cxn ang="0">
                    <a:pos x="22" y="50"/>
                  </a:cxn>
                  <a:cxn ang="0">
                    <a:pos x="43" y="31"/>
                  </a:cxn>
                  <a:cxn ang="0">
                    <a:pos x="55" y="26"/>
                  </a:cxn>
                  <a:cxn ang="0">
                    <a:pos x="60" y="24"/>
                  </a:cxn>
                  <a:cxn ang="0">
                    <a:pos x="65" y="9"/>
                  </a:cxn>
                  <a:cxn ang="0">
                    <a:pos x="100" y="3"/>
                  </a:cxn>
                  <a:cxn ang="0">
                    <a:pos x="132" y="7"/>
                  </a:cxn>
                  <a:cxn ang="0">
                    <a:pos x="139" y="34"/>
                  </a:cxn>
                  <a:cxn ang="0">
                    <a:pos x="115" y="67"/>
                  </a:cxn>
                  <a:cxn ang="0">
                    <a:pos x="125" y="83"/>
                  </a:cxn>
                  <a:cxn ang="0">
                    <a:pos x="150" y="107"/>
                  </a:cxn>
                  <a:cxn ang="0">
                    <a:pos x="167" y="141"/>
                  </a:cxn>
                  <a:cxn ang="0">
                    <a:pos x="163" y="181"/>
                  </a:cxn>
                  <a:cxn ang="0">
                    <a:pos x="139" y="191"/>
                  </a:cxn>
                  <a:cxn ang="0">
                    <a:pos x="120" y="206"/>
                  </a:cxn>
                  <a:cxn ang="0">
                    <a:pos x="119" y="206"/>
                  </a:cxn>
                  <a:cxn ang="0">
                    <a:pos x="107" y="220"/>
                  </a:cxn>
                  <a:cxn ang="0">
                    <a:pos x="103" y="205"/>
                  </a:cxn>
                  <a:cxn ang="0">
                    <a:pos x="101" y="196"/>
                  </a:cxn>
                  <a:cxn ang="0">
                    <a:pos x="76" y="181"/>
                  </a:cxn>
                  <a:cxn ang="0">
                    <a:pos x="50" y="162"/>
                  </a:cxn>
                  <a:cxn ang="0">
                    <a:pos x="41" y="150"/>
                  </a:cxn>
                  <a:cxn ang="0">
                    <a:pos x="31" y="155"/>
                  </a:cxn>
                  <a:cxn ang="0">
                    <a:pos x="29" y="172"/>
                  </a:cxn>
                  <a:cxn ang="0">
                    <a:pos x="19" y="198"/>
                  </a:cxn>
                  <a:cxn ang="0">
                    <a:pos x="33" y="213"/>
                  </a:cxn>
                  <a:cxn ang="0">
                    <a:pos x="36" y="229"/>
                  </a:cxn>
                  <a:cxn ang="0">
                    <a:pos x="67" y="253"/>
                  </a:cxn>
                  <a:cxn ang="0">
                    <a:pos x="81" y="270"/>
                  </a:cxn>
                  <a:cxn ang="0">
                    <a:pos x="82" y="289"/>
                  </a:cxn>
                  <a:cxn ang="0">
                    <a:pos x="94" y="315"/>
                  </a:cxn>
                  <a:cxn ang="0">
                    <a:pos x="89" y="323"/>
                  </a:cxn>
                  <a:cxn ang="0">
                    <a:pos x="81" y="322"/>
                  </a:cxn>
                  <a:cxn ang="0">
                    <a:pos x="55" y="304"/>
                  </a:cxn>
                  <a:cxn ang="0">
                    <a:pos x="38" y="272"/>
                  </a:cxn>
                  <a:cxn ang="0">
                    <a:pos x="31" y="246"/>
                  </a:cxn>
                  <a:cxn ang="0">
                    <a:pos x="19" y="222"/>
                  </a:cxn>
                  <a:cxn ang="0">
                    <a:pos x="10" y="220"/>
                  </a:cxn>
                  <a:cxn ang="0">
                    <a:pos x="10" y="208"/>
                  </a:cxn>
                </a:cxnLst>
                <a:rect l="0" t="0" r="r" b="b"/>
                <a:pathLst>
                  <a:path w="168" h="325">
                    <a:moveTo>
                      <a:pt x="14" y="199"/>
                    </a:moveTo>
                    <a:lnTo>
                      <a:pt x="19" y="186"/>
                    </a:lnTo>
                    <a:lnTo>
                      <a:pt x="24" y="175"/>
                    </a:lnTo>
                    <a:lnTo>
                      <a:pt x="26" y="172"/>
                    </a:lnTo>
                    <a:lnTo>
                      <a:pt x="29" y="169"/>
                    </a:lnTo>
                    <a:lnTo>
                      <a:pt x="27" y="162"/>
                    </a:lnTo>
                    <a:lnTo>
                      <a:pt x="24" y="153"/>
                    </a:lnTo>
                    <a:lnTo>
                      <a:pt x="21" y="143"/>
                    </a:lnTo>
                    <a:lnTo>
                      <a:pt x="19" y="138"/>
                    </a:lnTo>
                    <a:lnTo>
                      <a:pt x="10" y="132"/>
                    </a:lnTo>
                    <a:lnTo>
                      <a:pt x="8" y="126"/>
                    </a:lnTo>
                    <a:lnTo>
                      <a:pt x="8" y="124"/>
                    </a:lnTo>
                    <a:lnTo>
                      <a:pt x="10" y="122"/>
                    </a:lnTo>
                    <a:lnTo>
                      <a:pt x="10" y="122"/>
                    </a:lnTo>
                    <a:lnTo>
                      <a:pt x="12" y="117"/>
                    </a:lnTo>
                    <a:lnTo>
                      <a:pt x="14" y="112"/>
                    </a:lnTo>
                    <a:lnTo>
                      <a:pt x="12" y="100"/>
                    </a:lnTo>
                    <a:lnTo>
                      <a:pt x="10" y="89"/>
                    </a:lnTo>
                    <a:lnTo>
                      <a:pt x="3" y="83"/>
                    </a:lnTo>
                    <a:lnTo>
                      <a:pt x="0" y="76"/>
                    </a:lnTo>
                    <a:lnTo>
                      <a:pt x="2" y="62"/>
                    </a:lnTo>
                    <a:lnTo>
                      <a:pt x="8" y="55"/>
                    </a:lnTo>
                    <a:lnTo>
                      <a:pt x="14" y="52"/>
                    </a:lnTo>
                    <a:lnTo>
                      <a:pt x="22" y="50"/>
                    </a:lnTo>
                    <a:lnTo>
                      <a:pt x="29" y="43"/>
                    </a:lnTo>
                    <a:lnTo>
                      <a:pt x="36" y="38"/>
                    </a:lnTo>
                    <a:lnTo>
                      <a:pt x="43" y="31"/>
                    </a:lnTo>
                    <a:lnTo>
                      <a:pt x="51" y="22"/>
                    </a:lnTo>
                    <a:lnTo>
                      <a:pt x="55" y="22"/>
                    </a:lnTo>
                    <a:lnTo>
                      <a:pt x="55" y="26"/>
                    </a:lnTo>
                    <a:lnTo>
                      <a:pt x="58" y="28"/>
                    </a:lnTo>
                    <a:lnTo>
                      <a:pt x="58" y="26"/>
                    </a:lnTo>
                    <a:lnTo>
                      <a:pt x="60" y="24"/>
                    </a:lnTo>
                    <a:lnTo>
                      <a:pt x="60" y="17"/>
                    </a:lnTo>
                    <a:lnTo>
                      <a:pt x="60" y="10"/>
                    </a:lnTo>
                    <a:lnTo>
                      <a:pt x="65" y="9"/>
                    </a:lnTo>
                    <a:lnTo>
                      <a:pt x="74" y="7"/>
                    </a:lnTo>
                    <a:lnTo>
                      <a:pt x="89" y="7"/>
                    </a:lnTo>
                    <a:lnTo>
                      <a:pt x="100" y="3"/>
                    </a:lnTo>
                    <a:lnTo>
                      <a:pt x="110" y="0"/>
                    </a:lnTo>
                    <a:lnTo>
                      <a:pt x="120" y="3"/>
                    </a:lnTo>
                    <a:lnTo>
                      <a:pt x="132" y="7"/>
                    </a:lnTo>
                    <a:lnTo>
                      <a:pt x="137" y="19"/>
                    </a:lnTo>
                    <a:lnTo>
                      <a:pt x="150" y="26"/>
                    </a:lnTo>
                    <a:lnTo>
                      <a:pt x="139" y="34"/>
                    </a:lnTo>
                    <a:lnTo>
                      <a:pt x="127" y="43"/>
                    </a:lnTo>
                    <a:lnTo>
                      <a:pt x="119" y="52"/>
                    </a:lnTo>
                    <a:lnTo>
                      <a:pt x="115" y="67"/>
                    </a:lnTo>
                    <a:lnTo>
                      <a:pt x="115" y="71"/>
                    </a:lnTo>
                    <a:lnTo>
                      <a:pt x="119" y="74"/>
                    </a:lnTo>
                    <a:lnTo>
                      <a:pt x="125" y="83"/>
                    </a:lnTo>
                    <a:lnTo>
                      <a:pt x="132" y="91"/>
                    </a:lnTo>
                    <a:lnTo>
                      <a:pt x="139" y="100"/>
                    </a:lnTo>
                    <a:lnTo>
                      <a:pt x="150" y="107"/>
                    </a:lnTo>
                    <a:lnTo>
                      <a:pt x="156" y="114"/>
                    </a:lnTo>
                    <a:lnTo>
                      <a:pt x="163" y="127"/>
                    </a:lnTo>
                    <a:lnTo>
                      <a:pt x="167" y="141"/>
                    </a:lnTo>
                    <a:lnTo>
                      <a:pt x="168" y="155"/>
                    </a:lnTo>
                    <a:lnTo>
                      <a:pt x="165" y="167"/>
                    </a:lnTo>
                    <a:lnTo>
                      <a:pt x="163" y="181"/>
                    </a:lnTo>
                    <a:lnTo>
                      <a:pt x="151" y="182"/>
                    </a:lnTo>
                    <a:lnTo>
                      <a:pt x="146" y="186"/>
                    </a:lnTo>
                    <a:lnTo>
                      <a:pt x="139" y="191"/>
                    </a:lnTo>
                    <a:lnTo>
                      <a:pt x="132" y="196"/>
                    </a:lnTo>
                    <a:lnTo>
                      <a:pt x="125" y="201"/>
                    </a:lnTo>
                    <a:lnTo>
                      <a:pt x="120" y="206"/>
                    </a:lnTo>
                    <a:lnTo>
                      <a:pt x="119" y="205"/>
                    </a:lnTo>
                    <a:lnTo>
                      <a:pt x="119" y="203"/>
                    </a:lnTo>
                    <a:lnTo>
                      <a:pt x="119" y="206"/>
                    </a:lnTo>
                    <a:lnTo>
                      <a:pt x="119" y="208"/>
                    </a:lnTo>
                    <a:lnTo>
                      <a:pt x="113" y="215"/>
                    </a:lnTo>
                    <a:lnTo>
                      <a:pt x="107" y="220"/>
                    </a:lnTo>
                    <a:lnTo>
                      <a:pt x="103" y="215"/>
                    </a:lnTo>
                    <a:lnTo>
                      <a:pt x="103" y="212"/>
                    </a:lnTo>
                    <a:lnTo>
                      <a:pt x="103" y="205"/>
                    </a:lnTo>
                    <a:lnTo>
                      <a:pt x="105" y="203"/>
                    </a:lnTo>
                    <a:lnTo>
                      <a:pt x="101" y="199"/>
                    </a:lnTo>
                    <a:lnTo>
                      <a:pt x="101" y="196"/>
                    </a:lnTo>
                    <a:lnTo>
                      <a:pt x="89" y="193"/>
                    </a:lnTo>
                    <a:lnTo>
                      <a:pt x="84" y="186"/>
                    </a:lnTo>
                    <a:lnTo>
                      <a:pt x="76" y="181"/>
                    </a:lnTo>
                    <a:lnTo>
                      <a:pt x="72" y="172"/>
                    </a:lnTo>
                    <a:lnTo>
                      <a:pt x="60" y="165"/>
                    </a:lnTo>
                    <a:lnTo>
                      <a:pt x="50" y="162"/>
                    </a:lnTo>
                    <a:lnTo>
                      <a:pt x="48" y="158"/>
                    </a:lnTo>
                    <a:lnTo>
                      <a:pt x="48" y="155"/>
                    </a:lnTo>
                    <a:lnTo>
                      <a:pt x="41" y="150"/>
                    </a:lnTo>
                    <a:lnTo>
                      <a:pt x="34" y="150"/>
                    </a:lnTo>
                    <a:lnTo>
                      <a:pt x="31" y="150"/>
                    </a:lnTo>
                    <a:lnTo>
                      <a:pt x="31" y="155"/>
                    </a:lnTo>
                    <a:lnTo>
                      <a:pt x="31" y="158"/>
                    </a:lnTo>
                    <a:lnTo>
                      <a:pt x="33" y="165"/>
                    </a:lnTo>
                    <a:lnTo>
                      <a:pt x="29" y="172"/>
                    </a:lnTo>
                    <a:lnTo>
                      <a:pt x="26" y="181"/>
                    </a:lnTo>
                    <a:lnTo>
                      <a:pt x="21" y="187"/>
                    </a:lnTo>
                    <a:lnTo>
                      <a:pt x="19" y="198"/>
                    </a:lnTo>
                    <a:lnTo>
                      <a:pt x="21" y="205"/>
                    </a:lnTo>
                    <a:lnTo>
                      <a:pt x="27" y="210"/>
                    </a:lnTo>
                    <a:lnTo>
                      <a:pt x="33" y="213"/>
                    </a:lnTo>
                    <a:lnTo>
                      <a:pt x="36" y="222"/>
                    </a:lnTo>
                    <a:lnTo>
                      <a:pt x="34" y="222"/>
                    </a:lnTo>
                    <a:lnTo>
                      <a:pt x="36" y="229"/>
                    </a:lnTo>
                    <a:lnTo>
                      <a:pt x="41" y="237"/>
                    </a:lnTo>
                    <a:lnTo>
                      <a:pt x="53" y="244"/>
                    </a:lnTo>
                    <a:lnTo>
                      <a:pt x="67" y="253"/>
                    </a:lnTo>
                    <a:lnTo>
                      <a:pt x="72" y="258"/>
                    </a:lnTo>
                    <a:lnTo>
                      <a:pt x="77" y="263"/>
                    </a:lnTo>
                    <a:lnTo>
                      <a:pt x="81" y="270"/>
                    </a:lnTo>
                    <a:lnTo>
                      <a:pt x="84" y="280"/>
                    </a:lnTo>
                    <a:lnTo>
                      <a:pt x="82" y="284"/>
                    </a:lnTo>
                    <a:lnTo>
                      <a:pt x="82" y="289"/>
                    </a:lnTo>
                    <a:lnTo>
                      <a:pt x="86" y="299"/>
                    </a:lnTo>
                    <a:lnTo>
                      <a:pt x="93" y="308"/>
                    </a:lnTo>
                    <a:lnTo>
                      <a:pt x="94" y="315"/>
                    </a:lnTo>
                    <a:lnTo>
                      <a:pt x="96" y="323"/>
                    </a:lnTo>
                    <a:lnTo>
                      <a:pt x="93" y="323"/>
                    </a:lnTo>
                    <a:lnTo>
                      <a:pt x="89" y="323"/>
                    </a:lnTo>
                    <a:lnTo>
                      <a:pt x="88" y="323"/>
                    </a:lnTo>
                    <a:lnTo>
                      <a:pt x="86" y="325"/>
                    </a:lnTo>
                    <a:lnTo>
                      <a:pt x="81" y="322"/>
                    </a:lnTo>
                    <a:lnTo>
                      <a:pt x="77" y="320"/>
                    </a:lnTo>
                    <a:lnTo>
                      <a:pt x="65" y="313"/>
                    </a:lnTo>
                    <a:lnTo>
                      <a:pt x="55" y="304"/>
                    </a:lnTo>
                    <a:lnTo>
                      <a:pt x="46" y="294"/>
                    </a:lnTo>
                    <a:lnTo>
                      <a:pt x="43" y="284"/>
                    </a:lnTo>
                    <a:lnTo>
                      <a:pt x="38" y="272"/>
                    </a:lnTo>
                    <a:lnTo>
                      <a:pt x="36" y="263"/>
                    </a:lnTo>
                    <a:lnTo>
                      <a:pt x="33" y="253"/>
                    </a:lnTo>
                    <a:lnTo>
                      <a:pt x="31" y="246"/>
                    </a:lnTo>
                    <a:lnTo>
                      <a:pt x="27" y="237"/>
                    </a:lnTo>
                    <a:lnTo>
                      <a:pt x="24" y="230"/>
                    </a:lnTo>
                    <a:lnTo>
                      <a:pt x="19" y="222"/>
                    </a:lnTo>
                    <a:lnTo>
                      <a:pt x="15" y="220"/>
                    </a:lnTo>
                    <a:lnTo>
                      <a:pt x="12" y="220"/>
                    </a:lnTo>
                    <a:lnTo>
                      <a:pt x="10" y="220"/>
                    </a:lnTo>
                    <a:lnTo>
                      <a:pt x="8" y="218"/>
                    </a:lnTo>
                    <a:lnTo>
                      <a:pt x="10" y="218"/>
                    </a:lnTo>
                    <a:lnTo>
                      <a:pt x="10" y="208"/>
                    </a:lnTo>
                    <a:lnTo>
                      <a:pt x="12" y="199"/>
                    </a:lnTo>
                    <a:lnTo>
                      <a:pt x="14" y="19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98" name="Freeform 242"/>
              <p:cNvSpPr>
                <a:spLocks/>
              </p:cNvSpPr>
              <p:nvPr/>
            </p:nvSpPr>
            <p:spPr bwMode="auto">
              <a:xfrm>
                <a:off x="6723857" y="4048125"/>
                <a:ext cx="34925" cy="36512"/>
              </a:xfrm>
              <a:custGeom>
                <a:avLst/>
                <a:gdLst/>
                <a:ahLst/>
                <a:cxnLst>
                  <a:cxn ang="0">
                    <a:pos x="14" y="19"/>
                  </a:cxn>
                  <a:cxn ang="0">
                    <a:pos x="10" y="16"/>
                  </a:cxn>
                  <a:cxn ang="0">
                    <a:pos x="9" y="12"/>
                  </a:cxn>
                  <a:cxn ang="0">
                    <a:pos x="3" y="9"/>
                  </a:cxn>
                  <a:cxn ang="0">
                    <a:pos x="0" y="7"/>
                  </a:cxn>
                  <a:cxn ang="0">
                    <a:pos x="3" y="2"/>
                  </a:cxn>
                  <a:cxn ang="0">
                    <a:pos x="10" y="0"/>
                  </a:cxn>
                  <a:cxn ang="0">
                    <a:pos x="14" y="11"/>
                  </a:cxn>
                  <a:cxn ang="0">
                    <a:pos x="22" y="17"/>
                  </a:cxn>
                  <a:cxn ang="0">
                    <a:pos x="22" y="19"/>
                  </a:cxn>
                  <a:cxn ang="0">
                    <a:pos x="22" y="23"/>
                  </a:cxn>
                  <a:cxn ang="0">
                    <a:pos x="21" y="23"/>
                  </a:cxn>
                  <a:cxn ang="0">
                    <a:pos x="19" y="23"/>
                  </a:cxn>
                  <a:cxn ang="0">
                    <a:pos x="15" y="21"/>
                  </a:cxn>
                  <a:cxn ang="0">
                    <a:pos x="14" y="19"/>
                  </a:cxn>
                </a:cxnLst>
                <a:rect l="0" t="0" r="r" b="b"/>
                <a:pathLst>
                  <a:path w="22" h="23">
                    <a:moveTo>
                      <a:pt x="14" y="19"/>
                    </a:moveTo>
                    <a:lnTo>
                      <a:pt x="10" y="16"/>
                    </a:lnTo>
                    <a:lnTo>
                      <a:pt x="9" y="12"/>
                    </a:lnTo>
                    <a:lnTo>
                      <a:pt x="3" y="9"/>
                    </a:lnTo>
                    <a:lnTo>
                      <a:pt x="0" y="7"/>
                    </a:lnTo>
                    <a:lnTo>
                      <a:pt x="3" y="2"/>
                    </a:lnTo>
                    <a:lnTo>
                      <a:pt x="10" y="0"/>
                    </a:lnTo>
                    <a:lnTo>
                      <a:pt x="14" y="11"/>
                    </a:lnTo>
                    <a:lnTo>
                      <a:pt x="22" y="17"/>
                    </a:lnTo>
                    <a:lnTo>
                      <a:pt x="22" y="19"/>
                    </a:lnTo>
                    <a:lnTo>
                      <a:pt x="22" y="23"/>
                    </a:lnTo>
                    <a:lnTo>
                      <a:pt x="21" y="23"/>
                    </a:lnTo>
                    <a:lnTo>
                      <a:pt x="19" y="23"/>
                    </a:lnTo>
                    <a:lnTo>
                      <a:pt x="15" y="21"/>
                    </a:lnTo>
                    <a:lnTo>
                      <a:pt x="14"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99" name="Freeform 243"/>
              <p:cNvSpPr>
                <a:spLocks/>
              </p:cNvSpPr>
              <p:nvPr/>
            </p:nvSpPr>
            <p:spPr bwMode="auto">
              <a:xfrm>
                <a:off x="6781007" y="4075113"/>
                <a:ext cx="15875" cy="14287"/>
              </a:xfrm>
              <a:custGeom>
                <a:avLst/>
                <a:gdLst/>
                <a:ahLst/>
                <a:cxnLst>
                  <a:cxn ang="0">
                    <a:pos x="0" y="0"/>
                  </a:cxn>
                  <a:cxn ang="0">
                    <a:pos x="2" y="0"/>
                  </a:cxn>
                  <a:cxn ang="0">
                    <a:pos x="5" y="0"/>
                  </a:cxn>
                  <a:cxn ang="0">
                    <a:pos x="7" y="0"/>
                  </a:cxn>
                  <a:cxn ang="0">
                    <a:pos x="10" y="2"/>
                  </a:cxn>
                  <a:cxn ang="0">
                    <a:pos x="7" y="6"/>
                  </a:cxn>
                  <a:cxn ang="0">
                    <a:pos x="4" y="9"/>
                  </a:cxn>
                  <a:cxn ang="0">
                    <a:pos x="0" y="6"/>
                  </a:cxn>
                  <a:cxn ang="0">
                    <a:pos x="0" y="2"/>
                  </a:cxn>
                  <a:cxn ang="0">
                    <a:pos x="0" y="0"/>
                  </a:cxn>
                </a:cxnLst>
                <a:rect l="0" t="0" r="r" b="b"/>
                <a:pathLst>
                  <a:path w="10" h="9">
                    <a:moveTo>
                      <a:pt x="0" y="0"/>
                    </a:moveTo>
                    <a:lnTo>
                      <a:pt x="2" y="0"/>
                    </a:lnTo>
                    <a:lnTo>
                      <a:pt x="5" y="0"/>
                    </a:lnTo>
                    <a:lnTo>
                      <a:pt x="7" y="0"/>
                    </a:lnTo>
                    <a:lnTo>
                      <a:pt x="10" y="2"/>
                    </a:lnTo>
                    <a:lnTo>
                      <a:pt x="7" y="6"/>
                    </a:lnTo>
                    <a:lnTo>
                      <a:pt x="4" y="9"/>
                    </a:lnTo>
                    <a:lnTo>
                      <a:pt x="0" y="6"/>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00" name="Freeform 244"/>
              <p:cNvSpPr>
                <a:spLocks/>
              </p:cNvSpPr>
              <p:nvPr/>
            </p:nvSpPr>
            <p:spPr bwMode="auto">
              <a:xfrm>
                <a:off x="6576219" y="4040188"/>
                <a:ext cx="14288" cy="22225"/>
              </a:xfrm>
              <a:custGeom>
                <a:avLst/>
                <a:gdLst/>
                <a:ahLst/>
                <a:cxnLst>
                  <a:cxn ang="0">
                    <a:pos x="2" y="0"/>
                  </a:cxn>
                  <a:cxn ang="0">
                    <a:pos x="7" y="5"/>
                  </a:cxn>
                  <a:cxn ang="0">
                    <a:pos x="9" y="14"/>
                  </a:cxn>
                  <a:cxn ang="0">
                    <a:pos x="4" y="9"/>
                  </a:cxn>
                  <a:cxn ang="0">
                    <a:pos x="0" y="2"/>
                  </a:cxn>
                  <a:cxn ang="0">
                    <a:pos x="0" y="0"/>
                  </a:cxn>
                  <a:cxn ang="0">
                    <a:pos x="4" y="0"/>
                  </a:cxn>
                  <a:cxn ang="0">
                    <a:pos x="4" y="2"/>
                  </a:cxn>
                  <a:cxn ang="0">
                    <a:pos x="2" y="0"/>
                  </a:cxn>
                </a:cxnLst>
                <a:rect l="0" t="0" r="r" b="b"/>
                <a:pathLst>
                  <a:path w="9" h="14">
                    <a:moveTo>
                      <a:pt x="2" y="0"/>
                    </a:moveTo>
                    <a:lnTo>
                      <a:pt x="7" y="5"/>
                    </a:lnTo>
                    <a:lnTo>
                      <a:pt x="9" y="14"/>
                    </a:lnTo>
                    <a:lnTo>
                      <a:pt x="4" y="9"/>
                    </a:lnTo>
                    <a:lnTo>
                      <a:pt x="0" y="2"/>
                    </a:lnTo>
                    <a:lnTo>
                      <a:pt x="0" y="0"/>
                    </a:lnTo>
                    <a:lnTo>
                      <a:pt x="4" y="0"/>
                    </a:lnTo>
                    <a:lnTo>
                      <a:pt x="4" y="2"/>
                    </a:lnTo>
                    <a:lnTo>
                      <a:pt x="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01" name="Freeform 245"/>
              <p:cNvSpPr>
                <a:spLocks/>
              </p:cNvSpPr>
              <p:nvPr/>
            </p:nvSpPr>
            <p:spPr bwMode="auto">
              <a:xfrm>
                <a:off x="6546057" y="3990975"/>
                <a:ext cx="15875" cy="19050"/>
              </a:xfrm>
              <a:custGeom>
                <a:avLst/>
                <a:gdLst/>
                <a:ahLst/>
                <a:cxnLst>
                  <a:cxn ang="0">
                    <a:pos x="4" y="0"/>
                  </a:cxn>
                  <a:cxn ang="0">
                    <a:pos x="9" y="5"/>
                  </a:cxn>
                  <a:cxn ang="0">
                    <a:pos x="10" y="12"/>
                  </a:cxn>
                  <a:cxn ang="0">
                    <a:pos x="5" y="7"/>
                  </a:cxn>
                  <a:cxn ang="0">
                    <a:pos x="2" y="0"/>
                  </a:cxn>
                  <a:cxn ang="0">
                    <a:pos x="0" y="0"/>
                  </a:cxn>
                  <a:cxn ang="0">
                    <a:pos x="4" y="0"/>
                  </a:cxn>
                </a:cxnLst>
                <a:rect l="0" t="0" r="r" b="b"/>
                <a:pathLst>
                  <a:path w="10" h="12">
                    <a:moveTo>
                      <a:pt x="4" y="0"/>
                    </a:moveTo>
                    <a:lnTo>
                      <a:pt x="9" y="5"/>
                    </a:lnTo>
                    <a:lnTo>
                      <a:pt x="10" y="12"/>
                    </a:lnTo>
                    <a:lnTo>
                      <a:pt x="5" y="7"/>
                    </a:lnTo>
                    <a:lnTo>
                      <a:pt x="2" y="0"/>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02" name="Freeform 246"/>
              <p:cNvSpPr>
                <a:spLocks/>
              </p:cNvSpPr>
              <p:nvPr/>
            </p:nvSpPr>
            <p:spPr bwMode="auto">
              <a:xfrm>
                <a:off x="7284244" y="3205163"/>
                <a:ext cx="50800" cy="68262"/>
              </a:xfrm>
              <a:custGeom>
                <a:avLst/>
                <a:gdLst/>
                <a:ahLst/>
                <a:cxnLst>
                  <a:cxn ang="0">
                    <a:pos x="12" y="26"/>
                  </a:cxn>
                  <a:cxn ang="0">
                    <a:pos x="15" y="17"/>
                  </a:cxn>
                  <a:cxn ang="0">
                    <a:pos x="10" y="14"/>
                  </a:cxn>
                  <a:cxn ang="0">
                    <a:pos x="10" y="12"/>
                  </a:cxn>
                  <a:cxn ang="0">
                    <a:pos x="10" y="14"/>
                  </a:cxn>
                  <a:cxn ang="0">
                    <a:pos x="10" y="15"/>
                  </a:cxn>
                  <a:cxn ang="0">
                    <a:pos x="6" y="15"/>
                  </a:cxn>
                  <a:cxn ang="0">
                    <a:pos x="5" y="17"/>
                  </a:cxn>
                  <a:cxn ang="0">
                    <a:pos x="0" y="15"/>
                  </a:cxn>
                  <a:cxn ang="0">
                    <a:pos x="0" y="12"/>
                  </a:cxn>
                  <a:cxn ang="0">
                    <a:pos x="1" y="7"/>
                  </a:cxn>
                  <a:cxn ang="0">
                    <a:pos x="6" y="3"/>
                  </a:cxn>
                  <a:cxn ang="0">
                    <a:pos x="10" y="0"/>
                  </a:cxn>
                  <a:cxn ang="0">
                    <a:pos x="15" y="0"/>
                  </a:cxn>
                  <a:cxn ang="0">
                    <a:pos x="20" y="2"/>
                  </a:cxn>
                  <a:cxn ang="0">
                    <a:pos x="27" y="3"/>
                  </a:cxn>
                  <a:cxn ang="0">
                    <a:pos x="27" y="5"/>
                  </a:cxn>
                  <a:cxn ang="0">
                    <a:pos x="29" y="9"/>
                  </a:cxn>
                  <a:cxn ang="0">
                    <a:pos x="32" y="14"/>
                  </a:cxn>
                  <a:cxn ang="0">
                    <a:pos x="32" y="15"/>
                  </a:cxn>
                  <a:cxn ang="0">
                    <a:pos x="32" y="17"/>
                  </a:cxn>
                  <a:cxn ang="0">
                    <a:pos x="31" y="17"/>
                  </a:cxn>
                  <a:cxn ang="0">
                    <a:pos x="29" y="17"/>
                  </a:cxn>
                  <a:cxn ang="0">
                    <a:pos x="25" y="24"/>
                  </a:cxn>
                  <a:cxn ang="0">
                    <a:pos x="24" y="33"/>
                  </a:cxn>
                  <a:cxn ang="0">
                    <a:pos x="18" y="39"/>
                  </a:cxn>
                  <a:cxn ang="0">
                    <a:pos x="15" y="43"/>
                  </a:cxn>
                  <a:cxn ang="0">
                    <a:pos x="15" y="39"/>
                  </a:cxn>
                  <a:cxn ang="0">
                    <a:pos x="15" y="38"/>
                  </a:cxn>
                  <a:cxn ang="0">
                    <a:pos x="15" y="41"/>
                  </a:cxn>
                  <a:cxn ang="0">
                    <a:pos x="8" y="36"/>
                  </a:cxn>
                  <a:cxn ang="0">
                    <a:pos x="6" y="33"/>
                  </a:cxn>
                  <a:cxn ang="0">
                    <a:pos x="8" y="29"/>
                  </a:cxn>
                  <a:cxn ang="0">
                    <a:pos x="12" y="26"/>
                  </a:cxn>
                </a:cxnLst>
                <a:rect l="0" t="0" r="r" b="b"/>
                <a:pathLst>
                  <a:path w="32" h="43">
                    <a:moveTo>
                      <a:pt x="12" y="26"/>
                    </a:moveTo>
                    <a:lnTo>
                      <a:pt x="15" y="17"/>
                    </a:lnTo>
                    <a:lnTo>
                      <a:pt x="10" y="14"/>
                    </a:lnTo>
                    <a:lnTo>
                      <a:pt x="10" y="12"/>
                    </a:lnTo>
                    <a:lnTo>
                      <a:pt x="10" y="14"/>
                    </a:lnTo>
                    <a:lnTo>
                      <a:pt x="10" y="15"/>
                    </a:lnTo>
                    <a:lnTo>
                      <a:pt x="6" y="15"/>
                    </a:lnTo>
                    <a:lnTo>
                      <a:pt x="5" y="17"/>
                    </a:lnTo>
                    <a:lnTo>
                      <a:pt x="0" y="15"/>
                    </a:lnTo>
                    <a:lnTo>
                      <a:pt x="0" y="12"/>
                    </a:lnTo>
                    <a:lnTo>
                      <a:pt x="1" y="7"/>
                    </a:lnTo>
                    <a:lnTo>
                      <a:pt x="6" y="3"/>
                    </a:lnTo>
                    <a:lnTo>
                      <a:pt x="10" y="0"/>
                    </a:lnTo>
                    <a:lnTo>
                      <a:pt x="15" y="0"/>
                    </a:lnTo>
                    <a:lnTo>
                      <a:pt x="20" y="2"/>
                    </a:lnTo>
                    <a:lnTo>
                      <a:pt x="27" y="3"/>
                    </a:lnTo>
                    <a:lnTo>
                      <a:pt x="27" y="5"/>
                    </a:lnTo>
                    <a:lnTo>
                      <a:pt x="29" y="9"/>
                    </a:lnTo>
                    <a:lnTo>
                      <a:pt x="32" y="14"/>
                    </a:lnTo>
                    <a:lnTo>
                      <a:pt x="32" y="15"/>
                    </a:lnTo>
                    <a:lnTo>
                      <a:pt x="32" y="17"/>
                    </a:lnTo>
                    <a:lnTo>
                      <a:pt x="31" y="17"/>
                    </a:lnTo>
                    <a:lnTo>
                      <a:pt x="29" y="17"/>
                    </a:lnTo>
                    <a:lnTo>
                      <a:pt x="25" y="24"/>
                    </a:lnTo>
                    <a:lnTo>
                      <a:pt x="24" y="33"/>
                    </a:lnTo>
                    <a:lnTo>
                      <a:pt x="18" y="39"/>
                    </a:lnTo>
                    <a:lnTo>
                      <a:pt x="15" y="43"/>
                    </a:lnTo>
                    <a:lnTo>
                      <a:pt x="15" y="39"/>
                    </a:lnTo>
                    <a:lnTo>
                      <a:pt x="15" y="38"/>
                    </a:lnTo>
                    <a:lnTo>
                      <a:pt x="15" y="41"/>
                    </a:lnTo>
                    <a:lnTo>
                      <a:pt x="8" y="36"/>
                    </a:lnTo>
                    <a:lnTo>
                      <a:pt x="6" y="33"/>
                    </a:lnTo>
                    <a:lnTo>
                      <a:pt x="8" y="29"/>
                    </a:lnTo>
                    <a:lnTo>
                      <a:pt x="12"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03" name="Freeform 247"/>
              <p:cNvSpPr>
                <a:spLocks/>
              </p:cNvSpPr>
              <p:nvPr/>
            </p:nvSpPr>
            <p:spPr bwMode="auto">
              <a:xfrm>
                <a:off x="7346157" y="3189288"/>
                <a:ext cx="49213" cy="42862"/>
              </a:xfrm>
              <a:custGeom>
                <a:avLst/>
                <a:gdLst/>
                <a:ahLst/>
                <a:cxnLst>
                  <a:cxn ang="0">
                    <a:pos x="26" y="17"/>
                  </a:cxn>
                  <a:cxn ang="0">
                    <a:pos x="21" y="15"/>
                  </a:cxn>
                  <a:cxn ang="0">
                    <a:pos x="19" y="13"/>
                  </a:cxn>
                  <a:cxn ang="0">
                    <a:pos x="12" y="22"/>
                  </a:cxn>
                  <a:cxn ang="0">
                    <a:pos x="7" y="27"/>
                  </a:cxn>
                  <a:cxn ang="0">
                    <a:pos x="4" y="24"/>
                  </a:cxn>
                  <a:cxn ang="0">
                    <a:pos x="4" y="19"/>
                  </a:cxn>
                  <a:cxn ang="0">
                    <a:pos x="0" y="15"/>
                  </a:cxn>
                  <a:cxn ang="0">
                    <a:pos x="0" y="13"/>
                  </a:cxn>
                  <a:cxn ang="0">
                    <a:pos x="4" y="10"/>
                  </a:cxn>
                  <a:cxn ang="0">
                    <a:pos x="9" y="7"/>
                  </a:cxn>
                  <a:cxn ang="0">
                    <a:pos x="17" y="3"/>
                  </a:cxn>
                  <a:cxn ang="0">
                    <a:pos x="26" y="0"/>
                  </a:cxn>
                  <a:cxn ang="0">
                    <a:pos x="31" y="1"/>
                  </a:cxn>
                  <a:cxn ang="0">
                    <a:pos x="31" y="8"/>
                  </a:cxn>
                  <a:cxn ang="0">
                    <a:pos x="28" y="13"/>
                  </a:cxn>
                  <a:cxn ang="0">
                    <a:pos x="26" y="17"/>
                  </a:cxn>
                </a:cxnLst>
                <a:rect l="0" t="0" r="r" b="b"/>
                <a:pathLst>
                  <a:path w="31" h="27">
                    <a:moveTo>
                      <a:pt x="26" y="17"/>
                    </a:moveTo>
                    <a:lnTo>
                      <a:pt x="21" y="15"/>
                    </a:lnTo>
                    <a:lnTo>
                      <a:pt x="19" y="13"/>
                    </a:lnTo>
                    <a:lnTo>
                      <a:pt x="12" y="22"/>
                    </a:lnTo>
                    <a:lnTo>
                      <a:pt x="7" y="27"/>
                    </a:lnTo>
                    <a:lnTo>
                      <a:pt x="4" y="24"/>
                    </a:lnTo>
                    <a:lnTo>
                      <a:pt x="4" y="19"/>
                    </a:lnTo>
                    <a:lnTo>
                      <a:pt x="0" y="15"/>
                    </a:lnTo>
                    <a:lnTo>
                      <a:pt x="0" y="13"/>
                    </a:lnTo>
                    <a:lnTo>
                      <a:pt x="4" y="10"/>
                    </a:lnTo>
                    <a:lnTo>
                      <a:pt x="9" y="7"/>
                    </a:lnTo>
                    <a:lnTo>
                      <a:pt x="17" y="3"/>
                    </a:lnTo>
                    <a:lnTo>
                      <a:pt x="26" y="0"/>
                    </a:lnTo>
                    <a:lnTo>
                      <a:pt x="31" y="1"/>
                    </a:lnTo>
                    <a:lnTo>
                      <a:pt x="31" y="8"/>
                    </a:lnTo>
                    <a:lnTo>
                      <a:pt x="28" y="13"/>
                    </a:lnTo>
                    <a:lnTo>
                      <a:pt x="26"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04" name="Freeform 248"/>
              <p:cNvSpPr>
                <a:spLocks/>
              </p:cNvSpPr>
              <p:nvPr/>
            </p:nvSpPr>
            <p:spPr bwMode="auto">
              <a:xfrm>
                <a:off x="7312819" y="3003550"/>
                <a:ext cx="257175" cy="209550"/>
              </a:xfrm>
              <a:custGeom>
                <a:avLst/>
                <a:gdLst/>
                <a:ahLst/>
                <a:cxnLst>
                  <a:cxn ang="0">
                    <a:pos x="62" y="125"/>
                  </a:cxn>
                  <a:cxn ang="0">
                    <a:pos x="62" y="118"/>
                  </a:cxn>
                  <a:cxn ang="0">
                    <a:pos x="56" y="111"/>
                  </a:cxn>
                  <a:cxn ang="0">
                    <a:pos x="45" y="111"/>
                  </a:cxn>
                  <a:cxn ang="0">
                    <a:pos x="38" y="113"/>
                  </a:cxn>
                  <a:cxn ang="0">
                    <a:pos x="21" y="120"/>
                  </a:cxn>
                  <a:cxn ang="0">
                    <a:pos x="2" y="122"/>
                  </a:cxn>
                  <a:cxn ang="0">
                    <a:pos x="2" y="118"/>
                  </a:cxn>
                  <a:cxn ang="0">
                    <a:pos x="13" y="110"/>
                  </a:cxn>
                  <a:cxn ang="0">
                    <a:pos x="25" y="98"/>
                  </a:cxn>
                  <a:cxn ang="0">
                    <a:pos x="43" y="98"/>
                  </a:cxn>
                  <a:cxn ang="0">
                    <a:pos x="57" y="98"/>
                  </a:cxn>
                  <a:cxn ang="0">
                    <a:pos x="69" y="94"/>
                  </a:cxn>
                  <a:cxn ang="0">
                    <a:pos x="78" y="84"/>
                  </a:cxn>
                  <a:cxn ang="0">
                    <a:pos x="86" y="75"/>
                  </a:cxn>
                  <a:cxn ang="0">
                    <a:pos x="88" y="70"/>
                  </a:cxn>
                  <a:cxn ang="0">
                    <a:pos x="88" y="75"/>
                  </a:cxn>
                  <a:cxn ang="0">
                    <a:pos x="99" y="74"/>
                  </a:cxn>
                  <a:cxn ang="0">
                    <a:pos x="114" y="63"/>
                  </a:cxn>
                  <a:cxn ang="0">
                    <a:pos x="131" y="41"/>
                  </a:cxn>
                  <a:cxn ang="0">
                    <a:pos x="133" y="25"/>
                  </a:cxn>
                  <a:cxn ang="0">
                    <a:pos x="131" y="15"/>
                  </a:cxn>
                  <a:cxn ang="0">
                    <a:pos x="138" y="5"/>
                  </a:cxn>
                  <a:cxn ang="0">
                    <a:pos x="143" y="5"/>
                  </a:cxn>
                  <a:cxn ang="0">
                    <a:pos x="148" y="5"/>
                  </a:cxn>
                  <a:cxn ang="0">
                    <a:pos x="147" y="0"/>
                  </a:cxn>
                  <a:cxn ang="0">
                    <a:pos x="154" y="3"/>
                  </a:cxn>
                  <a:cxn ang="0">
                    <a:pos x="155" y="13"/>
                  </a:cxn>
                  <a:cxn ang="0">
                    <a:pos x="162" y="31"/>
                  </a:cxn>
                  <a:cxn ang="0">
                    <a:pos x="155" y="46"/>
                  </a:cxn>
                  <a:cxn ang="0">
                    <a:pos x="155" y="50"/>
                  </a:cxn>
                  <a:cxn ang="0">
                    <a:pos x="150" y="51"/>
                  </a:cxn>
                  <a:cxn ang="0">
                    <a:pos x="145" y="60"/>
                  </a:cxn>
                  <a:cxn ang="0">
                    <a:pos x="147" y="74"/>
                  </a:cxn>
                  <a:cxn ang="0">
                    <a:pos x="142" y="87"/>
                  </a:cxn>
                  <a:cxn ang="0">
                    <a:pos x="143" y="98"/>
                  </a:cxn>
                  <a:cxn ang="0">
                    <a:pos x="131" y="108"/>
                  </a:cxn>
                  <a:cxn ang="0">
                    <a:pos x="131" y="99"/>
                  </a:cxn>
                  <a:cxn ang="0">
                    <a:pos x="117" y="111"/>
                  </a:cxn>
                  <a:cxn ang="0">
                    <a:pos x="111" y="110"/>
                  </a:cxn>
                  <a:cxn ang="0">
                    <a:pos x="100" y="115"/>
                  </a:cxn>
                  <a:cxn ang="0">
                    <a:pos x="85" y="106"/>
                  </a:cxn>
                  <a:cxn ang="0">
                    <a:pos x="83" y="110"/>
                  </a:cxn>
                  <a:cxn ang="0">
                    <a:pos x="88" y="118"/>
                  </a:cxn>
                  <a:cxn ang="0">
                    <a:pos x="83" y="118"/>
                  </a:cxn>
                  <a:cxn ang="0">
                    <a:pos x="71" y="132"/>
                  </a:cxn>
                  <a:cxn ang="0">
                    <a:pos x="62" y="127"/>
                  </a:cxn>
                </a:cxnLst>
                <a:rect l="0" t="0" r="r" b="b"/>
                <a:pathLst>
                  <a:path w="162" h="132">
                    <a:moveTo>
                      <a:pt x="62" y="127"/>
                    </a:moveTo>
                    <a:lnTo>
                      <a:pt x="62" y="125"/>
                    </a:lnTo>
                    <a:lnTo>
                      <a:pt x="62" y="124"/>
                    </a:lnTo>
                    <a:lnTo>
                      <a:pt x="62" y="118"/>
                    </a:lnTo>
                    <a:lnTo>
                      <a:pt x="64" y="115"/>
                    </a:lnTo>
                    <a:lnTo>
                      <a:pt x="56" y="111"/>
                    </a:lnTo>
                    <a:lnTo>
                      <a:pt x="49" y="110"/>
                    </a:lnTo>
                    <a:lnTo>
                      <a:pt x="45" y="111"/>
                    </a:lnTo>
                    <a:lnTo>
                      <a:pt x="45" y="113"/>
                    </a:lnTo>
                    <a:lnTo>
                      <a:pt x="38" y="113"/>
                    </a:lnTo>
                    <a:lnTo>
                      <a:pt x="33" y="115"/>
                    </a:lnTo>
                    <a:lnTo>
                      <a:pt x="21" y="120"/>
                    </a:lnTo>
                    <a:lnTo>
                      <a:pt x="7" y="124"/>
                    </a:lnTo>
                    <a:lnTo>
                      <a:pt x="2" y="122"/>
                    </a:lnTo>
                    <a:lnTo>
                      <a:pt x="0" y="120"/>
                    </a:lnTo>
                    <a:lnTo>
                      <a:pt x="2" y="118"/>
                    </a:lnTo>
                    <a:lnTo>
                      <a:pt x="6" y="117"/>
                    </a:lnTo>
                    <a:lnTo>
                      <a:pt x="13" y="110"/>
                    </a:lnTo>
                    <a:lnTo>
                      <a:pt x="19" y="105"/>
                    </a:lnTo>
                    <a:lnTo>
                      <a:pt x="25" y="98"/>
                    </a:lnTo>
                    <a:lnTo>
                      <a:pt x="35" y="98"/>
                    </a:lnTo>
                    <a:lnTo>
                      <a:pt x="43" y="98"/>
                    </a:lnTo>
                    <a:lnTo>
                      <a:pt x="50" y="98"/>
                    </a:lnTo>
                    <a:lnTo>
                      <a:pt x="57" y="98"/>
                    </a:lnTo>
                    <a:lnTo>
                      <a:pt x="66" y="98"/>
                    </a:lnTo>
                    <a:lnTo>
                      <a:pt x="69" y="94"/>
                    </a:lnTo>
                    <a:lnTo>
                      <a:pt x="74" y="89"/>
                    </a:lnTo>
                    <a:lnTo>
                      <a:pt x="78" y="84"/>
                    </a:lnTo>
                    <a:lnTo>
                      <a:pt x="83" y="82"/>
                    </a:lnTo>
                    <a:lnTo>
                      <a:pt x="86" y="75"/>
                    </a:lnTo>
                    <a:lnTo>
                      <a:pt x="92" y="68"/>
                    </a:lnTo>
                    <a:lnTo>
                      <a:pt x="88" y="70"/>
                    </a:lnTo>
                    <a:lnTo>
                      <a:pt x="88" y="74"/>
                    </a:lnTo>
                    <a:lnTo>
                      <a:pt x="88" y="75"/>
                    </a:lnTo>
                    <a:lnTo>
                      <a:pt x="92" y="77"/>
                    </a:lnTo>
                    <a:lnTo>
                      <a:pt x="99" y="74"/>
                    </a:lnTo>
                    <a:lnTo>
                      <a:pt x="105" y="70"/>
                    </a:lnTo>
                    <a:lnTo>
                      <a:pt x="114" y="63"/>
                    </a:lnTo>
                    <a:lnTo>
                      <a:pt x="123" y="53"/>
                    </a:lnTo>
                    <a:lnTo>
                      <a:pt x="131" y="41"/>
                    </a:lnTo>
                    <a:lnTo>
                      <a:pt x="135" y="29"/>
                    </a:lnTo>
                    <a:lnTo>
                      <a:pt x="133" y="25"/>
                    </a:lnTo>
                    <a:lnTo>
                      <a:pt x="131" y="22"/>
                    </a:lnTo>
                    <a:lnTo>
                      <a:pt x="131" y="15"/>
                    </a:lnTo>
                    <a:lnTo>
                      <a:pt x="135" y="10"/>
                    </a:lnTo>
                    <a:lnTo>
                      <a:pt x="138" y="5"/>
                    </a:lnTo>
                    <a:lnTo>
                      <a:pt x="143" y="3"/>
                    </a:lnTo>
                    <a:lnTo>
                      <a:pt x="143" y="5"/>
                    </a:lnTo>
                    <a:lnTo>
                      <a:pt x="150" y="5"/>
                    </a:lnTo>
                    <a:lnTo>
                      <a:pt x="148" y="5"/>
                    </a:lnTo>
                    <a:lnTo>
                      <a:pt x="145" y="1"/>
                    </a:lnTo>
                    <a:lnTo>
                      <a:pt x="147" y="0"/>
                    </a:lnTo>
                    <a:lnTo>
                      <a:pt x="152" y="0"/>
                    </a:lnTo>
                    <a:lnTo>
                      <a:pt x="154" y="3"/>
                    </a:lnTo>
                    <a:lnTo>
                      <a:pt x="154" y="8"/>
                    </a:lnTo>
                    <a:lnTo>
                      <a:pt x="155" y="13"/>
                    </a:lnTo>
                    <a:lnTo>
                      <a:pt x="159" y="22"/>
                    </a:lnTo>
                    <a:lnTo>
                      <a:pt x="162" y="31"/>
                    </a:lnTo>
                    <a:lnTo>
                      <a:pt x="159" y="38"/>
                    </a:lnTo>
                    <a:lnTo>
                      <a:pt x="155" y="46"/>
                    </a:lnTo>
                    <a:lnTo>
                      <a:pt x="155" y="48"/>
                    </a:lnTo>
                    <a:lnTo>
                      <a:pt x="155" y="50"/>
                    </a:lnTo>
                    <a:lnTo>
                      <a:pt x="152" y="50"/>
                    </a:lnTo>
                    <a:lnTo>
                      <a:pt x="150" y="51"/>
                    </a:lnTo>
                    <a:lnTo>
                      <a:pt x="147" y="53"/>
                    </a:lnTo>
                    <a:lnTo>
                      <a:pt x="145" y="60"/>
                    </a:lnTo>
                    <a:lnTo>
                      <a:pt x="145" y="67"/>
                    </a:lnTo>
                    <a:lnTo>
                      <a:pt x="147" y="74"/>
                    </a:lnTo>
                    <a:lnTo>
                      <a:pt x="143" y="79"/>
                    </a:lnTo>
                    <a:lnTo>
                      <a:pt x="142" y="87"/>
                    </a:lnTo>
                    <a:lnTo>
                      <a:pt x="142" y="93"/>
                    </a:lnTo>
                    <a:lnTo>
                      <a:pt x="143" y="98"/>
                    </a:lnTo>
                    <a:lnTo>
                      <a:pt x="136" y="101"/>
                    </a:lnTo>
                    <a:lnTo>
                      <a:pt x="131" y="108"/>
                    </a:lnTo>
                    <a:lnTo>
                      <a:pt x="129" y="103"/>
                    </a:lnTo>
                    <a:lnTo>
                      <a:pt x="131" y="99"/>
                    </a:lnTo>
                    <a:lnTo>
                      <a:pt x="123" y="105"/>
                    </a:lnTo>
                    <a:lnTo>
                      <a:pt x="117" y="111"/>
                    </a:lnTo>
                    <a:lnTo>
                      <a:pt x="116" y="110"/>
                    </a:lnTo>
                    <a:lnTo>
                      <a:pt x="111" y="110"/>
                    </a:lnTo>
                    <a:lnTo>
                      <a:pt x="105" y="111"/>
                    </a:lnTo>
                    <a:lnTo>
                      <a:pt x="100" y="115"/>
                    </a:lnTo>
                    <a:lnTo>
                      <a:pt x="90" y="110"/>
                    </a:lnTo>
                    <a:lnTo>
                      <a:pt x="85" y="106"/>
                    </a:lnTo>
                    <a:lnTo>
                      <a:pt x="83" y="108"/>
                    </a:lnTo>
                    <a:lnTo>
                      <a:pt x="83" y="110"/>
                    </a:lnTo>
                    <a:lnTo>
                      <a:pt x="85" y="115"/>
                    </a:lnTo>
                    <a:lnTo>
                      <a:pt x="88" y="118"/>
                    </a:lnTo>
                    <a:lnTo>
                      <a:pt x="85" y="118"/>
                    </a:lnTo>
                    <a:lnTo>
                      <a:pt x="83" y="118"/>
                    </a:lnTo>
                    <a:lnTo>
                      <a:pt x="76" y="122"/>
                    </a:lnTo>
                    <a:lnTo>
                      <a:pt x="71" y="132"/>
                    </a:lnTo>
                    <a:lnTo>
                      <a:pt x="66" y="129"/>
                    </a:lnTo>
                    <a:lnTo>
                      <a:pt x="62" y="12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05" name="Freeform 249"/>
              <p:cNvSpPr>
                <a:spLocks/>
              </p:cNvSpPr>
              <p:nvPr/>
            </p:nvSpPr>
            <p:spPr bwMode="auto">
              <a:xfrm>
                <a:off x="7520782" y="2887663"/>
                <a:ext cx="131763" cy="112712"/>
              </a:xfrm>
              <a:custGeom>
                <a:avLst/>
                <a:gdLst/>
                <a:ahLst/>
                <a:cxnLst>
                  <a:cxn ang="0">
                    <a:pos x="11" y="38"/>
                  </a:cxn>
                  <a:cxn ang="0">
                    <a:pos x="12" y="38"/>
                  </a:cxn>
                  <a:cxn ang="0">
                    <a:pos x="16" y="38"/>
                  </a:cxn>
                  <a:cxn ang="0">
                    <a:pos x="19" y="35"/>
                  </a:cxn>
                  <a:cxn ang="0">
                    <a:pos x="24" y="28"/>
                  </a:cxn>
                  <a:cxn ang="0">
                    <a:pos x="26" y="18"/>
                  </a:cxn>
                  <a:cxn ang="0">
                    <a:pos x="28" y="13"/>
                  </a:cxn>
                  <a:cxn ang="0">
                    <a:pos x="26" y="9"/>
                  </a:cxn>
                  <a:cxn ang="0">
                    <a:pos x="26" y="7"/>
                  </a:cxn>
                  <a:cxn ang="0">
                    <a:pos x="26" y="2"/>
                  </a:cxn>
                  <a:cxn ang="0">
                    <a:pos x="29" y="0"/>
                  </a:cxn>
                  <a:cxn ang="0">
                    <a:pos x="38" y="7"/>
                  </a:cxn>
                  <a:cxn ang="0">
                    <a:pos x="47" y="16"/>
                  </a:cxn>
                  <a:cxn ang="0">
                    <a:pos x="55" y="23"/>
                  </a:cxn>
                  <a:cxn ang="0">
                    <a:pos x="69" y="26"/>
                  </a:cxn>
                  <a:cxn ang="0">
                    <a:pos x="74" y="25"/>
                  </a:cxn>
                  <a:cxn ang="0">
                    <a:pos x="79" y="25"/>
                  </a:cxn>
                  <a:cxn ang="0">
                    <a:pos x="76" y="28"/>
                  </a:cxn>
                  <a:cxn ang="0">
                    <a:pos x="76" y="31"/>
                  </a:cxn>
                  <a:cxn ang="0">
                    <a:pos x="78" y="35"/>
                  </a:cxn>
                  <a:cxn ang="0">
                    <a:pos x="83" y="38"/>
                  </a:cxn>
                  <a:cxn ang="0">
                    <a:pos x="74" y="40"/>
                  </a:cxn>
                  <a:cxn ang="0">
                    <a:pos x="67" y="42"/>
                  </a:cxn>
                  <a:cxn ang="0">
                    <a:pos x="54" y="49"/>
                  </a:cxn>
                  <a:cxn ang="0">
                    <a:pos x="48" y="61"/>
                  </a:cxn>
                  <a:cxn ang="0">
                    <a:pos x="36" y="54"/>
                  </a:cxn>
                  <a:cxn ang="0">
                    <a:pos x="26" y="49"/>
                  </a:cxn>
                  <a:cxn ang="0">
                    <a:pos x="23" y="49"/>
                  </a:cxn>
                  <a:cxn ang="0">
                    <a:pos x="23" y="52"/>
                  </a:cxn>
                  <a:cxn ang="0">
                    <a:pos x="12" y="50"/>
                  </a:cxn>
                  <a:cxn ang="0">
                    <a:pos x="7" y="56"/>
                  </a:cxn>
                  <a:cxn ang="0">
                    <a:pos x="11" y="59"/>
                  </a:cxn>
                  <a:cxn ang="0">
                    <a:pos x="17" y="64"/>
                  </a:cxn>
                  <a:cxn ang="0">
                    <a:pos x="11" y="68"/>
                  </a:cxn>
                  <a:cxn ang="0">
                    <a:pos x="5" y="71"/>
                  </a:cxn>
                  <a:cxn ang="0">
                    <a:pos x="2" y="71"/>
                  </a:cxn>
                  <a:cxn ang="0">
                    <a:pos x="2" y="64"/>
                  </a:cxn>
                  <a:cxn ang="0">
                    <a:pos x="2" y="59"/>
                  </a:cxn>
                  <a:cxn ang="0">
                    <a:pos x="0" y="56"/>
                  </a:cxn>
                  <a:cxn ang="0">
                    <a:pos x="0" y="54"/>
                  </a:cxn>
                  <a:cxn ang="0">
                    <a:pos x="4" y="47"/>
                  </a:cxn>
                  <a:cxn ang="0">
                    <a:pos x="9" y="42"/>
                  </a:cxn>
                  <a:cxn ang="0">
                    <a:pos x="9" y="38"/>
                  </a:cxn>
                  <a:cxn ang="0">
                    <a:pos x="11" y="38"/>
                  </a:cxn>
                  <a:cxn ang="0">
                    <a:pos x="12" y="40"/>
                  </a:cxn>
                  <a:cxn ang="0">
                    <a:pos x="11" y="38"/>
                  </a:cxn>
                </a:cxnLst>
                <a:rect l="0" t="0" r="r" b="b"/>
                <a:pathLst>
                  <a:path w="83" h="71">
                    <a:moveTo>
                      <a:pt x="11" y="38"/>
                    </a:moveTo>
                    <a:lnTo>
                      <a:pt x="12" y="38"/>
                    </a:lnTo>
                    <a:lnTo>
                      <a:pt x="16" y="38"/>
                    </a:lnTo>
                    <a:lnTo>
                      <a:pt x="19" y="35"/>
                    </a:lnTo>
                    <a:lnTo>
                      <a:pt x="24" y="28"/>
                    </a:lnTo>
                    <a:lnTo>
                      <a:pt x="26" y="18"/>
                    </a:lnTo>
                    <a:lnTo>
                      <a:pt x="28" y="13"/>
                    </a:lnTo>
                    <a:lnTo>
                      <a:pt x="26" y="9"/>
                    </a:lnTo>
                    <a:lnTo>
                      <a:pt x="26" y="7"/>
                    </a:lnTo>
                    <a:lnTo>
                      <a:pt x="26" y="2"/>
                    </a:lnTo>
                    <a:lnTo>
                      <a:pt x="29" y="0"/>
                    </a:lnTo>
                    <a:lnTo>
                      <a:pt x="38" y="7"/>
                    </a:lnTo>
                    <a:lnTo>
                      <a:pt x="47" y="16"/>
                    </a:lnTo>
                    <a:lnTo>
                      <a:pt x="55" y="23"/>
                    </a:lnTo>
                    <a:lnTo>
                      <a:pt x="69" y="26"/>
                    </a:lnTo>
                    <a:lnTo>
                      <a:pt x="74" y="25"/>
                    </a:lnTo>
                    <a:lnTo>
                      <a:pt x="79" y="25"/>
                    </a:lnTo>
                    <a:lnTo>
                      <a:pt x="76" y="28"/>
                    </a:lnTo>
                    <a:lnTo>
                      <a:pt x="76" y="31"/>
                    </a:lnTo>
                    <a:lnTo>
                      <a:pt x="78" y="35"/>
                    </a:lnTo>
                    <a:lnTo>
                      <a:pt x="83" y="38"/>
                    </a:lnTo>
                    <a:lnTo>
                      <a:pt x="74" y="40"/>
                    </a:lnTo>
                    <a:lnTo>
                      <a:pt x="67" y="42"/>
                    </a:lnTo>
                    <a:lnTo>
                      <a:pt x="54" y="49"/>
                    </a:lnTo>
                    <a:lnTo>
                      <a:pt x="48" y="61"/>
                    </a:lnTo>
                    <a:lnTo>
                      <a:pt x="36" y="54"/>
                    </a:lnTo>
                    <a:lnTo>
                      <a:pt x="26" y="49"/>
                    </a:lnTo>
                    <a:lnTo>
                      <a:pt x="23" y="49"/>
                    </a:lnTo>
                    <a:lnTo>
                      <a:pt x="23" y="52"/>
                    </a:lnTo>
                    <a:lnTo>
                      <a:pt x="12" y="50"/>
                    </a:lnTo>
                    <a:lnTo>
                      <a:pt x="7" y="56"/>
                    </a:lnTo>
                    <a:lnTo>
                      <a:pt x="11" y="59"/>
                    </a:lnTo>
                    <a:lnTo>
                      <a:pt x="17" y="64"/>
                    </a:lnTo>
                    <a:lnTo>
                      <a:pt x="11" y="68"/>
                    </a:lnTo>
                    <a:lnTo>
                      <a:pt x="5" y="71"/>
                    </a:lnTo>
                    <a:lnTo>
                      <a:pt x="2" y="71"/>
                    </a:lnTo>
                    <a:lnTo>
                      <a:pt x="2" y="64"/>
                    </a:lnTo>
                    <a:lnTo>
                      <a:pt x="2" y="59"/>
                    </a:lnTo>
                    <a:lnTo>
                      <a:pt x="0" y="56"/>
                    </a:lnTo>
                    <a:lnTo>
                      <a:pt x="0" y="54"/>
                    </a:lnTo>
                    <a:lnTo>
                      <a:pt x="4" y="47"/>
                    </a:lnTo>
                    <a:lnTo>
                      <a:pt x="9" y="42"/>
                    </a:lnTo>
                    <a:lnTo>
                      <a:pt x="9" y="38"/>
                    </a:lnTo>
                    <a:lnTo>
                      <a:pt x="11" y="38"/>
                    </a:lnTo>
                    <a:lnTo>
                      <a:pt x="12" y="40"/>
                    </a:lnTo>
                    <a:lnTo>
                      <a:pt x="11" y="3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06" name="Freeform 250"/>
              <p:cNvSpPr>
                <a:spLocks/>
              </p:cNvSpPr>
              <p:nvPr/>
            </p:nvSpPr>
            <p:spPr bwMode="auto">
              <a:xfrm>
                <a:off x="7649369" y="2916238"/>
                <a:ext cx="22225" cy="20637"/>
              </a:xfrm>
              <a:custGeom>
                <a:avLst/>
                <a:gdLst/>
                <a:ahLst/>
                <a:cxnLst>
                  <a:cxn ang="0">
                    <a:pos x="10" y="0"/>
                  </a:cxn>
                  <a:cxn ang="0">
                    <a:pos x="14" y="1"/>
                  </a:cxn>
                  <a:cxn ang="0">
                    <a:pos x="7" y="8"/>
                  </a:cxn>
                  <a:cxn ang="0">
                    <a:pos x="0" y="13"/>
                  </a:cxn>
                  <a:cxn ang="0">
                    <a:pos x="0" y="10"/>
                  </a:cxn>
                  <a:cxn ang="0">
                    <a:pos x="0" y="8"/>
                  </a:cxn>
                  <a:cxn ang="0">
                    <a:pos x="5" y="3"/>
                  </a:cxn>
                  <a:cxn ang="0">
                    <a:pos x="12" y="1"/>
                  </a:cxn>
                  <a:cxn ang="0">
                    <a:pos x="10" y="0"/>
                  </a:cxn>
                </a:cxnLst>
                <a:rect l="0" t="0" r="r" b="b"/>
                <a:pathLst>
                  <a:path w="14" h="13">
                    <a:moveTo>
                      <a:pt x="10" y="0"/>
                    </a:moveTo>
                    <a:lnTo>
                      <a:pt x="14" y="1"/>
                    </a:lnTo>
                    <a:lnTo>
                      <a:pt x="7" y="8"/>
                    </a:lnTo>
                    <a:lnTo>
                      <a:pt x="0" y="13"/>
                    </a:lnTo>
                    <a:lnTo>
                      <a:pt x="0" y="10"/>
                    </a:lnTo>
                    <a:lnTo>
                      <a:pt x="0" y="8"/>
                    </a:lnTo>
                    <a:lnTo>
                      <a:pt x="5" y="3"/>
                    </a:lnTo>
                    <a:lnTo>
                      <a:pt x="12" y="1"/>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07" name="Freeform 251"/>
              <p:cNvSpPr>
                <a:spLocks/>
              </p:cNvSpPr>
              <p:nvPr/>
            </p:nvSpPr>
            <p:spPr bwMode="auto">
              <a:xfrm>
                <a:off x="7693819" y="2887663"/>
                <a:ext cx="28575" cy="22225"/>
              </a:xfrm>
              <a:custGeom>
                <a:avLst/>
                <a:gdLst/>
                <a:ahLst/>
                <a:cxnLst>
                  <a:cxn ang="0">
                    <a:pos x="18" y="4"/>
                  </a:cxn>
                  <a:cxn ang="0">
                    <a:pos x="8" y="9"/>
                  </a:cxn>
                  <a:cxn ang="0">
                    <a:pos x="0" y="14"/>
                  </a:cxn>
                  <a:cxn ang="0">
                    <a:pos x="0" y="13"/>
                  </a:cxn>
                  <a:cxn ang="0">
                    <a:pos x="0" y="11"/>
                  </a:cxn>
                  <a:cxn ang="0">
                    <a:pos x="3" y="6"/>
                  </a:cxn>
                  <a:cxn ang="0">
                    <a:pos x="12" y="0"/>
                  </a:cxn>
                  <a:cxn ang="0">
                    <a:pos x="15" y="0"/>
                  </a:cxn>
                  <a:cxn ang="0">
                    <a:pos x="18" y="0"/>
                  </a:cxn>
                  <a:cxn ang="0">
                    <a:pos x="18" y="4"/>
                  </a:cxn>
                </a:cxnLst>
                <a:rect l="0" t="0" r="r" b="b"/>
                <a:pathLst>
                  <a:path w="18" h="14">
                    <a:moveTo>
                      <a:pt x="18" y="4"/>
                    </a:moveTo>
                    <a:lnTo>
                      <a:pt x="8" y="9"/>
                    </a:lnTo>
                    <a:lnTo>
                      <a:pt x="0" y="14"/>
                    </a:lnTo>
                    <a:lnTo>
                      <a:pt x="0" y="13"/>
                    </a:lnTo>
                    <a:lnTo>
                      <a:pt x="0" y="11"/>
                    </a:lnTo>
                    <a:lnTo>
                      <a:pt x="3" y="6"/>
                    </a:lnTo>
                    <a:lnTo>
                      <a:pt x="12" y="0"/>
                    </a:lnTo>
                    <a:lnTo>
                      <a:pt x="15" y="0"/>
                    </a:lnTo>
                    <a:lnTo>
                      <a:pt x="18" y="0"/>
                    </a:lnTo>
                    <a:lnTo>
                      <a:pt x="18"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08" name="Freeform 252"/>
              <p:cNvSpPr>
                <a:spLocks/>
              </p:cNvSpPr>
              <p:nvPr/>
            </p:nvSpPr>
            <p:spPr bwMode="auto">
              <a:xfrm>
                <a:off x="7747794" y="2863850"/>
                <a:ext cx="15875" cy="15875"/>
              </a:xfrm>
              <a:custGeom>
                <a:avLst/>
                <a:gdLst/>
                <a:ahLst/>
                <a:cxnLst>
                  <a:cxn ang="0">
                    <a:pos x="2" y="7"/>
                  </a:cxn>
                  <a:cxn ang="0">
                    <a:pos x="2" y="5"/>
                  </a:cxn>
                  <a:cxn ang="0">
                    <a:pos x="2" y="3"/>
                  </a:cxn>
                  <a:cxn ang="0">
                    <a:pos x="5" y="0"/>
                  </a:cxn>
                  <a:cxn ang="0">
                    <a:pos x="10" y="0"/>
                  </a:cxn>
                  <a:cxn ang="0">
                    <a:pos x="5" y="5"/>
                  </a:cxn>
                  <a:cxn ang="0">
                    <a:pos x="2" y="10"/>
                  </a:cxn>
                  <a:cxn ang="0">
                    <a:pos x="0" y="9"/>
                  </a:cxn>
                  <a:cxn ang="0">
                    <a:pos x="2" y="7"/>
                  </a:cxn>
                </a:cxnLst>
                <a:rect l="0" t="0" r="r" b="b"/>
                <a:pathLst>
                  <a:path w="10" h="10">
                    <a:moveTo>
                      <a:pt x="2" y="7"/>
                    </a:moveTo>
                    <a:lnTo>
                      <a:pt x="2" y="5"/>
                    </a:lnTo>
                    <a:lnTo>
                      <a:pt x="2" y="3"/>
                    </a:lnTo>
                    <a:lnTo>
                      <a:pt x="5" y="0"/>
                    </a:lnTo>
                    <a:lnTo>
                      <a:pt x="10" y="0"/>
                    </a:lnTo>
                    <a:lnTo>
                      <a:pt x="5" y="5"/>
                    </a:lnTo>
                    <a:lnTo>
                      <a:pt x="2" y="10"/>
                    </a:lnTo>
                    <a:lnTo>
                      <a:pt x="0" y="9"/>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09" name="Freeform 253"/>
              <p:cNvSpPr>
                <a:spLocks/>
              </p:cNvSpPr>
              <p:nvPr/>
            </p:nvSpPr>
            <p:spPr bwMode="auto">
              <a:xfrm>
                <a:off x="7562057" y="2617788"/>
                <a:ext cx="65088" cy="250825"/>
              </a:xfrm>
              <a:custGeom>
                <a:avLst/>
                <a:gdLst/>
                <a:ahLst/>
                <a:cxnLst>
                  <a:cxn ang="0">
                    <a:pos x="29" y="98"/>
                  </a:cxn>
                  <a:cxn ang="0">
                    <a:pos x="21" y="100"/>
                  </a:cxn>
                  <a:cxn ang="0">
                    <a:pos x="17" y="107"/>
                  </a:cxn>
                  <a:cxn ang="0">
                    <a:pos x="15" y="115"/>
                  </a:cxn>
                  <a:cxn ang="0">
                    <a:pos x="15" y="127"/>
                  </a:cxn>
                  <a:cxn ang="0">
                    <a:pos x="21" y="140"/>
                  </a:cxn>
                  <a:cxn ang="0">
                    <a:pos x="29" y="153"/>
                  </a:cxn>
                  <a:cxn ang="0">
                    <a:pos x="28" y="153"/>
                  </a:cxn>
                  <a:cxn ang="0">
                    <a:pos x="24" y="150"/>
                  </a:cxn>
                  <a:cxn ang="0">
                    <a:pos x="22" y="148"/>
                  </a:cxn>
                  <a:cxn ang="0">
                    <a:pos x="19" y="148"/>
                  </a:cxn>
                  <a:cxn ang="0">
                    <a:pos x="17" y="148"/>
                  </a:cxn>
                  <a:cxn ang="0">
                    <a:pos x="10" y="153"/>
                  </a:cxn>
                  <a:cxn ang="0">
                    <a:pos x="5" y="158"/>
                  </a:cxn>
                  <a:cxn ang="0">
                    <a:pos x="3" y="152"/>
                  </a:cxn>
                  <a:cxn ang="0">
                    <a:pos x="5" y="145"/>
                  </a:cxn>
                  <a:cxn ang="0">
                    <a:pos x="5" y="133"/>
                  </a:cxn>
                  <a:cxn ang="0">
                    <a:pos x="7" y="122"/>
                  </a:cxn>
                  <a:cxn ang="0">
                    <a:pos x="5" y="114"/>
                  </a:cxn>
                  <a:cxn ang="0">
                    <a:pos x="5" y="107"/>
                  </a:cxn>
                  <a:cxn ang="0">
                    <a:pos x="5" y="98"/>
                  </a:cxn>
                  <a:cxn ang="0">
                    <a:pos x="7" y="91"/>
                  </a:cxn>
                  <a:cxn ang="0">
                    <a:pos x="7" y="76"/>
                  </a:cxn>
                  <a:cxn ang="0">
                    <a:pos x="7" y="62"/>
                  </a:cxn>
                  <a:cxn ang="0">
                    <a:pos x="3" y="52"/>
                  </a:cxn>
                  <a:cxn ang="0">
                    <a:pos x="0" y="43"/>
                  </a:cxn>
                  <a:cxn ang="0">
                    <a:pos x="0" y="35"/>
                  </a:cxn>
                  <a:cxn ang="0">
                    <a:pos x="2" y="26"/>
                  </a:cxn>
                  <a:cxn ang="0">
                    <a:pos x="3" y="19"/>
                  </a:cxn>
                  <a:cxn ang="0">
                    <a:pos x="10" y="17"/>
                  </a:cxn>
                  <a:cxn ang="0">
                    <a:pos x="10" y="14"/>
                  </a:cxn>
                  <a:cxn ang="0">
                    <a:pos x="12" y="11"/>
                  </a:cxn>
                  <a:cxn ang="0">
                    <a:pos x="12" y="5"/>
                  </a:cxn>
                  <a:cxn ang="0">
                    <a:pos x="12" y="0"/>
                  </a:cxn>
                  <a:cxn ang="0">
                    <a:pos x="14" y="0"/>
                  </a:cxn>
                  <a:cxn ang="0">
                    <a:pos x="15" y="0"/>
                  </a:cxn>
                  <a:cxn ang="0">
                    <a:pos x="17" y="12"/>
                  </a:cxn>
                  <a:cxn ang="0">
                    <a:pos x="22" y="24"/>
                  </a:cxn>
                  <a:cxn ang="0">
                    <a:pos x="21" y="33"/>
                  </a:cxn>
                  <a:cxn ang="0">
                    <a:pos x="24" y="43"/>
                  </a:cxn>
                  <a:cxn ang="0">
                    <a:pos x="24" y="55"/>
                  </a:cxn>
                  <a:cxn ang="0">
                    <a:pos x="24" y="62"/>
                  </a:cxn>
                  <a:cxn ang="0">
                    <a:pos x="28" y="69"/>
                  </a:cxn>
                  <a:cxn ang="0">
                    <a:pos x="34" y="86"/>
                  </a:cxn>
                  <a:cxn ang="0">
                    <a:pos x="41" y="103"/>
                  </a:cxn>
                  <a:cxn ang="0">
                    <a:pos x="34" y="98"/>
                  </a:cxn>
                  <a:cxn ang="0">
                    <a:pos x="29" y="98"/>
                  </a:cxn>
                </a:cxnLst>
                <a:rect l="0" t="0" r="r" b="b"/>
                <a:pathLst>
                  <a:path w="41" h="158">
                    <a:moveTo>
                      <a:pt x="29" y="98"/>
                    </a:moveTo>
                    <a:lnTo>
                      <a:pt x="21" y="100"/>
                    </a:lnTo>
                    <a:lnTo>
                      <a:pt x="17" y="107"/>
                    </a:lnTo>
                    <a:lnTo>
                      <a:pt x="15" y="115"/>
                    </a:lnTo>
                    <a:lnTo>
                      <a:pt x="15" y="127"/>
                    </a:lnTo>
                    <a:lnTo>
                      <a:pt x="21" y="140"/>
                    </a:lnTo>
                    <a:lnTo>
                      <a:pt x="29" y="153"/>
                    </a:lnTo>
                    <a:lnTo>
                      <a:pt x="28" y="153"/>
                    </a:lnTo>
                    <a:lnTo>
                      <a:pt x="24" y="150"/>
                    </a:lnTo>
                    <a:lnTo>
                      <a:pt x="22" y="148"/>
                    </a:lnTo>
                    <a:lnTo>
                      <a:pt x="19" y="148"/>
                    </a:lnTo>
                    <a:lnTo>
                      <a:pt x="17" y="148"/>
                    </a:lnTo>
                    <a:lnTo>
                      <a:pt x="10" y="153"/>
                    </a:lnTo>
                    <a:lnTo>
                      <a:pt x="5" y="158"/>
                    </a:lnTo>
                    <a:lnTo>
                      <a:pt x="3" y="152"/>
                    </a:lnTo>
                    <a:lnTo>
                      <a:pt x="5" y="145"/>
                    </a:lnTo>
                    <a:lnTo>
                      <a:pt x="5" y="133"/>
                    </a:lnTo>
                    <a:lnTo>
                      <a:pt x="7" y="122"/>
                    </a:lnTo>
                    <a:lnTo>
                      <a:pt x="5" y="114"/>
                    </a:lnTo>
                    <a:lnTo>
                      <a:pt x="5" y="107"/>
                    </a:lnTo>
                    <a:lnTo>
                      <a:pt x="5" y="98"/>
                    </a:lnTo>
                    <a:lnTo>
                      <a:pt x="7" y="91"/>
                    </a:lnTo>
                    <a:lnTo>
                      <a:pt x="7" y="76"/>
                    </a:lnTo>
                    <a:lnTo>
                      <a:pt x="7" y="62"/>
                    </a:lnTo>
                    <a:lnTo>
                      <a:pt x="3" y="52"/>
                    </a:lnTo>
                    <a:lnTo>
                      <a:pt x="0" y="43"/>
                    </a:lnTo>
                    <a:lnTo>
                      <a:pt x="0" y="35"/>
                    </a:lnTo>
                    <a:lnTo>
                      <a:pt x="2" y="26"/>
                    </a:lnTo>
                    <a:lnTo>
                      <a:pt x="3" y="19"/>
                    </a:lnTo>
                    <a:lnTo>
                      <a:pt x="10" y="17"/>
                    </a:lnTo>
                    <a:lnTo>
                      <a:pt x="10" y="14"/>
                    </a:lnTo>
                    <a:lnTo>
                      <a:pt x="12" y="11"/>
                    </a:lnTo>
                    <a:lnTo>
                      <a:pt x="12" y="5"/>
                    </a:lnTo>
                    <a:lnTo>
                      <a:pt x="12" y="0"/>
                    </a:lnTo>
                    <a:lnTo>
                      <a:pt x="14" y="0"/>
                    </a:lnTo>
                    <a:lnTo>
                      <a:pt x="15" y="0"/>
                    </a:lnTo>
                    <a:lnTo>
                      <a:pt x="17" y="12"/>
                    </a:lnTo>
                    <a:lnTo>
                      <a:pt x="22" y="24"/>
                    </a:lnTo>
                    <a:lnTo>
                      <a:pt x="21" y="33"/>
                    </a:lnTo>
                    <a:lnTo>
                      <a:pt x="24" y="43"/>
                    </a:lnTo>
                    <a:lnTo>
                      <a:pt x="24" y="55"/>
                    </a:lnTo>
                    <a:lnTo>
                      <a:pt x="24" y="62"/>
                    </a:lnTo>
                    <a:lnTo>
                      <a:pt x="28" y="69"/>
                    </a:lnTo>
                    <a:lnTo>
                      <a:pt x="34" y="86"/>
                    </a:lnTo>
                    <a:lnTo>
                      <a:pt x="41" y="103"/>
                    </a:lnTo>
                    <a:lnTo>
                      <a:pt x="34" y="98"/>
                    </a:lnTo>
                    <a:lnTo>
                      <a:pt x="29" y="9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10" name="Freeform 254"/>
              <p:cNvSpPr>
                <a:spLocks/>
              </p:cNvSpPr>
              <p:nvPr/>
            </p:nvSpPr>
            <p:spPr bwMode="auto">
              <a:xfrm>
                <a:off x="5487194" y="1744663"/>
                <a:ext cx="403225" cy="295275"/>
              </a:xfrm>
              <a:custGeom>
                <a:avLst/>
                <a:gdLst/>
                <a:ahLst/>
                <a:cxnLst>
                  <a:cxn ang="0">
                    <a:pos x="77" y="177"/>
                  </a:cxn>
                  <a:cxn ang="0">
                    <a:pos x="60" y="162"/>
                  </a:cxn>
                  <a:cxn ang="0">
                    <a:pos x="58" y="138"/>
                  </a:cxn>
                  <a:cxn ang="0">
                    <a:pos x="69" y="113"/>
                  </a:cxn>
                  <a:cxn ang="0">
                    <a:pos x="88" y="93"/>
                  </a:cxn>
                  <a:cxn ang="0">
                    <a:pos x="108" y="81"/>
                  </a:cxn>
                  <a:cxn ang="0">
                    <a:pos x="124" y="72"/>
                  </a:cxn>
                  <a:cxn ang="0">
                    <a:pos x="134" y="64"/>
                  </a:cxn>
                  <a:cxn ang="0">
                    <a:pos x="149" y="57"/>
                  </a:cxn>
                  <a:cxn ang="0">
                    <a:pos x="167" y="46"/>
                  </a:cxn>
                  <a:cxn ang="0">
                    <a:pos x="189" y="43"/>
                  </a:cxn>
                  <a:cxn ang="0">
                    <a:pos x="206" y="36"/>
                  </a:cxn>
                  <a:cxn ang="0">
                    <a:pos x="223" y="31"/>
                  </a:cxn>
                  <a:cxn ang="0">
                    <a:pos x="248" y="22"/>
                  </a:cxn>
                  <a:cxn ang="0">
                    <a:pos x="251" y="7"/>
                  </a:cxn>
                  <a:cxn ang="0">
                    <a:pos x="239" y="0"/>
                  </a:cxn>
                  <a:cxn ang="0">
                    <a:pos x="223" y="0"/>
                  </a:cxn>
                  <a:cxn ang="0">
                    <a:pos x="205" y="9"/>
                  </a:cxn>
                  <a:cxn ang="0">
                    <a:pos x="186" y="19"/>
                  </a:cxn>
                  <a:cxn ang="0">
                    <a:pos x="167" y="26"/>
                  </a:cxn>
                  <a:cxn ang="0">
                    <a:pos x="149" y="26"/>
                  </a:cxn>
                  <a:cxn ang="0">
                    <a:pos x="132" y="26"/>
                  </a:cxn>
                  <a:cxn ang="0">
                    <a:pos x="112" y="33"/>
                  </a:cxn>
                  <a:cxn ang="0">
                    <a:pos x="89" y="48"/>
                  </a:cxn>
                  <a:cxn ang="0">
                    <a:pos x="70" y="55"/>
                  </a:cxn>
                  <a:cxn ang="0">
                    <a:pos x="55" y="58"/>
                  </a:cxn>
                  <a:cxn ang="0">
                    <a:pos x="57" y="65"/>
                  </a:cxn>
                  <a:cxn ang="0">
                    <a:pos x="53" y="79"/>
                  </a:cxn>
                  <a:cxn ang="0">
                    <a:pos x="36" y="95"/>
                  </a:cxn>
                  <a:cxn ang="0">
                    <a:pos x="36" y="105"/>
                  </a:cxn>
                  <a:cxn ang="0">
                    <a:pos x="31" y="113"/>
                  </a:cxn>
                  <a:cxn ang="0">
                    <a:pos x="17" y="120"/>
                  </a:cxn>
                  <a:cxn ang="0">
                    <a:pos x="15" y="132"/>
                  </a:cxn>
                  <a:cxn ang="0">
                    <a:pos x="12" y="139"/>
                  </a:cxn>
                  <a:cxn ang="0">
                    <a:pos x="2" y="146"/>
                  </a:cxn>
                  <a:cxn ang="0">
                    <a:pos x="5" y="162"/>
                  </a:cxn>
                  <a:cxn ang="0">
                    <a:pos x="12" y="165"/>
                  </a:cxn>
                  <a:cxn ang="0">
                    <a:pos x="20" y="165"/>
                  </a:cxn>
                  <a:cxn ang="0">
                    <a:pos x="31" y="170"/>
                  </a:cxn>
                  <a:cxn ang="0">
                    <a:pos x="38" y="182"/>
                  </a:cxn>
                  <a:cxn ang="0">
                    <a:pos x="46" y="184"/>
                  </a:cxn>
                  <a:cxn ang="0">
                    <a:pos x="88" y="186"/>
                  </a:cxn>
                  <a:cxn ang="0">
                    <a:pos x="82" y="181"/>
                  </a:cxn>
                </a:cxnLst>
                <a:rect l="0" t="0" r="r" b="b"/>
                <a:pathLst>
                  <a:path w="254" h="186">
                    <a:moveTo>
                      <a:pt x="88" y="186"/>
                    </a:moveTo>
                    <a:lnTo>
                      <a:pt x="77" y="177"/>
                    </a:lnTo>
                    <a:lnTo>
                      <a:pt x="69" y="170"/>
                    </a:lnTo>
                    <a:lnTo>
                      <a:pt x="60" y="162"/>
                    </a:lnTo>
                    <a:lnTo>
                      <a:pt x="58" y="151"/>
                    </a:lnTo>
                    <a:lnTo>
                      <a:pt x="58" y="138"/>
                    </a:lnTo>
                    <a:lnTo>
                      <a:pt x="63" y="126"/>
                    </a:lnTo>
                    <a:lnTo>
                      <a:pt x="69" y="113"/>
                    </a:lnTo>
                    <a:lnTo>
                      <a:pt x="79" y="103"/>
                    </a:lnTo>
                    <a:lnTo>
                      <a:pt x="88" y="93"/>
                    </a:lnTo>
                    <a:lnTo>
                      <a:pt x="98" y="86"/>
                    </a:lnTo>
                    <a:lnTo>
                      <a:pt x="108" y="81"/>
                    </a:lnTo>
                    <a:lnTo>
                      <a:pt x="120" y="77"/>
                    </a:lnTo>
                    <a:lnTo>
                      <a:pt x="124" y="72"/>
                    </a:lnTo>
                    <a:lnTo>
                      <a:pt x="129" y="69"/>
                    </a:lnTo>
                    <a:lnTo>
                      <a:pt x="134" y="64"/>
                    </a:lnTo>
                    <a:lnTo>
                      <a:pt x="144" y="64"/>
                    </a:lnTo>
                    <a:lnTo>
                      <a:pt x="149" y="57"/>
                    </a:lnTo>
                    <a:lnTo>
                      <a:pt x="155" y="52"/>
                    </a:lnTo>
                    <a:lnTo>
                      <a:pt x="167" y="46"/>
                    </a:lnTo>
                    <a:lnTo>
                      <a:pt x="179" y="45"/>
                    </a:lnTo>
                    <a:lnTo>
                      <a:pt x="189" y="43"/>
                    </a:lnTo>
                    <a:lnTo>
                      <a:pt x="203" y="40"/>
                    </a:lnTo>
                    <a:lnTo>
                      <a:pt x="206" y="36"/>
                    </a:lnTo>
                    <a:lnTo>
                      <a:pt x="215" y="34"/>
                    </a:lnTo>
                    <a:lnTo>
                      <a:pt x="223" y="31"/>
                    </a:lnTo>
                    <a:lnTo>
                      <a:pt x="232" y="29"/>
                    </a:lnTo>
                    <a:lnTo>
                      <a:pt x="248" y="22"/>
                    </a:lnTo>
                    <a:lnTo>
                      <a:pt x="254" y="12"/>
                    </a:lnTo>
                    <a:lnTo>
                      <a:pt x="251" y="7"/>
                    </a:lnTo>
                    <a:lnTo>
                      <a:pt x="246" y="3"/>
                    </a:lnTo>
                    <a:lnTo>
                      <a:pt x="239" y="0"/>
                    </a:lnTo>
                    <a:lnTo>
                      <a:pt x="234" y="0"/>
                    </a:lnTo>
                    <a:lnTo>
                      <a:pt x="223" y="0"/>
                    </a:lnTo>
                    <a:lnTo>
                      <a:pt x="213" y="3"/>
                    </a:lnTo>
                    <a:lnTo>
                      <a:pt x="205" y="9"/>
                    </a:lnTo>
                    <a:lnTo>
                      <a:pt x="196" y="14"/>
                    </a:lnTo>
                    <a:lnTo>
                      <a:pt x="186" y="19"/>
                    </a:lnTo>
                    <a:lnTo>
                      <a:pt x="177" y="24"/>
                    </a:lnTo>
                    <a:lnTo>
                      <a:pt x="167" y="26"/>
                    </a:lnTo>
                    <a:lnTo>
                      <a:pt x="158" y="29"/>
                    </a:lnTo>
                    <a:lnTo>
                      <a:pt x="149" y="26"/>
                    </a:lnTo>
                    <a:lnTo>
                      <a:pt x="143" y="22"/>
                    </a:lnTo>
                    <a:lnTo>
                      <a:pt x="132" y="26"/>
                    </a:lnTo>
                    <a:lnTo>
                      <a:pt x="127" y="29"/>
                    </a:lnTo>
                    <a:lnTo>
                      <a:pt x="112" y="33"/>
                    </a:lnTo>
                    <a:lnTo>
                      <a:pt x="101" y="41"/>
                    </a:lnTo>
                    <a:lnTo>
                      <a:pt x="89" y="48"/>
                    </a:lnTo>
                    <a:lnTo>
                      <a:pt x="81" y="53"/>
                    </a:lnTo>
                    <a:lnTo>
                      <a:pt x="70" y="55"/>
                    </a:lnTo>
                    <a:lnTo>
                      <a:pt x="60" y="57"/>
                    </a:lnTo>
                    <a:lnTo>
                      <a:pt x="55" y="58"/>
                    </a:lnTo>
                    <a:lnTo>
                      <a:pt x="55" y="62"/>
                    </a:lnTo>
                    <a:lnTo>
                      <a:pt x="57" y="65"/>
                    </a:lnTo>
                    <a:lnTo>
                      <a:pt x="58" y="71"/>
                    </a:lnTo>
                    <a:lnTo>
                      <a:pt x="53" y="79"/>
                    </a:lnTo>
                    <a:lnTo>
                      <a:pt x="45" y="88"/>
                    </a:lnTo>
                    <a:lnTo>
                      <a:pt x="36" y="95"/>
                    </a:lnTo>
                    <a:lnTo>
                      <a:pt x="33" y="101"/>
                    </a:lnTo>
                    <a:lnTo>
                      <a:pt x="36" y="105"/>
                    </a:lnTo>
                    <a:lnTo>
                      <a:pt x="39" y="113"/>
                    </a:lnTo>
                    <a:lnTo>
                      <a:pt x="31" y="113"/>
                    </a:lnTo>
                    <a:lnTo>
                      <a:pt x="24" y="117"/>
                    </a:lnTo>
                    <a:lnTo>
                      <a:pt x="17" y="120"/>
                    </a:lnTo>
                    <a:lnTo>
                      <a:pt x="15" y="127"/>
                    </a:lnTo>
                    <a:lnTo>
                      <a:pt x="15" y="132"/>
                    </a:lnTo>
                    <a:lnTo>
                      <a:pt x="15" y="134"/>
                    </a:lnTo>
                    <a:lnTo>
                      <a:pt x="12" y="139"/>
                    </a:lnTo>
                    <a:lnTo>
                      <a:pt x="7" y="143"/>
                    </a:lnTo>
                    <a:lnTo>
                      <a:pt x="2" y="146"/>
                    </a:lnTo>
                    <a:lnTo>
                      <a:pt x="0" y="155"/>
                    </a:lnTo>
                    <a:lnTo>
                      <a:pt x="5" y="162"/>
                    </a:lnTo>
                    <a:lnTo>
                      <a:pt x="10" y="165"/>
                    </a:lnTo>
                    <a:lnTo>
                      <a:pt x="12" y="165"/>
                    </a:lnTo>
                    <a:lnTo>
                      <a:pt x="17" y="165"/>
                    </a:lnTo>
                    <a:lnTo>
                      <a:pt x="20" y="165"/>
                    </a:lnTo>
                    <a:lnTo>
                      <a:pt x="26" y="165"/>
                    </a:lnTo>
                    <a:lnTo>
                      <a:pt x="31" y="170"/>
                    </a:lnTo>
                    <a:lnTo>
                      <a:pt x="33" y="182"/>
                    </a:lnTo>
                    <a:lnTo>
                      <a:pt x="38" y="182"/>
                    </a:lnTo>
                    <a:lnTo>
                      <a:pt x="45" y="182"/>
                    </a:lnTo>
                    <a:lnTo>
                      <a:pt x="46" y="184"/>
                    </a:lnTo>
                    <a:lnTo>
                      <a:pt x="48" y="186"/>
                    </a:lnTo>
                    <a:lnTo>
                      <a:pt x="88" y="186"/>
                    </a:lnTo>
                    <a:lnTo>
                      <a:pt x="84" y="181"/>
                    </a:lnTo>
                    <a:lnTo>
                      <a:pt x="82" y="181"/>
                    </a:lnTo>
                    <a:lnTo>
                      <a:pt x="88" y="1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11" name="Freeform 255"/>
              <p:cNvSpPr>
                <a:spLocks/>
              </p:cNvSpPr>
              <p:nvPr/>
            </p:nvSpPr>
            <p:spPr bwMode="auto">
              <a:xfrm>
                <a:off x="4102894" y="2519363"/>
                <a:ext cx="884238" cy="633412"/>
              </a:xfrm>
              <a:custGeom>
                <a:avLst/>
                <a:gdLst/>
                <a:ahLst/>
                <a:cxnLst>
                  <a:cxn ang="0">
                    <a:pos x="530" y="291"/>
                  </a:cxn>
                  <a:cxn ang="0">
                    <a:pos x="540" y="313"/>
                  </a:cxn>
                  <a:cxn ang="0">
                    <a:pos x="492" y="315"/>
                  </a:cxn>
                  <a:cxn ang="0">
                    <a:pos x="461" y="325"/>
                  </a:cxn>
                  <a:cxn ang="0">
                    <a:pos x="466" y="349"/>
                  </a:cxn>
                  <a:cxn ang="0">
                    <a:pos x="478" y="367"/>
                  </a:cxn>
                  <a:cxn ang="0">
                    <a:pos x="462" y="370"/>
                  </a:cxn>
                  <a:cxn ang="0">
                    <a:pos x="445" y="380"/>
                  </a:cxn>
                  <a:cxn ang="0">
                    <a:pos x="437" y="358"/>
                  </a:cxn>
                  <a:cxn ang="0">
                    <a:pos x="411" y="312"/>
                  </a:cxn>
                  <a:cxn ang="0">
                    <a:pos x="373" y="274"/>
                  </a:cxn>
                  <a:cxn ang="0">
                    <a:pos x="339" y="245"/>
                  </a:cxn>
                  <a:cxn ang="0">
                    <a:pos x="308" y="241"/>
                  </a:cxn>
                  <a:cxn ang="0">
                    <a:pos x="328" y="270"/>
                  </a:cxn>
                  <a:cxn ang="0">
                    <a:pos x="361" y="300"/>
                  </a:cxn>
                  <a:cxn ang="0">
                    <a:pos x="387" y="329"/>
                  </a:cxn>
                  <a:cxn ang="0">
                    <a:pos x="373" y="349"/>
                  </a:cxn>
                  <a:cxn ang="0">
                    <a:pos x="361" y="356"/>
                  </a:cxn>
                  <a:cxn ang="0">
                    <a:pos x="337" y="317"/>
                  </a:cxn>
                  <a:cxn ang="0">
                    <a:pos x="299" y="293"/>
                  </a:cxn>
                  <a:cxn ang="0">
                    <a:pos x="253" y="258"/>
                  </a:cxn>
                  <a:cxn ang="0">
                    <a:pos x="182" y="275"/>
                  </a:cxn>
                  <a:cxn ang="0">
                    <a:pos x="139" y="325"/>
                  </a:cxn>
                  <a:cxn ang="0">
                    <a:pos x="117" y="375"/>
                  </a:cxn>
                  <a:cxn ang="0">
                    <a:pos x="89" y="387"/>
                  </a:cxn>
                  <a:cxn ang="0">
                    <a:pos x="38" y="382"/>
                  </a:cxn>
                  <a:cxn ang="0">
                    <a:pos x="7" y="367"/>
                  </a:cxn>
                  <a:cxn ang="0">
                    <a:pos x="5" y="330"/>
                  </a:cxn>
                  <a:cxn ang="0">
                    <a:pos x="5" y="277"/>
                  </a:cxn>
                  <a:cxn ang="0">
                    <a:pos x="55" y="270"/>
                  </a:cxn>
                  <a:cxn ang="0">
                    <a:pos x="108" y="274"/>
                  </a:cxn>
                  <a:cxn ang="0">
                    <a:pos x="120" y="238"/>
                  </a:cxn>
                  <a:cxn ang="0">
                    <a:pos x="105" y="205"/>
                  </a:cxn>
                  <a:cxn ang="0">
                    <a:pos x="69" y="186"/>
                  </a:cxn>
                  <a:cxn ang="0">
                    <a:pos x="93" y="179"/>
                  </a:cxn>
                  <a:cxn ang="0">
                    <a:pos x="110" y="164"/>
                  </a:cxn>
                  <a:cxn ang="0">
                    <a:pos x="139" y="160"/>
                  </a:cxn>
                  <a:cxn ang="0">
                    <a:pos x="168" y="134"/>
                  </a:cxn>
                  <a:cxn ang="0">
                    <a:pos x="198" y="107"/>
                  </a:cxn>
                  <a:cxn ang="0">
                    <a:pos x="235" y="86"/>
                  </a:cxn>
                  <a:cxn ang="0">
                    <a:pos x="263" y="74"/>
                  </a:cxn>
                  <a:cxn ang="0">
                    <a:pos x="249" y="31"/>
                  </a:cxn>
                  <a:cxn ang="0">
                    <a:pos x="278" y="12"/>
                  </a:cxn>
                  <a:cxn ang="0">
                    <a:pos x="284" y="30"/>
                  </a:cxn>
                  <a:cxn ang="0">
                    <a:pos x="277" y="64"/>
                  </a:cxn>
                  <a:cxn ang="0">
                    <a:pos x="301" y="73"/>
                  </a:cxn>
                  <a:cxn ang="0">
                    <a:pos x="328" y="74"/>
                  </a:cxn>
                  <a:cxn ang="0">
                    <a:pos x="371" y="61"/>
                  </a:cxn>
                  <a:cxn ang="0">
                    <a:pos x="407" y="64"/>
                  </a:cxn>
                  <a:cxn ang="0">
                    <a:pos x="466" y="64"/>
                  </a:cxn>
                  <a:cxn ang="0">
                    <a:pos x="473" y="122"/>
                  </a:cxn>
                  <a:cxn ang="0">
                    <a:pos x="459" y="183"/>
                  </a:cxn>
                  <a:cxn ang="0">
                    <a:pos x="507" y="181"/>
                  </a:cxn>
                  <a:cxn ang="0">
                    <a:pos x="540" y="227"/>
                  </a:cxn>
                  <a:cxn ang="0">
                    <a:pos x="557" y="234"/>
                  </a:cxn>
                </a:cxnLst>
                <a:rect l="0" t="0" r="r" b="b"/>
                <a:pathLst>
                  <a:path w="557" h="399">
                    <a:moveTo>
                      <a:pt x="547" y="248"/>
                    </a:moveTo>
                    <a:lnTo>
                      <a:pt x="545" y="253"/>
                    </a:lnTo>
                    <a:lnTo>
                      <a:pt x="543" y="255"/>
                    </a:lnTo>
                    <a:lnTo>
                      <a:pt x="543" y="269"/>
                    </a:lnTo>
                    <a:lnTo>
                      <a:pt x="535" y="277"/>
                    </a:lnTo>
                    <a:lnTo>
                      <a:pt x="530" y="291"/>
                    </a:lnTo>
                    <a:lnTo>
                      <a:pt x="531" y="296"/>
                    </a:lnTo>
                    <a:lnTo>
                      <a:pt x="536" y="303"/>
                    </a:lnTo>
                    <a:lnTo>
                      <a:pt x="542" y="306"/>
                    </a:lnTo>
                    <a:lnTo>
                      <a:pt x="547" y="312"/>
                    </a:lnTo>
                    <a:lnTo>
                      <a:pt x="543" y="312"/>
                    </a:lnTo>
                    <a:lnTo>
                      <a:pt x="540" y="313"/>
                    </a:lnTo>
                    <a:lnTo>
                      <a:pt x="533" y="313"/>
                    </a:lnTo>
                    <a:lnTo>
                      <a:pt x="528" y="315"/>
                    </a:lnTo>
                    <a:lnTo>
                      <a:pt x="519" y="320"/>
                    </a:lnTo>
                    <a:lnTo>
                      <a:pt x="512" y="325"/>
                    </a:lnTo>
                    <a:lnTo>
                      <a:pt x="502" y="320"/>
                    </a:lnTo>
                    <a:lnTo>
                      <a:pt x="492" y="315"/>
                    </a:lnTo>
                    <a:lnTo>
                      <a:pt x="481" y="317"/>
                    </a:lnTo>
                    <a:lnTo>
                      <a:pt x="475" y="322"/>
                    </a:lnTo>
                    <a:lnTo>
                      <a:pt x="475" y="327"/>
                    </a:lnTo>
                    <a:lnTo>
                      <a:pt x="475" y="332"/>
                    </a:lnTo>
                    <a:lnTo>
                      <a:pt x="466" y="329"/>
                    </a:lnTo>
                    <a:lnTo>
                      <a:pt x="461" y="325"/>
                    </a:lnTo>
                    <a:lnTo>
                      <a:pt x="457" y="327"/>
                    </a:lnTo>
                    <a:lnTo>
                      <a:pt x="456" y="330"/>
                    </a:lnTo>
                    <a:lnTo>
                      <a:pt x="466" y="343"/>
                    </a:lnTo>
                    <a:lnTo>
                      <a:pt x="464" y="344"/>
                    </a:lnTo>
                    <a:lnTo>
                      <a:pt x="464" y="348"/>
                    </a:lnTo>
                    <a:lnTo>
                      <a:pt x="466" y="349"/>
                    </a:lnTo>
                    <a:lnTo>
                      <a:pt x="471" y="355"/>
                    </a:lnTo>
                    <a:lnTo>
                      <a:pt x="476" y="358"/>
                    </a:lnTo>
                    <a:lnTo>
                      <a:pt x="481" y="361"/>
                    </a:lnTo>
                    <a:lnTo>
                      <a:pt x="481" y="363"/>
                    </a:lnTo>
                    <a:lnTo>
                      <a:pt x="483" y="367"/>
                    </a:lnTo>
                    <a:lnTo>
                      <a:pt x="478" y="367"/>
                    </a:lnTo>
                    <a:lnTo>
                      <a:pt x="475" y="370"/>
                    </a:lnTo>
                    <a:lnTo>
                      <a:pt x="475" y="370"/>
                    </a:lnTo>
                    <a:lnTo>
                      <a:pt x="464" y="365"/>
                    </a:lnTo>
                    <a:lnTo>
                      <a:pt x="461" y="361"/>
                    </a:lnTo>
                    <a:lnTo>
                      <a:pt x="461" y="367"/>
                    </a:lnTo>
                    <a:lnTo>
                      <a:pt x="462" y="370"/>
                    </a:lnTo>
                    <a:lnTo>
                      <a:pt x="464" y="375"/>
                    </a:lnTo>
                    <a:lnTo>
                      <a:pt x="461" y="380"/>
                    </a:lnTo>
                    <a:lnTo>
                      <a:pt x="464" y="387"/>
                    </a:lnTo>
                    <a:lnTo>
                      <a:pt x="459" y="387"/>
                    </a:lnTo>
                    <a:lnTo>
                      <a:pt x="456" y="387"/>
                    </a:lnTo>
                    <a:lnTo>
                      <a:pt x="445" y="380"/>
                    </a:lnTo>
                    <a:lnTo>
                      <a:pt x="442" y="370"/>
                    </a:lnTo>
                    <a:lnTo>
                      <a:pt x="444" y="365"/>
                    </a:lnTo>
                    <a:lnTo>
                      <a:pt x="447" y="361"/>
                    </a:lnTo>
                    <a:lnTo>
                      <a:pt x="442" y="361"/>
                    </a:lnTo>
                    <a:lnTo>
                      <a:pt x="438" y="361"/>
                    </a:lnTo>
                    <a:lnTo>
                      <a:pt x="437" y="358"/>
                    </a:lnTo>
                    <a:lnTo>
                      <a:pt x="437" y="356"/>
                    </a:lnTo>
                    <a:lnTo>
                      <a:pt x="430" y="346"/>
                    </a:lnTo>
                    <a:lnTo>
                      <a:pt x="425" y="341"/>
                    </a:lnTo>
                    <a:lnTo>
                      <a:pt x="414" y="330"/>
                    </a:lnTo>
                    <a:lnTo>
                      <a:pt x="411" y="318"/>
                    </a:lnTo>
                    <a:lnTo>
                      <a:pt x="411" y="312"/>
                    </a:lnTo>
                    <a:lnTo>
                      <a:pt x="411" y="306"/>
                    </a:lnTo>
                    <a:lnTo>
                      <a:pt x="404" y="293"/>
                    </a:lnTo>
                    <a:lnTo>
                      <a:pt x="394" y="284"/>
                    </a:lnTo>
                    <a:lnTo>
                      <a:pt x="382" y="279"/>
                    </a:lnTo>
                    <a:lnTo>
                      <a:pt x="378" y="274"/>
                    </a:lnTo>
                    <a:lnTo>
                      <a:pt x="373" y="274"/>
                    </a:lnTo>
                    <a:lnTo>
                      <a:pt x="371" y="274"/>
                    </a:lnTo>
                    <a:lnTo>
                      <a:pt x="361" y="270"/>
                    </a:lnTo>
                    <a:lnTo>
                      <a:pt x="354" y="263"/>
                    </a:lnTo>
                    <a:lnTo>
                      <a:pt x="347" y="253"/>
                    </a:lnTo>
                    <a:lnTo>
                      <a:pt x="347" y="245"/>
                    </a:lnTo>
                    <a:lnTo>
                      <a:pt x="339" y="245"/>
                    </a:lnTo>
                    <a:lnTo>
                      <a:pt x="332" y="245"/>
                    </a:lnTo>
                    <a:lnTo>
                      <a:pt x="327" y="238"/>
                    </a:lnTo>
                    <a:lnTo>
                      <a:pt x="325" y="231"/>
                    </a:lnTo>
                    <a:lnTo>
                      <a:pt x="313" y="234"/>
                    </a:lnTo>
                    <a:lnTo>
                      <a:pt x="308" y="239"/>
                    </a:lnTo>
                    <a:lnTo>
                      <a:pt x="308" y="241"/>
                    </a:lnTo>
                    <a:lnTo>
                      <a:pt x="311" y="243"/>
                    </a:lnTo>
                    <a:lnTo>
                      <a:pt x="309" y="246"/>
                    </a:lnTo>
                    <a:lnTo>
                      <a:pt x="309" y="251"/>
                    </a:lnTo>
                    <a:lnTo>
                      <a:pt x="311" y="260"/>
                    </a:lnTo>
                    <a:lnTo>
                      <a:pt x="320" y="265"/>
                    </a:lnTo>
                    <a:lnTo>
                      <a:pt x="328" y="270"/>
                    </a:lnTo>
                    <a:lnTo>
                      <a:pt x="332" y="281"/>
                    </a:lnTo>
                    <a:lnTo>
                      <a:pt x="337" y="291"/>
                    </a:lnTo>
                    <a:lnTo>
                      <a:pt x="342" y="298"/>
                    </a:lnTo>
                    <a:lnTo>
                      <a:pt x="352" y="300"/>
                    </a:lnTo>
                    <a:lnTo>
                      <a:pt x="363" y="300"/>
                    </a:lnTo>
                    <a:lnTo>
                      <a:pt x="361" y="300"/>
                    </a:lnTo>
                    <a:lnTo>
                      <a:pt x="361" y="303"/>
                    </a:lnTo>
                    <a:lnTo>
                      <a:pt x="364" y="308"/>
                    </a:lnTo>
                    <a:lnTo>
                      <a:pt x="375" y="313"/>
                    </a:lnTo>
                    <a:lnTo>
                      <a:pt x="389" y="320"/>
                    </a:lnTo>
                    <a:lnTo>
                      <a:pt x="395" y="332"/>
                    </a:lnTo>
                    <a:lnTo>
                      <a:pt x="387" y="329"/>
                    </a:lnTo>
                    <a:lnTo>
                      <a:pt x="380" y="325"/>
                    </a:lnTo>
                    <a:lnTo>
                      <a:pt x="371" y="327"/>
                    </a:lnTo>
                    <a:lnTo>
                      <a:pt x="368" y="334"/>
                    </a:lnTo>
                    <a:lnTo>
                      <a:pt x="371" y="339"/>
                    </a:lnTo>
                    <a:lnTo>
                      <a:pt x="376" y="348"/>
                    </a:lnTo>
                    <a:lnTo>
                      <a:pt x="373" y="349"/>
                    </a:lnTo>
                    <a:lnTo>
                      <a:pt x="371" y="351"/>
                    </a:lnTo>
                    <a:lnTo>
                      <a:pt x="366" y="360"/>
                    </a:lnTo>
                    <a:lnTo>
                      <a:pt x="359" y="367"/>
                    </a:lnTo>
                    <a:lnTo>
                      <a:pt x="354" y="365"/>
                    </a:lnTo>
                    <a:lnTo>
                      <a:pt x="354" y="361"/>
                    </a:lnTo>
                    <a:lnTo>
                      <a:pt x="361" y="356"/>
                    </a:lnTo>
                    <a:lnTo>
                      <a:pt x="363" y="349"/>
                    </a:lnTo>
                    <a:lnTo>
                      <a:pt x="359" y="339"/>
                    </a:lnTo>
                    <a:lnTo>
                      <a:pt x="358" y="334"/>
                    </a:lnTo>
                    <a:lnTo>
                      <a:pt x="349" y="327"/>
                    </a:lnTo>
                    <a:lnTo>
                      <a:pt x="344" y="318"/>
                    </a:lnTo>
                    <a:lnTo>
                      <a:pt x="337" y="317"/>
                    </a:lnTo>
                    <a:lnTo>
                      <a:pt x="333" y="313"/>
                    </a:lnTo>
                    <a:lnTo>
                      <a:pt x="321" y="310"/>
                    </a:lnTo>
                    <a:lnTo>
                      <a:pt x="316" y="306"/>
                    </a:lnTo>
                    <a:lnTo>
                      <a:pt x="311" y="301"/>
                    </a:lnTo>
                    <a:lnTo>
                      <a:pt x="306" y="298"/>
                    </a:lnTo>
                    <a:lnTo>
                      <a:pt x="299" y="293"/>
                    </a:lnTo>
                    <a:lnTo>
                      <a:pt x="294" y="288"/>
                    </a:lnTo>
                    <a:lnTo>
                      <a:pt x="287" y="277"/>
                    </a:lnTo>
                    <a:lnTo>
                      <a:pt x="282" y="267"/>
                    </a:lnTo>
                    <a:lnTo>
                      <a:pt x="273" y="258"/>
                    </a:lnTo>
                    <a:lnTo>
                      <a:pt x="263" y="257"/>
                    </a:lnTo>
                    <a:lnTo>
                      <a:pt x="253" y="258"/>
                    </a:lnTo>
                    <a:lnTo>
                      <a:pt x="249" y="265"/>
                    </a:lnTo>
                    <a:lnTo>
                      <a:pt x="235" y="272"/>
                    </a:lnTo>
                    <a:lnTo>
                      <a:pt x="222" y="279"/>
                    </a:lnTo>
                    <a:lnTo>
                      <a:pt x="206" y="275"/>
                    </a:lnTo>
                    <a:lnTo>
                      <a:pt x="192" y="272"/>
                    </a:lnTo>
                    <a:lnTo>
                      <a:pt x="182" y="275"/>
                    </a:lnTo>
                    <a:lnTo>
                      <a:pt x="177" y="286"/>
                    </a:lnTo>
                    <a:lnTo>
                      <a:pt x="180" y="296"/>
                    </a:lnTo>
                    <a:lnTo>
                      <a:pt x="170" y="306"/>
                    </a:lnTo>
                    <a:lnTo>
                      <a:pt x="155" y="313"/>
                    </a:lnTo>
                    <a:lnTo>
                      <a:pt x="146" y="317"/>
                    </a:lnTo>
                    <a:lnTo>
                      <a:pt x="139" y="325"/>
                    </a:lnTo>
                    <a:lnTo>
                      <a:pt x="132" y="336"/>
                    </a:lnTo>
                    <a:lnTo>
                      <a:pt x="131" y="346"/>
                    </a:lnTo>
                    <a:lnTo>
                      <a:pt x="132" y="351"/>
                    </a:lnTo>
                    <a:lnTo>
                      <a:pt x="136" y="353"/>
                    </a:lnTo>
                    <a:lnTo>
                      <a:pt x="127" y="365"/>
                    </a:lnTo>
                    <a:lnTo>
                      <a:pt x="117" y="375"/>
                    </a:lnTo>
                    <a:lnTo>
                      <a:pt x="112" y="377"/>
                    </a:lnTo>
                    <a:lnTo>
                      <a:pt x="108" y="382"/>
                    </a:lnTo>
                    <a:lnTo>
                      <a:pt x="103" y="386"/>
                    </a:lnTo>
                    <a:lnTo>
                      <a:pt x="98" y="387"/>
                    </a:lnTo>
                    <a:lnTo>
                      <a:pt x="98" y="387"/>
                    </a:lnTo>
                    <a:lnTo>
                      <a:pt x="89" y="387"/>
                    </a:lnTo>
                    <a:lnTo>
                      <a:pt x="82" y="389"/>
                    </a:lnTo>
                    <a:lnTo>
                      <a:pt x="67" y="394"/>
                    </a:lnTo>
                    <a:lnTo>
                      <a:pt x="53" y="399"/>
                    </a:lnTo>
                    <a:lnTo>
                      <a:pt x="48" y="396"/>
                    </a:lnTo>
                    <a:lnTo>
                      <a:pt x="45" y="389"/>
                    </a:lnTo>
                    <a:lnTo>
                      <a:pt x="38" y="382"/>
                    </a:lnTo>
                    <a:lnTo>
                      <a:pt x="33" y="380"/>
                    </a:lnTo>
                    <a:lnTo>
                      <a:pt x="20" y="382"/>
                    </a:lnTo>
                    <a:lnTo>
                      <a:pt x="12" y="384"/>
                    </a:lnTo>
                    <a:lnTo>
                      <a:pt x="7" y="380"/>
                    </a:lnTo>
                    <a:lnTo>
                      <a:pt x="7" y="379"/>
                    </a:lnTo>
                    <a:lnTo>
                      <a:pt x="7" y="367"/>
                    </a:lnTo>
                    <a:lnTo>
                      <a:pt x="7" y="360"/>
                    </a:lnTo>
                    <a:lnTo>
                      <a:pt x="2" y="356"/>
                    </a:lnTo>
                    <a:lnTo>
                      <a:pt x="0" y="353"/>
                    </a:lnTo>
                    <a:lnTo>
                      <a:pt x="2" y="344"/>
                    </a:lnTo>
                    <a:lnTo>
                      <a:pt x="5" y="341"/>
                    </a:lnTo>
                    <a:lnTo>
                      <a:pt x="5" y="330"/>
                    </a:lnTo>
                    <a:lnTo>
                      <a:pt x="7" y="320"/>
                    </a:lnTo>
                    <a:lnTo>
                      <a:pt x="8" y="310"/>
                    </a:lnTo>
                    <a:lnTo>
                      <a:pt x="10" y="301"/>
                    </a:lnTo>
                    <a:lnTo>
                      <a:pt x="7" y="291"/>
                    </a:lnTo>
                    <a:lnTo>
                      <a:pt x="3" y="282"/>
                    </a:lnTo>
                    <a:lnTo>
                      <a:pt x="5" y="277"/>
                    </a:lnTo>
                    <a:lnTo>
                      <a:pt x="12" y="274"/>
                    </a:lnTo>
                    <a:lnTo>
                      <a:pt x="19" y="269"/>
                    </a:lnTo>
                    <a:lnTo>
                      <a:pt x="24" y="269"/>
                    </a:lnTo>
                    <a:lnTo>
                      <a:pt x="27" y="269"/>
                    </a:lnTo>
                    <a:lnTo>
                      <a:pt x="33" y="270"/>
                    </a:lnTo>
                    <a:lnTo>
                      <a:pt x="55" y="270"/>
                    </a:lnTo>
                    <a:lnTo>
                      <a:pt x="58" y="272"/>
                    </a:lnTo>
                    <a:lnTo>
                      <a:pt x="63" y="274"/>
                    </a:lnTo>
                    <a:lnTo>
                      <a:pt x="88" y="274"/>
                    </a:lnTo>
                    <a:lnTo>
                      <a:pt x="94" y="274"/>
                    </a:lnTo>
                    <a:lnTo>
                      <a:pt x="101" y="275"/>
                    </a:lnTo>
                    <a:lnTo>
                      <a:pt x="108" y="274"/>
                    </a:lnTo>
                    <a:lnTo>
                      <a:pt x="115" y="274"/>
                    </a:lnTo>
                    <a:lnTo>
                      <a:pt x="119" y="262"/>
                    </a:lnTo>
                    <a:lnTo>
                      <a:pt x="122" y="250"/>
                    </a:lnTo>
                    <a:lnTo>
                      <a:pt x="120" y="243"/>
                    </a:lnTo>
                    <a:lnTo>
                      <a:pt x="120" y="236"/>
                    </a:lnTo>
                    <a:lnTo>
                      <a:pt x="120" y="238"/>
                    </a:lnTo>
                    <a:lnTo>
                      <a:pt x="120" y="232"/>
                    </a:lnTo>
                    <a:lnTo>
                      <a:pt x="122" y="229"/>
                    </a:lnTo>
                    <a:lnTo>
                      <a:pt x="120" y="226"/>
                    </a:lnTo>
                    <a:lnTo>
                      <a:pt x="119" y="222"/>
                    </a:lnTo>
                    <a:lnTo>
                      <a:pt x="106" y="215"/>
                    </a:lnTo>
                    <a:lnTo>
                      <a:pt x="105" y="205"/>
                    </a:lnTo>
                    <a:lnTo>
                      <a:pt x="101" y="202"/>
                    </a:lnTo>
                    <a:lnTo>
                      <a:pt x="100" y="202"/>
                    </a:lnTo>
                    <a:lnTo>
                      <a:pt x="89" y="198"/>
                    </a:lnTo>
                    <a:lnTo>
                      <a:pt x="81" y="195"/>
                    </a:lnTo>
                    <a:lnTo>
                      <a:pt x="72" y="189"/>
                    </a:lnTo>
                    <a:lnTo>
                      <a:pt x="69" y="186"/>
                    </a:lnTo>
                    <a:lnTo>
                      <a:pt x="69" y="184"/>
                    </a:lnTo>
                    <a:lnTo>
                      <a:pt x="70" y="181"/>
                    </a:lnTo>
                    <a:lnTo>
                      <a:pt x="76" y="179"/>
                    </a:lnTo>
                    <a:lnTo>
                      <a:pt x="81" y="176"/>
                    </a:lnTo>
                    <a:lnTo>
                      <a:pt x="88" y="176"/>
                    </a:lnTo>
                    <a:lnTo>
                      <a:pt x="93" y="179"/>
                    </a:lnTo>
                    <a:lnTo>
                      <a:pt x="101" y="181"/>
                    </a:lnTo>
                    <a:lnTo>
                      <a:pt x="106" y="179"/>
                    </a:lnTo>
                    <a:lnTo>
                      <a:pt x="113" y="177"/>
                    </a:lnTo>
                    <a:lnTo>
                      <a:pt x="113" y="174"/>
                    </a:lnTo>
                    <a:lnTo>
                      <a:pt x="110" y="169"/>
                    </a:lnTo>
                    <a:lnTo>
                      <a:pt x="110" y="164"/>
                    </a:lnTo>
                    <a:lnTo>
                      <a:pt x="110" y="160"/>
                    </a:lnTo>
                    <a:lnTo>
                      <a:pt x="115" y="160"/>
                    </a:lnTo>
                    <a:lnTo>
                      <a:pt x="122" y="164"/>
                    </a:lnTo>
                    <a:lnTo>
                      <a:pt x="131" y="167"/>
                    </a:lnTo>
                    <a:lnTo>
                      <a:pt x="136" y="164"/>
                    </a:lnTo>
                    <a:lnTo>
                      <a:pt x="139" y="160"/>
                    </a:lnTo>
                    <a:lnTo>
                      <a:pt x="148" y="157"/>
                    </a:lnTo>
                    <a:lnTo>
                      <a:pt x="155" y="152"/>
                    </a:lnTo>
                    <a:lnTo>
                      <a:pt x="158" y="143"/>
                    </a:lnTo>
                    <a:lnTo>
                      <a:pt x="162" y="136"/>
                    </a:lnTo>
                    <a:lnTo>
                      <a:pt x="165" y="134"/>
                    </a:lnTo>
                    <a:lnTo>
                      <a:pt x="168" y="134"/>
                    </a:lnTo>
                    <a:lnTo>
                      <a:pt x="172" y="131"/>
                    </a:lnTo>
                    <a:lnTo>
                      <a:pt x="180" y="129"/>
                    </a:lnTo>
                    <a:lnTo>
                      <a:pt x="189" y="126"/>
                    </a:lnTo>
                    <a:lnTo>
                      <a:pt x="194" y="124"/>
                    </a:lnTo>
                    <a:lnTo>
                      <a:pt x="196" y="116"/>
                    </a:lnTo>
                    <a:lnTo>
                      <a:pt x="198" y="107"/>
                    </a:lnTo>
                    <a:lnTo>
                      <a:pt x="199" y="104"/>
                    </a:lnTo>
                    <a:lnTo>
                      <a:pt x="201" y="102"/>
                    </a:lnTo>
                    <a:lnTo>
                      <a:pt x="211" y="91"/>
                    </a:lnTo>
                    <a:lnTo>
                      <a:pt x="229" y="86"/>
                    </a:lnTo>
                    <a:lnTo>
                      <a:pt x="232" y="86"/>
                    </a:lnTo>
                    <a:lnTo>
                      <a:pt x="235" y="86"/>
                    </a:lnTo>
                    <a:lnTo>
                      <a:pt x="235" y="85"/>
                    </a:lnTo>
                    <a:lnTo>
                      <a:pt x="239" y="83"/>
                    </a:lnTo>
                    <a:lnTo>
                      <a:pt x="244" y="81"/>
                    </a:lnTo>
                    <a:lnTo>
                      <a:pt x="251" y="83"/>
                    </a:lnTo>
                    <a:lnTo>
                      <a:pt x="258" y="79"/>
                    </a:lnTo>
                    <a:lnTo>
                      <a:pt x="263" y="74"/>
                    </a:lnTo>
                    <a:lnTo>
                      <a:pt x="261" y="67"/>
                    </a:lnTo>
                    <a:lnTo>
                      <a:pt x="260" y="62"/>
                    </a:lnTo>
                    <a:lnTo>
                      <a:pt x="256" y="52"/>
                    </a:lnTo>
                    <a:lnTo>
                      <a:pt x="253" y="45"/>
                    </a:lnTo>
                    <a:lnTo>
                      <a:pt x="249" y="38"/>
                    </a:lnTo>
                    <a:lnTo>
                      <a:pt x="249" y="31"/>
                    </a:lnTo>
                    <a:lnTo>
                      <a:pt x="251" y="18"/>
                    </a:lnTo>
                    <a:lnTo>
                      <a:pt x="260" y="11"/>
                    </a:lnTo>
                    <a:lnTo>
                      <a:pt x="270" y="6"/>
                    </a:lnTo>
                    <a:lnTo>
                      <a:pt x="282" y="0"/>
                    </a:lnTo>
                    <a:lnTo>
                      <a:pt x="282" y="6"/>
                    </a:lnTo>
                    <a:lnTo>
                      <a:pt x="278" y="12"/>
                    </a:lnTo>
                    <a:lnTo>
                      <a:pt x="278" y="19"/>
                    </a:lnTo>
                    <a:lnTo>
                      <a:pt x="280" y="23"/>
                    </a:lnTo>
                    <a:lnTo>
                      <a:pt x="287" y="24"/>
                    </a:lnTo>
                    <a:lnTo>
                      <a:pt x="287" y="26"/>
                    </a:lnTo>
                    <a:lnTo>
                      <a:pt x="287" y="28"/>
                    </a:lnTo>
                    <a:lnTo>
                      <a:pt x="284" y="30"/>
                    </a:lnTo>
                    <a:lnTo>
                      <a:pt x="282" y="33"/>
                    </a:lnTo>
                    <a:lnTo>
                      <a:pt x="273" y="40"/>
                    </a:lnTo>
                    <a:lnTo>
                      <a:pt x="270" y="52"/>
                    </a:lnTo>
                    <a:lnTo>
                      <a:pt x="272" y="57"/>
                    </a:lnTo>
                    <a:lnTo>
                      <a:pt x="277" y="62"/>
                    </a:lnTo>
                    <a:lnTo>
                      <a:pt x="277" y="64"/>
                    </a:lnTo>
                    <a:lnTo>
                      <a:pt x="277" y="67"/>
                    </a:lnTo>
                    <a:lnTo>
                      <a:pt x="282" y="67"/>
                    </a:lnTo>
                    <a:lnTo>
                      <a:pt x="289" y="69"/>
                    </a:lnTo>
                    <a:lnTo>
                      <a:pt x="289" y="73"/>
                    </a:lnTo>
                    <a:lnTo>
                      <a:pt x="292" y="76"/>
                    </a:lnTo>
                    <a:lnTo>
                      <a:pt x="301" y="73"/>
                    </a:lnTo>
                    <a:lnTo>
                      <a:pt x="309" y="69"/>
                    </a:lnTo>
                    <a:lnTo>
                      <a:pt x="316" y="66"/>
                    </a:lnTo>
                    <a:lnTo>
                      <a:pt x="327" y="66"/>
                    </a:lnTo>
                    <a:lnTo>
                      <a:pt x="325" y="67"/>
                    </a:lnTo>
                    <a:lnTo>
                      <a:pt x="325" y="71"/>
                    </a:lnTo>
                    <a:lnTo>
                      <a:pt x="328" y="74"/>
                    </a:lnTo>
                    <a:lnTo>
                      <a:pt x="332" y="78"/>
                    </a:lnTo>
                    <a:lnTo>
                      <a:pt x="337" y="74"/>
                    </a:lnTo>
                    <a:lnTo>
                      <a:pt x="342" y="73"/>
                    </a:lnTo>
                    <a:lnTo>
                      <a:pt x="352" y="69"/>
                    </a:lnTo>
                    <a:lnTo>
                      <a:pt x="364" y="67"/>
                    </a:lnTo>
                    <a:lnTo>
                      <a:pt x="371" y="61"/>
                    </a:lnTo>
                    <a:lnTo>
                      <a:pt x="383" y="57"/>
                    </a:lnTo>
                    <a:lnTo>
                      <a:pt x="392" y="57"/>
                    </a:lnTo>
                    <a:lnTo>
                      <a:pt x="401" y="59"/>
                    </a:lnTo>
                    <a:lnTo>
                      <a:pt x="399" y="62"/>
                    </a:lnTo>
                    <a:lnTo>
                      <a:pt x="399" y="66"/>
                    </a:lnTo>
                    <a:lnTo>
                      <a:pt x="407" y="64"/>
                    </a:lnTo>
                    <a:lnTo>
                      <a:pt x="416" y="64"/>
                    </a:lnTo>
                    <a:lnTo>
                      <a:pt x="425" y="62"/>
                    </a:lnTo>
                    <a:lnTo>
                      <a:pt x="435" y="62"/>
                    </a:lnTo>
                    <a:lnTo>
                      <a:pt x="447" y="62"/>
                    </a:lnTo>
                    <a:lnTo>
                      <a:pt x="461" y="62"/>
                    </a:lnTo>
                    <a:lnTo>
                      <a:pt x="466" y="64"/>
                    </a:lnTo>
                    <a:lnTo>
                      <a:pt x="471" y="73"/>
                    </a:lnTo>
                    <a:lnTo>
                      <a:pt x="475" y="81"/>
                    </a:lnTo>
                    <a:lnTo>
                      <a:pt x="476" y="91"/>
                    </a:lnTo>
                    <a:lnTo>
                      <a:pt x="473" y="100"/>
                    </a:lnTo>
                    <a:lnTo>
                      <a:pt x="469" y="109"/>
                    </a:lnTo>
                    <a:lnTo>
                      <a:pt x="473" y="122"/>
                    </a:lnTo>
                    <a:lnTo>
                      <a:pt x="478" y="136"/>
                    </a:lnTo>
                    <a:lnTo>
                      <a:pt x="473" y="141"/>
                    </a:lnTo>
                    <a:lnTo>
                      <a:pt x="468" y="147"/>
                    </a:lnTo>
                    <a:lnTo>
                      <a:pt x="461" y="159"/>
                    </a:lnTo>
                    <a:lnTo>
                      <a:pt x="459" y="176"/>
                    </a:lnTo>
                    <a:lnTo>
                      <a:pt x="459" y="183"/>
                    </a:lnTo>
                    <a:lnTo>
                      <a:pt x="464" y="186"/>
                    </a:lnTo>
                    <a:lnTo>
                      <a:pt x="471" y="186"/>
                    </a:lnTo>
                    <a:lnTo>
                      <a:pt x="481" y="188"/>
                    </a:lnTo>
                    <a:lnTo>
                      <a:pt x="490" y="186"/>
                    </a:lnTo>
                    <a:lnTo>
                      <a:pt x="500" y="184"/>
                    </a:lnTo>
                    <a:lnTo>
                      <a:pt x="507" y="181"/>
                    </a:lnTo>
                    <a:lnTo>
                      <a:pt x="518" y="181"/>
                    </a:lnTo>
                    <a:lnTo>
                      <a:pt x="524" y="184"/>
                    </a:lnTo>
                    <a:lnTo>
                      <a:pt x="528" y="193"/>
                    </a:lnTo>
                    <a:lnTo>
                      <a:pt x="531" y="202"/>
                    </a:lnTo>
                    <a:lnTo>
                      <a:pt x="540" y="207"/>
                    </a:lnTo>
                    <a:lnTo>
                      <a:pt x="540" y="227"/>
                    </a:lnTo>
                    <a:lnTo>
                      <a:pt x="540" y="229"/>
                    </a:lnTo>
                    <a:lnTo>
                      <a:pt x="543" y="231"/>
                    </a:lnTo>
                    <a:lnTo>
                      <a:pt x="545" y="234"/>
                    </a:lnTo>
                    <a:lnTo>
                      <a:pt x="550" y="232"/>
                    </a:lnTo>
                    <a:lnTo>
                      <a:pt x="557" y="231"/>
                    </a:lnTo>
                    <a:lnTo>
                      <a:pt x="557" y="234"/>
                    </a:lnTo>
                    <a:lnTo>
                      <a:pt x="557" y="239"/>
                    </a:lnTo>
                    <a:lnTo>
                      <a:pt x="550" y="241"/>
                    </a:lnTo>
                    <a:lnTo>
                      <a:pt x="547" y="2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12" name="Freeform 256"/>
              <p:cNvSpPr>
                <a:spLocks/>
              </p:cNvSpPr>
              <p:nvPr/>
            </p:nvSpPr>
            <p:spPr bwMode="auto">
              <a:xfrm>
                <a:off x="4429919" y="2020888"/>
                <a:ext cx="598488" cy="574675"/>
              </a:xfrm>
              <a:custGeom>
                <a:avLst/>
                <a:gdLst/>
                <a:ahLst/>
                <a:cxnLst>
                  <a:cxn ang="0">
                    <a:pos x="66" y="278"/>
                  </a:cxn>
                  <a:cxn ang="0">
                    <a:pos x="23" y="299"/>
                  </a:cxn>
                  <a:cxn ang="0">
                    <a:pos x="9" y="283"/>
                  </a:cxn>
                  <a:cxn ang="0">
                    <a:pos x="2" y="277"/>
                  </a:cxn>
                  <a:cxn ang="0">
                    <a:pos x="2" y="246"/>
                  </a:cxn>
                  <a:cxn ang="0">
                    <a:pos x="12" y="215"/>
                  </a:cxn>
                  <a:cxn ang="0">
                    <a:pos x="45" y="187"/>
                  </a:cxn>
                  <a:cxn ang="0">
                    <a:pos x="52" y="180"/>
                  </a:cxn>
                  <a:cxn ang="0">
                    <a:pos x="98" y="146"/>
                  </a:cxn>
                  <a:cxn ang="0">
                    <a:pos x="107" y="125"/>
                  </a:cxn>
                  <a:cxn ang="0">
                    <a:pos x="136" y="93"/>
                  </a:cxn>
                  <a:cxn ang="0">
                    <a:pos x="164" y="60"/>
                  </a:cxn>
                  <a:cxn ang="0">
                    <a:pos x="145" y="62"/>
                  </a:cxn>
                  <a:cxn ang="0">
                    <a:pos x="145" y="53"/>
                  </a:cxn>
                  <a:cxn ang="0">
                    <a:pos x="153" y="51"/>
                  </a:cxn>
                  <a:cxn ang="0">
                    <a:pos x="176" y="55"/>
                  </a:cxn>
                  <a:cxn ang="0">
                    <a:pos x="176" y="41"/>
                  </a:cxn>
                  <a:cxn ang="0">
                    <a:pos x="191" y="36"/>
                  </a:cxn>
                  <a:cxn ang="0">
                    <a:pos x="212" y="36"/>
                  </a:cxn>
                  <a:cxn ang="0">
                    <a:pos x="241" y="19"/>
                  </a:cxn>
                  <a:cxn ang="0">
                    <a:pos x="251" y="5"/>
                  </a:cxn>
                  <a:cxn ang="0">
                    <a:pos x="274" y="7"/>
                  </a:cxn>
                  <a:cxn ang="0">
                    <a:pos x="289" y="10"/>
                  </a:cxn>
                  <a:cxn ang="0">
                    <a:pos x="306" y="8"/>
                  </a:cxn>
                  <a:cxn ang="0">
                    <a:pos x="329" y="7"/>
                  </a:cxn>
                  <a:cxn ang="0">
                    <a:pos x="349" y="7"/>
                  </a:cxn>
                  <a:cxn ang="0">
                    <a:pos x="344" y="27"/>
                  </a:cxn>
                  <a:cxn ang="0">
                    <a:pos x="355" y="38"/>
                  </a:cxn>
                  <a:cxn ang="0">
                    <a:pos x="339" y="63"/>
                  </a:cxn>
                  <a:cxn ang="0">
                    <a:pos x="351" y="89"/>
                  </a:cxn>
                  <a:cxn ang="0">
                    <a:pos x="353" y="132"/>
                  </a:cxn>
                  <a:cxn ang="0">
                    <a:pos x="363" y="160"/>
                  </a:cxn>
                  <a:cxn ang="0">
                    <a:pos x="370" y="182"/>
                  </a:cxn>
                  <a:cxn ang="0">
                    <a:pos x="342" y="232"/>
                  </a:cxn>
                  <a:cxn ang="0">
                    <a:pos x="301" y="252"/>
                  </a:cxn>
                  <a:cxn ang="0">
                    <a:pos x="255" y="261"/>
                  </a:cxn>
                  <a:cxn ang="0">
                    <a:pos x="232" y="230"/>
                  </a:cxn>
                  <a:cxn ang="0">
                    <a:pos x="227" y="203"/>
                  </a:cxn>
                  <a:cxn ang="0">
                    <a:pos x="263" y="168"/>
                  </a:cxn>
                  <a:cxn ang="0">
                    <a:pos x="289" y="137"/>
                  </a:cxn>
                  <a:cxn ang="0">
                    <a:pos x="250" y="132"/>
                  </a:cxn>
                  <a:cxn ang="0">
                    <a:pos x="232" y="158"/>
                  </a:cxn>
                  <a:cxn ang="0">
                    <a:pos x="207" y="184"/>
                  </a:cxn>
                  <a:cxn ang="0">
                    <a:pos x="174" y="218"/>
                  </a:cxn>
                  <a:cxn ang="0">
                    <a:pos x="174" y="247"/>
                  </a:cxn>
                  <a:cxn ang="0">
                    <a:pos x="196" y="266"/>
                  </a:cxn>
                  <a:cxn ang="0">
                    <a:pos x="176" y="287"/>
                  </a:cxn>
                  <a:cxn ang="0">
                    <a:pos x="162" y="313"/>
                  </a:cxn>
                  <a:cxn ang="0">
                    <a:pos x="160" y="335"/>
                  </a:cxn>
                  <a:cxn ang="0">
                    <a:pos x="140" y="345"/>
                  </a:cxn>
                  <a:cxn ang="0">
                    <a:pos x="115" y="362"/>
                  </a:cxn>
                  <a:cxn ang="0">
                    <a:pos x="105" y="338"/>
                  </a:cxn>
                  <a:cxn ang="0">
                    <a:pos x="95" y="306"/>
                  </a:cxn>
                  <a:cxn ang="0">
                    <a:pos x="88" y="278"/>
                  </a:cxn>
                </a:cxnLst>
                <a:rect l="0" t="0" r="r" b="b"/>
                <a:pathLst>
                  <a:path w="377" h="362">
                    <a:moveTo>
                      <a:pt x="88" y="280"/>
                    </a:moveTo>
                    <a:lnTo>
                      <a:pt x="81" y="275"/>
                    </a:lnTo>
                    <a:lnTo>
                      <a:pt x="78" y="268"/>
                    </a:lnTo>
                    <a:lnTo>
                      <a:pt x="66" y="278"/>
                    </a:lnTo>
                    <a:lnTo>
                      <a:pt x="55" y="290"/>
                    </a:lnTo>
                    <a:lnTo>
                      <a:pt x="43" y="299"/>
                    </a:lnTo>
                    <a:lnTo>
                      <a:pt x="29" y="302"/>
                    </a:lnTo>
                    <a:lnTo>
                      <a:pt x="23" y="299"/>
                    </a:lnTo>
                    <a:lnTo>
                      <a:pt x="16" y="295"/>
                    </a:lnTo>
                    <a:lnTo>
                      <a:pt x="7" y="290"/>
                    </a:lnTo>
                    <a:lnTo>
                      <a:pt x="5" y="289"/>
                    </a:lnTo>
                    <a:lnTo>
                      <a:pt x="9" y="283"/>
                    </a:lnTo>
                    <a:lnTo>
                      <a:pt x="14" y="280"/>
                    </a:lnTo>
                    <a:lnTo>
                      <a:pt x="14" y="273"/>
                    </a:lnTo>
                    <a:lnTo>
                      <a:pt x="7" y="273"/>
                    </a:lnTo>
                    <a:lnTo>
                      <a:pt x="2" y="277"/>
                    </a:lnTo>
                    <a:lnTo>
                      <a:pt x="4" y="270"/>
                    </a:lnTo>
                    <a:lnTo>
                      <a:pt x="9" y="263"/>
                    </a:lnTo>
                    <a:lnTo>
                      <a:pt x="4" y="254"/>
                    </a:lnTo>
                    <a:lnTo>
                      <a:pt x="2" y="246"/>
                    </a:lnTo>
                    <a:lnTo>
                      <a:pt x="0" y="235"/>
                    </a:lnTo>
                    <a:lnTo>
                      <a:pt x="0" y="227"/>
                    </a:lnTo>
                    <a:lnTo>
                      <a:pt x="4" y="218"/>
                    </a:lnTo>
                    <a:lnTo>
                      <a:pt x="12" y="215"/>
                    </a:lnTo>
                    <a:lnTo>
                      <a:pt x="21" y="203"/>
                    </a:lnTo>
                    <a:lnTo>
                      <a:pt x="35" y="197"/>
                    </a:lnTo>
                    <a:lnTo>
                      <a:pt x="40" y="192"/>
                    </a:lnTo>
                    <a:lnTo>
                      <a:pt x="45" y="187"/>
                    </a:lnTo>
                    <a:lnTo>
                      <a:pt x="52" y="184"/>
                    </a:lnTo>
                    <a:lnTo>
                      <a:pt x="64" y="184"/>
                    </a:lnTo>
                    <a:lnTo>
                      <a:pt x="57" y="182"/>
                    </a:lnTo>
                    <a:lnTo>
                      <a:pt x="52" y="180"/>
                    </a:lnTo>
                    <a:lnTo>
                      <a:pt x="66" y="173"/>
                    </a:lnTo>
                    <a:lnTo>
                      <a:pt x="78" y="165"/>
                    </a:lnTo>
                    <a:lnTo>
                      <a:pt x="86" y="154"/>
                    </a:lnTo>
                    <a:lnTo>
                      <a:pt x="98" y="146"/>
                    </a:lnTo>
                    <a:lnTo>
                      <a:pt x="100" y="139"/>
                    </a:lnTo>
                    <a:lnTo>
                      <a:pt x="103" y="132"/>
                    </a:lnTo>
                    <a:lnTo>
                      <a:pt x="103" y="127"/>
                    </a:lnTo>
                    <a:lnTo>
                      <a:pt x="107" y="125"/>
                    </a:lnTo>
                    <a:lnTo>
                      <a:pt x="109" y="118"/>
                    </a:lnTo>
                    <a:lnTo>
                      <a:pt x="112" y="113"/>
                    </a:lnTo>
                    <a:lnTo>
                      <a:pt x="122" y="99"/>
                    </a:lnTo>
                    <a:lnTo>
                      <a:pt x="136" y="93"/>
                    </a:lnTo>
                    <a:lnTo>
                      <a:pt x="143" y="86"/>
                    </a:lnTo>
                    <a:lnTo>
                      <a:pt x="152" y="77"/>
                    </a:lnTo>
                    <a:lnTo>
                      <a:pt x="158" y="68"/>
                    </a:lnTo>
                    <a:lnTo>
                      <a:pt x="164" y="60"/>
                    </a:lnTo>
                    <a:lnTo>
                      <a:pt x="148" y="65"/>
                    </a:lnTo>
                    <a:lnTo>
                      <a:pt x="134" y="70"/>
                    </a:lnTo>
                    <a:lnTo>
                      <a:pt x="138" y="65"/>
                    </a:lnTo>
                    <a:lnTo>
                      <a:pt x="145" y="62"/>
                    </a:lnTo>
                    <a:lnTo>
                      <a:pt x="138" y="60"/>
                    </a:lnTo>
                    <a:lnTo>
                      <a:pt x="136" y="60"/>
                    </a:lnTo>
                    <a:lnTo>
                      <a:pt x="138" y="55"/>
                    </a:lnTo>
                    <a:lnTo>
                      <a:pt x="145" y="53"/>
                    </a:lnTo>
                    <a:lnTo>
                      <a:pt x="148" y="55"/>
                    </a:lnTo>
                    <a:lnTo>
                      <a:pt x="150" y="50"/>
                    </a:lnTo>
                    <a:lnTo>
                      <a:pt x="153" y="48"/>
                    </a:lnTo>
                    <a:lnTo>
                      <a:pt x="153" y="51"/>
                    </a:lnTo>
                    <a:lnTo>
                      <a:pt x="153" y="56"/>
                    </a:lnTo>
                    <a:lnTo>
                      <a:pt x="162" y="58"/>
                    </a:lnTo>
                    <a:lnTo>
                      <a:pt x="170" y="62"/>
                    </a:lnTo>
                    <a:lnTo>
                      <a:pt x="176" y="55"/>
                    </a:lnTo>
                    <a:lnTo>
                      <a:pt x="179" y="50"/>
                    </a:lnTo>
                    <a:lnTo>
                      <a:pt x="176" y="48"/>
                    </a:lnTo>
                    <a:lnTo>
                      <a:pt x="172" y="48"/>
                    </a:lnTo>
                    <a:lnTo>
                      <a:pt x="176" y="41"/>
                    </a:lnTo>
                    <a:lnTo>
                      <a:pt x="184" y="39"/>
                    </a:lnTo>
                    <a:lnTo>
                      <a:pt x="188" y="39"/>
                    </a:lnTo>
                    <a:lnTo>
                      <a:pt x="193" y="39"/>
                    </a:lnTo>
                    <a:lnTo>
                      <a:pt x="191" y="36"/>
                    </a:lnTo>
                    <a:lnTo>
                      <a:pt x="189" y="36"/>
                    </a:lnTo>
                    <a:lnTo>
                      <a:pt x="198" y="29"/>
                    </a:lnTo>
                    <a:lnTo>
                      <a:pt x="212" y="29"/>
                    </a:lnTo>
                    <a:lnTo>
                      <a:pt x="212" y="36"/>
                    </a:lnTo>
                    <a:lnTo>
                      <a:pt x="219" y="27"/>
                    </a:lnTo>
                    <a:lnTo>
                      <a:pt x="231" y="22"/>
                    </a:lnTo>
                    <a:lnTo>
                      <a:pt x="231" y="29"/>
                    </a:lnTo>
                    <a:lnTo>
                      <a:pt x="241" y="19"/>
                    </a:lnTo>
                    <a:lnTo>
                      <a:pt x="255" y="15"/>
                    </a:lnTo>
                    <a:lnTo>
                      <a:pt x="248" y="12"/>
                    </a:lnTo>
                    <a:lnTo>
                      <a:pt x="246" y="10"/>
                    </a:lnTo>
                    <a:lnTo>
                      <a:pt x="251" y="5"/>
                    </a:lnTo>
                    <a:lnTo>
                      <a:pt x="258" y="1"/>
                    </a:lnTo>
                    <a:lnTo>
                      <a:pt x="262" y="7"/>
                    </a:lnTo>
                    <a:lnTo>
                      <a:pt x="269" y="10"/>
                    </a:lnTo>
                    <a:lnTo>
                      <a:pt x="274" y="7"/>
                    </a:lnTo>
                    <a:lnTo>
                      <a:pt x="284" y="3"/>
                    </a:lnTo>
                    <a:lnTo>
                      <a:pt x="291" y="0"/>
                    </a:lnTo>
                    <a:lnTo>
                      <a:pt x="294" y="3"/>
                    </a:lnTo>
                    <a:lnTo>
                      <a:pt x="289" y="10"/>
                    </a:lnTo>
                    <a:lnTo>
                      <a:pt x="284" y="20"/>
                    </a:lnTo>
                    <a:lnTo>
                      <a:pt x="294" y="13"/>
                    </a:lnTo>
                    <a:lnTo>
                      <a:pt x="306" y="5"/>
                    </a:lnTo>
                    <a:lnTo>
                      <a:pt x="306" y="8"/>
                    </a:lnTo>
                    <a:lnTo>
                      <a:pt x="308" y="13"/>
                    </a:lnTo>
                    <a:lnTo>
                      <a:pt x="318" y="5"/>
                    </a:lnTo>
                    <a:lnTo>
                      <a:pt x="329" y="0"/>
                    </a:lnTo>
                    <a:lnTo>
                      <a:pt x="329" y="7"/>
                    </a:lnTo>
                    <a:lnTo>
                      <a:pt x="334" y="12"/>
                    </a:lnTo>
                    <a:lnTo>
                      <a:pt x="336" y="5"/>
                    </a:lnTo>
                    <a:lnTo>
                      <a:pt x="341" y="3"/>
                    </a:lnTo>
                    <a:lnTo>
                      <a:pt x="349" y="7"/>
                    </a:lnTo>
                    <a:lnTo>
                      <a:pt x="358" y="12"/>
                    </a:lnTo>
                    <a:lnTo>
                      <a:pt x="349" y="20"/>
                    </a:lnTo>
                    <a:lnTo>
                      <a:pt x="337" y="24"/>
                    </a:lnTo>
                    <a:lnTo>
                      <a:pt x="344" y="27"/>
                    </a:lnTo>
                    <a:lnTo>
                      <a:pt x="348" y="31"/>
                    </a:lnTo>
                    <a:lnTo>
                      <a:pt x="355" y="32"/>
                    </a:lnTo>
                    <a:lnTo>
                      <a:pt x="363" y="34"/>
                    </a:lnTo>
                    <a:lnTo>
                      <a:pt x="355" y="38"/>
                    </a:lnTo>
                    <a:lnTo>
                      <a:pt x="348" y="44"/>
                    </a:lnTo>
                    <a:lnTo>
                      <a:pt x="339" y="50"/>
                    </a:lnTo>
                    <a:lnTo>
                      <a:pt x="337" y="60"/>
                    </a:lnTo>
                    <a:lnTo>
                      <a:pt x="339" y="63"/>
                    </a:lnTo>
                    <a:lnTo>
                      <a:pt x="346" y="68"/>
                    </a:lnTo>
                    <a:lnTo>
                      <a:pt x="353" y="72"/>
                    </a:lnTo>
                    <a:lnTo>
                      <a:pt x="356" y="80"/>
                    </a:lnTo>
                    <a:lnTo>
                      <a:pt x="351" y="89"/>
                    </a:lnTo>
                    <a:lnTo>
                      <a:pt x="348" y="101"/>
                    </a:lnTo>
                    <a:lnTo>
                      <a:pt x="351" y="113"/>
                    </a:lnTo>
                    <a:lnTo>
                      <a:pt x="356" y="125"/>
                    </a:lnTo>
                    <a:lnTo>
                      <a:pt x="353" y="132"/>
                    </a:lnTo>
                    <a:lnTo>
                      <a:pt x="351" y="141"/>
                    </a:lnTo>
                    <a:lnTo>
                      <a:pt x="353" y="146"/>
                    </a:lnTo>
                    <a:lnTo>
                      <a:pt x="358" y="153"/>
                    </a:lnTo>
                    <a:lnTo>
                      <a:pt x="363" y="160"/>
                    </a:lnTo>
                    <a:lnTo>
                      <a:pt x="367" y="166"/>
                    </a:lnTo>
                    <a:lnTo>
                      <a:pt x="363" y="170"/>
                    </a:lnTo>
                    <a:lnTo>
                      <a:pt x="361" y="173"/>
                    </a:lnTo>
                    <a:lnTo>
                      <a:pt x="370" y="182"/>
                    </a:lnTo>
                    <a:lnTo>
                      <a:pt x="377" y="194"/>
                    </a:lnTo>
                    <a:lnTo>
                      <a:pt x="370" y="206"/>
                    </a:lnTo>
                    <a:lnTo>
                      <a:pt x="358" y="220"/>
                    </a:lnTo>
                    <a:lnTo>
                      <a:pt x="342" y="232"/>
                    </a:lnTo>
                    <a:lnTo>
                      <a:pt x="332" y="244"/>
                    </a:lnTo>
                    <a:lnTo>
                      <a:pt x="324" y="249"/>
                    </a:lnTo>
                    <a:lnTo>
                      <a:pt x="313" y="252"/>
                    </a:lnTo>
                    <a:lnTo>
                      <a:pt x="301" y="252"/>
                    </a:lnTo>
                    <a:lnTo>
                      <a:pt x="294" y="254"/>
                    </a:lnTo>
                    <a:lnTo>
                      <a:pt x="277" y="259"/>
                    </a:lnTo>
                    <a:lnTo>
                      <a:pt x="263" y="263"/>
                    </a:lnTo>
                    <a:lnTo>
                      <a:pt x="255" y="261"/>
                    </a:lnTo>
                    <a:lnTo>
                      <a:pt x="251" y="256"/>
                    </a:lnTo>
                    <a:lnTo>
                      <a:pt x="236" y="251"/>
                    </a:lnTo>
                    <a:lnTo>
                      <a:pt x="231" y="237"/>
                    </a:lnTo>
                    <a:lnTo>
                      <a:pt x="232" y="230"/>
                    </a:lnTo>
                    <a:lnTo>
                      <a:pt x="238" y="227"/>
                    </a:lnTo>
                    <a:lnTo>
                      <a:pt x="229" y="218"/>
                    </a:lnTo>
                    <a:lnTo>
                      <a:pt x="227" y="208"/>
                    </a:lnTo>
                    <a:lnTo>
                      <a:pt x="227" y="203"/>
                    </a:lnTo>
                    <a:lnTo>
                      <a:pt x="227" y="197"/>
                    </a:lnTo>
                    <a:lnTo>
                      <a:pt x="241" y="192"/>
                    </a:lnTo>
                    <a:lnTo>
                      <a:pt x="253" y="182"/>
                    </a:lnTo>
                    <a:lnTo>
                      <a:pt x="263" y="168"/>
                    </a:lnTo>
                    <a:lnTo>
                      <a:pt x="274" y="161"/>
                    </a:lnTo>
                    <a:lnTo>
                      <a:pt x="286" y="154"/>
                    </a:lnTo>
                    <a:lnTo>
                      <a:pt x="293" y="146"/>
                    </a:lnTo>
                    <a:lnTo>
                      <a:pt x="289" y="137"/>
                    </a:lnTo>
                    <a:lnTo>
                      <a:pt x="282" y="134"/>
                    </a:lnTo>
                    <a:lnTo>
                      <a:pt x="272" y="132"/>
                    </a:lnTo>
                    <a:lnTo>
                      <a:pt x="263" y="132"/>
                    </a:lnTo>
                    <a:lnTo>
                      <a:pt x="250" y="132"/>
                    </a:lnTo>
                    <a:lnTo>
                      <a:pt x="241" y="136"/>
                    </a:lnTo>
                    <a:lnTo>
                      <a:pt x="234" y="141"/>
                    </a:lnTo>
                    <a:lnTo>
                      <a:pt x="232" y="151"/>
                    </a:lnTo>
                    <a:lnTo>
                      <a:pt x="232" y="158"/>
                    </a:lnTo>
                    <a:lnTo>
                      <a:pt x="232" y="163"/>
                    </a:lnTo>
                    <a:lnTo>
                      <a:pt x="227" y="170"/>
                    </a:lnTo>
                    <a:lnTo>
                      <a:pt x="219" y="179"/>
                    </a:lnTo>
                    <a:lnTo>
                      <a:pt x="207" y="184"/>
                    </a:lnTo>
                    <a:lnTo>
                      <a:pt x="198" y="191"/>
                    </a:lnTo>
                    <a:lnTo>
                      <a:pt x="184" y="196"/>
                    </a:lnTo>
                    <a:lnTo>
                      <a:pt x="176" y="208"/>
                    </a:lnTo>
                    <a:lnTo>
                      <a:pt x="174" y="218"/>
                    </a:lnTo>
                    <a:lnTo>
                      <a:pt x="169" y="228"/>
                    </a:lnTo>
                    <a:lnTo>
                      <a:pt x="169" y="237"/>
                    </a:lnTo>
                    <a:lnTo>
                      <a:pt x="172" y="242"/>
                    </a:lnTo>
                    <a:lnTo>
                      <a:pt x="174" y="247"/>
                    </a:lnTo>
                    <a:lnTo>
                      <a:pt x="179" y="249"/>
                    </a:lnTo>
                    <a:lnTo>
                      <a:pt x="188" y="254"/>
                    </a:lnTo>
                    <a:lnTo>
                      <a:pt x="193" y="259"/>
                    </a:lnTo>
                    <a:lnTo>
                      <a:pt x="196" y="266"/>
                    </a:lnTo>
                    <a:lnTo>
                      <a:pt x="193" y="271"/>
                    </a:lnTo>
                    <a:lnTo>
                      <a:pt x="188" y="278"/>
                    </a:lnTo>
                    <a:lnTo>
                      <a:pt x="179" y="283"/>
                    </a:lnTo>
                    <a:lnTo>
                      <a:pt x="176" y="287"/>
                    </a:lnTo>
                    <a:lnTo>
                      <a:pt x="169" y="289"/>
                    </a:lnTo>
                    <a:lnTo>
                      <a:pt x="164" y="295"/>
                    </a:lnTo>
                    <a:lnTo>
                      <a:pt x="162" y="304"/>
                    </a:lnTo>
                    <a:lnTo>
                      <a:pt x="162" y="313"/>
                    </a:lnTo>
                    <a:lnTo>
                      <a:pt x="164" y="320"/>
                    </a:lnTo>
                    <a:lnTo>
                      <a:pt x="169" y="321"/>
                    </a:lnTo>
                    <a:lnTo>
                      <a:pt x="164" y="328"/>
                    </a:lnTo>
                    <a:lnTo>
                      <a:pt x="160" y="335"/>
                    </a:lnTo>
                    <a:lnTo>
                      <a:pt x="155" y="338"/>
                    </a:lnTo>
                    <a:lnTo>
                      <a:pt x="153" y="345"/>
                    </a:lnTo>
                    <a:lnTo>
                      <a:pt x="145" y="345"/>
                    </a:lnTo>
                    <a:lnTo>
                      <a:pt x="140" y="345"/>
                    </a:lnTo>
                    <a:lnTo>
                      <a:pt x="133" y="347"/>
                    </a:lnTo>
                    <a:lnTo>
                      <a:pt x="129" y="354"/>
                    </a:lnTo>
                    <a:lnTo>
                      <a:pt x="122" y="359"/>
                    </a:lnTo>
                    <a:lnTo>
                      <a:pt x="115" y="362"/>
                    </a:lnTo>
                    <a:lnTo>
                      <a:pt x="112" y="357"/>
                    </a:lnTo>
                    <a:lnTo>
                      <a:pt x="109" y="350"/>
                    </a:lnTo>
                    <a:lnTo>
                      <a:pt x="105" y="342"/>
                    </a:lnTo>
                    <a:lnTo>
                      <a:pt x="105" y="338"/>
                    </a:lnTo>
                    <a:lnTo>
                      <a:pt x="105" y="335"/>
                    </a:lnTo>
                    <a:lnTo>
                      <a:pt x="105" y="333"/>
                    </a:lnTo>
                    <a:lnTo>
                      <a:pt x="97" y="320"/>
                    </a:lnTo>
                    <a:lnTo>
                      <a:pt x="95" y="306"/>
                    </a:lnTo>
                    <a:lnTo>
                      <a:pt x="88" y="297"/>
                    </a:lnTo>
                    <a:lnTo>
                      <a:pt x="85" y="287"/>
                    </a:lnTo>
                    <a:lnTo>
                      <a:pt x="86" y="282"/>
                    </a:lnTo>
                    <a:lnTo>
                      <a:pt x="88" y="278"/>
                    </a:lnTo>
                    <a:lnTo>
                      <a:pt x="88" y="2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13" name="Freeform 257"/>
              <p:cNvSpPr>
                <a:spLocks/>
              </p:cNvSpPr>
              <p:nvPr/>
            </p:nvSpPr>
            <p:spPr bwMode="auto">
              <a:xfrm>
                <a:off x="4763294" y="1717675"/>
                <a:ext cx="3906838" cy="1449387"/>
              </a:xfrm>
              <a:custGeom>
                <a:avLst/>
                <a:gdLst/>
                <a:ahLst/>
                <a:cxnLst>
                  <a:cxn ang="0">
                    <a:pos x="1720" y="708"/>
                  </a:cxn>
                  <a:cxn ang="0">
                    <a:pos x="1734" y="571"/>
                  </a:cxn>
                  <a:cxn ang="0">
                    <a:pos x="1744" y="488"/>
                  </a:cxn>
                  <a:cxn ang="0">
                    <a:pos x="1906" y="464"/>
                  </a:cxn>
                  <a:cxn ang="0">
                    <a:pos x="2002" y="416"/>
                  </a:cxn>
                  <a:cxn ang="0">
                    <a:pos x="2086" y="409"/>
                  </a:cxn>
                  <a:cxn ang="0">
                    <a:pos x="1976" y="507"/>
                  </a:cxn>
                  <a:cxn ang="0">
                    <a:pos x="2011" y="584"/>
                  </a:cxn>
                  <a:cxn ang="0">
                    <a:pos x="2091" y="452"/>
                  </a:cxn>
                  <a:cxn ang="0">
                    <a:pos x="2257" y="399"/>
                  </a:cxn>
                  <a:cxn ang="0">
                    <a:pos x="2324" y="328"/>
                  </a:cxn>
                  <a:cxn ang="0">
                    <a:pos x="2425" y="333"/>
                  </a:cxn>
                  <a:cxn ang="0">
                    <a:pos x="2355" y="261"/>
                  </a:cxn>
                  <a:cxn ang="0">
                    <a:pos x="2177" y="234"/>
                  </a:cxn>
                  <a:cxn ang="0">
                    <a:pos x="1978" y="184"/>
                  </a:cxn>
                  <a:cxn ang="0">
                    <a:pos x="1835" y="143"/>
                  </a:cxn>
                  <a:cxn ang="0">
                    <a:pos x="1696" y="179"/>
                  </a:cxn>
                  <a:cxn ang="0">
                    <a:pos x="1582" y="173"/>
                  </a:cxn>
                  <a:cxn ang="0">
                    <a:pos x="1436" y="130"/>
                  </a:cxn>
                  <a:cxn ang="0">
                    <a:pos x="1266" y="122"/>
                  </a:cxn>
                  <a:cxn ang="0">
                    <a:pos x="1233" y="2"/>
                  </a:cxn>
                  <a:cxn ang="0">
                    <a:pos x="1106" y="48"/>
                  </a:cxn>
                  <a:cxn ang="0">
                    <a:pos x="958" y="106"/>
                  </a:cxn>
                  <a:cxn ang="0">
                    <a:pos x="863" y="156"/>
                  </a:cxn>
                  <a:cxn ang="0">
                    <a:pos x="790" y="148"/>
                  </a:cxn>
                  <a:cxn ang="0">
                    <a:pos x="769" y="251"/>
                  </a:cxn>
                  <a:cxn ang="0">
                    <a:pos x="731" y="137"/>
                  </a:cxn>
                  <a:cxn ang="0">
                    <a:pos x="704" y="256"/>
                  </a:cxn>
                  <a:cxn ang="0">
                    <a:pos x="585" y="247"/>
                  </a:cxn>
                  <a:cxn ang="0">
                    <a:pos x="470" y="247"/>
                  </a:cxn>
                  <a:cxn ang="0">
                    <a:pos x="363" y="247"/>
                  </a:cxn>
                  <a:cxn ang="0">
                    <a:pos x="294" y="335"/>
                  </a:cxn>
                  <a:cxn ang="0">
                    <a:pos x="237" y="311"/>
                  </a:cxn>
                  <a:cxn ang="0">
                    <a:pos x="225" y="244"/>
                  </a:cxn>
                  <a:cxn ang="0">
                    <a:pos x="136" y="259"/>
                  </a:cxn>
                  <a:cxn ang="0">
                    <a:pos x="153" y="361"/>
                  </a:cxn>
                  <a:cxn ang="0">
                    <a:pos x="107" y="464"/>
                  </a:cxn>
                  <a:cxn ang="0">
                    <a:pos x="41" y="500"/>
                  </a:cxn>
                  <a:cxn ang="0">
                    <a:pos x="45" y="567"/>
                  </a:cxn>
                  <a:cxn ang="0">
                    <a:pos x="43" y="688"/>
                  </a:cxn>
                  <a:cxn ang="0">
                    <a:pos x="124" y="734"/>
                  </a:cxn>
                  <a:cxn ang="0">
                    <a:pos x="212" y="755"/>
                  </a:cxn>
                  <a:cxn ang="0">
                    <a:pos x="253" y="713"/>
                  </a:cxn>
                  <a:cxn ang="0">
                    <a:pos x="270" y="765"/>
                  </a:cxn>
                  <a:cxn ang="0">
                    <a:pos x="353" y="829"/>
                  </a:cxn>
                  <a:cxn ang="0">
                    <a:pos x="415" y="851"/>
                  </a:cxn>
                  <a:cxn ang="0">
                    <a:pos x="403" y="727"/>
                  </a:cxn>
                  <a:cxn ang="0">
                    <a:pos x="492" y="729"/>
                  </a:cxn>
                  <a:cxn ang="0">
                    <a:pos x="473" y="811"/>
                  </a:cxn>
                  <a:cxn ang="0">
                    <a:pos x="494" y="880"/>
                  </a:cxn>
                  <a:cxn ang="0">
                    <a:pos x="599" y="889"/>
                  </a:cxn>
                  <a:cxn ang="0">
                    <a:pos x="666" y="875"/>
                  </a:cxn>
                  <a:cxn ang="0">
                    <a:pos x="747" y="872"/>
                  </a:cxn>
                  <a:cxn ang="0">
                    <a:pos x="798" y="825"/>
                  </a:cxn>
                  <a:cxn ang="0">
                    <a:pos x="932" y="710"/>
                  </a:cxn>
                  <a:cxn ang="0">
                    <a:pos x="1030" y="648"/>
                  </a:cxn>
                  <a:cxn ang="0">
                    <a:pos x="1152" y="612"/>
                  </a:cxn>
                  <a:cxn ang="0">
                    <a:pos x="1268" y="653"/>
                  </a:cxn>
                  <a:cxn ang="0">
                    <a:pos x="1422" y="653"/>
                  </a:cxn>
                  <a:cxn ang="0">
                    <a:pos x="1546" y="629"/>
                  </a:cxn>
                  <a:cxn ang="0">
                    <a:pos x="1649" y="682"/>
                  </a:cxn>
                  <a:cxn ang="0">
                    <a:pos x="1610" y="780"/>
                  </a:cxn>
                </a:cxnLst>
                <a:rect l="0" t="0" r="r" b="b"/>
                <a:pathLst>
                  <a:path w="2461" h="913">
                    <a:moveTo>
                      <a:pt x="1608" y="786"/>
                    </a:moveTo>
                    <a:lnTo>
                      <a:pt x="1612" y="786"/>
                    </a:lnTo>
                    <a:lnTo>
                      <a:pt x="1620" y="787"/>
                    </a:lnTo>
                    <a:lnTo>
                      <a:pt x="1631" y="789"/>
                    </a:lnTo>
                    <a:lnTo>
                      <a:pt x="1644" y="791"/>
                    </a:lnTo>
                    <a:lnTo>
                      <a:pt x="1653" y="787"/>
                    </a:lnTo>
                    <a:lnTo>
                      <a:pt x="1663" y="780"/>
                    </a:lnTo>
                    <a:lnTo>
                      <a:pt x="1674" y="768"/>
                    </a:lnTo>
                    <a:lnTo>
                      <a:pt x="1684" y="756"/>
                    </a:lnTo>
                    <a:lnTo>
                      <a:pt x="1692" y="743"/>
                    </a:lnTo>
                    <a:lnTo>
                      <a:pt x="1703" y="729"/>
                    </a:lnTo>
                    <a:lnTo>
                      <a:pt x="1711" y="717"/>
                    </a:lnTo>
                    <a:lnTo>
                      <a:pt x="1720" y="708"/>
                    </a:lnTo>
                    <a:lnTo>
                      <a:pt x="1725" y="700"/>
                    </a:lnTo>
                    <a:lnTo>
                      <a:pt x="1734" y="691"/>
                    </a:lnTo>
                    <a:lnTo>
                      <a:pt x="1737" y="681"/>
                    </a:lnTo>
                    <a:lnTo>
                      <a:pt x="1742" y="670"/>
                    </a:lnTo>
                    <a:lnTo>
                      <a:pt x="1742" y="660"/>
                    </a:lnTo>
                    <a:lnTo>
                      <a:pt x="1742" y="652"/>
                    </a:lnTo>
                    <a:lnTo>
                      <a:pt x="1742" y="641"/>
                    </a:lnTo>
                    <a:lnTo>
                      <a:pt x="1748" y="633"/>
                    </a:lnTo>
                    <a:lnTo>
                      <a:pt x="1753" y="621"/>
                    </a:lnTo>
                    <a:lnTo>
                      <a:pt x="1758" y="605"/>
                    </a:lnTo>
                    <a:lnTo>
                      <a:pt x="1753" y="591"/>
                    </a:lnTo>
                    <a:lnTo>
                      <a:pt x="1744" y="579"/>
                    </a:lnTo>
                    <a:lnTo>
                      <a:pt x="1734" y="571"/>
                    </a:lnTo>
                    <a:lnTo>
                      <a:pt x="1725" y="572"/>
                    </a:lnTo>
                    <a:lnTo>
                      <a:pt x="1713" y="578"/>
                    </a:lnTo>
                    <a:lnTo>
                      <a:pt x="1705" y="578"/>
                    </a:lnTo>
                    <a:lnTo>
                      <a:pt x="1694" y="576"/>
                    </a:lnTo>
                    <a:lnTo>
                      <a:pt x="1689" y="574"/>
                    </a:lnTo>
                    <a:lnTo>
                      <a:pt x="1680" y="562"/>
                    </a:lnTo>
                    <a:lnTo>
                      <a:pt x="1679" y="557"/>
                    </a:lnTo>
                    <a:lnTo>
                      <a:pt x="1682" y="545"/>
                    </a:lnTo>
                    <a:lnTo>
                      <a:pt x="1692" y="535"/>
                    </a:lnTo>
                    <a:lnTo>
                      <a:pt x="1705" y="524"/>
                    </a:lnTo>
                    <a:lnTo>
                      <a:pt x="1717" y="516"/>
                    </a:lnTo>
                    <a:lnTo>
                      <a:pt x="1729" y="502"/>
                    </a:lnTo>
                    <a:lnTo>
                      <a:pt x="1744" y="488"/>
                    </a:lnTo>
                    <a:lnTo>
                      <a:pt x="1760" y="474"/>
                    </a:lnTo>
                    <a:lnTo>
                      <a:pt x="1775" y="468"/>
                    </a:lnTo>
                    <a:lnTo>
                      <a:pt x="1784" y="464"/>
                    </a:lnTo>
                    <a:lnTo>
                      <a:pt x="1796" y="464"/>
                    </a:lnTo>
                    <a:lnTo>
                      <a:pt x="1809" y="461"/>
                    </a:lnTo>
                    <a:lnTo>
                      <a:pt x="1825" y="461"/>
                    </a:lnTo>
                    <a:lnTo>
                      <a:pt x="1837" y="459"/>
                    </a:lnTo>
                    <a:lnTo>
                      <a:pt x="1851" y="457"/>
                    </a:lnTo>
                    <a:lnTo>
                      <a:pt x="1861" y="457"/>
                    </a:lnTo>
                    <a:lnTo>
                      <a:pt x="1871" y="457"/>
                    </a:lnTo>
                    <a:lnTo>
                      <a:pt x="1885" y="457"/>
                    </a:lnTo>
                    <a:lnTo>
                      <a:pt x="1895" y="462"/>
                    </a:lnTo>
                    <a:lnTo>
                      <a:pt x="1906" y="464"/>
                    </a:lnTo>
                    <a:lnTo>
                      <a:pt x="1916" y="468"/>
                    </a:lnTo>
                    <a:lnTo>
                      <a:pt x="1920" y="468"/>
                    </a:lnTo>
                    <a:lnTo>
                      <a:pt x="1925" y="468"/>
                    </a:lnTo>
                    <a:lnTo>
                      <a:pt x="1932" y="468"/>
                    </a:lnTo>
                    <a:lnTo>
                      <a:pt x="1944" y="468"/>
                    </a:lnTo>
                    <a:lnTo>
                      <a:pt x="1945" y="454"/>
                    </a:lnTo>
                    <a:lnTo>
                      <a:pt x="1949" y="445"/>
                    </a:lnTo>
                    <a:lnTo>
                      <a:pt x="1954" y="435"/>
                    </a:lnTo>
                    <a:lnTo>
                      <a:pt x="1961" y="428"/>
                    </a:lnTo>
                    <a:lnTo>
                      <a:pt x="1968" y="421"/>
                    </a:lnTo>
                    <a:lnTo>
                      <a:pt x="1978" y="418"/>
                    </a:lnTo>
                    <a:lnTo>
                      <a:pt x="1988" y="416"/>
                    </a:lnTo>
                    <a:lnTo>
                      <a:pt x="2002" y="416"/>
                    </a:lnTo>
                    <a:lnTo>
                      <a:pt x="2007" y="414"/>
                    </a:lnTo>
                    <a:lnTo>
                      <a:pt x="2012" y="414"/>
                    </a:lnTo>
                    <a:lnTo>
                      <a:pt x="2019" y="414"/>
                    </a:lnTo>
                    <a:lnTo>
                      <a:pt x="2031" y="416"/>
                    </a:lnTo>
                    <a:lnTo>
                      <a:pt x="2024" y="423"/>
                    </a:lnTo>
                    <a:lnTo>
                      <a:pt x="2028" y="433"/>
                    </a:lnTo>
                    <a:lnTo>
                      <a:pt x="2031" y="433"/>
                    </a:lnTo>
                    <a:lnTo>
                      <a:pt x="2042" y="428"/>
                    </a:lnTo>
                    <a:lnTo>
                      <a:pt x="2055" y="416"/>
                    </a:lnTo>
                    <a:lnTo>
                      <a:pt x="2074" y="397"/>
                    </a:lnTo>
                    <a:lnTo>
                      <a:pt x="2081" y="397"/>
                    </a:lnTo>
                    <a:lnTo>
                      <a:pt x="2088" y="404"/>
                    </a:lnTo>
                    <a:lnTo>
                      <a:pt x="2086" y="409"/>
                    </a:lnTo>
                    <a:lnTo>
                      <a:pt x="2085" y="416"/>
                    </a:lnTo>
                    <a:lnTo>
                      <a:pt x="2078" y="423"/>
                    </a:lnTo>
                    <a:lnTo>
                      <a:pt x="2067" y="433"/>
                    </a:lnTo>
                    <a:lnTo>
                      <a:pt x="2057" y="437"/>
                    </a:lnTo>
                    <a:lnTo>
                      <a:pt x="2047" y="438"/>
                    </a:lnTo>
                    <a:lnTo>
                      <a:pt x="2038" y="442"/>
                    </a:lnTo>
                    <a:lnTo>
                      <a:pt x="2031" y="450"/>
                    </a:lnTo>
                    <a:lnTo>
                      <a:pt x="2023" y="461"/>
                    </a:lnTo>
                    <a:lnTo>
                      <a:pt x="2016" y="474"/>
                    </a:lnTo>
                    <a:lnTo>
                      <a:pt x="2005" y="483"/>
                    </a:lnTo>
                    <a:lnTo>
                      <a:pt x="1997" y="493"/>
                    </a:lnTo>
                    <a:lnTo>
                      <a:pt x="1985" y="498"/>
                    </a:lnTo>
                    <a:lnTo>
                      <a:pt x="1976" y="507"/>
                    </a:lnTo>
                    <a:lnTo>
                      <a:pt x="1968" y="517"/>
                    </a:lnTo>
                    <a:lnTo>
                      <a:pt x="1966" y="535"/>
                    </a:lnTo>
                    <a:lnTo>
                      <a:pt x="1966" y="541"/>
                    </a:lnTo>
                    <a:lnTo>
                      <a:pt x="1966" y="553"/>
                    </a:lnTo>
                    <a:lnTo>
                      <a:pt x="1968" y="567"/>
                    </a:lnTo>
                    <a:lnTo>
                      <a:pt x="1971" y="583"/>
                    </a:lnTo>
                    <a:lnTo>
                      <a:pt x="1973" y="595"/>
                    </a:lnTo>
                    <a:lnTo>
                      <a:pt x="1976" y="609"/>
                    </a:lnTo>
                    <a:lnTo>
                      <a:pt x="1981" y="617"/>
                    </a:lnTo>
                    <a:lnTo>
                      <a:pt x="1987" y="626"/>
                    </a:lnTo>
                    <a:lnTo>
                      <a:pt x="1993" y="610"/>
                    </a:lnTo>
                    <a:lnTo>
                      <a:pt x="2000" y="596"/>
                    </a:lnTo>
                    <a:lnTo>
                      <a:pt x="2011" y="584"/>
                    </a:lnTo>
                    <a:lnTo>
                      <a:pt x="2024" y="578"/>
                    </a:lnTo>
                    <a:lnTo>
                      <a:pt x="2026" y="567"/>
                    </a:lnTo>
                    <a:lnTo>
                      <a:pt x="2033" y="562"/>
                    </a:lnTo>
                    <a:lnTo>
                      <a:pt x="2040" y="555"/>
                    </a:lnTo>
                    <a:lnTo>
                      <a:pt x="2045" y="550"/>
                    </a:lnTo>
                    <a:lnTo>
                      <a:pt x="2047" y="538"/>
                    </a:lnTo>
                    <a:lnTo>
                      <a:pt x="2054" y="531"/>
                    </a:lnTo>
                    <a:lnTo>
                      <a:pt x="2059" y="524"/>
                    </a:lnTo>
                    <a:lnTo>
                      <a:pt x="2062" y="519"/>
                    </a:lnTo>
                    <a:lnTo>
                      <a:pt x="2059" y="509"/>
                    </a:lnTo>
                    <a:lnTo>
                      <a:pt x="2062" y="497"/>
                    </a:lnTo>
                    <a:lnTo>
                      <a:pt x="2076" y="469"/>
                    </a:lnTo>
                    <a:lnTo>
                      <a:pt x="2091" y="452"/>
                    </a:lnTo>
                    <a:lnTo>
                      <a:pt x="2105" y="443"/>
                    </a:lnTo>
                    <a:lnTo>
                      <a:pt x="2119" y="442"/>
                    </a:lnTo>
                    <a:lnTo>
                      <a:pt x="2129" y="443"/>
                    </a:lnTo>
                    <a:lnTo>
                      <a:pt x="2140" y="449"/>
                    </a:lnTo>
                    <a:lnTo>
                      <a:pt x="2148" y="452"/>
                    </a:lnTo>
                    <a:lnTo>
                      <a:pt x="2157" y="455"/>
                    </a:lnTo>
                    <a:lnTo>
                      <a:pt x="2172" y="452"/>
                    </a:lnTo>
                    <a:lnTo>
                      <a:pt x="2188" y="445"/>
                    </a:lnTo>
                    <a:lnTo>
                      <a:pt x="2202" y="435"/>
                    </a:lnTo>
                    <a:lnTo>
                      <a:pt x="2217" y="426"/>
                    </a:lnTo>
                    <a:lnTo>
                      <a:pt x="2229" y="414"/>
                    </a:lnTo>
                    <a:lnTo>
                      <a:pt x="2243" y="406"/>
                    </a:lnTo>
                    <a:lnTo>
                      <a:pt x="2257" y="399"/>
                    </a:lnTo>
                    <a:lnTo>
                      <a:pt x="2272" y="397"/>
                    </a:lnTo>
                    <a:lnTo>
                      <a:pt x="2293" y="394"/>
                    </a:lnTo>
                    <a:lnTo>
                      <a:pt x="2305" y="390"/>
                    </a:lnTo>
                    <a:lnTo>
                      <a:pt x="2308" y="385"/>
                    </a:lnTo>
                    <a:lnTo>
                      <a:pt x="2308" y="380"/>
                    </a:lnTo>
                    <a:lnTo>
                      <a:pt x="2301" y="373"/>
                    </a:lnTo>
                    <a:lnTo>
                      <a:pt x="2294" y="366"/>
                    </a:lnTo>
                    <a:lnTo>
                      <a:pt x="2289" y="361"/>
                    </a:lnTo>
                    <a:lnTo>
                      <a:pt x="2288" y="359"/>
                    </a:lnTo>
                    <a:lnTo>
                      <a:pt x="2291" y="345"/>
                    </a:lnTo>
                    <a:lnTo>
                      <a:pt x="2303" y="339"/>
                    </a:lnTo>
                    <a:lnTo>
                      <a:pt x="2313" y="333"/>
                    </a:lnTo>
                    <a:lnTo>
                      <a:pt x="2324" y="328"/>
                    </a:lnTo>
                    <a:lnTo>
                      <a:pt x="2324" y="316"/>
                    </a:lnTo>
                    <a:lnTo>
                      <a:pt x="2331" y="311"/>
                    </a:lnTo>
                    <a:lnTo>
                      <a:pt x="2341" y="311"/>
                    </a:lnTo>
                    <a:lnTo>
                      <a:pt x="2353" y="316"/>
                    </a:lnTo>
                    <a:lnTo>
                      <a:pt x="2363" y="323"/>
                    </a:lnTo>
                    <a:lnTo>
                      <a:pt x="2374" y="332"/>
                    </a:lnTo>
                    <a:lnTo>
                      <a:pt x="2382" y="339"/>
                    </a:lnTo>
                    <a:lnTo>
                      <a:pt x="2392" y="345"/>
                    </a:lnTo>
                    <a:lnTo>
                      <a:pt x="2403" y="351"/>
                    </a:lnTo>
                    <a:lnTo>
                      <a:pt x="2413" y="354"/>
                    </a:lnTo>
                    <a:lnTo>
                      <a:pt x="2417" y="351"/>
                    </a:lnTo>
                    <a:lnTo>
                      <a:pt x="2422" y="344"/>
                    </a:lnTo>
                    <a:lnTo>
                      <a:pt x="2425" y="333"/>
                    </a:lnTo>
                    <a:lnTo>
                      <a:pt x="2430" y="328"/>
                    </a:lnTo>
                    <a:lnTo>
                      <a:pt x="2435" y="321"/>
                    </a:lnTo>
                    <a:lnTo>
                      <a:pt x="2442" y="320"/>
                    </a:lnTo>
                    <a:lnTo>
                      <a:pt x="2451" y="316"/>
                    </a:lnTo>
                    <a:lnTo>
                      <a:pt x="2461" y="314"/>
                    </a:lnTo>
                    <a:lnTo>
                      <a:pt x="2451" y="304"/>
                    </a:lnTo>
                    <a:lnTo>
                      <a:pt x="2439" y="297"/>
                    </a:lnTo>
                    <a:lnTo>
                      <a:pt x="2425" y="289"/>
                    </a:lnTo>
                    <a:lnTo>
                      <a:pt x="2411" y="284"/>
                    </a:lnTo>
                    <a:lnTo>
                      <a:pt x="2394" y="277"/>
                    </a:lnTo>
                    <a:lnTo>
                      <a:pt x="2380" y="271"/>
                    </a:lnTo>
                    <a:lnTo>
                      <a:pt x="2365" y="266"/>
                    </a:lnTo>
                    <a:lnTo>
                      <a:pt x="2355" y="261"/>
                    </a:lnTo>
                    <a:lnTo>
                      <a:pt x="2337" y="251"/>
                    </a:lnTo>
                    <a:lnTo>
                      <a:pt x="2320" y="242"/>
                    </a:lnTo>
                    <a:lnTo>
                      <a:pt x="2301" y="234"/>
                    </a:lnTo>
                    <a:lnTo>
                      <a:pt x="2284" y="227"/>
                    </a:lnTo>
                    <a:lnTo>
                      <a:pt x="2263" y="220"/>
                    </a:lnTo>
                    <a:lnTo>
                      <a:pt x="2243" y="216"/>
                    </a:lnTo>
                    <a:lnTo>
                      <a:pt x="2222" y="213"/>
                    </a:lnTo>
                    <a:lnTo>
                      <a:pt x="2202" y="213"/>
                    </a:lnTo>
                    <a:lnTo>
                      <a:pt x="2190" y="213"/>
                    </a:lnTo>
                    <a:lnTo>
                      <a:pt x="2181" y="215"/>
                    </a:lnTo>
                    <a:lnTo>
                      <a:pt x="2176" y="216"/>
                    </a:lnTo>
                    <a:lnTo>
                      <a:pt x="2176" y="222"/>
                    </a:lnTo>
                    <a:lnTo>
                      <a:pt x="2177" y="234"/>
                    </a:lnTo>
                    <a:lnTo>
                      <a:pt x="2177" y="241"/>
                    </a:lnTo>
                    <a:lnTo>
                      <a:pt x="2172" y="242"/>
                    </a:lnTo>
                    <a:lnTo>
                      <a:pt x="2169" y="239"/>
                    </a:lnTo>
                    <a:lnTo>
                      <a:pt x="2153" y="227"/>
                    </a:lnTo>
                    <a:lnTo>
                      <a:pt x="2143" y="222"/>
                    </a:lnTo>
                    <a:lnTo>
                      <a:pt x="2026" y="220"/>
                    </a:lnTo>
                    <a:lnTo>
                      <a:pt x="2023" y="210"/>
                    </a:lnTo>
                    <a:lnTo>
                      <a:pt x="2019" y="203"/>
                    </a:lnTo>
                    <a:lnTo>
                      <a:pt x="2012" y="196"/>
                    </a:lnTo>
                    <a:lnTo>
                      <a:pt x="2007" y="191"/>
                    </a:lnTo>
                    <a:lnTo>
                      <a:pt x="1999" y="186"/>
                    </a:lnTo>
                    <a:lnTo>
                      <a:pt x="1990" y="184"/>
                    </a:lnTo>
                    <a:lnTo>
                      <a:pt x="1978" y="184"/>
                    </a:lnTo>
                    <a:lnTo>
                      <a:pt x="1968" y="184"/>
                    </a:lnTo>
                    <a:lnTo>
                      <a:pt x="1952" y="184"/>
                    </a:lnTo>
                    <a:lnTo>
                      <a:pt x="1937" y="186"/>
                    </a:lnTo>
                    <a:lnTo>
                      <a:pt x="1921" y="186"/>
                    </a:lnTo>
                    <a:lnTo>
                      <a:pt x="1911" y="182"/>
                    </a:lnTo>
                    <a:lnTo>
                      <a:pt x="1904" y="173"/>
                    </a:lnTo>
                    <a:lnTo>
                      <a:pt x="1899" y="167"/>
                    </a:lnTo>
                    <a:lnTo>
                      <a:pt x="1892" y="160"/>
                    </a:lnTo>
                    <a:lnTo>
                      <a:pt x="1885" y="156"/>
                    </a:lnTo>
                    <a:lnTo>
                      <a:pt x="1871" y="151"/>
                    </a:lnTo>
                    <a:lnTo>
                      <a:pt x="1859" y="148"/>
                    </a:lnTo>
                    <a:lnTo>
                      <a:pt x="1847" y="144"/>
                    </a:lnTo>
                    <a:lnTo>
                      <a:pt x="1835" y="143"/>
                    </a:lnTo>
                    <a:lnTo>
                      <a:pt x="1821" y="141"/>
                    </a:lnTo>
                    <a:lnTo>
                      <a:pt x="1808" y="139"/>
                    </a:lnTo>
                    <a:lnTo>
                      <a:pt x="1794" y="139"/>
                    </a:lnTo>
                    <a:lnTo>
                      <a:pt x="1780" y="139"/>
                    </a:lnTo>
                    <a:lnTo>
                      <a:pt x="1765" y="139"/>
                    </a:lnTo>
                    <a:lnTo>
                      <a:pt x="1756" y="143"/>
                    </a:lnTo>
                    <a:lnTo>
                      <a:pt x="1748" y="146"/>
                    </a:lnTo>
                    <a:lnTo>
                      <a:pt x="1742" y="151"/>
                    </a:lnTo>
                    <a:lnTo>
                      <a:pt x="1734" y="163"/>
                    </a:lnTo>
                    <a:lnTo>
                      <a:pt x="1732" y="179"/>
                    </a:lnTo>
                    <a:lnTo>
                      <a:pt x="1717" y="179"/>
                    </a:lnTo>
                    <a:lnTo>
                      <a:pt x="1706" y="179"/>
                    </a:lnTo>
                    <a:lnTo>
                      <a:pt x="1696" y="179"/>
                    </a:lnTo>
                    <a:lnTo>
                      <a:pt x="1687" y="179"/>
                    </a:lnTo>
                    <a:lnTo>
                      <a:pt x="1668" y="179"/>
                    </a:lnTo>
                    <a:lnTo>
                      <a:pt x="1651" y="179"/>
                    </a:lnTo>
                    <a:lnTo>
                      <a:pt x="1641" y="175"/>
                    </a:lnTo>
                    <a:lnTo>
                      <a:pt x="1636" y="172"/>
                    </a:lnTo>
                    <a:lnTo>
                      <a:pt x="1627" y="168"/>
                    </a:lnTo>
                    <a:lnTo>
                      <a:pt x="1619" y="167"/>
                    </a:lnTo>
                    <a:lnTo>
                      <a:pt x="1615" y="172"/>
                    </a:lnTo>
                    <a:lnTo>
                      <a:pt x="1613" y="180"/>
                    </a:lnTo>
                    <a:lnTo>
                      <a:pt x="1610" y="186"/>
                    </a:lnTo>
                    <a:lnTo>
                      <a:pt x="1606" y="189"/>
                    </a:lnTo>
                    <a:lnTo>
                      <a:pt x="1591" y="184"/>
                    </a:lnTo>
                    <a:lnTo>
                      <a:pt x="1582" y="173"/>
                    </a:lnTo>
                    <a:lnTo>
                      <a:pt x="1576" y="160"/>
                    </a:lnTo>
                    <a:lnTo>
                      <a:pt x="1576" y="149"/>
                    </a:lnTo>
                    <a:lnTo>
                      <a:pt x="1579" y="143"/>
                    </a:lnTo>
                    <a:lnTo>
                      <a:pt x="1582" y="132"/>
                    </a:lnTo>
                    <a:lnTo>
                      <a:pt x="1576" y="125"/>
                    </a:lnTo>
                    <a:lnTo>
                      <a:pt x="1565" y="118"/>
                    </a:lnTo>
                    <a:lnTo>
                      <a:pt x="1543" y="113"/>
                    </a:lnTo>
                    <a:lnTo>
                      <a:pt x="1512" y="112"/>
                    </a:lnTo>
                    <a:lnTo>
                      <a:pt x="1502" y="110"/>
                    </a:lnTo>
                    <a:lnTo>
                      <a:pt x="1496" y="113"/>
                    </a:lnTo>
                    <a:lnTo>
                      <a:pt x="1491" y="118"/>
                    </a:lnTo>
                    <a:lnTo>
                      <a:pt x="1491" y="130"/>
                    </a:lnTo>
                    <a:lnTo>
                      <a:pt x="1436" y="130"/>
                    </a:lnTo>
                    <a:lnTo>
                      <a:pt x="1426" y="127"/>
                    </a:lnTo>
                    <a:lnTo>
                      <a:pt x="1410" y="125"/>
                    </a:lnTo>
                    <a:lnTo>
                      <a:pt x="1391" y="122"/>
                    </a:lnTo>
                    <a:lnTo>
                      <a:pt x="1374" y="118"/>
                    </a:lnTo>
                    <a:lnTo>
                      <a:pt x="1355" y="113"/>
                    </a:lnTo>
                    <a:lnTo>
                      <a:pt x="1338" y="108"/>
                    </a:lnTo>
                    <a:lnTo>
                      <a:pt x="1326" y="103"/>
                    </a:lnTo>
                    <a:lnTo>
                      <a:pt x="1319" y="98"/>
                    </a:lnTo>
                    <a:lnTo>
                      <a:pt x="1297" y="113"/>
                    </a:lnTo>
                    <a:lnTo>
                      <a:pt x="1283" y="124"/>
                    </a:lnTo>
                    <a:lnTo>
                      <a:pt x="1273" y="127"/>
                    </a:lnTo>
                    <a:lnTo>
                      <a:pt x="1268" y="129"/>
                    </a:lnTo>
                    <a:lnTo>
                      <a:pt x="1266" y="122"/>
                    </a:lnTo>
                    <a:lnTo>
                      <a:pt x="1268" y="118"/>
                    </a:lnTo>
                    <a:lnTo>
                      <a:pt x="1278" y="108"/>
                    </a:lnTo>
                    <a:lnTo>
                      <a:pt x="1299" y="100"/>
                    </a:lnTo>
                    <a:lnTo>
                      <a:pt x="1321" y="88"/>
                    </a:lnTo>
                    <a:lnTo>
                      <a:pt x="1343" y="75"/>
                    </a:lnTo>
                    <a:lnTo>
                      <a:pt x="1355" y="62"/>
                    </a:lnTo>
                    <a:lnTo>
                      <a:pt x="1359" y="50"/>
                    </a:lnTo>
                    <a:lnTo>
                      <a:pt x="1345" y="38"/>
                    </a:lnTo>
                    <a:lnTo>
                      <a:pt x="1312" y="27"/>
                    </a:lnTo>
                    <a:lnTo>
                      <a:pt x="1257" y="27"/>
                    </a:lnTo>
                    <a:lnTo>
                      <a:pt x="1252" y="17"/>
                    </a:lnTo>
                    <a:lnTo>
                      <a:pt x="1245" y="8"/>
                    </a:lnTo>
                    <a:lnTo>
                      <a:pt x="1233" y="2"/>
                    </a:lnTo>
                    <a:lnTo>
                      <a:pt x="1219" y="0"/>
                    </a:lnTo>
                    <a:lnTo>
                      <a:pt x="1209" y="0"/>
                    </a:lnTo>
                    <a:lnTo>
                      <a:pt x="1201" y="2"/>
                    </a:lnTo>
                    <a:lnTo>
                      <a:pt x="1194" y="5"/>
                    </a:lnTo>
                    <a:lnTo>
                      <a:pt x="1189" y="10"/>
                    </a:lnTo>
                    <a:lnTo>
                      <a:pt x="1178" y="19"/>
                    </a:lnTo>
                    <a:lnTo>
                      <a:pt x="1170" y="29"/>
                    </a:lnTo>
                    <a:lnTo>
                      <a:pt x="1163" y="31"/>
                    </a:lnTo>
                    <a:lnTo>
                      <a:pt x="1152" y="36"/>
                    </a:lnTo>
                    <a:lnTo>
                      <a:pt x="1140" y="41"/>
                    </a:lnTo>
                    <a:lnTo>
                      <a:pt x="1128" y="46"/>
                    </a:lnTo>
                    <a:lnTo>
                      <a:pt x="1115" y="46"/>
                    </a:lnTo>
                    <a:lnTo>
                      <a:pt x="1106" y="48"/>
                    </a:lnTo>
                    <a:lnTo>
                      <a:pt x="1099" y="45"/>
                    </a:lnTo>
                    <a:lnTo>
                      <a:pt x="1099" y="39"/>
                    </a:lnTo>
                    <a:lnTo>
                      <a:pt x="1089" y="39"/>
                    </a:lnTo>
                    <a:lnTo>
                      <a:pt x="1077" y="43"/>
                    </a:lnTo>
                    <a:lnTo>
                      <a:pt x="1060" y="45"/>
                    </a:lnTo>
                    <a:lnTo>
                      <a:pt x="1044" y="50"/>
                    </a:lnTo>
                    <a:lnTo>
                      <a:pt x="1023" y="55"/>
                    </a:lnTo>
                    <a:lnTo>
                      <a:pt x="1006" y="62"/>
                    </a:lnTo>
                    <a:lnTo>
                      <a:pt x="987" y="70"/>
                    </a:lnTo>
                    <a:lnTo>
                      <a:pt x="974" y="82"/>
                    </a:lnTo>
                    <a:lnTo>
                      <a:pt x="968" y="89"/>
                    </a:lnTo>
                    <a:lnTo>
                      <a:pt x="963" y="100"/>
                    </a:lnTo>
                    <a:lnTo>
                      <a:pt x="958" y="106"/>
                    </a:lnTo>
                    <a:lnTo>
                      <a:pt x="953" y="112"/>
                    </a:lnTo>
                    <a:lnTo>
                      <a:pt x="943" y="110"/>
                    </a:lnTo>
                    <a:lnTo>
                      <a:pt x="932" y="110"/>
                    </a:lnTo>
                    <a:lnTo>
                      <a:pt x="919" y="110"/>
                    </a:lnTo>
                    <a:lnTo>
                      <a:pt x="905" y="112"/>
                    </a:lnTo>
                    <a:lnTo>
                      <a:pt x="891" y="112"/>
                    </a:lnTo>
                    <a:lnTo>
                      <a:pt x="881" y="117"/>
                    </a:lnTo>
                    <a:lnTo>
                      <a:pt x="874" y="122"/>
                    </a:lnTo>
                    <a:lnTo>
                      <a:pt x="872" y="134"/>
                    </a:lnTo>
                    <a:lnTo>
                      <a:pt x="874" y="143"/>
                    </a:lnTo>
                    <a:lnTo>
                      <a:pt x="881" y="155"/>
                    </a:lnTo>
                    <a:lnTo>
                      <a:pt x="872" y="156"/>
                    </a:lnTo>
                    <a:lnTo>
                      <a:pt x="863" y="156"/>
                    </a:lnTo>
                    <a:lnTo>
                      <a:pt x="857" y="155"/>
                    </a:lnTo>
                    <a:lnTo>
                      <a:pt x="850" y="155"/>
                    </a:lnTo>
                    <a:lnTo>
                      <a:pt x="839" y="155"/>
                    </a:lnTo>
                    <a:lnTo>
                      <a:pt x="829" y="155"/>
                    </a:lnTo>
                    <a:lnTo>
                      <a:pt x="817" y="163"/>
                    </a:lnTo>
                    <a:lnTo>
                      <a:pt x="810" y="168"/>
                    </a:lnTo>
                    <a:lnTo>
                      <a:pt x="805" y="168"/>
                    </a:lnTo>
                    <a:lnTo>
                      <a:pt x="803" y="165"/>
                    </a:lnTo>
                    <a:lnTo>
                      <a:pt x="798" y="156"/>
                    </a:lnTo>
                    <a:lnTo>
                      <a:pt x="798" y="149"/>
                    </a:lnTo>
                    <a:lnTo>
                      <a:pt x="796" y="143"/>
                    </a:lnTo>
                    <a:lnTo>
                      <a:pt x="795" y="139"/>
                    </a:lnTo>
                    <a:lnTo>
                      <a:pt x="790" y="148"/>
                    </a:lnTo>
                    <a:lnTo>
                      <a:pt x="784" y="156"/>
                    </a:lnTo>
                    <a:lnTo>
                      <a:pt x="776" y="161"/>
                    </a:lnTo>
                    <a:lnTo>
                      <a:pt x="769" y="168"/>
                    </a:lnTo>
                    <a:lnTo>
                      <a:pt x="772" y="179"/>
                    </a:lnTo>
                    <a:lnTo>
                      <a:pt x="781" y="191"/>
                    </a:lnTo>
                    <a:lnTo>
                      <a:pt x="783" y="201"/>
                    </a:lnTo>
                    <a:lnTo>
                      <a:pt x="779" y="215"/>
                    </a:lnTo>
                    <a:lnTo>
                      <a:pt x="776" y="227"/>
                    </a:lnTo>
                    <a:lnTo>
                      <a:pt x="783" y="244"/>
                    </a:lnTo>
                    <a:lnTo>
                      <a:pt x="786" y="258"/>
                    </a:lnTo>
                    <a:lnTo>
                      <a:pt x="783" y="265"/>
                    </a:lnTo>
                    <a:lnTo>
                      <a:pt x="774" y="259"/>
                    </a:lnTo>
                    <a:lnTo>
                      <a:pt x="769" y="251"/>
                    </a:lnTo>
                    <a:lnTo>
                      <a:pt x="764" y="237"/>
                    </a:lnTo>
                    <a:lnTo>
                      <a:pt x="760" y="223"/>
                    </a:lnTo>
                    <a:lnTo>
                      <a:pt x="757" y="206"/>
                    </a:lnTo>
                    <a:lnTo>
                      <a:pt x="755" y="192"/>
                    </a:lnTo>
                    <a:lnTo>
                      <a:pt x="755" y="179"/>
                    </a:lnTo>
                    <a:lnTo>
                      <a:pt x="755" y="172"/>
                    </a:lnTo>
                    <a:lnTo>
                      <a:pt x="759" y="160"/>
                    </a:lnTo>
                    <a:lnTo>
                      <a:pt x="764" y="151"/>
                    </a:lnTo>
                    <a:lnTo>
                      <a:pt x="762" y="146"/>
                    </a:lnTo>
                    <a:lnTo>
                      <a:pt x="760" y="144"/>
                    </a:lnTo>
                    <a:lnTo>
                      <a:pt x="753" y="141"/>
                    </a:lnTo>
                    <a:lnTo>
                      <a:pt x="741" y="139"/>
                    </a:lnTo>
                    <a:lnTo>
                      <a:pt x="731" y="137"/>
                    </a:lnTo>
                    <a:lnTo>
                      <a:pt x="721" y="141"/>
                    </a:lnTo>
                    <a:lnTo>
                      <a:pt x="710" y="146"/>
                    </a:lnTo>
                    <a:lnTo>
                      <a:pt x="700" y="155"/>
                    </a:lnTo>
                    <a:lnTo>
                      <a:pt x="690" y="161"/>
                    </a:lnTo>
                    <a:lnTo>
                      <a:pt x="683" y="172"/>
                    </a:lnTo>
                    <a:lnTo>
                      <a:pt x="678" y="180"/>
                    </a:lnTo>
                    <a:lnTo>
                      <a:pt x="678" y="189"/>
                    </a:lnTo>
                    <a:lnTo>
                      <a:pt x="678" y="204"/>
                    </a:lnTo>
                    <a:lnTo>
                      <a:pt x="683" y="218"/>
                    </a:lnTo>
                    <a:lnTo>
                      <a:pt x="690" y="229"/>
                    </a:lnTo>
                    <a:lnTo>
                      <a:pt x="700" y="241"/>
                    </a:lnTo>
                    <a:lnTo>
                      <a:pt x="705" y="251"/>
                    </a:lnTo>
                    <a:lnTo>
                      <a:pt x="704" y="256"/>
                    </a:lnTo>
                    <a:lnTo>
                      <a:pt x="697" y="256"/>
                    </a:lnTo>
                    <a:lnTo>
                      <a:pt x="686" y="253"/>
                    </a:lnTo>
                    <a:lnTo>
                      <a:pt x="673" y="246"/>
                    </a:lnTo>
                    <a:lnTo>
                      <a:pt x="659" y="239"/>
                    </a:lnTo>
                    <a:lnTo>
                      <a:pt x="643" y="232"/>
                    </a:lnTo>
                    <a:lnTo>
                      <a:pt x="635" y="229"/>
                    </a:lnTo>
                    <a:lnTo>
                      <a:pt x="612" y="222"/>
                    </a:lnTo>
                    <a:lnTo>
                      <a:pt x="597" y="222"/>
                    </a:lnTo>
                    <a:lnTo>
                      <a:pt x="588" y="220"/>
                    </a:lnTo>
                    <a:lnTo>
                      <a:pt x="585" y="225"/>
                    </a:lnTo>
                    <a:lnTo>
                      <a:pt x="585" y="230"/>
                    </a:lnTo>
                    <a:lnTo>
                      <a:pt x="588" y="237"/>
                    </a:lnTo>
                    <a:lnTo>
                      <a:pt x="585" y="247"/>
                    </a:lnTo>
                    <a:lnTo>
                      <a:pt x="583" y="254"/>
                    </a:lnTo>
                    <a:lnTo>
                      <a:pt x="580" y="254"/>
                    </a:lnTo>
                    <a:lnTo>
                      <a:pt x="576" y="256"/>
                    </a:lnTo>
                    <a:lnTo>
                      <a:pt x="568" y="249"/>
                    </a:lnTo>
                    <a:lnTo>
                      <a:pt x="561" y="246"/>
                    </a:lnTo>
                    <a:lnTo>
                      <a:pt x="545" y="247"/>
                    </a:lnTo>
                    <a:lnTo>
                      <a:pt x="528" y="254"/>
                    </a:lnTo>
                    <a:lnTo>
                      <a:pt x="518" y="256"/>
                    </a:lnTo>
                    <a:lnTo>
                      <a:pt x="507" y="258"/>
                    </a:lnTo>
                    <a:lnTo>
                      <a:pt x="497" y="256"/>
                    </a:lnTo>
                    <a:lnTo>
                      <a:pt x="490" y="256"/>
                    </a:lnTo>
                    <a:lnTo>
                      <a:pt x="482" y="247"/>
                    </a:lnTo>
                    <a:lnTo>
                      <a:pt x="470" y="247"/>
                    </a:lnTo>
                    <a:lnTo>
                      <a:pt x="454" y="253"/>
                    </a:lnTo>
                    <a:lnTo>
                      <a:pt x="439" y="263"/>
                    </a:lnTo>
                    <a:lnTo>
                      <a:pt x="420" y="273"/>
                    </a:lnTo>
                    <a:lnTo>
                      <a:pt x="406" y="284"/>
                    </a:lnTo>
                    <a:lnTo>
                      <a:pt x="392" y="290"/>
                    </a:lnTo>
                    <a:lnTo>
                      <a:pt x="384" y="294"/>
                    </a:lnTo>
                    <a:lnTo>
                      <a:pt x="373" y="290"/>
                    </a:lnTo>
                    <a:lnTo>
                      <a:pt x="370" y="284"/>
                    </a:lnTo>
                    <a:lnTo>
                      <a:pt x="370" y="273"/>
                    </a:lnTo>
                    <a:lnTo>
                      <a:pt x="372" y="265"/>
                    </a:lnTo>
                    <a:lnTo>
                      <a:pt x="370" y="254"/>
                    </a:lnTo>
                    <a:lnTo>
                      <a:pt x="368" y="251"/>
                    </a:lnTo>
                    <a:lnTo>
                      <a:pt x="363" y="247"/>
                    </a:lnTo>
                    <a:lnTo>
                      <a:pt x="358" y="253"/>
                    </a:lnTo>
                    <a:lnTo>
                      <a:pt x="351" y="263"/>
                    </a:lnTo>
                    <a:lnTo>
                      <a:pt x="344" y="285"/>
                    </a:lnTo>
                    <a:lnTo>
                      <a:pt x="347" y="290"/>
                    </a:lnTo>
                    <a:lnTo>
                      <a:pt x="353" y="301"/>
                    </a:lnTo>
                    <a:lnTo>
                      <a:pt x="347" y="308"/>
                    </a:lnTo>
                    <a:lnTo>
                      <a:pt x="337" y="311"/>
                    </a:lnTo>
                    <a:lnTo>
                      <a:pt x="323" y="308"/>
                    </a:lnTo>
                    <a:lnTo>
                      <a:pt x="311" y="311"/>
                    </a:lnTo>
                    <a:lnTo>
                      <a:pt x="306" y="313"/>
                    </a:lnTo>
                    <a:lnTo>
                      <a:pt x="303" y="320"/>
                    </a:lnTo>
                    <a:lnTo>
                      <a:pt x="298" y="327"/>
                    </a:lnTo>
                    <a:lnTo>
                      <a:pt x="294" y="335"/>
                    </a:lnTo>
                    <a:lnTo>
                      <a:pt x="287" y="340"/>
                    </a:lnTo>
                    <a:lnTo>
                      <a:pt x="277" y="344"/>
                    </a:lnTo>
                    <a:lnTo>
                      <a:pt x="263" y="344"/>
                    </a:lnTo>
                    <a:lnTo>
                      <a:pt x="246" y="339"/>
                    </a:lnTo>
                    <a:lnTo>
                      <a:pt x="246" y="359"/>
                    </a:lnTo>
                    <a:lnTo>
                      <a:pt x="234" y="356"/>
                    </a:lnTo>
                    <a:lnTo>
                      <a:pt x="227" y="352"/>
                    </a:lnTo>
                    <a:lnTo>
                      <a:pt x="222" y="345"/>
                    </a:lnTo>
                    <a:lnTo>
                      <a:pt x="220" y="340"/>
                    </a:lnTo>
                    <a:lnTo>
                      <a:pt x="215" y="323"/>
                    </a:lnTo>
                    <a:lnTo>
                      <a:pt x="210" y="311"/>
                    </a:lnTo>
                    <a:lnTo>
                      <a:pt x="224" y="311"/>
                    </a:lnTo>
                    <a:lnTo>
                      <a:pt x="237" y="311"/>
                    </a:lnTo>
                    <a:lnTo>
                      <a:pt x="249" y="311"/>
                    </a:lnTo>
                    <a:lnTo>
                      <a:pt x="265" y="316"/>
                    </a:lnTo>
                    <a:lnTo>
                      <a:pt x="275" y="316"/>
                    </a:lnTo>
                    <a:lnTo>
                      <a:pt x="289" y="313"/>
                    </a:lnTo>
                    <a:lnTo>
                      <a:pt x="299" y="308"/>
                    </a:lnTo>
                    <a:lnTo>
                      <a:pt x="308" y="301"/>
                    </a:lnTo>
                    <a:lnTo>
                      <a:pt x="308" y="290"/>
                    </a:lnTo>
                    <a:lnTo>
                      <a:pt x="303" y="282"/>
                    </a:lnTo>
                    <a:lnTo>
                      <a:pt x="287" y="271"/>
                    </a:lnTo>
                    <a:lnTo>
                      <a:pt x="263" y="261"/>
                    </a:lnTo>
                    <a:lnTo>
                      <a:pt x="251" y="256"/>
                    </a:lnTo>
                    <a:lnTo>
                      <a:pt x="239" y="251"/>
                    </a:lnTo>
                    <a:lnTo>
                      <a:pt x="225" y="244"/>
                    </a:lnTo>
                    <a:lnTo>
                      <a:pt x="212" y="239"/>
                    </a:lnTo>
                    <a:lnTo>
                      <a:pt x="196" y="234"/>
                    </a:lnTo>
                    <a:lnTo>
                      <a:pt x="184" y="229"/>
                    </a:lnTo>
                    <a:lnTo>
                      <a:pt x="174" y="225"/>
                    </a:lnTo>
                    <a:lnTo>
                      <a:pt x="167" y="225"/>
                    </a:lnTo>
                    <a:lnTo>
                      <a:pt x="163" y="223"/>
                    </a:lnTo>
                    <a:lnTo>
                      <a:pt x="153" y="225"/>
                    </a:lnTo>
                    <a:lnTo>
                      <a:pt x="145" y="229"/>
                    </a:lnTo>
                    <a:lnTo>
                      <a:pt x="138" y="235"/>
                    </a:lnTo>
                    <a:lnTo>
                      <a:pt x="129" y="241"/>
                    </a:lnTo>
                    <a:lnTo>
                      <a:pt x="127" y="251"/>
                    </a:lnTo>
                    <a:lnTo>
                      <a:pt x="129" y="254"/>
                    </a:lnTo>
                    <a:lnTo>
                      <a:pt x="136" y="259"/>
                    </a:lnTo>
                    <a:lnTo>
                      <a:pt x="143" y="263"/>
                    </a:lnTo>
                    <a:lnTo>
                      <a:pt x="146" y="271"/>
                    </a:lnTo>
                    <a:lnTo>
                      <a:pt x="141" y="280"/>
                    </a:lnTo>
                    <a:lnTo>
                      <a:pt x="138" y="292"/>
                    </a:lnTo>
                    <a:lnTo>
                      <a:pt x="141" y="304"/>
                    </a:lnTo>
                    <a:lnTo>
                      <a:pt x="146" y="316"/>
                    </a:lnTo>
                    <a:lnTo>
                      <a:pt x="143" y="323"/>
                    </a:lnTo>
                    <a:lnTo>
                      <a:pt x="141" y="332"/>
                    </a:lnTo>
                    <a:lnTo>
                      <a:pt x="143" y="337"/>
                    </a:lnTo>
                    <a:lnTo>
                      <a:pt x="148" y="344"/>
                    </a:lnTo>
                    <a:lnTo>
                      <a:pt x="153" y="351"/>
                    </a:lnTo>
                    <a:lnTo>
                      <a:pt x="157" y="357"/>
                    </a:lnTo>
                    <a:lnTo>
                      <a:pt x="153" y="361"/>
                    </a:lnTo>
                    <a:lnTo>
                      <a:pt x="151" y="364"/>
                    </a:lnTo>
                    <a:lnTo>
                      <a:pt x="160" y="373"/>
                    </a:lnTo>
                    <a:lnTo>
                      <a:pt x="167" y="385"/>
                    </a:lnTo>
                    <a:lnTo>
                      <a:pt x="160" y="397"/>
                    </a:lnTo>
                    <a:lnTo>
                      <a:pt x="148" y="411"/>
                    </a:lnTo>
                    <a:lnTo>
                      <a:pt x="132" y="423"/>
                    </a:lnTo>
                    <a:lnTo>
                      <a:pt x="122" y="435"/>
                    </a:lnTo>
                    <a:lnTo>
                      <a:pt x="127" y="442"/>
                    </a:lnTo>
                    <a:lnTo>
                      <a:pt x="134" y="454"/>
                    </a:lnTo>
                    <a:lnTo>
                      <a:pt x="127" y="455"/>
                    </a:lnTo>
                    <a:lnTo>
                      <a:pt x="120" y="459"/>
                    </a:lnTo>
                    <a:lnTo>
                      <a:pt x="112" y="462"/>
                    </a:lnTo>
                    <a:lnTo>
                      <a:pt x="107" y="464"/>
                    </a:lnTo>
                    <a:lnTo>
                      <a:pt x="95" y="462"/>
                    </a:lnTo>
                    <a:lnTo>
                      <a:pt x="81" y="461"/>
                    </a:lnTo>
                    <a:lnTo>
                      <a:pt x="69" y="461"/>
                    </a:lnTo>
                    <a:lnTo>
                      <a:pt x="59" y="466"/>
                    </a:lnTo>
                    <a:lnTo>
                      <a:pt x="50" y="471"/>
                    </a:lnTo>
                    <a:lnTo>
                      <a:pt x="52" y="478"/>
                    </a:lnTo>
                    <a:lnTo>
                      <a:pt x="64" y="493"/>
                    </a:lnTo>
                    <a:lnTo>
                      <a:pt x="65" y="504"/>
                    </a:lnTo>
                    <a:lnTo>
                      <a:pt x="62" y="509"/>
                    </a:lnTo>
                    <a:lnTo>
                      <a:pt x="59" y="512"/>
                    </a:lnTo>
                    <a:lnTo>
                      <a:pt x="52" y="509"/>
                    </a:lnTo>
                    <a:lnTo>
                      <a:pt x="46" y="505"/>
                    </a:lnTo>
                    <a:lnTo>
                      <a:pt x="41" y="500"/>
                    </a:lnTo>
                    <a:lnTo>
                      <a:pt x="38" y="498"/>
                    </a:lnTo>
                    <a:lnTo>
                      <a:pt x="29" y="502"/>
                    </a:lnTo>
                    <a:lnTo>
                      <a:pt x="24" y="511"/>
                    </a:lnTo>
                    <a:lnTo>
                      <a:pt x="17" y="523"/>
                    </a:lnTo>
                    <a:lnTo>
                      <a:pt x="17" y="535"/>
                    </a:lnTo>
                    <a:lnTo>
                      <a:pt x="14" y="545"/>
                    </a:lnTo>
                    <a:lnTo>
                      <a:pt x="9" y="552"/>
                    </a:lnTo>
                    <a:lnTo>
                      <a:pt x="2" y="557"/>
                    </a:lnTo>
                    <a:lnTo>
                      <a:pt x="0" y="569"/>
                    </a:lnTo>
                    <a:lnTo>
                      <a:pt x="9" y="567"/>
                    </a:lnTo>
                    <a:lnTo>
                      <a:pt x="19" y="567"/>
                    </a:lnTo>
                    <a:lnTo>
                      <a:pt x="31" y="567"/>
                    </a:lnTo>
                    <a:lnTo>
                      <a:pt x="45" y="567"/>
                    </a:lnTo>
                    <a:lnTo>
                      <a:pt x="50" y="569"/>
                    </a:lnTo>
                    <a:lnTo>
                      <a:pt x="55" y="578"/>
                    </a:lnTo>
                    <a:lnTo>
                      <a:pt x="59" y="586"/>
                    </a:lnTo>
                    <a:lnTo>
                      <a:pt x="60" y="596"/>
                    </a:lnTo>
                    <a:lnTo>
                      <a:pt x="57" y="605"/>
                    </a:lnTo>
                    <a:lnTo>
                      <a:pt x="53" y="614"/>
                    </a:lnTo>
                    <a:lnTo>
                      <a:pt x="57" y="627"/>
                    </a:lnTo>
                    <a:lnTo>
                      <a:pt x="62" y="641"/>
                    </a:lnTo>
                    <a:lnTo>
                      <a:pt x="57" y="646"/>
                    </a:lnTo>
                    <a:lnTo>
                      <a:pt x="52" y="652"/>
                    </a:lnTo>
                    <a:lnTo>
                      <a:pt x="45" y="664"/>
                    </a:lnTo>
                    <a:lnTo>
                      <a:pt x="43" y="681"/>
                    </a:lnTo>
                    <a:lnTo>
                      <a:pt x="43" y="688"/>
                    </a:lnTo>
                    <a:lnTo>
                      <a:pt x="48" y="691"/>
                    </a:lnTo>
                    <a:lnTo>
                      <a:pt x="55" y="691"/>
                    </a:lnTo>
                    <a:lnTo>
                      <a:pt x="65" y="693"/>
                    </a:lnTo>
                    <a:lnTo>
                      <a:pt x="74" y="691"/>
                    </a:lnTo>
                    <a:lnTo>
                      <a:pt x="84" y="689"/>
                    </a:lnTo>
                    <a:lnTo>
                      <a:pt x="91" y="686"/>
                    </a:lnTo>
                    <a:lnTo>
                      <a:pt x="102" y="686"/>
                    </a:lnTo>
                    <a:lnTo>
                      <a:pt x="108" y="689"/>
                    </a:lnTo>
                    <a:lnTo>
                      <a:pt x="112" y="698"/>
                    </a:lnTo>
                    <a:lnTo>
                      <a:pt x="115" y="707"/>
                    </a:lnTo>
                    <a:lnTo>
                      <a:pt x="124" y="712"/>
                    </a:lnTo>
                    <a:lnTo>
                      <a:pt x="124" y="732"/>
                    </a:lnTo>
                    <a:lnTo>
                      <a:pt x="124" y="734"/>
                    </a:lnTo>
                    <a:lnTo>
                      <a:pt x="127" y="736"/>
                    </a:lnTo>
                    <a:lnTo>
                      <a:pt x="129" y="739"/>
                    </a:lnTo>
                    <a:lnTo>
                      <a:pt x="134" y="737"/>
                    </a:lnTo>
                    <a:lnTo>
                      <a:pt x="141" y="736"/>
                    </a:lnTo>
                    <a:lnTo>
                      <a:pt x="146" y="731"/>
                    </a:lnTo>
                    <a:lnTo>
                      <a:pt x="153" y="727"/>
                    </a:lnTo>
                    <a:lnTo>
                      <a:pt x="157" y="722"/>
                    </a:lnTo>
                    <a:lnTo>
                      <a:pt x="165" y="720"/>
                    </a:lnTo>
                    <a:lnTo>
                      <a:pt x="172" y="725"/>
                    </a:lnTo>
                    <a:lnTo>
                      <a:pt x="184" y="739"/>
                    </a:lnTo>
                    <a:lnTo>
                      <a:pt x="196" y="751"/>
                    </a:lnTo>
                    <a:lnTo>
                      <a:pt x="205" y="758"/>
                    </a:lnTo>
                    <a:lnTo>
                      <a:pt x="212" y="755"/>
                    </a:lnTo>
                    <a:lnTo>
                      <a:pt x="222" y="751"/>
                    </a:lnTo>
                    <a:lnTo>
                      <a:pt x="232" y="746"/>
                    </a:lnTo>
                    <a:lnTo>
                      <a:pt x="239" y="743"/>
                    </a:lnTo>
                    <a:lnTo>
                      <a:pt x="236" y="741"/>
                    </a:lnTo>
                    <a:lnTo>
                      <a:pt x="232" y="741"/>
                    </a:lnTo>
                    <a:lnTo>
                      <a:pt x="227" y="741"/>
                    </a:lnTo>
                    <a:lnTo>
                      <a:pt x="225" y="741"/>
                    </a:lnTo>
                    <a:lnTo>
                      <a:pt x="220" y="739"/>
                    </a:lnTo>
                    <a:lnTo>
                      <a:pt x="217" y="732"/>
                    </a:lnTo>
                    <a:lnTo>
                      <a:pt x="222" y="727"/>
                    </a:lnTo>
                    <a:lnTo>
                      <a:pt x="237" y="720"/>
                    </a:lnTo>
                    <a:lnTo>
                      <a:pt x="244" y="717"/>
                    </a:lnTo>
                    <a:lnTo>
                      <a:pt x="253" y="713"/>
                    </a:lnTo>
                    <a:lnTo>
                      <a:pt x="261" y="710"/>
                    </a:lnTo>
                    <a:lnTo>
                      <a:pt x="268" y="710"/>
                    </a:lnTo>
                    <a:lnTo>
                      <a:pt x="263" y="713"/>
                    </a:lnTo>
                    <a:lnTo>
                      <a:pt x="258" y="719"/>
                    </a:lnTo>
                    <a:lnTo>
                      <a:pt x="260" y="722"/>
                    </a:lnTo>
                    <a:lnTo>
                      <a:pt x="261" y="729"/>
                    </a:lnTo>
                    <a:lnTo>
                      <a:pt x="260" y="732"/>
                    </a:lnTo>
                    <a:lnTo>
                      <a:pt x="258" y="736"/>
                    </a:lnTo>
                    <a:lnTo>
                      <a:pt x="251" y="739"/>
                    </a:lnTo>
                    <a:lnTo>
                      <a:pt x="244" y="743"/>
                    </a:lnTo>
                    <a:lnTo>
                      <a:pt x="248" y="751"/>
                    </a:lnTo>
                    <a:lnTo>
                      <a:pt x="258" y="760"/>
                    </a:lnTo>
                    <a:lnTo>
                      <a:pt x="270" y="765"/>
                    </a:lnTo>
                    <a:lnTo>
                      <a:pt x="284" y="772"/>
                    </a:lnTo>
                    <a:lnTo>
                      <a:pt x="294" y="777"/>
                    </a:lnTo>
                    <a:lnTo>
                      <a:pt x="304" y="784"/>
                    </a:lnTo>
                    <a:lnTo>
                      <a:pt x="311" y="793"/>
                    </a:lnTo>
                    <a:lnTo>
                      <a:pt x="315" y="808"/>
                    </a:lnTo>
                    <a:lnTo>
                      <a:pt x="317" y="808"/>
                    </a:lnTo>
                    <a:lnTo>
                      <a:pt x="322" y="805"/>
                    </a:lnTo>
                    <a:lnTo>
                      <a:pt x="327" y="805"/>
                    </a:lnTo>
                    <a:lnTo>
                      <a:pt x="335" y="805"/>
                    </a:lnTo>
                    <a:lnTo>
                      <a:pt x="341" y="810"/>
                    </a:lnTo>
                    <a:lnTo>
                      <a:pt x="344" y="817"/>
                    </a:lnTo>
                    <a:lnTo>
                      <a:pt x="347" y="825"/>
                    </a:lnTo>
                    <a:lnTo>
                      <a:pt x="353" y="829"/>
                    </a:lnTo>
                    <a:lnTo>
                      <a:pt x="360" y="834"/>
                    </a:lnTo>
                    <a:lnTo>
                      <a:pt x="365" y="837"/>
                    </a:lnTo>
                    <a:lnTo>
                      <a:pt x="370" y="844"/>
                    </a:lnTo>
                    <a:lnTo>
                      <a:pt x="375" y="849"/>
                    </a:lnTo>
                    <a:lnTo>
                      <a:pt x="385" y="853"/>
                    </a:lnTo>
                    <a:lnTo>
                      <a:pt x="394" y="846"/>
                    </a:lnTo>
                    <a:lnTo>
                      <a:pt x="403" y="841"/>
                    </a:lnTo>
                    <a:lnTo>
                      <a:pt x="406" y="839"/>
                    </a:lnTo>
                    <a:lnTo>
                      <a:pt x="411" y="839"/>
                    </a:lnTo>
                    <a:lnTo>
                      <a:pt x="411" y="842"/>
                    </a:lnTo>
                    <a:lnTo>
                      <a:pt x="415" y="848"/>
                    </a:lnTo>
                    <a:lnTo>
                      <a:pt x="413" y="849"/>
                    </a:lnTo>
                    <a:lnTo>
                      <a:pt x="415" y="851"/>
                    </a:lnTo>
                    <a:lnTo>
                      <a:pt x="421" y="853"/>
                    </a:lnTo>
                    <a:lnTo>
                      <a:pt x="427" y="837"/>
                    </a:lnTo>
                    <a:lnTo>
                      <a:pt x="435" y="827"/>
                    </a:lnTo>
                    <a:lnTo>
                      <a:pt x="423" y="817"/>
                    </a:lnTo>
                    <a:lnTo>
                      <a:pt x="413" y="803"/>
                    </a:lnTo>
                    <a:lnTo>
                      <a:pt x="404" y="786"/>
                    </a:lnTo>
                    <a:lnTo>
                      <a:pt x="401" y="772"/>
                    </a:lnTo>
                    <a:lnTo>
                      <a:pt x="394" y="762"/>
                    </a:lnTo>
                    <a:lnTo>
                      <a:pt x="389" y="753"/>
                    </a:lnTo>
                    <a:lnTo>
                      <a:pt x="389" y="746"/>
                    </a:lnTo>
                    <a:lnTo>
                      <a:pt x="394" y="739"/>
                    </a:lnTo>
                    <a:lnTo>
                      <a:pt x="397" y="731"/>
                    </a:lnTo>
                    <a:lnTo>
                      <a:pt x="403" y="727"/>
                    </a:lnTo>
                    <a:lnTo>
                      <a:pt x="404" y="725"/>
                    </a:lnTo>
                    <a:lnTo>
                      <a:pt x="411" y="724"/>
                    </a:lnTo>
                    <a:lnTo>
                      <a:pt x="416" y="720"/>
                    </a:lnTo>
                    <a:lnTo>
                      <a:pt x="421" y="720"/>
                    </a:lnTo>
                    <a:lnTo>
                      <a:pt x="428" y="715"/>
                    </a:lnTo>
                    <a:lnTo>
                      <a:pt x="437" y="713"/>
                    </a:lnTo>
                    <a:lnTo>
                      <a:pt x="447" y="712"/>
                    </a:lnTo>
                    <a:lnTo>
                      <a:pt x="459" y="712"/>
                    </a:lnTo>
                    <a:lnTo>
                      <a:pt x="468" y="712"/>
                    </a:lnTo>
                    <a:lnTo>
                      <a:pt x="475" y="713"/>
                    </a:lnTo>
                    <a:lnTo>
                      <a:pt x="480" y="715"/>
                    </a:lnTo>
                    <a:lnTo>
                      <a:pt x="485" y="720"/>
                    </a:lnTo>
                    <a:lnTo>
                      <a:pt x="492" y="729"/>
                    </a:lnTo>
                    <a:lnTo>
                      <a:pt x="501" y="739"/>
                    </a:lnTo>
                    <a:lnTo>
                      <a:pt x="487" y="743"/>
                    </a:lnTo>
                    <a:lnTo>
                      <a:pt x="475" y="741"/>
                    </a:lnTo>
                    <a:lnTo>
                      <a:pt x="463" y="741"/>
                    </a:lnTo>
                    <a:lnTo>
                      <a:pt x="451" y="746"/>
                    </a:lnTo>
                    <a:lnTo>
                      <a:pt x="442" y="750"/>
                    </a:lnTo>
                    <a:lnTo>
                      <a:pt x="439" y="753"/>
                    </a:lnTo>
                    <a:lnTo>
                      <a:pt x="442" y="762"/>
                    </a:lnTo>
                    <a:lnTo>
                      <a:pt x="451" y="768"/>
                    </a:lnTo>
                    <a:lnTo>
                      <a:pt x="456" y="779"/>
                    </a:lnTo>
                    <a:lnTo>
                      <a:pt x="464" y="789"/>
                    </a:lnTo>
                    <a:lnTo>
                      <a:pt x="470" y="798"/>
                    </a:lnTo>
                    <a:lnTo>
                      <a:pt x="473" y="811"/>
                    </a:lnTo>
                    <a:lnTo>
                      <a:pt x="482" y="806"/>
                    </a:lnTo>
                    <a:lnTo>
                      <a:pt x="490" y="805"/>
                    </a:lnTo>
                    <a:lnTo>
                      <a:pt x="494" y="813"/>
                    </a:lnTo>
                    <a:lnTo>
                      <a:pt x="499" y="823"/>
                    </a:lnTo>
                    <a:lnTo>
                      <a:pt x="485" y="823"/>
                    </a:lnTo>
                    <a:lnTo>
                      <a:pt x="476" y="827"/>
                    </a:lnTo>
                    <a:lnTo>
                      <a:pt x="475" y="835"/>
                    </a:lnTo>
                    <a:lnTo>
                      <a:pt x="487" y="842"/>
                    </a:lnTo>
                    <a:lnTo>
                      <a:pt x="492" y="858"/>
                    </a:lnTo>
                    <a:lnTo>
                      <a:pt x="490" y="863"/>
                    </a:lnTo>
                    <a:lnTo>
                      <a:pt x="489" y="868"/>
                    </a:lnTo>
                    <a:lnTo>
                      <a:pt x="490" y="875"/>
                    </a:lnTo>
                    <a:lnTo>
                      <a:pt x="494" y="880"/>
                    </a:lnTo>
                    <a:lnTo>
                      <a:pt x="495" y="875"/>
                    </a:lnTo>
                    <a:lnTo>
                      <a:pt x="504" y="873"/>
                    </a:lnTo>
                    <a:lnTo>
                      <a:pt x="509" y="870"/>
                    </a:lnTo>
                    <a:lnTo>
                      <a:pt x="514" y="866"/>
                    </a:lnTo>
                    <a:lnTo>
                      <a:pt x="525" y="863"/>
                    </a:lnTo>
                    <a:lnTo>
                      <a:pt x="537" y="860"/>
                    </a:lnTo>
                    <a:lnTo>
                      <a:pt x="550" y="865"/>
                    </a:lnTo>
                    <a:lnTo>
                      <a:pt x="566" y="872"/>
                    </a:lnTo>
                    <a:lnTo>
                      <a:pt x="573" y="875"/>
                    </a:lnTo>
                    <a:lnTo>
                      <a:pt x="580" y="878"/>
                    </a:lnTo>
                    <a:lnTo>
                      <a:pt x="585" y="882"/>
                    </a:lnTo>
                    <a:lnTo>
                      <a:pt x="597" y="885"/>
                    </a:lnTo>
                    <a:lnTo>
                      <a:pt x="599" y="889"/>
                    </a:lnTo>
                    <a:lnTo>
                      <a:pt x="600" y="892"/>
                    </a:lnTo>
                    <a:lnTo>
                      <a:pt x="600" y="901"/>
                    </a:lnTo>
                    <a:lnTo>
                      <a:pt x="602" y="911"/>
                    </a:lnTo>
                    <a:lnTo>
                      <a:pt x="609" y="909"/>
                    </a:lnTo>
                    <a:lnTo>
                      <a:pt x="618" y="913"/>
                    </a:lnTo>
                    <a:lnTo>
                      <a:pt x="624" y="909"/>
                    </a:lnTo>
                    <a:lnTo>
                      <a:pt x="630" y="904"/>
                    </a:lnTo>
                    <a:lnTo>
                      <a:pt x="636" y="901"/>
                    </a:lnTo>
                    <a:lnTo>
                      <a:pt x="643" y="897"/>
                    </a:lnTo>
                    <a:lnTo>
                      <a:pt x="647" y="889"/>
                    </a:lnTo>
                    <a:lnTo>
                      <a:pt x="652" y="882"/>
                    </a:lnTo>
                    <a:lnTo>
                      <a:pt x="657" y="877"/>
                    </a:lnTo>
                    <a:lnTo>
                      <a:pt x="666" y="875"/>
                    </a:lnTo>
                    <a:lnTo>
                      <a:pt x="669" y="875"/>
                    </a:lnTo>
                    <a:lnTo>
                      <a:pt x="674" y="877"/>
                    </a:lnTo>
                    <a:lnTo>
                      <a:pt x="681" y="880"/>
                    </a:lnTo>
                    <a:lnTo>
                      <a:pt x="690" y="878"/>
                    </a:lnTo>
                    <a:lnTo>
                      <a:pt x="695" y="880"/>
                    </a:lnTo>
                    <a:lnTo>
                      <a:pt x="700" y="884"/>
                    </a:lnTo>
                    <a:lnTo>
                      <a:pt x="712" y="880"/>
                    </a:lnTo>
                    <a:lnTo>
                      <a:pt x="722" y="872"/>
                    </a:lnTo>
                    <a:lnTo>
                      <a:pt x="724" y="872"/>
                    </a:lnTo>
                    <a:lnTo>
                      <a:pt x="729" y="865"/>
                    </a:lnTo>
                    <a:lnTo>
                      <a:pt x="741" y="860"/>
                    </a:lnTo>
                    <a:lnTo>
                      <a:pt x="745" y="863"/>
                    </a:lnTo>
                    <a:lnTo>
                      <a:pt x="747" y="872"/>
                    </a:lnTo>
                    <a:lnTo>
                      <a:pt x="747" y="880"/>
                    </a:lnTo>
                    <a:lnTo>
                      <a:pt x="753" y="885"/>
                    </a:lnTo>
                    <a:lnTo>
                      <a:pt x="765" y="880"/>
                    </a:lnTo>
                    <a:lnTo>
                      <a:pt x="779" y="877"/>
                    </a:lnTo>
                    <a:lnTo>
                      <a:pt x="788" y="877"/>
                    </a:lnTo>
                    <a:lnTo>
                      <a:pt x="796" y="878"/>
                    </a:lnTo>
                    <a:lnTo>
                      <a:pt x="796" y="877"/>
                    </a:lnTo>
                    <a:lnTo>
                      <a:pt x="791" y="863"/>
                    </a:lnTo>
                    <a:lnTo>
                      <a:pt x="779" y="858"/>
                    </a:lnTo>
                    <a:lnTo>
                      <a:pt x="781" y="848"/>
                    </a:lnTo>
                    <a:lnTo>
                      <a:pt x="786" y="837"/>
                    </a:lnTo>
                    <a:lnTo>
                      <a:pt x="791" y="829"/>
                    </a:lnTo>
                    <a:lnTo>
                      <a:pt x="798" y="825"/>
                    </a:lnTo>
                    <a:lnTo>
                      <a:pt x="814" y="823"/>
                    </a:lnTo>
                    <a:lnTo>
                      <a:pt x="829" y="820"/>
                    </a:lnTo>
                    <a:lnTo>
                      <a:pt x="843" y="813"/>
                    </a:lnTo>
                    <a:lnTo>
                      <a:pt x="855" y="805"/>
                    </a:lnTo>
                    <a:lnTo>
                      <a:pt x="863" y="793"/>
                    </a:lnTo>
                    <a:lnTo>
                      <a:pt x="870" y="779"/>
                    </a:lnTo>
                    <a:lnTo>
                      <a:pt x="874" y="763"/>
                    </a:lnTo>
                    <a:lnTo>
                      <a:pt x="877" y="744"/>
                    </a:lnTo>
                    <a:lnTo>
                      <a:pt x="891" y="737"/>
                    </a:lnTo>
                    <a:lnTo>
                      <a:pt x="901" y="725"/>
                    </a:lnTo>
                    <a:lnTo>
                      <a:pt x="910" y="713"/>
                    </a:lnTo>
                    <a:lnTo>
                      <a:pt x="920" y="712"/>
                    </a:lnTo>
                    <a:lnTo>
                      <a:pt x="932" y="710"/>
                    </a:lnTo>
                    <a:lnTo>
                      <a:pt x="941" y="708"/>
                    </a:lnTo>
                    <a:lnTo>
                      <a:pt x="944" y="703"/>
                    </a:lnTo>
                    <a:lnTo>
                      <a:pt x="949" y="700"/>
                    </a:lnTo>
                    <a:lnTo>
                      <a:pt x="949" y="688"/>
                    </a:lnTo>
                    <a:lnTo>
                      <a:pt x="953" y="681"/>
                    </a:lnTo>
                    <a:lnTo>
                      <a:pt x="960" y="674"/>
                    </a:lnTo>
                    <a:lnTo>
                      <a:pt x="968" y="669"/>
                    </a:lnTo>
                    <a:lnTo>
                      <a:pt x="979" y="665"/>
                    </a:lnTo>
                    <a:lnTo>
                      <a:pt x="989" y="664"/>
                    </a:lnTo>
                    <a:lnTo>
                      <a:pt x="999" y="658"/>
                    </a:lnTo>
                    <a:lnTo>
                      <a:pt x="1010" y="655"/>
                    </a:lnTo>
                    <a:lnTo>
                      <a:pt x="1020" y="652"/>
                    </a:lnTo>
                    <a:lnTo>
                      <a:pt x="1030" y="648"/>
                    </a:lnTo>
                    <a:lnTo>
                      <a:pt x="1037" y="641"/>
                    </a:lnTo>
                    <a:lnTo>
                      <a:pt x="1049" y="636"/>
                    </a:lnTo>
                    <a:lnTo>
                      <a:pt x="1060" y="638"/>
                    </a:lnTo>
                    <a:lnTo>
                      <a:pt x="1075" y="643"/>
                    </a:lnTo>
                    <a:lnTo>
                      <a:pt x="1089" y="648"/>
                    </a:lnTo>
                    <a:lnTo>
                      <a:pt x="1106" y="652"/>
                    </a:lnTo>
                    <a:lnTo>
                      <a:pt x="1113" y="648"/>
                    </a:lnTo>
                    <a:lnTo>
                      <a:pt x="1120" y="645"/>
                    </a:lnTo>
                    <a:lnTo>
                      <a:pt x="1123" y="638"/>
                    </a:lnTo>
                    <a:lnTo>
                      <a:pt x="1128" y="631"/>
                    </a:lnTo>
                    <a:lnTo>
                      <a:pt x="1133" y="617"/>
                    </a:lnTo>
                    <a:lnTo>
                      <a:pt x="1144" y="612"/>
                    </a:lnTo>
                    <a:lnTo>
                      <a:pt x="1152" y="612"/>
                    </a:lnTo>
                    <a:lnTo>
                      <a:pt x="1168" y="615"/>
                    </a:lnTo>
                    <a:lnTo>
                      <a:pt x="1180" y="619"/>
                    </a:lnTo>
                    <a:lnTo>
                      <a:pt x="1187" y="626"/>
                    </a:lnTo>
                    <a:lnTo>
                      <a:pt x="1190" y="634"/>
                    </a:lnTo>
                    <a:lnTo>
                      <a:pt x="1195" y="639"/>
                    </a:lnTo>
                    <a:lnTo>
                      <a:pt x="1202" y="643"/>
                    </a:lnTo>
                    <a:lnTo>
                      <a:pt x="1209" y="645"/>
                    </a:lnTo>
                    <a:lnTo>
                      <a:pt x="1221" y="643"/>
                    </a:lnTo>
                    <a:lnTo>
                      <a:pt x="1233" y="641"/>
                    </a:lnTo>
                    <a:lnTo>
                      <a:pt x="1242" y="641"/>
                    </a:lnTo>
                    <a:lnTo>
                      <a:pt x="1252" y="645"/>
                    </a:lnTo>
                    <a:lnTo>
                      <a:pt x="1259" y="648"/>
                    </a:lnTo>
                    <a:lnTo>
                      <a:pt x="1268" y="653"/>
                    </a:lnTo>
                    <a:lnTo>
                      <a:pt x="1275" y="657"/>
                    </a:lnTo>
                    <a:lnTo>
                      <a:pt x="1283" y="660"/>
                    </a:lnTo>
                    <a:lnTo>
                      <a:pt x="1293" y="664"/>
                    </a:lnTo>
                    <a:lnTo>
                      <a:pt x="1305" y="665"/>
                    </a:lnTo>
                    <a:lnTo>
                      <a:pt x="1316" y="664"/>
                    </a:lnTo>
                    <a:lnTo>
                      <a:pt x="1328" y="660"/>
                    </a:lnTo>
                    <a:lnTo>
                      <a:pt x="1340" y="657"/>
                    </a:lnTo>
                    <a:lnTo>
                      <a:pt x="1354" y="653"/>
                    </a:lnTo>
                    <a:lnTo>
                      <a:pt x="1366" y="648"/>
                    </a:lnTo>
                    <a:lnTo>
                      <a:pt x="1379" y="648"/>
                    </a:lnTo>
                    <a:lnTo>
                      <a:pt x="1393" y="648"/>
                    </a:lnTo>
                    <a:lnTo>
                      <a:pt x="1409" y="653"/>
                    </a:lnTo>
                    <a:lnTo>
                      <a:pt x="1422" y="653"/>
                    </a:lnTo>
                    <a:lnTo>
                      <a:pt x="1433" y="650"/>
                    </a:lnTo>
                    <a:lnTo>
                      <a:pt x="1440" y="639"/>
                    </a:lnTo>
                    <a:lnTo>
                      <a:pt x="1447" y="627"/>
                    </a:lnTo>
                    <a:lnTo>
                      <a:pt x="1452" y="612"/>
                    </a:lnTo>
                    <a:lnTo>
                      <a:pt x="1460" y="600"/>
                    </a:lnTo>
                    <a:lnTo>
                      <a:pt x="1474" y="591"/>
                    </a:lnTo>
                    <a:lnTo>
                      <a:pt x="1496" y="588"/>
                    </a:lnTo>
                    <a:lnTo>
                      <a:pt x="1510" y="588"/>
                    </a:lnTo>
                    <a:lnTo>
                      <a:pt x="1520" y="593"/>
                    </a:lnTo>
                    <a:lnTo>
                      <a:pt x="1529" y="598"/>
                    </a:lnTo>
                    <a:lnTo>
                      <a:pt x="1536" y="609"/>
                    </a:lnTo>
                    <a:lnTo>
                      <a:pt x="1541" y="617"/>
                    </a:lnTo>
                    <a:lnTo>
                      <a:pt x="1546" y="629"/>
                    </a:lnTo>
                    <a:lnTo>
                      <a:pt x="1551" y="639"/>
                    </a:lnTo>
                    <a:lnTo>
                      <a:pt x="1558" y="652"/>
                    </a:lnTo>
                    <a:lnTo>
                      <a:pt x="1563" y="657"/>
                    </a:lnTo>
                    <a:lnTo>
                      <a:pt x="1576" y="660"/>
                    </a:lnTo>
                    <a:lnTo>
                      <a:pt x="1586" y="664"/>
                    </a:lnTo>
                    <a:lnTo>
                      <a:pt x="1596" y="670"/>
                    </a:lnTo>
                    <a:lnTo>
                      <a:pt x="1600" y="676"/>
                    </a:lnTo>
                    <a:lnTo>
                      <a:pt x="1606" y="686"/>
                    </a:lnTo>
                    <a:lnTo>
                      <a:pt x="1612" y="693"/>
                    </a:lnTo>
                    <a:lnTo>
                      <a:pt x="1624" y="696"/>
                    </a:lnTo>
                    <a:lnTo>
                      <a:pt x="1632" y="693"/>
                    </a:lnTo>
                    <a:lnTo>
                      <a:pt x="1641" y="688"/>
                    </a:lnTo>
                    <a:lnTo>
                      <a:pt x="1649" y="682"/>
                    </a:lnTo>
                    <a:lnTo>
                      <a:pt x="1665" y="681"/>
                    </a:lnTo>
                    <a:lnTo>
                      <a:pt x="1665" y="694"/>
                    </a:lnTo>
                    <a:lnTo>
                      <a:pt x="1656" y="703"/>
                    </a:lnTo>
                    <a:lnTo>
                      <a:pt x="1649" y="717"/>
                    </a:lnTo>
                    <a:lnTo>
                      <a:pt x="1643" y="731"/>
                    </a:lnTo>
                    <a:lnTo>
                      <a:pt x="1636" y="739"/>
                    </a:lnTo>
                    <a:lnTo>
                      <a:pt x="1625" y="743"/>
                    </a:lnTo>
                    <a:lnTo>
                      <a:pt x="1615" y="746"/>
                    </a:lnTo>
                    <a:lnTo>
                      <a:pt x="1608" y="748"/>
                    </a:lnTo>
                    <a:lnTo>
                      <a:pt x="1610" y="753"/>
                    </a:lnTo>
                    <a:lnTo>
                      <a:pt x="1615" y="762"/>
                    </a:lnTo>
                    <a:lnTo>
                      <a:pt x="1615" y="772"/>
                    </a:lnTo>
                    <a:lnTo>
                      <a:pt x="1610" y="780"/>
                    </a:lnTo>
                    <a:lnTo>
                      <a:pt x="1608" y="7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14" name="Freeform 258"/>
              <p:cNvSpPr>
                <a:spLocks/>
              </p:cNvSpPr>
              <p:nvPr/>
            </p:nvSpPr>
            <p:spPr bwMode="auto">
              <a:xfrm>
                <a:off x="5999957" y="2651125"/>
                <a:ext cx="1406525" cy="887412"/>
              </a:xfrm>
              <a:custGeom>
                <a:avLst/>
                <a:gdLst/>
                <a:ahLst/>
                <a:cxnLst>
                  <a:cxn ang="0">
                    <a:pos x="659" y="330"/>
                  </a:cxn>
                  <a:cxn ang="0">
                    <a:pos x="707" y="294"/>
                  </a:cxn>
                  <a:cxn ang="0">
                    <a:pos x="669" y="294"/>
                  </a:cxn>
                  <a:cxn ang="0">
                    <a:pos x="635" y="270"/>
                  </a:cxn>
                  <a:cxn ang="0">
                    <a:pos x="680" y="239"/>
                  </a:cxn>
                  <a:cxn ang="0">
                    <a:pos x="686" y="263"/>
                  </a:cxn>
                  <a:cxn ang="0">
                    <a:pos x="745" y="254"/>
                  </a:cxn>
                  <a:cxn ang="0">
                    <a:pos x="745" y="284"/>
                  </a:cxn>
                  <a:cxn ang="0">
                    <a:pos x="757" y="299"/>
                  </a:cxn>
                  <a:cxn ang="0">
                    <a:pos x="762" y="320"/>
                  </a:cxn>
                  <a:cxn ang="0">
                    <a:pos x="767" y="339"/>
                  </a:cxn>
                  <a:cxn ang="0">
                    <a:pos x="793" y="328"/>
                  </a:cxn>
                  <a:cxn ang="0">
                    <a:pos x="784" y="266"/>
                  </a:cxn>
                  <a:cxn ang="0">
                    <a:pos x="807" y="229"/>
                  </a:cxn>
                  <a:cxn ang="0">
                    <a:pos x="836" y="184"/>
                  </a:cxn>
                  <a:cxn ang="0">
                    <a:pos x="857" y="151"/>
                  </a:cxn>
                  <a:cxn ang="0">
                    <a:pos x="870" y="94"/>
                  </a:cxn>
                  <a:cxn ang="0">
                    <a:pos x="821" y="88"/>
                  </a:cxn>
                  <a:cxn ang="0">
                    <a:pos x="772" y="51"/>
                  </a:cxn>
                  <a:cxn ang="0">
                    <a:pos x="731" y="0"/>
                  </a:cxn>
                  <a:cxn ang="0">
                    <a:pos x="661" y="51"/>
                  </a:cxn>
                  <a:cxn ang="0">
                    <a:pos x="587" y="60"/>
                  </a:cxn>
                  <a:cxn ang="0">
                    <a:pos x="514" y="76"/>
                  </a:cxn>
                  <a:cxn ang="0">
                    <a:pos x="463" y="53"/>
                  </a:cxn>
                  <a:cxn ang="0">
                    <a:pos x="411" y="46"/>
                  </a:cxn>
                  <a:cxn ang="0">
                    <a:pos x="354" y="29"/>
                  </a:cxn>
                  <a:cxn ang="0">
                    <a:pos x="310" y="60"/>
                  </a:cxn>
                  <a:cxn ang="0">
                    <a:pos x="241" y="64"/>
                  </a:cxn>
                  <a:cxn ang="0">
                    <a:pos x="181" y="86"/>
                  </a:cxn>
                  <a:cxn ang="0">
                    <a:pos x="153" y="122"/>
                  </a:cxn>
                  <a:cxn ang="0">
                    <a:pos x="95" y="175"/>
                  </a:cxn>
                  <a:cxn ang="0">
                    <a:pos x="35" y="235"/>
                  </a:cxn>
                  <a:cxn ang="0">
                    <a:pos x="12" y="275"/>
                  </a:cxn>
                  <a:cxn ang="0">
                    <a:pos x="35" y="311"/>
                  </a:cxn>
                  <a:cxn ang="0">
                    <a:pos x="95" y="327"/>
                  </a:cxn>
                  <a:cxn ang="0">
                    <a:pos x="84" y="364"/>
                  </a:cxn>
                  <a:cxn ang="0">
                    <a:pos x="78" y="392"/>
                  </a:cxn>
                  <a:cxn ang="0">
                    <a:pos x="134" y="414"/>
                  </a:cxn>
                  <a:cxn ang="0">
                    <a:pos x="169" y="437"/>
                  </a:cxn>
                  <a:cxn ang="0">
                    <a:pos x="217" y="442"/>
                  </a:cxn>
                  <a:cxn ang="0">
                    <a:pos x="272" y="440"/>
                  </a:cxn>
                  <a:cxn ang="0">
                    <a:pos x="306" y="419"/>
                  </a:cxn>
                  <a:cxn ang="0">
                    <a:pos x="341" y="431"/>
                  </a:cxn>
                  <a:cxn ang="0">
                    <a:pos x="351" y="485"/>
                  </a:cxn>
                  <a:cxn ang="0">
                    <a:pos x="365" y="504"/>
                  </a:cxn>
                  <a:cxn ang="0">
                    <a:pos x="392" y="536"/>
                  </a:cxn>
                  <a:cxn ang="0">
                    <a:pos x="406" y="538"/>
                  </a:cxn>
                  <a:cxn ang="0">
                    <a:pos x="446" y="517"/>
                  </a:cxn>
                  <a:cxn ang="0">
                    <a:pos x="508" y="542"/>
                  </a:cxn>
                  <a:cxn ang="0">
                    <a:pos x="539" y="542"/>
                  </a:cxn>
                  <a:cxn ang="0">
                    <a:pos x="585" y="524"/>
                  </a:cxn>
                  <a:cxn ang="0">
                    <a:pos x="638" y="500"/>
                  </a:cxn>
                  <a:cxn ang="0">
                    <a:pos x="666" y="457"/>
                  </a:cxn>
                  <a:cxn ang="0">
                    <a:pos x="692" y="416"/>
                  </a:cxn>
                  <a:cxn ang="0">
                    <a:pos x="676" y="358"/>
                  </a:cxn>
                </a:cxnLst>
                <a:rect l="0" t="0" r="r" b="b"/>
                <a:pathLst>
                  <a:path w="886" h="559">
                    <a:moveTo>
                      <a:pt x="674" y="352"/>
                    </a:moveTo>
                    <a:lnTo>
                      <a:pt x="673" y="352"/>
                    </a:lnTo>
                    <a:lnTo>
                      <a:pt x="673" y="347"/>
                    </a:lnTo>
                    <a:lnTo>
                      <a:pt x="673" y="342"/>
                    </a:lnTo>
                    <a:lnTo>
                      <a:pt x="664" y="339"/>
                    </a:lnTo>
                    <a:lnTo>
                      <a:pt x="659" y="330"/>
                    </a:lnTo>
                    <a:lnTo>
                      <a:pt x="662" y="323"/>
                    </a:lnTo>
                    <a:lnTo>
                      <a:pt x="669" y="318"/>
                    </a:lnTo>
                    <a:lnTo>
                      <a:pt x="674" y="309"/>
                    </a:lnTo>
                    <a:lnTo>
                      <a:pt x="685" y="304"/>
                    </a:lnTo>
                    <a:lnTo>
                      <a:pt x="697" y="299"/>
                    </a:lnTo>
                    <a:lnTo>
                      <a:pt x="707" y="294"/>
                    </a:lnTo>
                    <a:lnTo>
                      <a:pt x="697" y="290"/>
                    </a:lnTo>
                    <a:lnTo>
                      <a:pt x="688" y="289"/>
                    </a:lnTo>
                    <a:lnTo>
                      <a:pt x="681" y="285"/>
                    </a:lnTo>
                    <a:lnTo>
                      <a:pt x="676" y="284"/>
                    </a:lnTo>
                    <a:lnTo>
                      <a:pt x="673" y="289"/>
                    </a:lnTo>
                    <a:lnTo>
                      <a:pt x="669" y="294"/>
                    </a:lnTo>
                    <a:lnTo>
                      <a:pt x="662" y="294"/>
                    </a:lnTo>
                    <a:lnTo>
                      <a:pt x="655" y="292"/>
                    </a:lnTo>
                    <a:lnTo>
                      <a:pt x="650" y="285"/>
                    </a:lnTo>
                    <a:lnTo>
                      <a:pt x="647" y="278"/>
                    </a:lnTo>
                    <a:lnTo>
                      <a:pt x="638" y="275"/>
                    </a:lnTo>
                    <a:lnTo>
                      <a:pt x="635" y="270"/>
                    </a:lnTo>
                    <a:lnTo>
                      <a:pt x="637" y="263"/>
                    </a:lnTo>
                    <a:lnTo>
                      <a:pt x="643" y="261"/>
                    </a:lnTo>
                    <a:lnTo>
                      <a:pt x="650" y="260"/>
                    </a:lnTo>
                    <a:lnTo>
                      <a:pt x="657" y="258"/>
                    </a:lnTo>
                    <a:lnTo>
                      <a:pt x="668" y="249"/>
                    </a:lnTo>
                    <a:lnTo>
                      <a:pt x="680" y="239"/>
                    </a:lnTo>
                    <a:lnTo>
                      <a:pt x="680" y="235"/>
                    </a:lnTo>
                    <a:lnTo>
                      <a:pt x="686" y="234"/>
                    </a:lnTo>
                    <a:lnTo>
                      <a:pt x="693" y="235"/>
                    </a:lnTo>
                    <a:lnTo>
                      <a:pt x="697" y="242"/>
                    </a:lnTo>
                    <a:lnTo>
                      <a:pt x="692" y="253"/>
                    </a:lnTo>
                    <a:lnTo>
                      <a:pt x="686" y="263"/>
                    </a:lnTo>
                    <a:lnTo>
                      <a:pt x="697" y="260"/>
                    </a:lnTo>
                    <a:lnTo>
                      <a:pt x="707" y="254"/>
                    </a:lnTo>
                    <a:lnTo>
                      <a:pt x="717" y="249"/>
                    </a:lnTo>
                    <a:lnTo>
                      <a:pt x="729" y="247"/>
                    </a:lnTo>
                    <a:lnTo>
                      <a:pt x="736" y="251"/>
                    </a:lnTo>
                    <a:lnTo>
                      <a:pt x="745" y="254"/>
                    </a:lnTo>
                    <a:lnTo>
                      <a:pt x="743" y="260"/>
                    </a:lnTo>
                    <a:lnTo>
                      <a:pt x="745" y="265"/>
                    </a:lnTo>
                    <a:lnTo>
                      <a:pt x="741" y="270"/>
                    </a:lnTo>
                    <a:lnTo>
                      <a:pt x="740" y="275"/>
                    </a:lnTo>
                    <a:lnTo>
                      <a:pt x="740" y="280"/>
                    </a:lnTo>
                    <a:lnTo>
                      <a:pt x="745" y="284"/>
                    </a:lnTo>
                    <a:lnTo>
                      <a:pt x="747" y="282"/>
                    </a:lnTo>
                    <a:lnTo>
                      <a:pt x="752" y="282"/>
                    </a:lnTo>
                    <a:lnTo>
                      <a:pt x="760" y="284"/>
                    </a:lnTo>
                    <a:lnTo>
                      <a:pt x="766" y="292"/>
                    </a:lnTo>
                    <a:lnTo>
                      <a:pt x="762" y="296"/>
                    </a:lnTo>
                    <a:lnTo>
                      <a:pt x="757" y="299"/>
                    </a:lnTo>
                    <a:lnTo>
                      <a:pt x="757" y="304"/>
                    </a:lnTo>
                    <a:lnTo>
                      <a:pt x="759" y="304"/>
                    </a:lnTo>
                    <a:lnTo>
                      <a:pt x="762" y="308"/>
                    </a:lnTo>
                    <a:lnTo>
                      <a:pt x="764" y="311"/>
                    </a:lnTo>
                    <a:lnTo>
                      <a:pt x="766" y="316"/>
                    </a:lnTo>
                    <a:lnTo>
                      <a:pt x="762" y="320"/>
                    </a:lnTo>
                    <a:lnTo>
                      <a:pt x="760" y="327"/>
                    </a:lnTo>
                    <a:lnTo>
                      <a:pt x="760" y="330"/>
                    </a:lnTo>
                    <a:lnTo>
                      <a:pt x="764" y="332"/>
                    </a:lnTo>
                    <a:lnTo>
                      <a:pt x="760" y="335"/>
                    </a:lnTo>
                    <a:lnTo>
                      <a:pt x="760" y="339"/>
                    </a:lnTo>
                    <a:lnTo>
                      <a:pt x="767" y="339"/>
                    </a:lnTo>
                    <a:lnTo>
                      <a:pt x="771" y="335"/>
                    </a:lnTo>
                    <a:lnTo>
                      <a:pt x="778" y="335"/>
                    </a:lnTo>
                    <a:lnTo>
                      <a:pt x="779" y="330"/>
                    </a:lnTo>
                    <a:lnTo>
                      <a:pt x="784" y="330"/>
                    </a:lnTo>
                    <a:lnTo>
                      <a:pt x="788" y="328"/>
                    </a:lnTo>
                    <a:lnTo>
                      <a:pt x="793" y="328"/>
                    </a:lnTo>
                    <a:lnTo>
                      <a:pt x="800" y="321"/>
                    </a:lnTo>
                    <a:lnTo>
                      <a:pt x="803" y="309"/>
                    </a:lnTo>
                    <a:lnTo>
                      <a:pt x="802" y="294"/>
                    </a:lnTo>
                    <a:lnTo>
                      <a:pt x="798" y="284"/>
                    </a:lnTo>
                    <a:lnTo>
                      <a:pt x="791" y="273"/>
                    </a:lnTo>
                    <a:lnTo>
                      <a:pt x="784" y="266"/>
                    </a:lnTo>
                    <a:lnTo>
                      <a:pt x="778" y="258"/>
                    </a:lnTo>
                    <a:lnTo>
                      <a:pt x="776" y="249"/>
                    </a:lnTo>
                    <a:lnTo>
                      <a:pt x="784" y="246"/>
                    </a:lnTo>
                    <a:lnTo>
                      <a:pt x="791" y="241"/>
                    </a:lnTo>
                    <a:lnTo>
                      <a:pt x="798" y="234"/>
                    </a:lnTo>
                    <a:lnTo>
                      <a:pt x="807" y="229"/>
                    </a:lnTo>
                    <a:lnTo>
                      <a:pt x="810" y="218"/>
                    </a:lnTo>
                    <a:lnTo>
                      <a:pt x="815" y="210"/>
                    </a:lnTo>
                    <a:lnTo>
                      <a:pt x="821" y="203"/>
                    </a:lnTo>
                    <a:lnTo>
                      <a:pt x="829" y="198"/>
                    </a:lnTo>
                    <a:lnTo>
                      <a:pt x="831" y="192"/>
                    </a:lnTo>
                    <a:lnTo>
                      <a:pt x="836" y="184"/>
                    </a:lnTo>
                    <a:lnTo>
                      <a:pt x="836" y="174"/>
                    </a:lnTo>
                    <a:lnTo>
                      <a:pt x="831" y="165"/>
                    </a:lnTo>
                    <a:lnTo>
                      <a:pt x="829" y="160"/>
                    </a:lnTo>
                    <a:lnTo>
                      <a:pt x="836" y="158"/>
                    </a:lnTo>
                    <a:lnTo>
                      <a:pt x="846" y="155"/>
                    </a:lnTo>
                    <a:lnTo>
                      <a:pt x="857" y="151"/>
                    </a:lnTo>
                    <a:lnTo>
                      <a:pt x="864" y="143"/>
                    </a:lnTo>
                    <a:lnTo>
                      <a:pt x="870" y="129"/>
                    </a:lnTo>
                    <a:lnTo>
                      <a:pt x="877" y="115"/>
                    </a:lnTo>
                    <a:lnTo>
                      <a:pt x="886" y="106"/>
                    </a:lnTo>
                    <a:lnTo>
                      <a:pt x="886" y="93"/>
                    </a:lnTo>
                    <a:lnTo>
                      <a:pt x="870" y="94"/>
                    </a:lnTo>
                    <a:lnTo>
                      <a:pt x="862" y="100"/>
                    </a:lnTo>
                    <a:lnTo>
                      <a:pt x="853" y="105"/>
                    </a:lnTo>
                    <a:lnTo>
                      <a:pt x="845" y="108"/>
                    </a:lnTo>
                    <a:lnTo>
                      <a:pt x="833" y="105"/>
                    </a:lnTo>
                    <a:lnTo>
                      <a:pt x="827" y="98"/>
                    </a:lnTo>
                    <a:lnTo>
                      <a:pt x="821" y="88"/>
                    </a:lnTo>
                    <a:lnTo>
                      <a:pt x="817" y="82"/>
                    </a:lnTo>
                    <a:lnTo>
                      <a:pt x="807" y="76"/>
                    </a:lnTo>
                    <a:lnTo>
                      <a:pt x="797" y="72"/>
                    </a:lnTo>
                    <a:lnTo>
                      <a:pt x="784" y="69"/>
                    </a:lnTo>
                    <a:lnTo>
                      <a:pt x="779" y="64"/>
                    </a:lnTo>
                    <a:lnTo>
                      <a:pt x="772" y="51"/>
                    </a:lnTo>
                    <a:lnTo>
                      <a:pt x="767" y="41"/>
                    </a:lnTo>
                    <a:lnTo>
                      <a:pt x="762" y="29"/>
                    </a:lnTo>
                    <a:lnTo>
                      <a:pt x="757" y="21"/>
                    </a:lnTo>
                    <a:lnTo>
                      <a:pt x="750" y="10"/>
                    </a:lnTo>
                    <a:lnTo>
                      <a:pt x="741" y="5"/>
                    </a:lnTo>
                    <a:lnTo>
                      <a:pt x="731" y="0"/>
                    </a:lnTo>
                    <a:lnTo>
                      <a:pt x="717" y="0"/>
                    </a:lnTo>
                    <a:lnTo>
                      <a:pt x="695" y="3"/>
                    </a:lnTo>
                    <a:lnTo>
                      <a:pt x="681" y="12"/>
                    </a:lnTo>
                    <a:lnTo>
                      <a:pt x="673" y="24"/>
                    </a:lnTo>
                    <a:lnTo>
                      <a:pt x="668" y="39"/>
                    </a:lnTo>
                    <a:lnTo>
                      <a:pt x="661" y="51"/>
                    </a:lnTo>
                    <a:lnTo>
                      <a:pt x="654" y="62"/>
                    </a:lnTo>
                    <a:lnTo>
                      <a:pt x="643" y="65"/>
                    </a:lnTo>
                    <a:lnTo>
                      <a:pt x="630" y="65"/>
                    </a:lnTo>
                    <a:lnTo>
                      <a:pt x="614" y="60"/>
                    </a:lnTo>
                    <a:lnTo>
                      <a:pt x="600" y="60"/>
                    </a:lnTo>
                    <a:lnTo>
                      <a:pt x="587" y="60"/>
                    </a:lnTo>
                    <a:lnTo>
                      <a:pt x="575" y="65"/>
                    </a:lnTo>
                    <a:lnTo>
                      <a:pt x="561" y="69"/>
                    </a:lnTo>
                    <a:lnTo>
                      <a:pt x="549" y="72"/>
                    </a:lnTo>
                    <a:lnTo>
                      <a:pt x="537" y="76"/>
                    </a:lnTo>
                    <a:lnTo>
                      <a:pt x="526" y="77"/>
                    </a:lnTo>
                    <a:lnTo>
                      <a:pt x="514" y="76"/>
                    </a:lnTo>
                    <a:lnTo>
                      <a:pt x="504" y="72"/>
                    </a:lnTo>
                    <a:lnTo>
                      <a:pt x="496" y="69"/>
                    </a:lnTo>
                    <a:lnTo>
                      <a:pt x="489" y="65"/>
                    </a:lnTo>
                    <a:lnTo>
                      <a:pt x="480" y="60"/>
                    </a:lnTo>
                    <a:lnTo>
                      <a:pt x="473" y="57"/>
                    </a:lnTo>
                    <a:lnTo>
                      <a:pt x="463" y="53"/>
                    </a:lnTo>
                    <a:lnTo>
                      <a:pt x="454" y="53"/>
                    </a:lnTo>
                    <a:lnTo>
                      <a:pt x="442" y="55"/>
                    </a:lnTo>
                    <a:lnTo>
                      <a:pt x="430" y="57"/>
                    </a:lnTo>
                    <a:lnTo>
                      <a:pt x="423" y="55"/>
                    </a:lnTo>
                    <a:lnTo>
                      <a:pt x="416" y="51"/>
                    </a:lnTo>
                    <a:lnTo>
                      <a:pt x="411" y="46"/>
                    </a:lnTo>
                    <a:lnTo>
                      <a:pt x="408" y="38"/>
                    </a:lnTo>
                    <a:lnTo>
                      <a:pt x="401" y="31"/>
                    </a:lnTo>
                    <a:lnTo>
                      <a:pt x="389" y="27"/>
                    </a:lnTo>
                    <a:lnTo>
                      <a:pt x="373" y="24"/>
                    </a:lnTo>
                    <a:lnTo>
                      <a:pt x="365" y="24"/>
                    </a:lnTo>
                    <a:lnTo>
                      <a:pt x="354" y="29"/>
                    </a:lnTo>
                    <a:lnTo>
                      <a:pt x="349" y="43"/>
                    </a:lnTo>
                    <a:lnTo>
                      <a:pt x="344" y="50"/>
                    </a:lnTo>
                    <a:lnTo>
                      <a:pt x="341" y="57"/>
                    </a:lnTo>
                    <a:lnTo>
                      <a:pt x="334" y="60"/>
                    </a:lnTo>
                    <a:lnTo>
                      <a:pt x="327" y="64"/>
                    </a:lnTo>
                    <a:lnTo>
                      <a:pt x="310" y="60"/>
                    </a:lnTo>
                    <a:lnTo>
                      <a:pt x="296" y="55"/>
                    </a:lnTo>
                    <a:lnTo>
                      <a:pt x="281" y="50"/>
                    </a:lnTo>
                    <a:lnTo>
                      <a:pt x="270" y="48"/>
                    </a:lnTo>
                    <a:lnTo>
                      <a:pt x="258" y="53"/>
                    </a:lnTo>
                    <a:lnTo>
                      <a:pt x="251" y="60"/>
                    </a:lnTo>
                    <a:lnTo>
                      <a:pt x="241" y="64"/>
                    </a:lnTo>
                    <a:lnTo>
                      <a:pt x="231" y="67"/>
                    </a:lnTo>
                    <a:lnTo>
                      <a:pt x="220" y="70"/>
                    </a:lnTo>
                    <a:lnTo>
                      <a:pt x="210" y="76"/>
                    </a:lnTo>
                    <a:lnTo>
                      <a:pt x="200" y="77"/>
                    </a:lnTo>
                    <a:lnTo>
                      <a:pt x="189" y="81"/>
                    </a:lnTo>
                    <a:lnTo>
                      <a:pt x="181" y="86"/>
                    </a:lnTo>
                    <a:lnTo>
                      <a:pt x="174" y="93"/>
                    </a:lnTo>
                    <a:lnTo>
                      <a:pt x="170" y="100"/>
                    </a:lnTo>
                    <a:lnTo>
                      <a:pt x="170" y="112"/>
                    </a:lnTo>
                    <a:lnTo>
                      <a:pt x="165" y="115"/>
                    </a:lnTo>
                    <a:lnTo>
                      <a:pt x="162" y="120"/>
                    </a:lnTo>
                    <a:lnTo>
                      <a:pt x="153" y="122"/>
                    </a:lnTo>
                    <a:lnTo>
                      <a:pt x="141" y="124"/>
                    </a:lnTo>
                    <a:lnTo>
                      <a:pt x="131" y="125"/>
                    </a:lnTo>
                    <a:lnTo>
                      <a:pt x="122" y="137"/>
                    </a:lnTo>
                    <a:lnTo>
                      <a:pt x="112" y="149"/>
                    </a:lnTo>
                    <a:lnTo>
                      <a:pt x="98" y="156"/>
                    </a:lnTo>
                    <a:lnTo>
                      <a:pt x="95" y="175"/>
                    </a:lnTo>
                    <a:lnTo>
                      <a:pt x="91" y="191"/>
                    </a:lnTo>
                    <a:lnTo>
                      <a:pt x="84" y="205"/>
                    </a:lnTo>
                    <a:lnTo>
                      <a:pt x="76" y="217"/>
                    </a:lnTo>
                    <a:lnTo>
                      <a:pt x="64" y="225"/>
                    </a:lnTo>
                    <a:lnTo>
                      <a:pt x="50" y="232"/>
                    </a:lnTo>
                    <a:lnTo>
                      <a:pt x="35" y="235"/>
                    </a:lnTo>
                    <a:lnTo>
                      <a:pt x="19" y="237"/>
                    </a:lnTo>
                    <a:lnTo>
                      <a:pt x="12" y="241"/>
                    </a:lnTo>
                    <a:lnTo>
                      <a:pt x="7" y="249"/>
                    </a:lnTo>
                    <a:lnTo>
                      <a:pt x="2" y="260"/>
                    </a:lnTo>
                    <a:lnTo>
                      <a:pt x="0" y="270"/>
                    </a:lnTo>
                    <a:lnTo>
                      <a:pt x="12" y="275"/>
                    </a:lnTo>
                    <a:lnTo>
                      <a:pt x="17" y="289"/>
                    </a:lnTo>
                    <a:lnTo>
                      <a:pt x="17" y="290"/>
                    </a:lnTo>
                    <a:lnTo>
                      <a:pt x="19" y="297"/>
                    </a:lnTo>
                    <a:lnTo>
                      <a:pt x="29" y="299"/>
                    </a:lnTo>
                    <a:lnTo>
                      <a:pt x="33" y="304"/>
                    </a:lnTo>
                    <a:lnTo>
                      <a:pt x="35" y="311"/>
                    </a:lnTo>
                    <a:lnTo>
                      <a:pt x="45" y="316"/>
                    </a:lnTo>
                    <a:lnTo>
                      <a:pt x="59" y="321"/>
                    </a:lnTo>
                    <a:lnTo>
                      <a:pt x="69" y="316"/>
                    </a:lnTo>
                    <a:lnTo>
                      <a:pt x="79" y="313"/>
                    </a:lnTo>
                    <a:lnTo>
                      <a:pt x="88" y="316"/>
                    </a:lnTo>
                    <a:lnTo>
                      <a:pt x="95" y="327"/>
                    </a:lnTo>
                    <a:lnTo>
                      <a:pt x="91" y="333"/>
                    </a:lnTo>
                    <a:lnTo>
                      <a:pt x="84" y="339"/>
                    </a:lnTo>
                    <a:lnTo>
                      <a:pt x="78" y="342"/>
                    </a:lnTo>
                    <a:lnTo>
                      <a:pt x="76" y="351"/>
                    </a:lnTo>
                    <a:lnTo>
                      <a:pt x="79" y="358"/>
                    </a:lnTo>
                    <a:lnTo>
                      <a:pt x="84" y="364"/>
                    </a:lnTo>
                    <a:lnTo>
                      <a:pt x="79" y="368"/>
                    </a:lnTo>
                    <a:lnTo>
                      <a:pt x="72" y="370"/>
                    </a:lnTo>
                    <a:lnTo>
                      <a:pt x="72" y="375"/>
                    </a:lnTo>
                    <a:lnTo>
                      <a:pt x="74" y="382"/>
                    </a:lnTo>
                    <a:lnTo>
                      <a:pt x="76" y="390"/>
                    </a:lnTo>
                    <a:lnTo>
                      <a:pt x="78" y="392"/>
                    </a:lnTo>
                    <a:lnTo>
                      <a:pt x="83" y="394"/>
                    </a:lnTo>
                    <a:lnTo>
                      <a:pt x="93" y="399"/>
                    </a:lnTo>
                    <a:lnTo>
                      <a:pt x="105" y="406"/>
                    </a:lnTo>
                    <a:lnTo>
                      <a:pt x="117" y="406"/>
                    </a:lnTo>
                    <a:lnTo>
                      <a:pt x="127" y="411"/>
                    </a:lnTo>
                    <a:lnTo>
                      <a:pt x="134" y="414"/>
                    </a:lnTo>
                    <a:lnTo>
                      <a:pt x="146" y="418"/>
                    </a:lnTo>
                    <a:lnTo>
                      <a:pt x="148" y="421"/>
                    </a:lnTo>
                    <a:lnTo>
                      <a:pt x="152" y="428"/>
                    </a:lnTo>
                    <a:lnTo>
                      <a:pt x="155" y="428"/>
                    </a:lnTo>
                    <a:lnTo>
                      <a:pt x="160" y="428"/>
                    </a:lnTo>
                    <a:lnTo>
                      <a:pt x="169" y="437"/>
                    </a:lnTo>
                    <a:lnTo>
                      <a:pt x="184" y="442"/>
                    </a:lnTo>
                    <a:lnTo>
                      <a:pt x="195" y="442"/>
                    </a:lnTo>
                    <a:lnTo>
                      <a:pt x="205" y="442"/>
                    </a:lnTo>
                    <a:lnTo>
                      <a:pt x="210" y="440"/>
                    </a:lnTo>
                    <a:lnTo>
                      <a:pt x="215" y="438"/>
                    </a:lnTo>
                    <a:lnTo>
                      <a:pt x="217" y="442"/>
                    </a:lnTo>
                    <a:lnTo>
                      <a:pt x="219" y="450"/>
                    </a:lnTo>
                    <a:lnTo>
                      <a:pt x="227" y="442"/>
                    </a:lnTo>
                    <a:lnTo>
                      <a:pt x="241" y="437"/>
                    </a:lnTo>
                    <a:lnTo>
                      <a:pt x="255" y="440"/>
                    </a:lnTo>
                    <a:lnTo>
                      <a:pt x="267" y="444"/>
                    </a:lnTo>
                    <a:lnTo>
                      <a:pt x="272" y="440"/>
                    </a:lnTo>
                    <a:lnTo>
                      <a:pt x="281" y="435"/>
                    </a:lnTo>
                    <a:lnTo>
                      <a:pt x="287" y="430"/>
                    </a:lnTo>
                    <a:lnTo>
                      <a:pt x="294" y="428"/>
                    </a:lnTo>
                    <a:lnTo>
                      <a:pt x="296" y="423"/>
                    </a:lnTo>
                    <a:lnTo>
                      <a:pt x="299" y="421"/>
                    </a:lnTo>
                    <a:lnTo>
                      <a:pt x="306" y="419"/>
                    </a:lnTo>
                    <a:lnTo>
                      <a:pt x="317" y="421"/>
                    </a:lnTo>
                    <a:lnTo>
                      <a:pt x="320" y="416"/>
                    </a:lnTo>
                    <a:lnTo>
                      <a:pt x="324" y="416"/>
                    </a:lnTo>
                    <a:lnTo>
                      <a:pt x="327" y="423"/>
                    </a:lnTo>
                    <a:lnTo>
                      <a:pt x="334" y="430"/>
                    </a:lnTo>
                    <a:lnTo>
                      <a:pt x="341" y="431"/>
                    </a:lnTo>
                    <a:lnTo>
                      <a:pt x="351" y="437"/>
                    </a:lnTo>
                    <a:lnTo>
                      <a:pt x="358" y="447"/>
                    </a:lnTo>
                    <a:lnTo>
                      <a:pt x="363" y="459"/>
                    </a:lnTo>
                    <a:lnTo>
                      <a:pt x="360" y="471"/>
                    </a:lnTo>
                    <a:lnTo>
                      <a:pt x="356" y="478"/>
                    </a:lnTo>
                    <a:lnTo>
                      <a:pt x="351" y="485"/>
                    </a:lnTo>
                    <a:lnTo>
                      <a:pt x="349" y="499"/>
                    </a:lnTo>
                    <a:lnTo>
                      <a:pt x="349" y="500"/>
                    </a:lnTo>
                    <a:lnTo>
                      <a:pt x="351" y="504"/>
                    </a:lnTo>
                    <a:lnTo>
                      <a:pt x="356" y="502"/>
                    </a:lnTo>
                    <a:lnTo>
                      <a:pt x="363" y="502"/>
                    </a:lnTo>
                    <a:lnTo>
                      <a:pt x="365" y="504"/>
                    </a:lnTo>
                    <a:lnTo>
                      <a:pt x="367" y="509"/>
                    </a:lnTo>
                    <a:lnTo>
                      <a:pt x="368" y="512"/>
                    </a:lnTo>
                    <a:lnTo>
                      <a:pt x="373" y="516"/>
                    </a:lnTo>
                    <a:lnTo>
                      <a:pt x="377" y="529"/>
                    </a:lnTo>
                    <a:lnTo>
                      <a:pt x="389" y="538"/>
                    </a:lnTo>
                    <a:lnTo>
                      <a:pt x="392" y="536"/>
                    </a:lnTo>
                    <a:lnTo>
                      <a:pt x="397" y="536"/>
                    </a:lnTo>
                    <a:lnTo>
                      <a:pt x="401" y="536"/>
                    </a:lnTo>
                    <a:lnTo>
                      <a:pt x="401" y="540"/>
                    </a:lnTo>
                    <a:lnTo>
                      <a:pt x="404" y="542"/>
                    </a:lnTo>
                    <a:lnTo>
                      <a:pt x="404" y="540"/>
                    </a:lnTo>
                    <a:lnTo>
                      <a:pt x="406" y="538"/>
                    </a:lnTo>
                    <a:lnTo>
                      <a:pt x="406" y="531"/>
                    </a:lnTo>
                    <a:lnTo>
                      <a:pt x="406" y="524"/>
                    </a:lnTo>
                    <a:lnTo>
                      <a:pt x="411" y="523"/>
                    </a:lnTo>
                    <a:lnTo>
                      <a:pt x="420" y="521"/>
                    </a:lnTo>
                    <a:lnTo>
                      <a:pt x="435" y="521"/>
                    </a:lnTo>
                    <a:lnTo>
                      <a:pt x="446" y="517"/>
                    </a:lnTo>
                    <a:lnTo>
                      <a:pt x="456" y="514"/>
                    </a:lnTo>
                    <a:lnTo>
                      <a:pt x="466" y="517"/>
                    </a:lnTo>
                    <a:lnTo>
                      <a:pt x="478" y="521"/>
                    </a:lnTo>
                    <a:lnTo>
                      <a:pt x="483" y="533"/>
                    </a:lnTo>
                    <a:lnTo>
                      <a:pt x="496" y="540"/>
                    </a:lnTo>
                    <a:lnTo>
                      <a:pt x="508" y="542"/>
                    </a:lnTo>
                    <a:lnTo>
                      <a:pt x="520" y="545"/>
                    </a:lnTo>
                    <a:lnTo>
                      <a:pt x="518" y="552"/>
                    </a:lnTo>
                    <a:lnTo>
                      <a:pt x="523" y="559"/>
                    </a:lnTo>
                    <a:lnTo>
                      <a:pt x="526" y="554"/>
                    </a:lnTo>
                    <a:lnTo>
                      <a:pt x="530" y="547"/>
                    </a:lnTo>
                    <a:lnTo>
                      <a:pt x="539" y="542"/>
                    </a:lnTo>
                    <a:lnTo>
                      <a:pt x="547" y="540"/>
                    </a:lnTo>
                    <a:lnTo>
                      <a:pt x="561" y="536"/>
                    </a:lnTo>
                    <a:lnTo>
                      <a:pt x="573" y="531"/>
                    </a:lnTo>
                    <a:lnTo>
                      <a:pt x="575" y="526"/>
                    </a:lnTo>
                    <a:lnTo>
                      <a:pt x="578" y="523"/>
                    </a:lnTo>
                    <a:lnTo>
                      <a:pt x="585" y="524"/>
                    </a:lnTo>
                    <a:lnTo>
                      <a:pt x="592" y="526"/>
                    </a:lnTo>
                    <a:lnTo>
                      <a:pt x="604" y="523"/>
                    </a:lnTo>
                    <a:lnTo>
                      <a:pt x="616" y="517"/>
                    </a:lnTo>
                    <a:lnTo>
                      <a:pt x="623" y="509"/>
                    </a:lnTo>
                    <a:lnTo>
                      <a:pt x="635" y="504"/>
                    </a:lnTo>
                    <a:lnTo>
                      <a:pt x="638" y="500"/>
                    </a:lnTo>
                    <a:lnTo>
                      <a:pt x="642" y="495"/>
                    </a:lnTo>
                    <a:lnTo>
                      <a:pt x="647" y="492"/>
                    </a:lnTo>
                    <a:lnTo>
                      <a:pt x="654" y="483"/>
                    </a:lnTo>
                    <a:lnTo>
                      <a:pt x="657" y="474"/>
                    </a:lnTo>
                    <a:lnTo>
                      <a:pt x="662" y="466"/>
                    </a:lnTo>
                    <a:lnTo>
                      <a:pt x="666" y="457"/>
                    </a:lnTo>
                    <a:lnTo>
                      <a:pt x="673" y="450"/>
                    </a:lnTo>
                    <a:lnTo>
                      <a:pt x="680" y="442"/>
                    </a:lnTo>
                    <a:lnTo>
                      <a:pt x="686" y="438"/>
                    </a:lnTo>
                    <a:lnTo>
                      <a:pt x="686" y="430"/>
                    </a:lnTo>
                    <a:lnTo>
                      <a:pt x="690" y="425"/>
                    </a:lnTo>
                    <a:lnTo>
                      <a:pt x="692" y="416"/>
                    </a:lnTo>
                    <a:lnTo>
                      <a:pt x="695" y="407"/>
                    </a:lnTo>
                    <a:lnTo>
                      <a:pt x="693" y="392"/>
                    </a:lnTo>
                    <a:lnTo>
                      <a:pt x="690" y="382"/>
                    </a:lnTo>
                    <a:lnTo>
                      <a:pt x="685" y="373"/>
                    </a:lnTo>
                    <a:lnTo>
                      <a:pt x="680" y="364"/>
                    </a:lnTo>
                    <a:lnTo>
                      <a:pt x="676" y="358"/>
                    </a:lnTo>
                    <a:lnTo>
                      <a:pt x="674" y="352"/>
                    </a:lnTo>
                    <a:lnTo>
                      <a:pt x="674" y="3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15" name="Freeform 259"/>
              <p:cNvSpPr>
                <a:spLocks/>
              </p:cNvSpPr>
              <p:nvPr/>
            </p:nvSpPr>
            <p:spPr bwMode="auto">
              <a:xfrm>
                <a:off x="8405019" y="1987550"/>
                <a:ext cx="82550" cy="34925"/>
              </a:xfrm>
              <a:custGeom>
                <a:avLst/>
                <a:gdLst/>
                <a:ahLst/>
                <a:cxnLst>
                  <a:cxn ang="0">
                    <a:pos x="6" y="22"/>
                  </a:cxn>
                  <a:cxn ang="0">
                    <a:pos x="0" y="19"/>
                  </a:cxn>
                  <a:cxn ang="0">
                    <a:pos x="0" y="17"/>
                  </a:cxn>
                  <a:cxn ang="0">
                    <a:pos x="2" y="10"/>
                  </a:cxn>
                  <a:cxn ang="0">
                    <a:pos x="9" y="5"/>
                  </a:cxn>
                  <a:cxn ang="0">
                    <a:pos x="16" y="0"/>
                  </a:cxn>
                  <a:cxn ang="0">
                    <a:pos x="25" y="0"/>
                  </a:cxn>
                  <a:cxn ang="0">
                    <a:pos x="31" y="0"/>
                  </a:cxn>
                  <a:cxn ang="0">
                    <a:pos x="40" y="3"/>
                  </a:cxn>
                  <a:cxn ang="0">
                    <a:pos x="49" y="7"/>
                  </a:cxn>
                  <a:cxn ang="0">
                    <a:pos x="52" y="12"/>
                  </a:cxn>
                  <a:cxn ang="0">
                    <a:pos x="45" y="16"/>
                  </a:cxn>
                  <a:cxn ang="0">
                    <a:pos x="30" y="19"/>
                  </a:cxn>
                  <a:cxn ang="0">
                    <a:pos x="14" y="21"/>
                  </a:cxn>
                  <a:cxn ang="0">
                    <a:pos x="6" y="22"/>
                  </a:cxn>
                </a:cxnLst>
                <a:rect l="0" t="0" r="r" b="b"/>
                <a:pathLst>
                  <a:path w="52" h="22">
                    <a:moveTo>
                      <a:pt x="6" y="22"/>
                    </a:moveTo>
                    <a:lnTo>
                      <a:pt x="0" y="19"/>
                    </a:lnTo>
                    <a:lnTo>
                      <a:pt x="0" y="17"/>
                    </a:lnTo>
                    <a:lnTo>
                      <a:pt x="2" y="10"/>
                    </a:lnTo>
                    <a:lnTo>
                      <a:pt x="9" y="5"/>
                    </a:lnTo>
                    <a:lnTo>
                      <a:pt x="16" y="0"/>
                    </a:lnTo>
                    <a:lnTo>
                      <a:pt x="25" y="0"/>
                    </a:lnTo>
                    <a:lnTo>
                      <a:pt x="31" y="0"/>
                    </a:lnTo>
                    <a:lnTo>
                      <a:pt x="40" y="3"/>
                    </a:lnTo>
                    <a:lnTo>
                      <a:pt x="49" y="7"/>
                    </a:lnTo>
                    <a:lnTo>
                      <a:pt x="52" y="12"/>
                    </a:lnTo>
                    <a:lnTo>
                      <a:pt x="45" y="16"/>
                    </a:lnTo>
                    <a:lnTo>
                      <a:pt x="30" y="19"/>
                    </a:lnTo>
                    <a:lnTo>
                      <a:pt x="14" y="21"/>
                    </a:lnTo>
                    <a:lnTo>
                      <a:pt x="6"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16" name="Freeform 260"/>
              <p:cNvSpPr>
                <a:spLocks/>
              </p:cNvSpPr>
              <p:nvPr/>
            </p:nvSpPr>
            <p:spPr bwMode="auto">
              <a:xfrm>
                <a:off x="8162132" y="2055813"/>
                <a:ext cx="33338" cy="15875"/>
              </a:xfrm>
              <a:custGeom>
                <a:avLst/>
                <a:gdLst/>
                <a:ahLst/>
                <a:cxnLst>
                  <a:cxn ang="0">
                    <a:pos x="16" y="10"/>
                  </a:cxn>
                  <a:cxn ang="0">
                    <a:pos x="18" y="7"/>
                  </a:cxn>
                  <a:cxn ang="0">
                    <a:pos x="21" y="5"/>
                  </a:cxn>
                  <a:cxn ang="0">
                    <a:pos x="19" y="2"/>
                  </a:cxn>
                  <a:cxn ang="0">
                    <a:pos x="18" y="0"/>
                  </a:cxn>
                  <a:cxn ang="0">
                    <a:pos x="0" y="0"/>
                  </a:cxn>
                  <a:cxn ang="0">
                    <a:pos x="6" y="7"/>
                  </a:cxn>
                  <a:cxn ang="0">
                    <a:pos x="16" y="10"/>
                  </a:cxn>
                </a:cxnLst>
                <a:rect l="0" t="0" r="r" b="b"/>
                <a:pathLst>
                  <a:path w="21" h="10">
                    <a:moveTo>
                      <a:pt x="16" y="10"/>
                    </a:moveTo>
                    <a:lnTo>
                      <a:pt x="18" y="7"/>
                    </a:lnTo>
                    <a:lnTo>
                      <a:pt x="21" y="5"/>
                    </a:lnTo>
                    <a:lnTo>
                      <a:pt x="19" y="2"/>
                    </a:lnTo>
                    <a:lnTo>
                      <a:pt x="18" y="0"/>
                    </a:lnTo>
                    <a:lnTo>
                      <a:pt x="0" y="0"/>
                    </a:lnTo>
                    <a:lnTo>
                      <a:pt x="6" y="7"/>
                    </a:lnTo>
                    <a:lnTo>
                      <a:pt x="16"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17" name="Freeform 261"/>
              <p:cNvSpPr>
                <a:spLocks/>
              </p:cNvSpPr>
              <p:nvPr/>
            </p:nvSpPr>
            <p:spPr bwMode="auto">
              <a:xfrm>
                <a:off x="7411244" y="1798638"/>
                <a:ext cx="17463" cy="19050"/>
              </a:xfrm>
              <a:custGeom>
                <a:avLst/>
                <a:gdLst/>
                <a:ahLst/>
                <a:cxnLst>
                  <a:cxn ang="0">
                    <a:pos x="11" y="6"/>
                  </a:cxn>
                  <a:cxn ang="0">
                    <a:pos x="6" y="0"/>
                  </a:cxn>
                  <a:cxn ang="0">
                    <a:pos x="2" y="2"/>
                  </a:cxn>
                  <a:cxn ang="0">
                    <a:pos x="0" y="7"/>
                  </a:cxn>
                  <a:cxn ang="0">
                    <a:pos x="0" y="11"/>
                  </a:cxn>
                  <a:cxn ang="0">
                    <a:pos x="6" y="12"/>
                  </a:cxn>
                  <a:cxn ang="0">
                    <a:pos x="7" y="9"/>
                  </a:cxn>
                  <a:cxn ang="0">
                    <a:pos x="11" y="4"/>
                  </a:cxn>
                  <a:cxn ang="0">
                    <a:pos x="9" y="4"/>
                  </a:cxn>
                  <a:cxn ang="0">
                    <a:pos x="11" y="6"/>
                  </a:cxn>
                </a:cxnLst>
                <a:rect l="0" t="0" r="r" b="b"/>
                <a:pathLst>
                  <a:path w="11" h="12">
                    <a:moveTo>
                      <a:pt x="11" y="6"/>
                    </a:moveTo>
                    <a:lnTo>
                      <a:pt x="6" y="0"/>
                    </a:lnTo>
                    <a:lnTo>
                      <a:pt x="2" y="2"/>
                    </a:lnTo>
                    <a:lnTo>
                      <a:pt x="0" y="7"/>
                    </a:lnTo>
                    <a:lnTo>
                      <a:pt x="0" y="11"/>
                    </a:lnTo>
                    <a:lnTo>
                      <a:pt x="6" y="12"/>
                    </a:lnTo>
                    <a:lnTo>
                      <a:pt x="7" y="9"/>
                    </a:lnTo>
                    <a:lnTo>
                      <a:pt x="11" y="4"/>
                    </a:lnTo>
                    <a:lnTo>
                      <a:pt x="9" y="4"/>
                    </a:lnTo>
                    <a:lnTo>
                      <a:pt x="11"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18" name="Freeform 262"/>
              <p:cNvSpPr>
                <a:spLocks/>
              </p:cNvSpPr>
              <p:nvPr/>
            </p:nvSpPr>
            <p:spPr bwMode="auto">
              <a:xfrm>
                <a:off x="6871494" y="1857375"/>
                <a:ext cx="34925" cy="20637"/>
              </a:xfrm>
              <a:custGeom>
                <a:avLst/>
                <a:gdLst/>
                <a:ahLst/>
                <a:cxnLst>
                  <a:cxn ang="0">
                    <a:pos x="22" y="10"/>
                  </a:cxn>
                  <a:cxn ang="0">
                    <a:pos x="17" y="12"/>
                  </a:cxn>
                  <a:cxn ang="0">
                    <a:pos x="12" y="13"/>
                  </a:cxn>
                  <a:cxn ang="0">
                    <a:pos x="3" y="12"/>
                  </a:cxn>
                  <a:cxn ang="0">
                    <a:pos x="0" y="8"/>
                  </a:cxn>
                  <a:cxn ang="0">
                    <a:pos x="3" y="1"/>
                  </a:cxn>
                  <a:cxn ang="0">
                    <a:pos x="12" y="0"/>
                  </a:cxn>
                  <a:cxn ang="0">
                    <a:pos x="19" y="1"/>
                  </a:cxn>
                  <a:cxn ang="0">
                    <a:pos x="22" y="8"/>
                  </a:cxn>
                  <a:cxn ang="0">
                    <a:pos x="20" y="10"/>
                  </a:cxn>
                  <a:cxn ang="0">
                    <a:pos x="19" y="13"/>
                  </a:cxn>
                  <a:cxn ang="0">
                    <a:pos x="22" y="10"/>
                  </a:cxn>
                </a:cxnLst>
                <a:rect l="0" t="0" r="r" b="b"/>
                <a:pathLst>
                  <a:path w="22" h="13">
                    <a:moveTo>
                      <a:pt x="22" y="10"/>
                    </a:moveTo>
                    <a:lnTo>
                      <a:pt x="17" y="12"/>
                    </a:lnTo>
                    <a:lnTo>
                      <a:pt x="12" y="13"/>
                    </a:lnTo>
                    <a:lnTo>
                      <a:pt x="3" y="12"/>
                    </a:lnTo>
                    <a:lnTo>
                      <a:pt x="0" y="8"/>
                    </a:lnTo>
                    <a:lnTo>
                      <a:pt x="3" y="1"/>
                    </a:lnTo>
                    <a:lnTo>
                      <a:pt x="12" y="0"/>
                    </a:lnTo>
                    <a:lnTo>
                      <a:pt x="19" y="1"/>
                    </a:lnTo>
                    <a:lnTo>
                      <a:pt x="22" y="8"/>
                    </a:lnTo>
                    <a:lnTo>
                      <a:pt x="20" y="10"/>
                    </a:lnTo>
                    <a:lnTo>
                      <a:pt x="19" y="13"/>
                    </a:lnTo>
                    <a:lnTo>
                      <a:pt x="22"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19" name="Freeform 263"/>
              <p:cNvSpPr>
                <a:spLocks/>
              </p:cNvSpPr>
              <p:nvPr/>
            </p:nvSpPr>
            <p:spPr bwMode="auto">
              <a:xfrm>
                <a:off x="6587332" y="1624013"/>
                <a:ext cx="139700" cy="76200"/>
              </a:xfrm>
              <a:custGeom>
                <a:avLst/>
                <a:gdLst/>
                <a:ahLst/>
                <a:cxnLst>
                  <a:cxn ang="0">
                    <a:pos x="7" y="48"/>
                  </a:cxn>
                  <a:cxn ang="0">
                    <a:pos x="0" y="47"/>
                  </a:cxn>
                  <a:cxn ang="0">
                    <a:pos x="0" y="42"/>
                  </a:cxn>
                  <a:cxn ang="0">
                    <a:pos x="3" y="33"/>
                  </a:cxn>
                  <a:cxn ang="0">
                    <a:pos x="9" y="31"/>
                  </a:cxn>
                  <a:cxn ang="0">
                    <a:pos x="15" y="21"/>
                  </a:cxn>
                  <a:cxn ang="0">
                    <a:pos x="24" y="11"/>
                  </a:cxn>
                  <a:cxn ang="0">
                    <a:pos x="33" y="2"/>
                  </a:cxn>
                  <a:cxn ang="0">
                    <a:pos x="46" y="0"/>
                  </a:cxn>
                  <a:cxn ang="0">
                    <a:pos x="48" y="0"/>
                  </a:cxn>
                  <a:cxn ang="0">
                    <a:pos x="52" y="0"/>
                  </a:cxn>
                  <a:cxn ang="0">
                    <a:pos x="52" y="6"/>
                  </a:cxn>
                  <a:cxn ang="0">
                    <a:pos x="52" y="11"/>
                  </a:cxn>
                  <a:cxn ang="0">
                    <a:pos x="55" y="7"/>
                  </a:cxn>
                  <a:cxn ang="0">
                    <a:pos x="60" y="6"/>
                  </a:cxn>
                  <a:cxn ang="0">
                    <a:pos x="67" y="7"/>
                  </a:cxn>
                  <a:cxn ang="0">
                    <a:pos x="76" y="12"/>
                  </a:cxn>
                  <a:cxn ang="0">
                    <a:pos x="84" y="19"/>
                  </a:cxn>
                  <a:cxn ang="0">
                    <a:pos x="88" y="26"/>
                  </a:cxn>
                  <a:cxn ang="0">
                    <a:pos x="83" y="31"/>
                  </a:cxn>
                  <a:cxn ang="0">
                    <a:pos x="72" y="36"/>
                  </a:cxn>
                  <a:cxn ang="0">
                    <a:pos x="60" y="36"/>
                  </a:cxn>
                  <a:cxn ang="0">
                    <a:pos x="52" y="38"/>
                  </a:cxn>
                  <a:cxn ang="0">
                    <a:pos x="46" y="38"/>
                  </a:cxn>
                  <a:cxn ang="0">
                    <a:pos x="41" y="40"/>
                  </a:cxn>
                  <a:cxn ang="0">
                    <a:pos x="36" y="40"/>
                  </a:cxn>
                  <a:cxn ang="0">
                    <a:pos x="34" y="42"/>
                  </a:cxn>
                  <a:cxn ang="0">
                    <a:pos x="7" y="48"/>
                  </a:cxn>
                </a:cxnLst>
                <a:rect l="0" t="0" r="r" b="b"/>
                <a:pathLst>
                  <a:path w="88" h="48">
                    <a:moveTo>
                      <a:pt x="7" y="48"/>
                    </a:moveTo>
                    <a:lnTo>
                      <a:pt x="0" y="47"/>
                    </a:lnTo>
                    <a:lnTo>
                      <a:pt x="0" y="42"/>
                    </a:lnTo>
                    <a:lnTo>
                      <a:pt x="3" y="33"/>
                    </a:lnTo>
                    <a:lnTo>
                      <a:pt x="9" y="31"/>
                    </a:lnTo>
                    <a:lnTo>
                      <a:pt x="15" y="21"/>
                    </a:lnTo>
                    <a:lnTo>
                      <a:pt x="24" y="11"/>
                    </a:lnTo>
                    <a:lnTo>
                      <a:pt x="33" y="2"/>
                    </a:lnTo>
                    <a:lnTo>
                      <a:pt x="46" y="0"/>
                    </a:lnTo>
                    <a:lnTo>
                      <a:pt x="48" y="0"/>
                    </a:lnTo>
                    <a:lnTo>
                      <a:pt x="52" y="0"/>
                    </a:lnTo>
                    <a:lnTo>
                      <a:pt x="52" y="6"/>
                    </a:lnTo>
                    <a:lnTo>
                      <a:pt x="52" y="11"/>
                    </a:lnTo>
                    <a:lnTo>
                      <a:pt x="55" y="7"/>
                    </a:lnTo>
                    <a:lnTo>
                      <a:pt x="60" y="6"/>
                    </a:lnTo>
                    <a:lnTo>
                      <a:pt x="67" y="7"/>
                    </a:lnTo>
                    <a:lnTo>
                      <a:pt x="76" y="12"/>
                    </a:lnTo>
                    <a:lnTo>
                      <a:pt x="84" y="19"/>
                    </a:lnTo>
                    <a:lnTo>
                      <a:pt x="88" y="26"/>
                    </a:lnTo>
                    <a:lnTo>
                      <a:pt x="83" y="31"/>
                    </a:lnTo>
                    <a:lnTo>
                      <a:pt x="72" y="36"/>
                    </a:lnTo>
                    <a:lnTo>
                      <a:pt x="60" y="36"/>
                    </a:lnTo>
                    <a:lnTo>
                      <a:pt x="52" y="38"/>
                    </a:lnTo>
                    <a:lnTo>
                      <a:pt x="46" y="38"/>
                    </a:lnTo>
                    <a:lnTo>
                      <a:pt x="41" y="40"/>
                    </a:lnTo>
                    <a:lnTo>
                      <a:pt x="36" y="40"/>
                    </a:lnTo>
                    <a:lnTo>
                      <a:pt x="34" y="42"/>
                    </a:lnTo>
                    <a:lnTo>
                      <a:pt x="7" y="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20" name="Freeform 264"/>
              <p:cNvSpPr>
                <a:spLocks/>
              </p:cNvSpPr>
              <p:nvPr/>
            </p:nvSpPr>
            <p:spPr bwMode="auto">
              <a:xfrm>
                <a:off x="6393657" y="1585913"/>
                <a:ext cx="52388" cy="26987"/>
              </a:xfrm>
              <a:custGeom>
                <a:avLst/>
                <a:gdLst/>
                <a:ahLst/>
                <a:cxnLst>
                  <a:cxn ang="0">
                    <a:pos x="14" y="0"/>
                  </a:cxn>
                  <a:cxn ang="0">
                    <a:pos x="15" y="0"/>
                  </a:cxn>
                  <a:cxn ang="0">
                    <a:pos x="22" y="4"/>
                  </a:cxn>
                  <a:cxn ang="0">
                    <a:pos x="27" y="5"/>
                  </a:cxn>
                  <a:cxn ang="0">
                    <a:pos x="33" y="7"/>
                  </a:cxn>
                  <a:cxn ang="0">
                    <a:pos x="29" y="11"/>
                  </a:cxn>
                  <a:cxn ang="0">
                    <a:pos x="22" y="14"/>
                  </a:cxn>
                  <a:cxn ang="0">
                    <a:pos x="14" y="16"/>
                  </a:cxn>
                  <a:cxn ang="0">
                    <a:pos x="10" y="17"/>
                  </a:cxn>
                  <a:cxn ang="0">
                    <a:pos x="3" y="12"/>
                  </a:cxn>
                  <a:cxn ang="0">
                    <a:pos x="0" y="5"/>
                  </a:cxn>
                  <a:cxn ang="0">
                    <a:pos x="5" y="0"/>
                  </a:cxn>
                  <a:cxn ang="0">
                    <a:pos x="14" y="0"/>
                  </a:cxn>
                </a:cxnLst>
                <a:rect l="0" t="0" r="r" b="b"/>
                <a:pathLst>
                  <a:path w="33" h="17">
                    <a:moveTo>
                      <a:pt x="14" y="0"/>
                    </a:moveTo>
                    <a:lnTo>
                      <a:pt x="15" y="0"/>
                    </a:lnTo>
                    <a:lnTo>
                      <a:pt x="22" y="4"/>
                    </a:lnTo>
                    <a:lnTo>
                      <a:pt x="27" y="5"/>
                    </a:lnTo>
                    <a:lnTo>
                      <a:pt x="33" y="7"/>
                    </a:lnTo>
                    <a:lnTo>
                      <a:pt x="29" y="11"/>
                    </a:lnTo>
                    <a:lnTo>
                      <a:pt x="22" y="14"/>
                    </a:lnTo>
                    <a:lnTo>
                      <a:pt x="14" y="16"/>
                    </a:lnTo>
                    <a:lnTo>
                      <a:pt x="10" y="17"/>
                    </a:lnTo>
                    <a:lnTo>
                      <a:pt x="3" y="12"/>
                    </a:lnTo>
                    <a:lnTo>
                      <a:pt x="0" y="5"/>
                    </a:lnTo>
                    <a:lnTo>
                      <a:pt x="5"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21" name="Freeform 265"/>
              <p:cNvSpPr>
                <a:spLocks/>
              </p:cNvSpPr>
              <p:nvPr/>
            </p:nvSpPr>
            <p:spPr bwMode="auto">
              <a:xfrm>
                <a:off x="6409532" y="1525588"/>
                <a:ext cx="192088" cy="134937"/>
              </a:xfrm>
              <a:custGeom>
                <a:avLst/>
                <a:gdLst/>
                <a:ahLst/>
                <a:cxnLst>
                  <a:cxn ang="0">
                    <a:pos x="115" y="78"/>
                  </a:cxn>
                  <a:cxn ang="0">
                    <a:pos x="110" y="81"/>
                  </a:cxn>
                  <a:cxn ang="0">
                    <a:pos x="105" y="85"/>
                  </a:cxn>
                  <a:cxn ang="0">
                    <a:pos x="88" y="81"/>
                  </a:cxn>
                  <a:cxn ang="0">
                    <a:pos x="74" y="80"/>
                  </a:cxn>
                  <a:cxn ang="0">
                    <a:pos x="60" y="76"/>
                  </a:cxn>
                  <a:cxn ang="0">
                    <a:pos x="48" y="76"/>
                  </a:cxn>
                  <a:cxn ang="0">
                    <a:pos x="41" y="73"/>
                  </a:cxn>
                  <a:cxn ang="0">
                    <a:pos x="35" y="68"/>
                  </a:cxn>
                  <a:cxn ang="0">
                    <a:pos x="26" y="61"/>
                  </a:cxn>
                  <a:cxn ang="0">
                    <a:pos x="21" y="57"/>
                  </a:cxn>
                  <a:cxn ang="0">
                    <a:pos x="31" y="52"/>
                  </a:cxn>
                  <a:cxn ang="0">
                    <a:pos x="40" y="49"/>
                  </a:cxn>
                  <a:cxn ang="0">
                    <a:pos x="47" y="45"/>
                  </a:cxn>
                  <a:cxn ang="0">
                    <a:pos x="59" y="42"/>
                  </a:cxn>
                  <a:cxn ang="0">
                    <a:pos x="52" y="40"/>
                  </a:cxn>
                  <a:cxn ang="0">
                    <a:pos x="47" y="40"/>
                  </a:cxn>
                  <a:cxn ang="0">
                    <a:pos x="40" y="40"/>
                  </a:cxn>
                  <a:cxn ang="0">
                    <a:pos x="38" y="40"/>
                  </a:cxn>
                  <a:cxn ang="0">
                    <a:pos x="26" y="38"/>
                  </a:cxn>
                  <a:cxn ang="0">
                    <a:pos x="17" y="37"/>
                  </a:cxn>
                  <a:cxn ang="0">
                    <a:pos x="9" y="33"/>
                  </a:cxn>
                  <a:cxn ang="0">
                    <a:pos x="0" y="30"/>
                  </a:cxn>
                  <a:cxn ang="0">
                    <a:pos x="12" y="21"/>
                  </a:cxn>
                  <a:cxn ang="0">
                    <a:pos x="26" y="12"/>
                  </a:cxn>
                  <a:cxn ang="0">
                    <a:pos x="36" y="4"/>
                  </a:cxn>
                  <a:cxn ang="0">
                    <a:pos x="53" y="0"/>
                  </a:cxn>
                  <a:cxn ang="0">
                    <a:pos x="62" y="2"/>
                  </a:cxn>
                  <a:cxn ang="0">
                    <a:pos x="71" y="7"/>
                  </a:cxn>
                  <a:cxn ang="0">
                    <a:pos x="78" y="12"/>
                  </a:cxn>
                  <a:cxn ang="0">
                    <a:pos x="84" y="19"/>
                  </a:cxn>
                  <a:cxn ang="0">
                    <a:pos x="79" y="19"/>
                  </a:cxn>
                  <a:cxn ang="0">
                    <a:pos x="78" y="19"/>
                  </a:cxn>
                  <a:cxn ang="0">
                    <a:pos x="78" y="26"/>
                  </a:cxn>
                  <a:cxn ang="0">
                    <a:pos x="78" y="30"/>
                  </a:cxn>
                  <a:cxn ang="0">
                    <a:pos x="74" y="35"/>
                  </a:cxn>
                  <a:cxn ang="0">
                    <a:pos x="69" y="40"/>
                  </a:cxn>
                  <a:cxn ang="0">
                    <a:pos x="74" y="38"/>
                  </a:cxn>
                  <a:cxn ang="0">
                    <a:pos x="79" y="40"/>
                  </a:cxn>
                  <a:cxn ang="0">
                    <a:pos x="86" y="42"/>
                  </a:cxn>
                  <a:cxn ang="0">
                    <a:pos x="95" y="45"/>
                  </a:cxn>
                  <a:cxn ang="0">
                    <a:pos x="100" y="45"/>
                  </a:cxn>
                  <a:cxn ang="0">
                    <a:pos x="105" y="45"/>
                  </a:cxn>
                  <a:cxn ang="0">
                    <a:pos x="114" y="47"/>
                  </a:cxn>
                  <a:cxn ang="0">
                    <a:pos x="121" y="54"/>
                  </a:cxn>
                  <a:cxn ang="0">
                    <a:pos x="115" y="59"/>
                  </a:cxn>
                  <a:cxn ang="0">
                    <a:pos x="117" y="64"/>
                  </a:cxn>
                  <a:cxn ang="0">
                    <a:pos x="112" y="68"/>
                  </a:cxn>
                  <a:cxn ang="0">
                    <a:pos x="107" y="71"/>
                  </a:cxn>
                  <a:cxn ang="0">
                    <a:pos x="112" y="73"/>
                  </a:cxn>
                  <a:cxn ang="0">
                    <a:pos x="115" y="78"/>
                  </a:cxn>
                </a:cxnLst>
                <a:rect l="0" t="0" r="r" b="b"/>
                <a:pathLst>
                  <a:path w="121" h="85">
                    <a:moveTo>
                      <a:pt x="115" y="78"/>
                    </a:moveTo>
                    <a:lnTo>
                      <a:pt x="110" y="81"/>
                    </a:lnTo>
                    <a:lnTo>
                      <a:pt x="105" y="85"/>
                    </a:lnTo>
                    <a:lnTo>
                      <a:pt x="88" y="81"/>
                    </a:lnTo>
                    <a:lnTo>
                      <a:pt x="74" y="80"/>
                    </a:lnTo>
                    <a:lnTo>
                      <a:pt x="60" y="76"/>
                    </a:lnTo>
                    <a:lnTo>
                      <a:pt x="48" y="76"/>
                    </a:lnTo>
                    <a:lnTo>
                      <a:pt x="41" y="73"/>
                    </a:lnTo>
                    <a:lnTo>
                      <a:pt x="35" y="68"/>
                    </a:lnTo>
                    <a:lnTo>
                      <a:pt x="26" y="61"/>
                    </a:lnTo>
                    <a:lnTo>
                      <a:pt x="21" y="57"/>
                    </a:lnTo>
                    <a:lnTo>
                      <a:pt x="31" y="52"/>
                    </a:lnTo>
                    <a:lnTo>
                      <a:pt x="40" y="49"/>
                    </a:lnTo>
                    <a:lnTo>
                      <a:pt x="47" y="45"/>
                    </a:lnTo>
                    <a:lnTo>
                      <a:pt x="59" y="42"/>
                    </a:lnTo>
                    <a:lnTo>
                      <a:pt x="52" y="40"/>
                    </a:lnTo>
                    <a:lnTo>
                      <a:pt x="47" y="40"/>
                    </a:lnTo>
                    <a:lnTo>
                      <a:pt x="40" y="40"/>
                    </a:lnTo>
                    <a:lnTo>
                      <a:pt x="38" y="40"/>
                    </a:lnTo>
                    <a:lnTo>
                      <a:pt x="26" y="38"/>
                    </a:lnTo>
                    <a:lnTo>
                      <a:pt x="17" y="37"/>
                    </a:lnTo>
                    <a:lnTo>
                      <a:pt x="9" y="33"/>
                    </a:lnTo>
                    <a:lnTo>
                      <a:pt x="0" y="30"/>
                    </a:lnTo>
                    <a:lnTo>
                      <a:pt x="12" y="21"/>
                    </a:lnTo>
                    <a:lnTo>
                      <a:pt x="26" y="12"/>
                    </a:lnTo>
                    <a:lnTo>
                      <a:pt x="36" y="4"/>
                    </a:lnTo>
                    <a:lnTo>
                      <a:pt x="53" y="0"/>
                    </a:lnTo>
                    <a:lnTo>
                      <a:pt x="62" y="2"/>
                    </a:lnTo>
                    <a:lnTo>
                      <a:pt x="71" y="7"/>
                    </a:lnTo>
                    <a:lnTo>
                      <a:pt x="78" y="12"/>
                    </a:lnTo>
                    <a:lnTo>
                      <a:pt x="84" y="19"/>
                    </a:lnTo>
                    <a:lnTo>
                      <a:pt x="79" y="19"/>
                    </a:lnTo>
                    <a:lnTo>
                      <a:pt x="78" y="19"/>
                    </a:lnTo>
                    <a:lnTo>
                      <a:pt x="78" y="26"/>
                    </a:lnTo>
                    <a:lnTo>
                      <a:pt x="78" y="30"/>
                    </a:lnTo>
                    <a:lnTo>
                      <a:pt x="74" y="35"/>
                    </a:lnTo>
                    <a:lnTo>
                      <a:pt x="69" y="40"/>
                    </a:lnTo>
                    <a:lnTo>
                      <a:pt x="74" y="38"/>
                    </a:lnTo>
                    <a:lnTo>
                      <a:pt x="79" y="40"/>
                    </a:lnTo>
                    <a:lnTo>
                      <a:pt x="86" y="42"/>
                    </a:lnTo>
                    <a:lnTo>
                      <a:pt x="95" y="45"/>
                    </a:lnTo>
                    <a:lnTo>
                      <a:pt x="100" y="45"/>
                    </a:lnTo>
                    <a:lnTo>
                      <a:pt x="105" y="45"/>
                    </a:lnTo>
                    <a:lnTo>
                      <a:pt x="114" y="47"/>
                    </a:lnTo>
                    <a:lnTo>
                      <a:pt x="121" y="54"/>
                    </a:lnTo>
                    <a:lnTo>
                      <a:pt x="115" y="59"/>
                    </a:lnTo>
                    <a:lnTo>
                      <a:pt x="117" y="64"/>
                    </a:lnTo>
                    <a:lnTo>
                      <a:pt x="112" y="68"/>
                    </a:lnTo>
                    <a:lnTo>
                      <a:pt x="107" y="71"/>
                    </a:lnTo>
                    <a:lnTo>
                      <a:pt x="112" y="73"/>
                    </a:lnTo>
                    <a:lnTo>
                      <a:pt x="11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22" name="Freeform 266"/>
              <p:cNvSpPr>
                <a:spLocks/>
              </p:cNvSpPr>
              <p:nvPr/>
            </p:nvSpPr>
            <p:spPr bwMode="auto">
              <a:xfrm>
                <a:off x="6493669" y="1739900"/>
                <a:ext cx="22225" cy="15875"/>
              </a:xfrm>
              <a:custGeom>
                <a:avLst/>
                <a:gdLst/>
                <a:ahLst/>
                <a:cxnLst>
                  <a:cxn ang="0">
                    <a:pos x="0" y="5"/>
                  </a:cxn>
                  <a:cxn ang="0">
                    <a:pos x="4" y="1"/>
                  </a:cxn>
                  <a:cxn ang="0">
                    <a:pos x="7" y="0"/>
                  </a:cxn>
                  <a:cxn ang="0">
                    <a:pos x="14" y="0"/>
                  </a:cxn>
                  <a:cxn ang="0">
                    <a:pos x="11" y="6"/>
                  </a:cxn>
                  <a:cxn ang="0">
                    <a:pos x="4" y="10"/>
                  </a:cxn>
                  <a:cxn ang="0">
                    <a:pos x="0" y="6"/>
                  </a:cxn>
                  <a:cxn ang="0">
                    <a:pos x="0" y="5"/>
                  </a:cxn>
                </a:cxnLst>
                <a:rect l="0" t="0" r="r" b="b"/>
                <a:pathLst>
                  <a:path w="14" h="10">
                    <a:moveTo>
                      <a:pt x="0" y="5"/>
                    </a:moveTo>
                    <a:lnTo>
                      <a:pt x="4" y="1"/>
                    </a:lnTo>
                    <a:lnTo>
                      <a:pt x="7" y="0"/>
                    </a:lnTo>
                    <a:lnTo>
                      <a:pt x="14" y="0"/>
                    </a:lnTo>
                    <a:lnTo>
                      <a:pt x="11" y="6"/>
                    </a:lnTo>
                    <a:lnTo>
                      <a:pt x="4" y="10"/>
                    </a:lnTo>
                    <a:lnTo>
                      <a:pt x="0" y="6"/>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23" name="Freeform 267"/>
              <p:cNvSpPr>
                <a:spLocks/>
              </p:cNvSpPr>
              <p:nvPr/>
            </p:nvSpPr>
            <p:spPr bwMode="auto">
              <a:xfrm>
                <a:off x="6371432" y="1528763"/>
                <a:ext cx="33338" cy="6350"/>
              </a:xfrm>
              <a:custGeom>
                <a:avLst/>
                <a:gdLst/>
                <a:ahLst/>
                <a:cxnLst>
                  <a:cxn ang="0">
                    <a:pos x="21" y="4"/>
                  </a:cxn>
                  <a:cxn ang="0">
                    <a:pos x="9" y="4"/>
                  </a:cxn>
                  <a:cxn ang="0">
                    <a:pos x="0" y="0"/>
                  </a:cxn>
                  <a:cxn ang="0">
                    <a:pos x="19" y="0"/>
                  </a:cxn>
                  <a:cxn ang="0">
                    <a:pos x="21" y="4"/>
                  </a:cxn>
                </a:cxnLst>
                <a:rect l="0" t="0" r="r" b="b"/>
                <a:pathLst>
                  <a:path w="21" h="4">
                    <a:moveTo>
                      <a:pt x="21" y="4"/>
                    </a:moveTo>
                    <a:lnTo>
                      <a:pt x="9" y="4"/>
                    </a:lnTo>
                    <a:lnTo>
                      <a:pt x="0" y="0"/>
                    </a:lnTo>
                    <a:lnTo>
                      <a:pt x="19" y="0"/>
                    </a:lnTo>
                    <a:lnTo>
                      <a:pt x="21"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24" name="Freeform 268"/>
              <p:cNvSpPr>
                <a:spLocks/>
              </p:cNvSpPr>
              <p:nvPr/>
            </p:nvSpPr>
            <p:spPr bwMode="auto">
              <a:xfrm>
                <a:off x="6754019" y="1684338"/>
                <a:ext cx="23813" cy="11112"/>
              </a:xfrm>
              <a:custGeom>
                <a:avLst/>
                <a:gdLst/>
                <a:ahLst/>
                <a:cxnLst>
                  <a:cxn ang="0">
                    <a:pos x="15" y="0"/>
                  </a:cxn>
                  <a:cxn ang="0">
                    <a:pos x="14" y="4"/>
                  </a:cxn>
                  <a:cxn ang="0">
                    <a:pos x="8" y="7"/>
                  </a:cxn>
                  <a:cxn ang="0">
                    <a:pos x="2" y="4"/>
                  </a:cxn>
                  <a:cxn ang="0">
                    <a:pos x="0" y="2"/>
                  </a:cxn>
                  <a:cxn ang="0">
                    <a:pos x="10" y="0"/>
                  </a:cxn>
                  <a:cxn ang="0">
                    <a:pos x="15" y="0"/>
                  </a:cxn>
                </a:cxnLst>
                <a:rect l="0" t="0" r="r" b="b"/>
                <a:pathLst>
                  <a:path w="15" h="7">
                    <a:moveTo>
                      <a:pt x="15" y="0"/>
                    </a:moveTo>
                    <a:lnTo>
                      <a:pt x="14" y="4"/>
                    </a:lnTo>
                    <a:lnTo>
                      <a:pt x="8" y="7"/>
                    </a:lnTo>
                    <a:lnTo>
                      <a:pt x="2" y="4"/>
                    </a:lnTo>
                    <a:lnTo>
                      <a:pt x="0" y="2"/>
                    </a:lnTo>
                    <a:lnTo>
                      <a:pt x="10"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25" name="Freeform 269"/>
              <p:cNvSpPr>
                <a:spLocks/>
              </p:cNvSpPr>
              <p:nvPr/>
            </p:nvSpPr>
            <p:spPr bwMode="auto">
              <a:xfrm>
                <a:off x="5320507" y="1547813"/>
                <a:ext cx="163513" cy="49212"/>
              </a:xfrm>
              <a:custGeom>
                <a:avLst/>
                <a:gdLst/>
                <a:ahLst/>
                <a:cxnLst>
                  <a:cxn ang="0">
                    <a:pos x="88" y="16"/>
                  </a:cxn>
                  <a:cxn ang="0">
                    <a:pos x="76" y="17"/>
                  </a:cxn>
                  <a:cxn ang="0">
                    <a:pos x="67" y="21"/>
                  </a:cxn>
                  <a:cxn ang="0">
                    <a:pos x="60" y="26"/>
                  </a:cxn>
                  <a:cxn ang="0">
                    <a:pos x="57" y="31"/>
                  </a:cxn>
                  <a:cxn ang="0">
                    <a:pos x="52" y="28"/>
                  </a:cxn>
                  <a:cxn ang="0">
                    <a:pos x="52" y="26"/>
                  </a:cxn>
                  <a:cxn ang="0">
                    <a:pos x="52" y="26"/>
                  </a:cxn>
                  <a:cxn ang="0">
                    <a:pos x="41" y="24"/>
                  </a:cxn>
                  <a:cxn ang="0">
                    <a:pos x="38" y="21"/>
                  </a:cxn>
                  <a:cxn ang="0">
                    <a:pos x="41" y="17"/>
                  </a:cxn>
                  <a:cxn ang="0">
                    <a:pos x="48" y="16"/>
                  </a:cxn>
                  <a:cxn ang="0">
                    <a:pos x="41" y="16"/>
                  </a:cxn>
                  <a:cxn ang="0">
                    <a:pos x="38" y="16"/>
                  </a:cxn>
                  <a:cxn ang="0">
                    <a:pos x="41" y="12"/>
                  </a:cxn>
                  <a:cxn ang="0">
                    <a:pos x="46" y="11"/>
                  </a:cxn>
                  <a:cxn ang="0">
                    <a:pos x="39" y="7"/>
                  </a:cxn>
                  <a:cxn ang="0">
                    <a:pos x="34" y="5"/>
                  </a:cxn>
                  <a:cxn ang="0">
                    <a:pos x="22" y="9"/>
                  </a:cxn>
                  <a:cxn ang="0">
                    <a:pos x="12" y="12"/>
                  </a:cxn>
                  <a:cxn ang="0">
                    <a:pos x="5" y="11"/>
                  </a:cxn>
                  <a:cxn ang="0">
                    <a:pos x="0" y="11"/>
                  </a:cxn>
                  <a:cxn ang="0">
                    <a:pos x="5" y="4"/>
                  </a:cxn>
                  <a:cxn ang="0">
                    <a:pos x="17" y="2"/>
                  </a:cxn>
                  <a:cxn ang="0">
                    <a:pos x="29" y="0"/>
                  </a:cxn>
                  <a:cxn ang="0">
                    <a:pos x="39" y="0"/>
                  </a:cxn>
                  <a:cxn ang="0">
                    <a:pos x="55" y="4"/>
                  </a:cxn>
                  <a:cxn ang="0">
                    <a:pos x="69" y="7"/>
                  </a:cxn>
                  <a:cxn ang="0">
                    <a:pos x="77" y="4"/>
                  </a:cxn>
                  <a:cxn ang="0">
                    <a:pos x="88" y="0"/>
                  </a:cxn>
                  <a:cxn ang="0">
                    <a:pos x="96" y="2"/>
                  </a:cxn>
                  <a:cxn ang="0">
                    <a:pos x="103" y="5"/>
                  </a:cxn>
                  <a:cxn ang="0">
                    <a:pos x="96" y="12"/>
                  </a:cxn>
                  <a:cxn ang="0">
                    <a:pos x="89" y="16"/>
                  </a:cxn>
                  <a:cxn ang="0">
                    <a:pos x="86" y="16"/>
                  </a:cxn>
                  <a:cxn ang="0">
                    <a:pos x="84" y="16"/>
                  </a:cxn>
                  <a:cxn ang="0">
                    <a:pos x="84" y="21"/>
                  </a:cxn>
                  <a:cxn ang="0">
                    <a:pos x="88" y="16"/>
                  </a:cxn>
                </a:cxnLst>
                <a:rect l="0" t="0" r="r" b="b"/>
                <a:pathLst>
                  <a:path w="103" h="31">
                    <a:moveTo>
                      <a:pt x="88" y="16"/>
                    </a:moveTo>
                    <a:lnTo>
                      <a:pt x="76" y="17"/>
                    </a:lnTo>
                    <a:lnTo>
                      <a:pt x="67" y="21"/>
                    </a:lnTo>
                    <a:lnTo>
                      <a:pt x="60" y="26"/>
                    </a:lnTo>
                    <a:lnTo>
                      <a:pt x="57" y="31"/>
                    </a:lnTo>
                    <a:lnTo>
                      <a:pt x="52" y="28"/>
                    </a:lnTo>
                    <a:lnTo>
                      <a:pt x="52" y="26"/>
                    </a:lnTo>
                    <a:lnTo>
                      <a:pt x="52" y="26"/>
                    </a:lnTo>
                    <a:lnTo>
                      <a:pt x="41" y="24"/>
                    </a:lnTo>
                    <a:lnTo>
                      <a:pt x="38" y="21"/>
                    </a:lnTo>
                    <a:lnTo>
                      <a:pt x="41" y="17"/>
                    </a:lnTo>
                    <a:lnTo>
                      <a:pt x="48" y="16"/>
                    </a:lnTo>
                    <a:lnTo>
                      <a:pt x="41" y="16"/>
                    </a:lnTo>
                    <a:lnTo>
                      <a:pt x="38" y="16"/>
                    </a:lnTo>
                    <a:lnTo>
                      <a:pt x="41" y="12"/>
                    </a:lnTo>
                    <a:lnTo>
                      <a:pt x="46" y="11"/>
                    </a:lnTo>
                    <a:lnTo>
                      <a:pt x="39" y="7"/>
                    </a:lnTo>
                    <a:lnTo>
                      <a:pt x="34" y="5"/>
                    </a:lnTo>
                    <a:lnTo>
                      <a:pt x="22" y="9"/>
                    </a:lnTo>
                    <a:lnTo>
                      <a:pt x="12" y="12"/>
                    </a:lnTo>
                    <a:lnTo>
                      <a:pt x="5" y="11"/>
                    </a:lnTo>
                    <a:lnTo>
                      <a:pt x="0" y="11"/>
                    </a:lnTo>
                    <a:lnTo>
                      <a:pt x="5" y="4"/>
                    </a:lnTo>
                    <a:lnTo>
                      <a:pt x="17" y="2"/>
                    </a:lnTo>
                    <a:lnTo>
                      <a:pt x="29" y="0"/>
                    </a:lnTo>
                    <a:lnTo>
                      <a:pt x="39" y="0"/>
                    </a:lnTo>
                    <a:lnTo>
                      <a:pt x="55" y="4"/>
                    </a:lnTo>
                    <a:lnTo>
                      <a:pt x="69" y="7"/>
                    </a:lnTo>
                    <a:lnTo>
                      <a:pt x="77" y="4"/>
                    </a:lnTo>
                    <a:lnTo>
                      <a:pt x="88" y="0"/>
                    </a:lnTo>
                    <a:lnTo>
                      <a:pt x="96" y="2"/>
                    </a:lnTo>
                    <a:lnTo>
                      <a:pt x="103" y="5"/>
                    </a:lnTo>
                    <a:lnTo>
                      <a:pt x="96" y="12"/>
                    </a:lnTo>
                    <a:lnTo>
                      <a:pt x="89" y="16"/>
                    </a:lnTo>
                    <a:lnTo>
                      <a:pt x="86" y="16"/>
                    </a:lnTo>
                    <a:lnTo>
                      <a:pt x="84" y="16"/>
                    </a:lnTo>
                    <a:lnTo>
                      <a:pt x="84" y="21"/>
                    </a:lnTo>
                    <a:lnTo>
                      <a:pt x="88"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26" name="Freeform 270"/>
              <p:cNvSpPr>
                <a:spLocks/>
              </p:cNvSpPr>
              <p:nvPr/>
            </p:nvSpPr>
            <p:spPr bwMode="auto">
              <a:xfrm>
                <a:off x="5744369" y="1517650"/>
                <a:ext cx="57150" cy="36512"/>
              </a:xfrm>
              <a:custGeom>
                <a:avLst/>
                <a:gdLst/>
                <a:ahLst/>
                <a:cxnLst>
                  <a:cxn ang="0">
                    <a:pos x="8" y="23"/>
                  </a:cxn>
                  <a:cxn ang="0">
                    <a:pos x="1" y="19"/>
                  </a:cxn>
                  <a:cxn ang="0">
                    <a:pos x="0" y="14"/>
                  </a:cxn>
                  <a:cxn ang="0">
                    <a:pos x="1" y="9"/>
                  </a:cxn>
                  <a:cxn ang="0">
                    <a:pos x="10" y="4"/>
                  </a:cxn>
                  <a:cxn ang="0">
                    <a:pos x="18" y="0"/>
                  </a:cxn>
                  <a:cxn ang="0">
                    <a:pos x="29" y="0"/>
                  </a:cxn>
                  <a:cxn ang="0">
                    <a:pos x="36" y="16"/>
                  </a:cxn>
                  <a:cxn ang="0">
                    <a:pos x="29" y="17"/>
                  </a:cxn>
                  <a:cxn ang="0">
                    <a:pos x="22" y="19"/>
                  </a:cxn>
                  <a:cxn ang="0">
                    <a:pos x="12" y="21"/>
                  </a:cxn>
                  <a:cxn ang="0">
                    <a:pos x="8" y="23"/>
                  </a:cxn>
                </a:cxnLst>
                <a:rect l="0" t="0" r="r" b="b"/>
                <a:pathLst>
                  <a:path w="36" h="23">
                    <a:moveTo>
                      <a:pt x="8" y="23"/>
                    </a:moveTo>
                    <a:lnTo>
                      <a:pt x="1" y="19"/>
                    </a:lnTo>
                    <a:lnTo>
                      <a:pt x="0" y="14"/>
                    </a:lnTo>
                    <a:lnTo>
                      <a:pt x="1" y="9"/>
                    </a:lnTo>
                    <a:lnTo>
                      <a:pt x="10" y="4"/>
                    </a:lnTo>
                    <a:lnTo>
                      <a:pt x="18" y="0"/>
                    </a:lnTo>
                    <a:lnTo>
                      <a:pt x="29" y="0"/>
                    </a:lnTo>
                    <a:lnTo>
                      <a:pt x="36" y="16"/>
                    </a:lnTo>
                    <a:lnTo>
                      <a:pt x="29" y="17"/>
                    </a:lnTo>
                    <a:lnTo>
                      <a:pt x="22" y="19"/>
                    </a:lnTo>
                    <a:lnTo>
                      <a:pt x="12" y="21"/>
                    </a:lnTo>
                    <a:lnTo>
                      <a:pt x="8"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27" name="Freeform 271"/>
              <p:cNvSpPr>
                <a:spLocks/>
              </p:cNvSpPr>
              <p:nvPr/>
            </p:nvSpPr>
            <p:spPr bwMode="auto">
              <a:xfrm>
                <a:off x="5669757" y="1539875"/>
                <a:ext cx="60325" cy="34925"/>
              </a:xfrm>
              <a:custGeom>
                <a:avLst/>
                <a:gdLst/>
                <a:ahLst/>
                <a:cxnLst>
                  <a:cxn ang="0">
                    <a:pos x="38" y="5"/>
                  </a:cxn>
                  <a:cxn ang="0">
                    <a:pos x="38" y="9"/>
                  </a:cxn>
                  <a:cxn ang="0">
                    <a:pos x="38" y="12"/>
                  </a:cxn>
                  <a:cxn ang="0">
                    <a:pos x="31" y="16"/>
                  </a:cxn>
                  <a:cxn ang="0">
                    <a:pos x="26" y="16"/>
                  </a:cxn>
                  <a:cxn ang="0">
                    <a:pos x="28" y="21"/>
                  </a:cxn>
                  <a:cxn ang="0">
                    <a:pos x="21" y="21"/>
                  </a:cxn>
                  <a:cxn ang="0">
                    <a:pos x="12" y="22"/>
                  </a:cxn>
                  <a:cxn ang="0">
                    <a:pos x="4" y="21"/>
                  </a:cxn>
                  <a:cxn ang="0">
                    <a:pos x="0" y="21"/>
                  </a:cxn>
                  <a:cxn ang="0">
                    <a:pos x="2" y="10"/>
                  </a:cxn>
                  <a:cxn ang="0">
                    <a:pos x="10" y="7"/>
                  </a:cxn>
                  <a:cxn ang="0">
                    <a:pos x="9" y="2"/>
                  </a:cxn>
                  <a:cxn ang="0">
                    <a:pos x="10" y="0"/>
                  </a:cxn>
                  <a:cxn ang="0">
                    <a:pos x="26" y="0"/>
                  </a:cxn>
                  <a:cxn ang="0">
                    <a:pos x="24" y="3"/>
                  </a:cxn>
                  <a:cxn ang="0">
                    <a:pos x="22" y="5"/>
                  </a:cxn>
                  <a:cxn ang="0">
                    <a:pos x="28" y="5"/>
                  </a:cxn>
                  <a:cxn ang="0">
                    <a:pos x="38" y="5"/>
                  </a:cxn>
                </a:cxnLst>
                <a:rect l="0" t="0" r="r" b="b"/>
                <a:pathLst>
                  <a:path w="38" h="22">
                    <a:moveTo>
                      <a:pt x="38" y="5"/>
                    </a:moveTo>
                    <a:lnTo>
                      <a:pt x="38" y="9"/>
                    </a:lnTo>
                    <a:lnTo>
                      <a:pt x="38" y="12"/>
                    </a:lnTo>
                    <a:lnTo>
                      <a:pt x="31" y="16"/>
                    </a:lnTo>
                    <a:lnTo>
                      <a:pt x="26" y="16"/>
                    </a:lnTo>
                    <a:lnTo>
                      <a:pt x="28" y="21"/>
                    </a:lnTo>
                    <a:lnTo>
                      <a:pt x="21" y="21"/>
                    </a:lnTo>
                    <a:lnTo>
                      <a:pt x="12" y="22"/>
                    </a:lnTo>
                    <a:lnTo>
                      <a:pt x="4" y="21"/>
                    </a:lnTo>
                    <a:lnTo>
                      <a:pt x="0" y="21"/>
                    </a:lnTo>
                    <a:lnTo>
                      <a:pt x="2" y="10"/>
                    </a:lnTo>
                    <a:lnTo>
                      <a:pt x="10" y="7"/>
                    </a:lnTo>
                    <a:lnTo>
                      <a:pt x="9" y="2"/>
                    </a:lnTo>
                    <a:lnTo>
                      <a:pt x="10" y="0"/>
                    </a:lnTo>
                    <a:lnTo>
                      <a:pt x="26" y="0"/>
                    </a:lnTo>
                    <a:lnTo>
                      <a:pt x="24" y="3"/>
                    </a:lnTo>
                    <a:lnTo>
                      <a:pt x="22" y="5"/>
                    </a:lnTo>
                    <a:lnTo>
                      <a:pt x="28" y="5"/>
                    </a:lnTo>
                    <a:lnTo>
                      <a:pt x="3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28" name="Freeform 272"/>
              <p:cNvSpPr>
                <a:spLocks/>
              </p:cNvSpPr>
              <p:nvPr/>
            </p:nvSpPr>
            <p:spPr bwMode="auto">
              <a:xfrm>
                <a:off x="5587207" y="1573213"/>
                <a:ext cx="63500" cy="20637"/>
              </a:xfrm>
              <a:custGeom>
                <a:avLst/>
                <a:gdLst/>
                <a:ahLst/>
                <a:cxnLst>
                  <a:cxn ang="0">
                    <a:pos x="23" y="13"/>
                  </a:cxn>
                  <a:cxn ang="0">
                    <a:pos x="18" y="10"/>
                  </a:cxn>
                  <a:cxn ang="0">
                    <a:pos x="14" y="8"/>
                  </a:cxn>
                  <a:cxn ang="0">
                    <a:pos x="11" y="12"/>
                  </a:cxn>
                  <a:cxn ang="0">
                    <a:pos x="6" y="13"/>
                  </a:cxn>
                  <a:cxn ang="0">
                    <a:pos x="2" y="12"/>
                  </a:cxn>
                  <a:cxn ang="0">
                    <a:pos x="0" y="10"/>
                  </a:cxn>
                  <a:cxn ang="0">
                    <a:pos x="2" y="3"/>
                  </a:cxn>
                  <a:cxn ang="0">
                    <a:pos x="11" y="1"/>
                  </a:cxn>
                  <a:cxn ang="0">
                    <a:pos x="18" y="0"/>
                  </a:cxn>
                  <a:cxn ang="0">
                    <a:pos x="26" y="0"/>
                  </a:cxn>
                  <a:cxn ang="0">
                    <a:pos x="35" y="0"/>
                  </a:cxn>
                  <a:cxn ang="0">
                    <a:pos x="40" y="5"/>
                  </a:cxn>
                  <a:cxn ang="0">
                    <a:pos x="30" y="8"/>
                  </a:cxn>
                  <a:cxn ang="0">
                    <a:pos x="23" y="13"/>
                  </a:cxn>
                </a:cxnLst>
                <a:rect l="0" t="0" r="r" b="b"/>
                <a:pathLst>
                  <a:path w="40" h="13">
                    <a:moveTo>
                      <a:pt x="23" y="13"/>
                    </a:moveTo>
                    <a:lnTo>
                      <a:pt x="18" y="10"/>
                    </a:lnTo>
                    <a:lnTo>
                      <a:pt x="14" y="8"/>
                    </a:lnTo>
                    <a:lnTo>
                      <a:pt x="11" y="12"/>
                    </a:lnTo>
                    <a:lnTo>
                      <a:pt x="6" y="13"/>
                    </a:lnTo>
                    <a:lnTo>
                      <a:pt x="2" y="12"/>
                    </a:lnTo>
                    <a:lnTo>
                      <a:pt x="0" y="10"/>
                    </a:lnTo>
                    <a:lnTo>
                      <a:pt x="2" y="3"/>
                    </a:lnTo>
                    <a:lnTo>
                      <a:pt x="11" y="1"/>
                    </a:lnTo>
                    <a:lnTo>
                      <a:pt x="18" y="0"/>
                    </a:lnTo>
                    <a:lnTo>
                      <a:pt x="26" y="0"/>
                    </a:lnTo>
                    <a:lnTo>
                      <a:pt x="35" y="0"/>
                    </a:lnTo>
                    <a:lnTo>
                      <a:pt x="40" y="5"/>
                    </a:lnTo>
                    <a:lnTo>
                      <a:pt x="30" y="8"/>
                    </a:lnTo>
                    <a:lnTo>
                      <a:pt x="23"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29" name="Freeform 273"/>
              <p:cNvSpPr>
                <a:spLocks/>
              </p:cNvSpPr>
              <p:nvPr/>
            </p:nvSpPr>
            <p:spPr bwMode="auto">
              <a:xfrm>
                <a:off x="5552282" y="1498600"/>
                <a:ext cx="95250" cy="66675"/>
              </a:xfrm>
              <a:custGeom>
                <a:avLst/>
                <a:gdLst/>
                <a:ahLst/>
                <a:cxnLst>
                  <a:cxn ang="0">
                    <a:pos x="45" y="36"/>
                  </a:cxn>
                  <a:cxn ang="0">
                    <a:pos x="35" y="38"/>
                  </a:cxn>
                  <a:cxn ang="0">
                    <a:pos x="26" y="42"/>
                  </a:cxn>
                  <a:cxn ang="0">
                    <a:pos x="19" y="38"/>
                  </a:cxn>
                  <a:cxn ang="0">
                    <a:pos x="12" y="36"/>
                  </a:cxn>
                  <a:cxn ang="0">
                    <a:pos x="4" y="33"/>
                  </a:cxn>
                  <a:cxn ang="0">
                    <a:pos x="0" y="33"/>
                  </a:cxn>
                  <a:cxn ang="0">
                    <a:pos x="4" y="29"/>
                  </a:cxn>
                  <a:cxn ang="0">
                    <a:pos x="7" y="26"/>
                  </a:cxn>
                  <a:cxn ang="0">
                    <a:pos x="28" y="26"/>
                  </a:cxn>
                  <a:cxn ang="0">
                    <a:pos x="22" y="23"/>
                  </a:cxn>
                  <a:cxn ang="0">
                    <a:pos x="19" y="26"/>
                  </a:cxn>
                  <a:cxn ang="0">
                    <a:pos x="19" y="19"/>
                  </a:cxn>
                  <a:cxn ang="0">
                    <a:pos x="26" y="16"/>
                  </a:cxn>
                  <a:cxn ang="0">
                    <a:pos x="35" y="14"/>
                  </a:cxn>
                  <a:cxn ang="0">
                    <a:pos x="40" y="9"/>
                  </a:cxn>
                  <a:cxn ang="0">
                    <a:pos x="50" y="9"/>
                  </a:cxn>
                  <a:cxn ang="0">
                    <a:pos x="52" y="2"/>
                  </a:cxn>
                  <a:cxn ang="0">
                    <a:pos x="59" y="0"/>
                  </a:cxn>
                  <a:cxn ang="0">
                    <a:pos x="59" y="2"/>
                  </a:cxn>
                  <a:cxn ang="0">
                    <a:pos x="60" y="7"/>
                  </a:cxn>
                  <a:cxn ang="0">
                    <a:pos x="57" y="9"/>
                  </a:cxn>
                  <a:cxn ang="0">
                    <a:pos x="55" y="12"/>
                  </a:cxn>
                  <a:cxn ang="0">
                    <a:pos x="41" y="19"/>
                  </a:cxn>
                  <a:cxn ang="0">
                    <a:pos x="33" y="26"/>
                  </a:cxn>
                  <a:cxn ang="0">
                    <a:pos x="40" y="26"/>
                  </a:cxn>
                  <a:cxn ang="0">
                    <a:pos x="47" y="28"/>
                  </a:cxn>
                  <a:cxn ang="0">
                    <a:pos x="53" y="29"/>
                  </a:cxn>
                  <a:cxn ang="0">
                    <a:pos x="60" y="35"/>
                  </a:cxn>
                  <a:cxn ang="0">
                    <a:pos x="53" y="35"/>
                  </a:cxn>
                  <a:cxn ang="0">
                    <a:pos x="45" y="36"/>
                  </a:cxn>
                </a:cxnLst>
                <a:rect l="0" t="0" r="r" b="b"/>
                <a:pathLst>
                  <a:path w="60" h="42">
                    <a:moveTo>
                      <a:pt x="45" y="36"/>
                    </a:moveTo>
                    <a:lnTo>
                      <a:pt x="35" y="38"/>
                    </a:lnTo>
                    <a:lnTo>
                      <a:pt x="26" y="42"/>
                    </a:lnTo>
                    <a:lnTo>
                      <a:pt x="19" y="38"/>
                    </a:lnTo>
                    <a:lnTo>
                      <a:pt x="12" y="36"/>
                    </a:lnTo>
                    <a:lnTo>
                      <a:pt x="4" y="33"/>
                    </a:lnTo>
                    <a:lnTo>
                      <a:pt x="0" y="33"/>
                    </a:lnTo>
                    <a:lnTo>
                      <a:pt x="4" y="29"/>
                    </a:lnTo>
                    <a:lnTo>
                      <a:pt x="7" y="26"/>
                    </a:lnTo>
                    <a:lnTo>
                      <a:pt x="28" y="26"/>
                    </a:lnTo>
                    <a:lnTo>
                      <a:pt x="22" y="23"/>
                    </a:lnTo>
                    <a:lnTo>
                      <a:pt x="19" y="26"/>
                    </a:lnTo>
                    <a:lnTo>
                      <a:pt x="19" y="19"/>
                    </a:lnTo>
                    <a:lnTo>
                      <a:pt x="26" y="16"/>
                    </a:lnTo>
                    <a:lnTo>
                      <a:pt x="35" y="14"/>
                    </a:lnTo>
                    <a:lnTo>
                      <a:pt x="40" y="9"/>
                    </a:lnTo>
                    <a:lnTo>
                      <a:pt x="50" y="9"/>
                    </a:lnTo>
                    <a:lnTo>
                      <a:pt x="52" y="2"/>
                    </a:lnTo>
                    <a:lnTo>
                      <a:pt x="59" y="0"/>
                    </a:lnTo>
                    <a:lnTo>
                      <a:pt x="59" y="2"/>
                    </a:lnTo>
                    <a:lnTo>
                      <a:pt x="60" y="7"/>
                    </a:lnTo>
                    <a:lnTo>
                      <a:pt x="57" y="9"/>
                    </a:lnTo>
                    <a:lnTo>
                      <a:pt x="55" y="12"/>
                    </a:lnTo>
                    <a:lnTo>
                      <a:pt x="41" y="19"/>
                    </a:lnTo>
                    <a:lnTo>
                      <a:pt x="33" y="26"/>
                    </a:lnTo>
                    <a:lnTo>
                      <a:pt x="40" y="26"/>
                    </a:lnTo>
                    <a:lnTo>
                      <a:pt x="47" y="28"/>
                    </a:lnTo>
                    <a:lnTo>
                      <a:pt x="53" y="29"/>
                    </a:lnTo>
                    <a:lnTo>
                      <a:pt x="60" y="35"/>
                    </a:lnTo>
                    <a:lnTo>
                      <a:pt x="53" y="35"/>
                    </a:lnTo>
                    <a:lnTo>
                      <a:pt x="45"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30" name="Freeform 274"/>
              <p:cNvSpPr>
                <a:spLocks/>
              </p:cNvSpPr>
              <p:nvPr/>
            </p:nvSpPr>
            <p:spPr bwMode="auto">
              <a:xfrm>
                <a:off x="4553744" y="1597025"/>
                <a:ext cx="322263" cy="174625"/>
              </a:xfrm>
              <a:custGeom>
                <a:avLst/>
                <a:gdLst/>
                <a:ahLst/>
                <a:cxnLst>
                  <a:cxn ang="0">
                    <a:pos x="168" y="84"/>
                  </a:cxn>
                  <a:cxn ang="0">
                    <a:pos x="158" y="81"/>
                  </a:cxn>
                  <a:cxn ang="0">
                    <a:pos x="151" y="72"/>
                  </a:cxn>
                  <a:cxn ang="0">
                    <a:pos x="148" y="59"/>
                  </a:cxn>
                  <a:cxn ang="0">
                    <a:pos x="148" y="52"/>
                  </a:cxn>
                  <a:cxn ang="0">
                    <a:pos x="142" y="47"/>
                  </a:cxn>
                  <a:cxn ang="0">
                    <a:pos x="127" y="47"/>
                  </a:cxn>
                  <a:cxn ang="0">
                    <a:pos x="115" y="67"/>
                  </a:cxn>
                  <a:cxn ang="0">
                    <a:pos x="108" y="81"/>
                  </a:cxn>
                  <a:cxn ang="0">
                    <a:pos x="98" y="88"/>
                  </a:cxn>
                  <a:cxn ang="0">
                    <a:pos x="92" y="103"/>
                  </a:cxn>
                  <a:cxn ang="0">
                    <a:pos x="75" y="103"/>
                  </a:cxn>
                  <a:cxn ang="0">
                    <a:pos x="53" y="90"/>
                  </a:cxn>
                  <a:cxn ang="0">
                    <a:pos x="62" y="78"/>
                  </a:cxn>
                  <a:cxn ang="0">
                    <a:pos x="75" y="76"/>
                  </a:cxn>
                  <a:cxn ang="0">
                    <a:pos x="80" y="72"/>
                  </a:cxn>
                  <a:cxn ang="0">
                    <a:pos x="65" y="72"/>
                  </a:cxn>
                  <a:cxn ang="0">
                    <a:pos x="55" y="72"/>
                  </a:cxn>
                  <a:cxn ang="0">
                    <a:pos x="44" y="72"/>
                  </a:cxn>
                  <a:cxn ang="0">
                    <a:pos x="48" y="62"/>
                  </a:cxn>
                  <a:cxn ang="0">
                    <a:pos x="62" y="57"/>
                  </a:cxn>
                  <a:cxn ang="0">
                    <a:pos x="77" y="52"/>
                  </a:cxn>
                  <a:cxn ang="0">
                    <a:pos x="74" y="48"/>
                  </a:cxn>
                  <a:cxn ang="0">
                    <a:pos x="65" y="45"/>
                  </a:cxn>
                  <a:cxn ang="0">
                    <a:pos x="60" y="43"/>
                  </a:cxn>
                  <a:cxn ang="0">
                    <a:pos x="51" y="50"/>
                  </a:cxn>
                  <a:cxn ang="0">
                    <a:pos x="32" y="55"/>
                  </a:cxn>
                  <a:cxn ang="0">
                    <a:pos x="29" y="48"/>
                  </a:cxn>
                  <a:cxn ang="0">
                    <a:pos x="19" y="40"/>
                  </a:cxn>
                  <a:cxn ang="0">
                    <a:pos x="13" y="29"/>
                  </a:cxn>
                  <a:cxn ang="0">
                    <a:pos x="0" y="17"/>
                  </a:cxn>
                  <a:cxn ang="0">
                    <a:pos x="17" y="5"/>
                  </a:cxn>
                  <a:cxn ang="0">
                    <a:pos x="43" y="7"/>
                  </a:cxn>
                  <a:cxn ang="0">
                    <a:pos x="37" y="14"/>
                  </a:cxn>
                  <a:cxn ang="0">
                    <a:pos x="51" y="23"/>
                  </a:cxn>
                  <a:cxn ang="0">
                    <a:pos x="48" y="16"/>
                  </a:cxn>
                  <a:cxn ang="0">
                    <a:pos x="56" y="7"/>
                  </a:cxn>
                  <a:cxn ang="0">
                    <a:pos x="67" y="16"/>
                  </a:cxn>
                  <a:cxn ang="0">
                    <a:pos x="79" y="29"/>
                  </a:cxn>
                  <a:cxn ang="0">
                    <a:pos x="72" y="7"/>
                  </a:cxn>
                  <a:cxn ang="0">
                    <a:pos x="82" y="0"/>
                  </a:cxn>
                  <a:cxn ang="0">
                    <a:pos x="94" y="2"/>
                  </a:cxn>
                  <a:cxn ang="0">
                    <a:pos x="103" y="9"/>
                  </a:cxn>
                  <a:cxn ang="0">
                    <a:pos x="101" y="19"/>
                  </a:cxn>
                  <a:cxn ang="0">
                    <a:pos x="110" y="12"/>
                  </a:cxn>
                  <a:cxn ang="0">
                    <a:pos x="117" y="24"/>
                  </a:cxn>
                  <a:cxn ang="0">
                    <a:pos x="122" y="26"/>
                  </a:cxn>
                  <a:cxn ang="0">
                    <a:pos x="142" y="33"/>
                  </a:cxn>
                  <a:cxn ang="0">
                    <a:pos x="163" y="47"/>
                  </a:cxn>
                  <a:cxn ang="0">
                    <a:pos x="158" y="48"/>
                  </a:cxn>
                  <a:cxn ang="0">
                    <a:pos x="166" y="48"/>
                  </a:cxn>
                  <a:cxn ang="0">
                    <a:pos x="166" y="55"/>
                  </a:cxn>
                  <a:cxn ang="0">
                    <a:pos x="182" y="55"/>
                  </a:cxn>
                  <a:cxn ang="0">
                    <a:pos x="189" y="67"/>
                  </a:cxn>
                  <a:cxn ang="0">
                    <a:pos x="203" y="72"/>
                  </a:cxn>
                  <a:cxn ang="0">
                    <a:pos x="185" y="81"/>
                  </a:cxn>
                  <a:cxn ang="0">
                    <a:pos x="170" y="91"/>
                  </a:cxn>
                </a:cxnLst>
                <a:rect l="0" t="0" r="r" b="b"/>
                <a:pathLst>
                  <a:path w="203" h="110">
                    <a:moveTo>
                      <a:pt x="170" y="91"/>
                    </a:moveTo>
                    <a:lnTo>
                      <a:pt x="168" y="84"/>
                    </a:lnTo>
                    <a:lnTo>
                      <a:pt x="170" y="81"/>
                    </a:lnTo>
                    <a:lnTo>
                      <a:pt x="158" y="81"/>
                    </a:lnTo>
                    <a:lnTo>
                      <a:pt x="148" y="81"/>
                    </a:lnTo>
                    <a:lnTo>
                      <a:pt x="151" y="72"/>
                    </a:lnTo>
                    <a:lnTo>
                      <a:pt x="154" y="65"/>
                    </a:lnTo>
                    <a:lnTo>
                      <a:pt x="148" y="59"/>
                    </a:lnTo>
                    <a:lnTo>
                      <a:pt x="144" y="52"/>
                    </a:lnTo>
                    <a:lnTo>
                      <a:pt x="148" y="52"/>
                    </a:lnTo>
                    <a:lnTo>
                      <a:pt x="151" y="52"/>
                    </a:lnTo>
                    <a:lnTo>
                      <a:pt x="142" y="47"/>
                    </a:lnTo>
                    <a:lnTo>
                      <a:pt x="139" y="43"/>
                    </a:lnTo>
                    <a:lnTo>
                      <a:pt x="127" y="47"/>
                    </a:lnTo>
                    <a:lnTo>
                      <a:pt x="120" y="55"/>
                    </a:lnTo>
                    <a:lnTo>
                      <a:pt x="115" y="67"/>
                    </a:lnTo>
                    <a:lnTo>
                      <a:pt x="111" y="79"/>
                    </a:lnTo>
                    <a:lnTo>
                      <a:pt x="108" y="81"/>
                    </a:lnTo>
                    <a:lnTo>
                      <a:pt x="105" y="83"/>
                    </a:lnTo>
                    <a:lnTo>
                      <a:pt x="98" y="88"/>
                    </a:lnTo>
                    <a:lnTo>
                      <a:pt x="96" y="96"/>
                    </a:lnTo>
                    <a:lnTo>
                      <a:pt x="92" y="103"/>
                    </a:lnTo>
                    <a:lnTo>
                      <a:pt x="89" y="110"/>
                    </a:lnTo>
                    <a:lnTo>
                      <a:pt x="75" y="103"/>
                    </a:lnTo>
                    <a:lnTo>
                      <a:pt x="63" y="98"/>
                    </a:lnTo>
                    <a:lnTo>
                      <a:pt x="53" y="90"/>
                    </a:lnTo>
                    <a:lnTo>
                      <a:pt x="49" y="79"/>
                    </a:lnTo>
                    <a:lnTo>
                      <a:pt x="62" y="78"/>
                    </a:lnTo>
                    <a:lnTo>
                      <a:pt x="68" y="79"/>
                    </a:lnTo>
                    <a:lnTo>
                      <a:pt x="75" y="76"/>
                    </a:lnTo>
                    <a:lnTo>
                      <a:pt x="86" y="76"/>
                    </a:lnTo>
                    <a:lnTo>
                      <a:pt x="80" y="72"/>
                    </a:lnTo>
                    <a:lnTo>
                      <a:pt x="74" y="72"/>
                    </a:lnTo>
                    <a:lnTo>
                      <a:pt x="65" y="72"/>
                    </a:lnTo>
                    <a:lnTo>
                      <a:pt x="62" y="72"/>
                    </a:lnTo>
                    <a:lnTo>
                      <a:pt x="55" y="72"/>
                    </a:lnTo>
                    <a:lnTo>
                      <a:pt x="49" y="74"/>
                    </a:lnTo>
                    <a:lnTo>
                      <a:pt x="44" y="72"/>
                    </a:lnTo>
                    <a:lnTo>
                      <a:pt x="43" y="65"/>
                    </a:lnTo>
                    <a:lnTo>
                      <a:pt x="48" y="62"/>
                    </a:lnTo>
                    <a:lnTo>
                      <a:pt x="58" y="60"/>
                    </a:lnTo>
                    <a:lnTo>
                      <a:pt x="62" y="57"/>
                    </a:lnTo>
                    <a:lnTo>
                      <a:pt x="70" y="55"/>
                    </a:lnTo>
                    <a:lnTo>
                      <a:pt x="77" y="52"/>
                    </a:lnTo>
                    <a:lnTo>
                      <a:pt x="84" y="48"/>
                    </a:lnTo>
                    <a:lnTo>
                      <a:pt x="74" y="48"/>
                    </a:lnTo>
                    <a:lnTo>
                      <a:pt x="70" y="48"/>
                    </a:lnTo>
                    <a:lnTo>
                      <a:pt x="65" y="45"/>
                    </a:lnTo>
                    <a:lnTo>
                      <a:pt x="62" y="43"/>
                    </a:lnTo>
                    <a:lnTo>
                      <a:pt x="60" y="43"/>
                    </a:lnTo>
                    <a:lnTo>
                      <a:pt x="58" y="43"/>
                    </a:lnTo>
                    <a:lnTo>
                      <a:pt x="51" y="50"/>
                    </a:lnTo>
                    <a:lnTo>
                      <a:pt x="43" y="57"/>
                    </a:lnTo>
                    <a:lnTo>
                      <a:pt x="32" y="55"/>
                    </a:lnTo>
                    <a:lnTo>
                      <a:pt x="27" y="50"/>
                    </a:lnTo>
                    <a:lnTo>
                      <a:pt x="29" y="48"/>
                    </a:lnTo>
                    <a:lnTo>
                      <a:pt x="31" y="48"/>
                    </a:lnTo>
                    <a:lnTo>
                      <a:pt x="19" y="40"/>
                    </a:lnTo>
                    <a:lnTo>
                      <a:pt x="17" y="31"/>
                    </a:lnTo>
                    <a:lnTo>
                      <a:pt x="13" y="29"/>
                    </a:lnTo>
                    <a:lnTo>
                      <a:pt x="7" y="24"/>
                    </a:lnTo>
                    <a:lnTo>
                      <a:pt x="0" y="17"/>
                    </a:lnTo>
                    <a:lnTo>
                      <a:pt x="7" y="10"/>
                    </a:lnTo>
                    <a:lnTo>
                      <a:pt x="17" y="5"/>
                    </a:lnTo>
                    <a:lnTo>
                      <a:pt x="27" y="5"/>
                    </a:lnTo>
                    <a:lnTo>
                      <a:pt x="43" y="7"/>
                    </a:lnTo>
                    <a:lnTo>
                      <a:pt x="39" y="10"/>
                    </a:lnTo>
                    <a:lnTo>
                      <a:pt x="37" y="14"/>
                    </a:lnTo>
                    <a:lnTo>
                      <a:pt x="44" y="17"/>
                    </a:lnTo>
                    <a:lnTo>
                      <a:pt x="51" y="23"/>
                    </a:lnTo>
                    <a:lnTo>
                      <a:pt x="48" y="19"/>
                    </a:lnTo>
                    <a:lnTo>
                      <a:pt x="48" y="16"/>
                    </a:lnTo>
                    <a:lnTo>
                      <a:pt x="49" y="9"/>
                    </a:lnTo>
                    <a:lnTo>
                      <a:pt x="56" y="7"/>
                    </a:lnTo>
                    <a:lnTo>
                      <a:pt x="63" y="9"/>
                    </a:lnTo>
                    <a:lnTo>
                      <a:pt x="67" y="16"/>
                    </a:lnTo>
                    <a:lnTo>
                      <a:pt x="70" y="23"/>
                    </a:lnTo>
                    <a:lnTo>
                      <a:pt x="79" y="29"/>
                    </a:lnTo>
                    <a:lnTo>
                      <a:pt x="74" y="17"/>
                    </a:lnTo>
                    <a:lnTo>
                      <a:pt x="72" y="7"/>
                    </a:lnTo>
                    <a:lnTo>
                      <a:pt x="74" y="0"/>
                    </a:lnTo>
                    <a:lnTo>
                      <a:pt x="82" y="0"/>
                    </a:lnTo>
                    <a:lnTo>
                      <a:pt x="87" y="0"/>
                    </a:lnTo>
                    <a:lnTo>
                      <a:pt x="94" y="2"/>
                    </a:lnTo>
                    <a:lnTo>
                      <a:pt x="99" y="4"/>
                    </a:lnTo>
                    <a:lnTo>
                      <a:pt x="103" y="9"/>
                    </a:lnTo>
                    <a:lnTo>
                      <a:pt x="101" y="14"/>
                    </a:lnTo>
                    <a:lnTo>
                      <a:pt x="101" y="19"/>
                    </a:lnTo>
                    <a:lnTo>
                      <a:pt x="105" y="14"/>
                    </a:lnTo>
                    <a:lnTo>
                      <a:pt x="110" y="12"/>
                    </a:lnTo>
                    <a:lnTo>
                      <a:pt x="117" y="16"/>
                    </a:lnTo>
                    <a:lnTo>
                      <a:pt x="117" y="24"/>
                    </a:lnTo>
                    <a:lnTo>
                      <a:pt x="118" y="24"/>
                    </a:lnTo>
                    <a:lnTo>
                      <a:pt x="122" y="26"/>
                    </a:lnTo>
                    <a:lnTo>
                      <a:pt x="129" y="28"/>
                    </a:lnTo>
                    <a:lnTo>
                      <a:pt x="142" y="33"/>
                    </a:lnTo>
                    <a:lnTo>
                      <a:pt x="154" y="40"/>
                    </a:lnTo>
                    <a:lnTo>
                      <a:pt x="163" y="47"/>
                    </a:lnTo>
                    <a:lnTo>
                      <a:pt x="160" y="47"/>
                    </a:lnTo>
                    <a:lnTo>
                      <a:pt x="158" y="48"/>
                    </a:lnTo>
                    <a:lnTo>
                      <a:pt x="161" y="48"/>
                    </a:lnTo>
                    <a:lnTo>
                      <a:pt x="166" y="48"/>
                    </a:lnTo>
                    <a:lnTo>
                      <a:pt x="166" y="52"/>
                    </a:lnTo>
                    <a:lnTo>
                      <a:pt x="166" y="55"/>
                    </a:lnTo>
                    <a:lnTo>
                      <a:pt x="173" y="55"/>
                    </a:lnTo>
                    <a:lnTo>
                      <a:pt x="182" y="55"/>
                    </a:lnTo>
                    <a:lnTo>
                      <a:pt x="184" y="62"/>
                    </a:lnTo>
                    <a:lnTo>
                      <a:pt x="189" y="67"/>
                    </a:lnTo>
                    <a:lnTo>
                      <a:pt x="196" y="69"/>
                    </a:lnTo>
                    <a:lnTo>
                      <a:pt x="203" y="72"/>
                    </a:lnTo>
                    <a:lnTo>
                      <a:pt x="192" y="76"/>
                    </a:lnTo>
                    <a:lnTo>
                      <a:pt x="185" y="81"/>
                    </a:lnTo>
                    <a:lnTo>
                      <a:pt x="177" y="86"/>
                    </a:lnTo>
                    <a:lnTo>
                      <a:pt x="170"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31" name="Freeform 275"/>
              <p:cNvSpPr>
                <a:spLocks/>
              </p:cNvSpPr>
              <p:nvPr/>
            </p:nvSpPr>
            <p:spPr bwMode="auto">
              <a:xfrm>
                <a:off x="4722019" y="1570038"/>
                <a:ext cx="207963" cy="73025"/>
              </a:xfrm>
              <a:custGeom>
                <a:avLst/>
                <a:gdLst/>
                <a:ahLst/>
                <a:cxnLst>
                  <a:cxn ang="0">
                    <a:pos x="131" y="21"/>
                  </a:cxn>
                  <a:cxn ang="0">
                    <a:pos x="119" y="27"/>
                  </a:cxn>
                  <a:cxn ang="0">
                    <a:pos x="105" y="36"/>
                  </a:cxn>
                  <a:cxn ang="0">
                    <a:pos x="90" y="43"/>
                  </a:cxn>
                  <a:cxn ang="0">
                    <a:pos x="79" y="46"/>
                  </a:cxn>
                  <a:cxn ang="0">
                    <a:pos x="67" y="43"/>
                  </a:cxn>
                  <a:cxn ang="0">
                    <a:pos x="62" y="38"/>
                  </a:cxn>
                  <a:cxn ang="0">
                    <a:pos x="33" y="38"/>
                  </a:cxn>
                  <a:cxn ang="0">
                    <a:pos x="26" y="34"/>
                  </a:cxn>
                  <a:cxn ang="0">
                    <a:pos x="26" y="29"/>
                  </a:cxn>
                  <a:cxn ang="0">
                    <a:pos x="31" y="29"/>
                  </a:cxn>
                  <a:cxn ang="0">
                    <a:pos x="36" y="29"/>
                  </a:cxn>
                  <a:cxn ang="0">
                    <a:pos x="42" y="27"/>
                  </a:cxn>
                  <a:cxn ang="0">
                    <a:pos x="48" y="26"/>
                  </a:cxn>
                  <a:cxn ang="0">
                    <a:pos x="43" y="24"/>
                  </a:cxn>
                  <a:cxn ang="0">
                    <a:pos x="36" y="24"/>
                  </a:cxn>
                  <a:cxn ang="0">
                    <a:pos x="28" y="24"/>
                  </a:cxn>
                  <a:cxn ang="0">
                    <a:pos x="24" y="24"/>
                  </a:cxn>
                  <a:cxn ang="0">
                    <a:pos x="11" y="26"/>
                  </a:cxn>
                  <a:cxn ang="0">
                    <a:pos x="7" y="19"/>
                  </a:cxn>
                  <a:cxn ang="0">
                    <a:pos x="2" y="14"/>
                  </a:cxn>
                  <a:cxn ang="0">
                    <a:pos x="0" y="7"/>
                  </a:cxn>
                  <a:cxn ang="0">
                    <a:pos x="7" y="7"/>
                  </a:cxn>
                  <a:cxn ang="0">
                    <a:pos x="12" y="9"/>
                  </a:cxn>
                  <a:cxn ang="0">
                    <a:pos x="17" y="9"/>
                  </a:cxn>
                  <a:cxn ang="0">
                    <a:pos x="17" y="7"/>
                  </a:cxn>
                  <a:cxn ang="0">
                    <a:pos x="26" y="7"/>
                  </a:cxn>
                  <a:cxn ang="0">
                    <a:pos x="23" y="2"/>
                  </a:cxn>
                  <a:cxn ang="0">
                    <a:pos x="38" y="2"/>
                  </a:cxn>
                  <a:cxn ang="0">
                    <a:pos x="40" y="3"/>
                  </a:cxn>
                  <a:cxn ang="0">
                    <a:pos x="47" y="7"/>
                  </a:cxn>
                  <a:cxn ang="0">
                    <a:pos x="52" y="9"/>
                  </a:cxn>
                  <a:cxn ang="0">
                    <a:pos x="57" y="12"/>
                  </a:cxn>
                  <a:cxn ang="0">
                    <a:pos x="64" y="5"/>
                  </a:cxn>
                  <a:cxn ang="0">
                    <a:pos x="71" y="0"/>
                  </a:cxn>
                  <a:cxn ang="0">
                    <a:pos x="76" y="0"/>
                  </a:cxn>
                  <a:cxn ang="0">
                    <a:pos x="76" y="7"/>
                  </a:cxn>
                  <a:cxn ang="0">
                    <a:pos x="76" y="12"/>
                  </a:cxn>
                  <a:cxn ang="0">
                    <a:pos x="83" y="9"/>
                  </a:cxn>
                  <a:cxn ang="0">
                    <a:pos x="91" y="7"/>
                  </a:cxn>
                  <a:cxn ang="0">
                    <a:pos x="102" y="7"/>
                  </a:cxn>
                  <a:cxn ang="0">
                    <a:pos x="109" y="7"/>
                  </a:cxn>
                  <a:cxn ang="0">
                    <a:pos x="122" y="10"/>
                  </a:cxn>
                  <a:cxn ang="0">
                    <a:pos x="131" y="21"/>
                  </a:cxn>
                </a:cxnLst>
                <a:rect l="0" t="0" r="r" b="b"/>
                <a:pathLst>
                  <a:path w="131" h="46">
                    <a:moveTo>
                      <a:pt x="131" y="21"/>
                    </a:moveTo>
                    <a:lnTo>
                      <a:pt x="119" y="27"/>
                    </a:lnTo>
                    <a:lnTo>
                      <a:pt x="105" y="36"/>
                    </a:lnTo>
                    <a:lnTo>
                      <a:pt x="90" y="43"/>
                    </a:lnTo>
                    <a:lnTo>
                      <a:pt x="79" y="46"/>
                    </a:lnTo>
                    <a:lnTo>
                      <a:pt x="67" y="43"/>
                    </a:lnTo>
                    <a:lnTo>
                      <a:pt x="62" y="38"/>
                    </a:lnTo>
                    <a:lnTo>
                      <a:pt x="33" y="38"/>
                    </a:lnTo>
                    <a:lnTo>
                      <a:pt x="26" y="34"/>
                    </a:lnTo>
                    <a:lnTo>
                      <a:pt x="26" y="29"/>
                    </a:lnTo>
                    <a:lnTo>
                      <a:pt x="31" y="29"/>
                    </a:lnTo>
                    <a:lnTo>
                      <a:pt x="36" y="29"/>
                    </a:lnTo>
                    <a:lnTo>
                      <a:pt x="42" y="27"/>
                    </a:lnTo>
                    <a:lnTo>
                      <a:pt x="48" y="26"/>
                    </a:lnTo>
                    <a:lnTo>
                      <a:pt x="43" y="24"/>
                    </a:lnTo>
                    <a:lnTo>
                      <a:pt x="36" y="24"/>
                    </a:lnTo>
                    <a:lnTo>
                      <a:pt x="28" y="24"/>
                    </a:lnTo>
                    <a:lnTo>
                      <a:pt x="24" y="24"/>
                    </a:lnTo>
                    <a:lnTo>
                      <a:pt x="11" y="26"/>
                    </a:lnTo>
                    <a:lnTo>
                      <a:pt x="7" y="19"/>
                    </a:lnTo>
                    <a:lnTo>
                      <a:pt x="2" y="14"/>
                    </a:lnTo>
                    <a:lnTo>
                      <a:pt x="0" y="7"/>
                    </a:lnTo>
                    <a:lnTo>
                      <a:pt x="7" y="7"/>
                    </a:lnTo>
                    <a:lnTo>
                      <a:pt x="12" y="9"/>
                    </a:lnTo>
                    <a:lnTo>
                      <a:pt x="17" y="9"/>
                    </a:lnTo>
                    <a:lnTo>
                      <a:pt x="17" y="7"/>
                    </a:lnTo>
                    <a:lnTo>
                      <a:pt x="26" y="7"/>
                    </a:lnTo>
                    <a:lnTo>
                      <a:pt x="23" y="2"/>
                    </a:lnTo>
                    <a:lnTo>
                      <a:pt x="38" y="2"/>
                    </a:lnTo>
                    <a:lnTo>
                      <a:pt x="40" y="3"/>
                    </a:lnTo>
                    <a:lnTo>
                      <a:pt x="47" y="7"/>
                    </a:lnTo>
                    <a:lnTo>
                      <a:pt x="52" y="9"/>
                    </a:lnTo>
                    <a:lnTo>
                      <a:pt x="57" y="12"/>
                    </a:lnTo>
                    <a:lnTo>
                      <a:pt x="64" y="5"/>
                    </a:lnTo>
                    <a:lnTo>
                      <a:pt x="71" y="0"/>
                    </a:lnTo>
                    <a:lnTo>
                      <a:pt x="76" y="0"/>
                    </a:lnTo>
                    <a:lnTo>
                      <a:pt x="76" y="7"/>
                    </a:lnTo>
                    <a:lnTo>
                      <a:pt x="76" y="12"/>
                    </a:lnTo>
                    <a:lnTo>
                      <a:pt x="83" y="9"/>
                    </a:lnTo>
                    <a:lnTo>
                      <a:pt x="91" y="7"/>
                    </a:lnTo>
                    <a:lnTo>
                      <a:pt x="102" y="7"/>
                    </a:lnTo>
                    <a:lnTo>
                      <a:pt x="109" y="7"/>
                    </a:lnTo>
                    <a:lnTo>
                      <a:pt x="122" y="10"/>
                    </a:lnTo>
                    <a:lnTo>
                      <a:pt x="131"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32" name="Freeform 276"/>
              <p:cNvSpPr>
                <a:spLocks/>
              </p:cNvSpPr>
              <p:nvPr/>
            </p:nvSpPr>
            <p:spPr bwMode="auto">
              <a:xfrm>
                <a:off x="4547394" y="1654175"/>
                <a:ext cx="33338" cy="33337"/>
              </a:xfrm>
              <a:custGeom>
                <a:avLst/>
                <a:gdLst/>
                <a:ahLst/>
                <a:cxnLst>
                  <a:cxn ang="0">
                    <a:pos x="4" y="0"/>
                  </a:cxn>
                  <a:cxn ang="0">
                    <a:pos x="12" y="9"/>
                  </a:cxn>
                  <a:cxn ang="0">
                    <a:pos x="21" y="21"/>
                  </a:cxn>
                  <a:cxn ang="0">
                    <a:pos x="12" y="16"/>
                  </a:cxn>
                  <a:cxn ang="0">
                    <a:pos x="5" y="11"/>
                  </a:cxn>
                  <a:cxn ang="0">
                    <a:pos x="0" y="4"/>
                  </a:cxn>
                  <a:cxn ang="0">
                    <a:pos x="5" y="0"/>
                  </a:cxn>
                  <a:cxn ang="0">
                    <a:pos x="5" y="2"/>
                  </a:cxn>
                  <a:cxn ang="0">
                    <a:pos x="4" y="0"/>
                  </a:cxn>
                </a:cxnLst>
                <a:rect l="0" t="0" r="r" b="b"/>
                <a:pathLst>
                  <a:path w="21" h="21">
                    <a:moveTo>
                      <a:pt x="4" y="0"/>
                    </a:moveTo>
                    <a:lnTo>
                      <a:pt x="12" y="9"/>
                    </a:lnTo>
                    <a:lnTo>
                      <a:pt x="21" y="21"/>
                    </a:lnTo>
                    <a:lnTo>
                      <a:pt x="12" y="16"/>
                    </a:lnTo>
                    <a:lnTo>
                      <a:pt x="5" y="11"/>
                    </a:lnTo>
                    <a:lnTo>
                      <a:pt x="0" y="4"/>
                    </a:lnTo>
                    <a:lnTo>
                      <a:pt x="5" y="0"/>
                    </a:lnTo>
                    <a:lnTo>
                      <a:pt x="5"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33" name="Freeform 277"/>
              <p:cNvSpPr>
                <a:spLocks/>
              </p:cNvSpPr>
              <p:nvPr/>
            </p:nvSpPr>
            <p:spPr bwMode="auto">
              <a:xfrm>
                <a:off x="4087019" y="2598738"/>
                <a:ext cx="100013" cy="120650"/>
              </a:xfrm>
              <a:custGeom>
                <a:avLst/>
                <a:gdLst/>
                <a:ahLst/>
                <a:cxnLst>
                  <a:cxn ang="0">
                    <a:pos x="10" y="23"/>
                  </a:cxn>
                  <a:cxn ang="0">
                    <a:pos x="17" y="19"/>
                  </a:cxn>
                  <a:cxn ang="0">
                    <a:pos x="25" y="16"/>
                  </a:cxn>
                  <a:cxn ang="0">
                    <a:pos x="22" y="12"/>
                  </a:cxn>
                  <a:cxn ang="0">
                    <a:pos x="22" y="9"/>
                  </a:cxn>
                  <a:cxn ang="0">
                    <a:pos x="27" y="2"/>
                  </a:cxn>
                  <a:cxn ang="0">
                    <a:pos x="37" y="0"/>
                  </a:cxn>
                  <a:cxn ang="0">
                    <a:pos x="41" y="0"/>
                  </a:cxn>
                  <a:cxn ang="0">
                    <a:pos x="46" y="0"/>
                  </a:cxn>
                  <a:cxn ang="0">
                    <a:pos x="58" y="7"/>
                  </a:cxn>
                  <a:cxn ang="0">
                    <a:pos x="63" y="21"/>
                  </a:cxn>
                  <a:cxn ang="0">
                    <a:pos x="58" y="24"/>
                  </a:cxn>
                  <a:cxn ang="0">
                    <a:pos x="53" y="28"/>
                  </a:cxn>
                  <a:cxn ang="0">
                    <a:pos x="53" y="31"/>
                  </a:cxn>
                  <a:cxn ang="0">
                    <a:pos x="53" y="36"/>
                  </a:cxn>
                  <a:cxn ang="0">
                    <a:pos x="53" y="41"/>
                  </a:cxn>
                  <a:cxn ang="0">
                    <a:pos x="53" y="45"/>
                  </a:cxn>
                  <a:cxn ang="0">
                    <a:pos x="53" y="52"/>
                  </a:cxn>
                  <a:cxn ang="0">
                    <a:pos x="53" y="60"/>
                  </a:cxn>
                  <a:cxn ang="0">
                    <a:pos x="46" y="60"/>
                  </a:cxn>
                  <a:cxn ang="0">
                    <a:pos x="39" y="62"/>
                  </a:cxn>
                  <a:cxn ang="0">
                    <a:pos x="29" y="66"/>
                  </a:cxn>
                  <a:cxn ang="0">
                    <a:pos x="22" y="74"/>
                  </a:cxn>
                  <a:cxn ang="0">
                    <a:pos x="17" y="74"/>
                  </a:cxn>
                  <a:cxn ang="0">
                    <a:pos x="12" y="76"/>
                  </a:cxn>
                  <a:cxn ang="0">
                    <a:pos x="3" y="72"/>
                  </a:cxn>
                  <a:cxn ang="0">
                    <a:pos x="0" y="64"/>
                  </a:cxn>
                  <a:cxn ang="0">
                    <a:pos x="5" y="50"/>
                  </a:cxn>
                  <a:cxn ang="0">
                    <a:pos x="13" y="38"/>
                  </a:cxn>
                  <a:cxn ang="0">
                    <a:pos x="6" y="33"/>
                  </a:cxn>
                  <a:cxn ang="0">
                    <a:pos x="5" y="28"/>
                  </a:cxn>
                  <a:cxn ang="0">
                    <a:pos x="6" y="23"/>
                  </a:cxn>
                  <a:cxn ang="0">
                    <a:pos x="10" y="23"/>
                  </a:cxn>
                </a:cxnLst>
                <a:rect l="0" t="0" r="r" b="b"/>
                <a:pathLst>
                  <a:path w="63" h="76">
                    <a:moveTo>
                      <a:pt x="10" y="23"/>
                    </a:moveTo>
                    <a:lnTo>
                      <a:pt x="17" y="19"/>
                    </a:lnTo>
                    <a:lnTo>
                      <a:pt x="25" y="16"/>
                    </a:lnTo>
                    <a:lnTo>
                      <a:pt x="22" y="12"/>
                    </a:lnTo>
                    <a:lnTo>
                      <a:pt x="22" y="9"/>
                    </a:lnTo>
                    <a:lnTo>
                      <a:pt x="27" y="2"/>
                    </a:lnTo>
                    <a:lnTo>
                      <a:pt x="37" y="0"/>
                    </a:lnTo>
                    <a:lnTo>
                      <a:pt x="41" y="0"/>
                    </a:lnTo>
                    <a:lnTo>
                      <a:pt x="46" y="0"/>
                    </a:lnTo>
                    <a:lnTo>
                      <a:pt x="58" y="7"/>
                    </a:lnTo>
                    <a:lnTo>
                      <a:pt x="63" y="21"/>
                    </a:lnTo>
                    <a:lnTo>
                      <a:pt x="58" y="24"/>
                    </a:lnTo>
                    <a:lnTo>
                      <a:pt x="53" y="28"/>
                    </a:lnTo>
                    <a:lnTo>
                      <a:pt x="53" y="31"/>
                    </a:lnTo>
                    <a:lnTo>
                      <a:pt x="53" y="36"/>
                    </a:lnTo>
                    <a:lnTo>
                      <a:pt x="53" y="41"/>
                    </a:lnTo>
                    <a:lnTo>
                      <a:pt x="53" y="45"/>
                    </a:lnTo>
                    <a:lnTo>
                      <a:pt x="53" y="52"/>
                    </a:lnTo>
                    <a:lnTo>
                      <a:pt x="53" y="60"/>
                    </a:lnTo>
                    <a:lnTo>
                      <a:pt x="46" y="60"/>
                    </a:lnTo>
                    <a:lnTo>
                      <a:pt x="39" y="62"/>
                    </a:lnTo>
                    <a:lnTo>
                      <a:pt x="29" y="66"/>
                    </a:lnTo>
                    <a:lnTo>
                      <a:pt x="22" y="74"/>
                    </a:lnTo>
                    <a:lnTo>
                      <a:pt x="17" y="74"/>
                    </a:lnTo>
                    <a:lnTo>
                      <a:pt x="12" y="76"/>
                    </a:lnTo>
                    <a:lnTo>
                      <a:pt x="3" y="72"/>
                    </a:lnTo>
                    <a:lnTo>
                      <a:pt x="0" y="64"/>
                    </a:lnTo>
                    <a:lnTo>
                      <a:pt x="5" y="50"/>
                    </a:lnTo>
                    <a:lnTo>
                      <a:pt x="13" y="38"/>
                    </a:lnTo>
                    <a:lnTo>
                      <a:pt x="6" y="33"/>
                    </a:lnTo>
                    <a:lnTo>
                      <a:pt x="5" y="28"/>
                    </a:lnTo>
                    <a:lnTo>
                      <a:pt x="6" y="23"/>
                    </a:lnTo>
                    <a:lnTo>
                      <a:pt x="10"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34" name="Freeform 278"/>
              <p:cNvSpPr>
                <a:spLocks/>
              </p:cNvSpPr>
              <p:nvPr/>
            </p:nvSpPr>
            <p:spPr bwMode="auto">
              <a:xfrm>
                <a:off x="4155282" y="2495550"/>
                <a:ext cx="19050" cy="19050"/>
              </a:xfrm>
              <a:custGeom>
                <a:avLst/>
                <a:gdLst/>
                <a:ahLst/>
                <a:cxnLst>
                  <a:cxn ang="0">
                    <a:pos x="1" y="12"/>
                  </a:cxn>
                  <a:cxn ang="0">
                    <a:pos x="0" y="8"/>
                  </a:cxn>
                  <a:cxn ang="0">
                    <a:pos x="0" y="7"/>
                  </a:cxn>
                  <a:cxn ang="0">
                    <a:pos x="3" y="2"/>
                  </a:cxn>
                  <a:cxn ang="0">
                    <a:pos x="12" y="0"/>
                  </a:cxn>
                  <a:cxn ang="0">
                    <a:pos x="8" y="8"/>
                  </a:cxn>
                  <a:cxn ang="0">
                    <a:pos x="1" y="12"/>
                  </a:cxn>
                </a:cxnLst>
                <a:rect l="0" t="0" r="r" b="b"/>
                <a:pathLst>
                  <a:path w="12" h="12">
                    <a:moveTo>
                      <a:pt x="1" y="12"/>
                    </a:moveTo>
                    <a:lnTo>
                      <a:pt x="0" y="8"/>
                    </a:lnTo>
                    <a:lnTo>
                      <a:pt x="0" y="7"/>
                    </a:lnTo>
                    <a:lnTo>
                      <a:pt x="3" y="2"/>
                    </a:lnTo>
                    <a:lnTo>
                      <a:pt x="12" y="0"/>
                    </a:lnTo>
                    <a:lnTo>
                      <a:pt x="8" y="8"/>
                    </a:lnTo>
                    <a:lnTo>
                      <a:pt x="1"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35" name="Freeform 279"/>
              <p:cNvSpPr>
                <a:spLocks/>
              </p:cNvSpPr>
              <p:nvPr/>
            </p:nvSpPr>
            <p:spPr bwMode="auto">
              <a:xfrm>
                <a:off x="4164807" y="2487613"/>
                <a:ext cx="192088" cy="274637"/>
              </a:xfrm>
              <a:custGeom>
                <a:avLst/>
                <a:gdLst/>
                <a:ahLst/>
                <a:cxnLst>
                  <a:cxn ang="0">
                    <a:pos x="105" y="115"/>
                  </a:cxn>
                  <a:cxn ang="0">
                    <a:pos x="117" y="118"/>
                  </a:cxn>
                  <a:cxn ang="0">
                    <a:pos x="114" y="136"/>
                  </a:cxn>
                  <a:cxn ang="0">
                    <a:pos x="109" y="146"/>
                  </a:cxn>
                  <a:cxn ang="0">
                    <a:pos x="114" y="151"/>
                  </a:cxn>
                  <a:cxn ang="0">
                    <a:pos x="100" y="160"/>
                  </a:cxn>
                  <a:cxn ang="0">
                    <a:pos x="80" y="160"/>
                  </a:cxn>
                  <a:cxn ang="0">
                    <a:pos x="66" y="161"/>
                  </a:cxn>
                  <a:cxn ang="0">
                    <a:pos x="54" y="163"/>
                  </a:cxn>
                  <a:cxn ang="0">
                    <a:pos x="45" y="161"/>
                  </a:cxn>
                  <a:cxn ang="0">
                    <a:pos x="37" y="170"/>
                  </a:cxn>
                  <a:cxn ang="0">
                    <a:pos x="24" y="170"/>
                  </a:cxn>
                  <a:cxn ang="0">
                    <a:pos x="19" y="173"/>
                  </a:cxn>
                  <a:cxn ang="0">
                    <a:pos x="21" y="165"/>
                  </a:cxn>
                  <a:cxn ang="0">
                    <a:pos x="31" y="153"/>
                  </a:cxn>
                  <a:cxn ang="0">
                    <a:pos x="47" y="149"/>
                  </a:cxn>
                  <a:cxn ang="0">
                    <a:pos x="52" y="142"/>
                  </a:cxn>
                  <a:cxn ang="0">
                    <a:pos x="47" y="144"/>
                  </a:cxn>
                  <a:cxn ang="0">
                    <a:pos x="35" y="142"/>
                  </a:cxn>
                  <a:cxn ang="0">
                    <a:pos x="26" y="141"/>
                  </a:cxn>
                  <a:cxn ang="0">
                    <a:pos x="21" y="141"/>
                  </a:cxn>
                  <a:cxn ang="0">
                    <a:pos x="28" y="132"/>
                  </a:cxn>
                  <a:cxn ang="0">
                    <a:pos x="37" y="125"/>
                  </a:cxn>
                  <a:cxn ang="0">
                    <a:pos x="31" y="110"/>
                  </a:cxn>
                  <a:cxn ang="0">
                    <a:pos x="55" y="101"/>
                  </a:cxn>
                  <a:cxn ang="0">
                    <a:pos x="45" y="91"/>
                  </a:cxn>
                  <a:cxn ang="0">
                    <a:pos x="43" y="82"/>
                  </a:cxn>
                  <a:cxn ang="0">
                    <a:pos x="43" y="79"/>
                  </a:cxn>
                  <a:cxn ang="0">
                    <a:pos x="35" y="81"/>
                  </a:cxn>
                  <a:cxn ang="0">
                    <a:pos x="23" y="81"/>
                  </a:cxn>
                  <a:cxn ang="0">
                    <a:pos x="23" y="72"/>
                  </a:cxn>
                  <a:cxn ang="0">
                    <a:pos x="24" y="62"/>
                  </a:cxn>
                  <a:cxn ang="0">
                    <a:pos x="21" y="56"/>
                  </a:cxn>
                  <a:cxn ang="0">
                    <a:pos x="16" y="60"/>
                  </a:cxn>
                  <a:cxn ang="0">
                    <a:pos x="14" y="63"/>
                  </a:cxn>
                  <a:cxn ang="0">
                    <a:pos x="14" y="55"/>
                  </a:cxn>
                  <a:cxn ang="0">
                    <a:pos x="16" y="51"/>
                  </a:cxn>
                  <a:cxn ang="0">
                    <a:pos x="11" y="44"/>
                  </a:cxn>
                  <a:cxn ang="0">
                    <a:pos x="11" y="38"/>
                  </a:cxn>
                  <a:cxn ang="0">
                    <a:pos x="12" y="32"/>
                  </a:cxn>
                  <a:cxn ang="0">
                    <a:pos x="0" y="22"/>
                  </a:cxn>
                  <a:cxn ang="0">
                    <a:pos x="9" y="26"/>
                  </a:cxn>
                  <a:cxn ang="0">
                    <a:pos x="12" y="26"/>
                  </a:cxn>
                  <a:cxn ang="0">
                    <a:pos x="11" y="22"/>
                  </a:cxn>
                  <a:cxn ang="0">
                    <a:pos x="12" y="15"/>
                  </a:cxn>
                  <a:cxn ang="0">
                    <a:pos x="19" y="8"/>
                  </a:cxn>
                  <a:cxn ang="0">
                    <a:pos x="23" y="1"/>
                  </a:cxn>
                  <a:cxn ang="0">
                    <a:pos x="37" y="0"/>
                  </a:cxn>
                  <a:cxn ang="0">
                    <a:pos x="45" y="1"/>
                  </a:cxn>
                  <a:cxn ang="0">
                    <a:pos x="42" y="10"/>
                  </a:cxn>
                  <a:cxn ang="0">
                    <a:pos x="37" y="19"/>
                  </a:cxn>
                  <a:cxn ang="0">
                    <a:pos x="67" y="20"/>
                  </a:cxn>
                  <a:cxn ang="0">
                    <a:pos x="61" y="38"/>
                  </a:cxn>
                  <a:cxn ang="0">
                    <a:pos x="54" y="51"/>
                  </a:cxn>
                  <a:cxn ang="0">
                    <a:pos x="50" y="56"/>
                  </a:cxn>
                  <a:cxn ang="0">
                    <a:pos x="61" y="56"/>
                  </a:cxn>
                  <a:cxn ang="0">
                    <a:pos x="76" y="79"/>
                  </a:cxn>
                  <a:cxn ang="0">
                    <a:pos x="88" y="87"/>
                  </a:cxn>
                  <a:cxn ang="0">
                    <a:pos x="97" y="101"/>
                  </a:cxn>
                  <a:cxn ang="0">
                    <a:pos x="102" y="113"/>
                  </a:cxn>
                  <a:cxn ang="0">
                    <a:pos x="100" y="117"/>
                  </a:cxn>
                  <a:cxn ang="0">
                    <a:pos x="102" y="117"/>
                  </a:cxn>
                  <a:cxn ang="0">
                    <a:pos x="104" y="118"/>
                  </a:cxn>
                </a:cxnLst>
                <a:rect l="0" t="0" r="r" b="b"/>
                <a:pathLst>
                  <a:path w="121" h="173">
                    <a:moveTo>
                      <a:pt x="104" y="118"/>
                    </a:moveTo>
                    <a:lnTo>
                      <a:pt x="105" y="115"/>
                    </a:lnTo>
                    <a:lnTo>
                      <a:pt x="110" y="117"/>
                    </a:lnTo>
                    <a:lnTo>
                      <a:pt x="117" y="118"/>
                    </a:lnTo>
                    <a:lnTo>
                      <a:pt x="121" y="125"/>
                    </a:lnTo>
                    <a:lnTo>
                      <a:pt x="114" y="136"/>
                    </a:lnTo>
                    <a:lnTo>
                      <a:pt x="104" y="146"/>
                    </a:lnTo>
                    <a:lnTo>
                      <a:pt x="109" y="146"/>
                    </a:lnTo>
                    <a:lnTo>
                      <a:pt x="114" y="148"/>
                    </a:lnTo>
                    <a:lnTo>
                      <a:pt x="114" y="151"/>
                    </a:lnTo>
                    <a:lnTo>
                      <a:pt x="107" y="156"/>
                    </a:lnTo>
                    <a:lnTo>
                      <a:pt x="100" y="160"/>
                    </a:lnTo>
                    <a:lnTo>
                      <a:pt x="88" y="160"/>
                    </a:lnTo>
                    <a:lnTo>
                      <a:pt x="80" y="160"/>
                    </a:lnTo>
                    <a:lnTo>
                      <a:pt x="73" y="160"/>
                    </a:lnTo>
                    <a:lnTo>
                      <a:pt x="66" y="161"/>
                    </a:lnTo>
                    <a:lnTo>
                      <a:pt x="59" y="161"/>
                    </a:lnTo>
                    <a:lnTo>
                      <a:pt x="54" y="163"/>
                    </a:lnTo>
                    <a:lnTo>
                      <a:pt x="49" y="161"/>
                    </a:lnTo>
                    <a:lnTo>
                      <a:pt x="45" y="161"/>
                    </a:lnTo>
                    <a:lnTo>
                      <a:pt x="38" y="163"/>
                    </a:lnTo>
                    <a:lnTo>
                      <a:pt x="37" y="170"/>
                    </a:lnTo>
                    <a:lnTo>
                      <a:pt x="30" y="170"/>
                    </a:lnTo>
                    <a:lnTo>
                      <a:pt x="24" y="170"/>
                    </a:lnTo>
                    <a:lnTo>
                      <a:pt x="23" y="173"/>
                    </a:lnTo>
                    <a:lnTo>
                      <a:pt x="19" y="173"/>
                    </a:lnTo>
                    <a:lnTo>
                      <a:pt x="19" y="170"/>
                    </a:lnTo>
                    <a:lnTo>
                      <a:pt x="21" y="165"/>
                    </a:lnTo>
                    <a:lnTo>
                      <a:pt x="26" y="160"/>
                    </a:lnTo>
                    <a:lnTo>
                      <a:pt x="31" y="153"/>
                    </a:lnTo>
                    <a:lnTo>
                      <a:pt x="37" y="151"/>
                    </a:lnTo>
                    <a:lnTo>
                      <a:pt x="47" y="149"/>
                    </a:lnTo>
                    <a:lnTo>
                      <a:pt x="54" y="144"/>
                    </a:lnTo>
                    <a:lnTo>
                      <a:pt x="52" y="142"/>
                    </a:lnTo>
                    <a:lnTo>
                      <a:pt x="52" y="141"/>
                    </a:lnTo>
                    <a:lnTo>
                      <a:pt x="47" y="144"/>
                    </a:lnTo>
                    <a:lnTo>
                      <a:pt x="43" y="146"/>
                    </a:lnTo>
                    <a:lnTo>
                      <a:pt x="35" y="142"/>
                    </a:lnTo>
                    <a:lnTo>
                      <a:pt x="30" y="141"/>
                    </a:lnTo>
                    <a:lnTo>
                      <a:pt x="26" y="141"/>
                    </a:lnTo>
                    <a:lnTo>
                      <a:pt x="24" y="142"/>
                    </a:lnTo>
                    <a:lnTo>
                      <a:pt x="21" y="141"/>
                    </a:lnTo>
                    <a:lnTo>
                      <a:pt x="23" y="134"/>
                    </a:lnTo>
                    <a:lnTo>
                      <a:pt x="28" y="132"/>
                    </a:lnTo>
                    <a:lnTo>
                      <a:pt x="33" y="129"/>
                    </a:lnTo>
                    <a:lnTo>
                      <a:pt x="37" y="125"/>
                    </a:lnTo>
                    <a:lnTo>
                      <a:pt x="33" y="117"/>
                    </a:lnTo>
                    <a:lnTo>
                      <a:pt x="31" y="110"/>
                    </a:lnTo>
                    <a:lnTo>
                      <a:pt x="45" y="106"/>
                    </a:lnTo>
                    <a:lnTo>
                      <a:pt x="55" y="101"/>
                    </a:lnTo>
                    <a:lnTo>
                      <a:pt x="55" y="93"/>
                    </a:lnTo>
                    <a:lnTo>
                      <a:pt x="45" y="91"/>
                    </a:lnTo>
                    <a:lnTo>
                      <a:pt x="42" y="87"/>
                    </a:lnTo>
                    <a:lnTo>
                      <a:pt x="43" y="82"/>
                    </a:lnTo>
                    <a:lnTo>
                      <a:pt x="47" y="81"/>
                    </a:lnTo>
                    <a:lnTo>
                      <a:pt x="43" y="79"/>
                    </a:lnTo>
                    <a:lnTo>
                      <a:pt x="42" y="79"/>
                    </a:lnTo>
                    <a:lnTo>
                      <a:pt x="35" y="81"/>
                    </a:lnTo>
                    <a:lnTo>
                      <a:pt x="30" y="82"/>
                    </a:lnTo>
                    <a:lnTo>
                      <a:pt x="23" y="81"/>
                    </a:lnTo>
                    <a:lnTo>
                      <a:pt x="21" y="79"/>
                    </a:lnTo>
                    <a:lnTo>
                      <a:pt x="23" y="72"/>
                    </a:lnTo>
                    <a:lnTo>
                      <a:pt x="26" y="67"/>
                    </a:lnTo>
                    <a:lnTo>
                      <a:pt x="24" y="62"/>
                    </a:lnTo>
                    <a:lnTo>
                      <a:pt x="26" y="58"/>
                    </a:lnTo>
                    <a:lnTo>
                      <a:pt x="21" y="56"/>
                    </a:lnTo>
                    <a:lnTo>
                      <a:pt x="18" y="55"/>
                    </a:lnTo>
                    <a:lnTo>
                      <a:pt x="16" y="60"/>
                    </a:lnTo>
                    <a:lnTo>
                      <a:pt x="18" y="63"/>
                    </a:lnTo>
                    <a:lnTo>
                      <a:pt x="14" y="63"/>
                    </a:lnTo>
                    <a:lnTo>
                      <a:pt x="14" y="56"/>
                    </a:lnTo>
                    <a:lnTo>
                      <a:pt x="14" y="55"/>
                    </a:lnTo>
                    <a:lnTo>
                      <a:pt x="14" y="51"/>
                    </a:lnTo>
                    <a:lnTo>
                      <a:pt x="16" y="51"/>
                    </a:lnTo>
                    <a:lnTo>
                      <a:pt x="16" y="46"/>
                    </a:lnTo>
                    <a:lnTo>
                      <a:pt x="11" y="44"/>
                    </a:lnTo>
                    <a:lnTo>
                      <a:pt x="9" y="43"/>
                    </a:lnTo>
                    <a:lnTo>
                      <a:pt x="11" y="38"/>
                    </a:lnTo>
                    <a:lnTo>
                      <a:pt x="12" y="36"/>
                    </a:lnTo>
                    <a:lnTo>
                      <a:pt x="12" y="32"/>
                    </a:lnTo>
                    <a:lnTo>
                      <a:pt x="2" y="29"/>
                    </a:lnTo>
                    <a:lnTo>
                      <a:pt x="0" y="22"/>
                    </a:lnTo>
                    <a:lnTo>
                      <a:pt x="9" y="22"/>
                    </a:lnTo>
                    <a:lnTo>
                      <a:pt x="9" y="26"/>
                    </a:lnTo>
                    <a:lnTo>
                      <a:pt x="12" y="27"/>
                    </a:lnTo>
                    <a:lnTo>
                      <a:pt x="12" y="26"/>
                    </a:lnTo>
                    <a:lnTo>
                      <a:pt x="14" y="24"/>
                    </a:lnTo>
                    <a:lnTo>
                      <a:pt x="11" y="22"/>
                    </a:lnTo>
                    <a:lnTo>
                      <a:pt x="11" y="20"/>
                    </a:lnTo>
                    <a:lnTo>
                      <a:pt x="12" y="15"/>
                    </a:lnTo>
                    <a:lnTo>
                      <a:pt x="19" y="15"/>
                    </a:lnTo>
                    <a:lnTo>
                      <a:pt x="19" y="8"/>
                    </a:lnTo>
                    <a:lnTo>
                      <a:pt x="21" y="7"/>
                    </a:lnTo>
                    <a:lnTo>
                      <a:pt x="23" y="1"/>
                    </a:lnTo>
                    <a:lnTo>
                      <a:pt x="30" y="0"/>
                    </a:lnTo>
                    <a:lnTo>
                      <a:pt x="37" y="0"/>
                    </a:lnTo>
                    <a:lnTo>
                      <a:pt x="43" y="0"/>
                    </a:lnTo>
                    <a:lnTo>
                      <a:pt x="45" y="1"/>
                    </a:lnTo>
                    <a:lnTo>
                      <a:pt x="49" y="3"/>
                    </a:lnTo>
                    <a:lnTo>
                      <a:pt x="42" y="10"/>
                    </a:lnTo>
                    <a:lnTo>
                      <a:pt x="37" y="17"/>
                    </a:lnTo>
                    <a:lnTo>
                      <a:pt x="37" y="19"/>
                    </a:lnTo>
                    <a:lnTo>
                      <a:pt x="38" y="20"/>
                    </a:lnTo>
                    <a:lnTo>
                      <a:pt x="67" y="20"/>
                    </a:lnTo>
                    <a:lnTo>
                      <a:pt x="64" y="29"/>
                    </a:lnTo>
                    <a:lnTo>
                      <a:pt x="61" y="38"/>
                    </a:lnTo>
                    <a:lnTo>
                      <a:pt x="55" y="43"/>
                    </a:lnTo>
                    <a:lnTo>
                      <a:pt x="54" y="51"/>
                    </a:lnTo>
                    <a:lnTo>
                      <a:pt x="50" y="53"/>
                    </a:lnTo>
                    <a:lnTo>
                      <a:pt x="50" y="56"/>
                    </a:lnTo>
                    <a:lnTo>
                      <a:pt x="55" y="56"/>
                    </a:lnTo>
                    <a:lnTo>
                      <a:pt x="61" y="56"/>
                    </a:lnTo>
                    <a:lnTo>
                      <a:pt x="69" y="65"/>
                    </a:lnTo>
                    <a:lnTo>
                      <a:pt x="76" y="79"/>
                    </a:lnTo>
                    <a:lnTo>
                      <a:pt x="81" y="82"/>
                    </a:lnTo>
                    <a:lnTo>
                      <a:pt x="88" y="87"/>
                    </a:lnTo>
                    <a:lnTo>
                      <a:pt x="93" y="93"/>
                    </a:lnTo>
                    <a:lnTo>
                      <a:pt x="97" y="101"/>
                    </a:lnTo>
                    <a:lnTo>
                      <a:pt x="98" y="106"/>
                    </a:lnTo>
                    <a:lnTo>
                      <a:pt x="102" y="113"/>
                    </a:lnTo>
                    <a:lnTo>
                      <a:pt x="100" y="113"/>
                    </a:lnTo>
                    <a:lnTo>
                      <a:pt x="100" y="117"/>
                    </a:lnTo>
                    <a:lnTo>
                      <a:pt x="100" y="120"/>
                    </a:lnTo>
                    <a:lnTo>
                      <a:pt x="102" y="117"/>
                    </a:lnTo>
                    <a:lnTo>
                      <a:pt x="105" y="117"/>
                    </a:lnTo>
                    <a:lnTo>
                      <a:pt x="104"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36" name="Freeform 280"/>
              <p:cNvSpPr>
                <a:spLocks/>
              </p:cNvSpPr>
              <p:nvPr/>
            </p:nvSpPr>
            <p:spPr bwMode="auto">
              <a:xfrm>
                <a:off x="4206082" y="2628900"/>
                <a:ext cx="7938" cy="11112"/>
              </a:xfrm>
              <a:custGeom>
                <a:avLst/>
                <a:gdLst/>
                <a:ahLst/>
                <a:cxnLst>
                  <a:cxn ang="0">
                    <a:pos x="4" y="0"/>
                  </a:cxn>
                  <a:cxn ang="0">
                    <a:pos x="0" y="2"/>
                  </a:cxn>
                  <a:cxn ang="0">
                    <a:pos x="0" y="7"/>
                  </a:cxn>
                  <a:cxn ang="0">
                    <a:pos x="2" y="7"/>
                  </a:cxn>
                  <a:cxn ang="0">
                    <a:pos x="5" y="7"/>
                  </a:cxn>
                  <a:cxn ang="0">
                    <a:pos x="5" y="2"/>
                  </a:cxn>
                  <a:cxn ang="0">
                    <a:pos x="5" y="0"/>
                  </a:cxn>
                  <a:cxn ang="0">
                    <a:pos x="4" y="0"/>
                  </a:cxn>
                </a:cxnLst>
                <a:rect l="0" t="0" r="r" b="b"/>
                <a:pathLst>
                  <a:path w="5" h="7">
                    <a:moveTo>
                      <a:pt x="4" y="0"/>
                    </a:moveTo>
                    <a:lnTo>
                      <a:pt x="0" y="2"/>
                    </a:lnTo>
                    <a:lnTo>
                      <a:pt x="0" y="7"/>
                    </a:lnTo>
                    <a:lnTo>
                      <a:pt x="2" y="7"/>
                    </a:lnTo>
                    <a:lnTo>
                      <a:pt x="5" y="7"/>
                    </a:lnTo>
                    <a:lnTo>
                      <a:pt x="5" y="2"/>
                    </a:lnTo>
                    <a:lnTo>
                      <a:pt x="5"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37" name="Freeform 282"/>
              <p:cNvSpPr>
                <a:spLocks/>
              </p:cNvSpPr>
              <p:nvPr/>
            </p:nvSpPr>
            <p:spPr bwMode="auto">
              <a:xfrm>
                <a:off x="2374107" y="3482975"/>
                <a:ext cx="238125" cy="82550"/>
              </a:xfrm>
              <a:custGeom>
                <a:avLst/>
                <a:gdLst/>
                <a:ahLst/>
                <a:cxnLst>
                  <a:cxn ang="0">
                    <a:pos x="150" y="47"/>
                  </a:cxn>
                  <a:cxn ang="0">
                    <a:pos x="141" y="50"/>
                  </a:cxn>
                  <a:cxn ang="0">
                    <a:pos x="131" y="52"/>
                  </a:cxn>
                  <a:cxn ang="0">
                    <a:pos x="115" y="50"/>
                  </a:cxn>
                  <a:cxn ang="0">
                    <a:pos x="102" y="48"/>
                  </a:cxn>
                  <a:cxn ang="0">
                    <a:pos x="102" y="47"/>
                  </a:cxn>
                  <a:cxn ang="0">
                    <a:pos x="105" y="45"/>
                  </a:cxn>
                  <a:cxn ang="0">
                    <a:pos x="107" y="42"/>
                  </a:cxn>
                  <a:cxn ang="0">
                    <a:pos x="95" y="36"/>
                  </a:cxn>
                  <a:cxn ang="0">
                    <a:pos x="90" y="31"/>
                  </a:cxn>
                  <a:cxn ang="0">
                    <a:pos x="86" y="28"/>
                  </a:cxn>
                  <a:cxn ang="0">
                    <a:pos x="84" y="26"/>
                  </a:cxn>
                  <a:cxn ang="0">
                    <a:pos x="79" y="24"/>
                  </a:cxn>
                  <a:cxn ang="0">
                    <a:pos x="74" y="26"/>
                  </a:cxn>
                  <a:cxn ang="0">
                    <a:pos x="64" y="21"/>
                  </a:cxn>
                  <a:cxn ang="0">
                    <a:pos x="55" y="18"/>
                  </a:cxn>
                  <a:cxn ang="0">
                    <a:pos x="41" y="18"/>
                  </a:cxn>
                  <a:cxn ang="0">
                    <a:pos x="38" y="14"/>
                  </a:cxn>
                  <a:cxn ang="0">
                    <a:pos x="40" y="12"/>
                  </a:cxn>
                  <a:cxn ang="0">
                    <a:pos x="36" y="11"/>
                  </a:cxn>
                  <a:cxn ang="0">
                    <a:pos x="33" y="11"/>
                  </a:cxn>
                  <a:cxn ang="0">
                    <a:pos x="16" y="14"/>
                  </a:cxn>
                  <a:cxn ang="0">
                    <a:pos x="5" y="23"/>
                  </a:cxn>
                  <a:cxn ang="0">
                    <a:pos x="0" y="23"/>
                  </a:cxn>
                  <a:cxn ang="0">
                    <a:pos x="5" y="12"/>
                  </a:cxn>
                  <a:cxn ang="0">
                    <a:pos x="16" y="5"/>
                  </a:cxn>
                  <a:cxn ang="0">
                    <a:pos x="26" y="0"/>
                  </a:cxn>
                  <a:cxn ang="0">
                    <a:pos x="41" y="0"/>
                  </a:cxn>
                  <a:cxn ang="0">
                    <a:pos x="55" y="2"/>
                  </a:cxn>
                  <a:cxn ang="0">
                    <a:pos x="67" y="7"/>
                  </a:cxn>
                  <a:cxn ang="0">
                    <a:pos x="79" y="11"/>
                  </a:cxn>
                  <a:cxn ang="0">
                    <a:pos x="91" y="14"/>
                  </a:cxn>
                  <a:cxn ang="0">
                    <a:pos x="95" y="16"/>
                  </a:cxn>
                  <a:cxn ang="0">
                    <a:pos x="100" y="19"/>
                  </a:cxn>
                  <a:cxn ang="0">
                    <a:pos x="112" y="28"/>
                  </a:cxn>
                  <a:cxn ang="0">
                    <a:pos x="131" y="33"/>
                  </a:cxn>
                  <a:cxn ang="0">
                    <a:pos x="131" y="36"/>
                  </a:cxn>
                  <a:cxn ang="0">
                    <a:pos x="139" y="36"/>
                  </a:cxn>
                  <a:cxn ang="0">
                    <a:pos x="145" y="42"/>
                  </a:cxn>
                  <a:cxn ang="0">
                    <a:pos x="150" y="47"/>
                  </a:cxn>
                </a:cxnLst>
                <a:rect l="0" t="0" r="r" b="b"/>
                <a:pathLst>
                  <a:path w="150" h="52">
                    <a:moveTo>
                      <a:pt x="150" y="47"/>
                    </a:moveTo>
                    <a:lnTo>
                      <a:pt x="141" y="50"/>
                    </a:lnTo>
                    <a:lnTo>
                      <a:pt x="131" y="52"/>
                    </a:lnTo>
                    <a:lnTo>
                      <a:pt x="115" y="50"/>
                    </a:lnTo>
                    <a:lnTo>
                      <a:pt x="102" y="48"/>
                    </a:lnTo>
                    <a:lnTo>
                      <a:pt x="102" y="47"/>
                    </a:lnTo>
                    <a:lnTo>
                      <a:pt x="105" y="45"/>
                    </a:lnTo>
                    <a:lnTo>
                      <a:pt x="107" y="42"/>
                    </a:lnTo>
                    <a:lnTo>
                      <a:pt x="95" y="36"/>
                    </a:lnTo>
                    <a:lnTo>
                      <a:pt x="90" y="31"/>
                    </a:lnTo>
                    <a:lnTo>
                      <a:pt x="86" y="28"/>
                    </a:lnTo>
                    <a:lnTo>
                      <a:pt x="84" y="26"/>
                    </a:lnTo>
                    <a:lnTo>
                      <a:pt x="79" y="24"/>
                    </a:lnTo>
                    <a:lnTo>
                      <a:pt x="74" y="26"/>
                    </a:lnTo>
                    <a:lnTo>
                      <a:pt x="64" y="21"/>
                    </a:lnTo>
                    <a:lnTo>
                      <a:pt x="55" y="18"/>
                    </a:lnTo>
                    <a:lnTo>
                      <a:pt x="41" y="18"/>
                    </a:lnTo>
                    <a:lnTo>
                      <a:pt x="38" y="14"/>
                    </a:lnTo>
                    <a:lnTo>
                      <a:pt x="40" y="12"/>
                    </a:lnTo>
                    <a:lnTo>
                      <a:pt x="36" y="11"/>
                    </a:lnTo>
                    <a:lnTo>
                      <a:pt x="33" y="11"/>
                    </a:lnTo>
                    <a:lnTo>
                      <a:pt x="16" y="14"/>
                    </a:lnTo>
                    <a:lnTo>
                      <a:pt x="5" y="23"/>
                    </a:lnTo>
                    <a:lnTo>
                      <a:pt x="0" y="23"/>
                    </a:lnTo>
                    <a:lnTo>
                      <a:pt x="5" y="12"/>
                    </a:lnTo>
                    <a:lnTo>
                      <a:pt x="16" y="5"/>
                    </a:lnTo>
                    <a:lnTo>
                      <a:pt x="26" y="0"/>
                    </a:lnTo>
                    <a:lnTo>
                      <a:pt x="41" y="0"/>
                    </a:lnTo>
                    <a:lnTo>
                      <a:pt x="55" y="2"/>
                    </a:lnTo>
                    <a:lnTo>
                      <a:pt x="67" y="7"/>
                    </a:lnTo>
                    <a:lnTo>
                      <a:pt x="79" y="11"/>
                    </a:lnTo>
                    <a:lnTo>
                      <a:pt x="91" y="14"/>
                    </a:lnTo>
                    <a:lnTo>
                      <a:pt x="95" y="16"/>
                    </a:lnTo>
                    <a:lnTo>
                      <a:pt x="100" y="19"/>
                    </a:lnTo>
                    <a:lnTo>
                      <a:pt x="112" y="28"/>
                    </a:lnTo>
                    <a:lnTo>
                      <a:pt x="131" y="33"/>
                    </a:lnTo>
                    <a:lnTo>
                      <a:pt x="131" y="36"/>
                    </a:lnTo>
                    <a:lnTo>
                      <a:pt x="139" y="36"/>
                    </a:lnTo>
                    <a:lnTo>
                      <a:pt x="145" y="42"/>
                    </a:lnTo>
                    <a:lnTo>
                      <a:pt x="150" y="4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38" name="Freeform 283"/>
              <p:cNvSpPr>
                <a:spLocks/>
              </p:cNvSpPr>
              <p:nvPr/>
            </p:nvSpPr>
            <p:spPr bwMode="auto">
              <a:xfrm>
                <a:off x="2407444" y="3516313"/>
                <a:ext cx="11113" cy="11112"/>
              </a:xfrm>
              <a:custGeom>
                <a:avLst/>
                <a:gdLst/>
                <a:ahLst/>
                <a:cxnLst>
                  <a:cxn ang="0">
                    <a:pos x="7" y="0"/>
                  </a:cxn>
                  <a:cxn ang="0">
                    <a:pos x="7" y="3"/>
                  </a:cxn>
                  <a:cxn ang="0">
                    <a:pos x="7" y="7"/>
                  </a:cxn>
                  <a:cxn ang="0">
                    <a:pos x="3" y="7"/>
                  </a:cxn>
                  <a:cxn ang="0">
                    <a:pos x="0" y="7"/>
                  </a:cxn>
                  <a:cxn ang="0">
                    <a:pos x="1" y="3"/>
                  </a:cxn>
                  <a:cxn ang="0">
                    <a:pos x="5" y="3"/>
                  </a:cxn>
                  <a:cxn ang="0">
                    <a:pos x="5" y="0"/>
                  </a:cxn>
                  <a:cxn ang="0">
                    <a:pos x="5" y="0"/>
                  </a:cxn>
                  <a:cxn ang="0">
                    <a:pos x="7" y="0"/>
                  </a:cxn>
                </a:cxnLst>
                <a:rect l="0" t="0" r="r" b="b"/>
                <a:pathLst>
                  <a:path w="7" h="7">
                    <a:moveTo>
                      <a:pt x="7" y="0"/>
                    </a:moveTo>
                    <a:lnTo>
                      <a:pt x="7" y="3"/>
                    </a:lnTo>
                    <a:lnTo>
                      <a:pt x="7" y="7"/>
                    </a:lnTo>
                    <a:lnTo>
                      <a:pt x="3" y="7"/>
                    </a:lnTo>
                    <a:lnTo>
                      <a:pt x="0" y="7"/>
                    </a:lnTo>
                    <a:lnTo>
                      <a:pt x="1" y="3"/>
                    </a:lnTo>
                    <a:lnTo>
                      <a:pt x="5" y="3"/>
                    </a:lnTo>
                    <a:lnTo>
                      <a:pt x="5" y="0"/>
                    </a:lnTo>
                    <a:lnTo>
                      <a:pt x="5" y="0"/>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39" name="Freeform 284"/>
              <p:cNvSpPr>
                <a:spLocks/>
              </p:cNvSpPr>
              <p:nvPr/>
            </p:nvSpPr>
            <p:spPr bwMode="auto">
              <a:xfrm>
                <a:off x="2526507" y="3595688"/>
                <a:ext cx="39688" cy="19050"/>
              </a:xfrm>
              <a:custGeom>
                <a:avLst/>
                <a:gdLst/>
                <a:ahLst/>
                <a:cxnLst>
                  <a:cxn ang="0">
                    <a:pos x="21" y="3"/>
                  </a:cxn>
                  <a:cxn ang="0">
                    <a:pos x="23" y="5"/>
                  </a:cxn>
                  <a:cxn ang="0">
                    <a:pos x="25" y="8"/>
                  </a:cxn>
                  <a:cxn ang="0">
                    <a:pos x="16" y="10"/>
                  </a:cxn>
                  <a:cxn ang="0">
                    <a:pos x="9" y="12"/>
                  </a:cxn>
                  <a:cxn ang="0">
                    <a:pos x="2" y="8"/>
                  </a:cxn>
                  <a:cxn ang="0">
                    <a:pos x="0" y="3"/>
                  </a:cxn>
                  <a:cxn ang="0">
                    <a:pos x="2" y="0"/>
                  </a:cxn>
                  <a:cxn ang="0">
                    <a:pos x="6" y="0"/>
                  </a:cxn>
                  <a:cxn ang="0">
                    <a:pos x="14" y="2"/>
                  </a:cxn>
                  <a:cxn ang="0">
                    <a:pos x="21" y="5"/>
                  </a:cxn>
                  <a:cxn ang="0">
                    <a:pos x="21" y="3"/>
                  </a:cxn>
                </a:cxnLst>
                <a:rect l="0" t="0" r="r" b="b"/>
                <a:pathLst>
                  <a:path w="25" h="12">
                    <a:moveTo>
                      <a:pt x="21" y="3"/>
                    </a:moveTo>
                    <a:lnTo>
                      <a:pt x="23" y="5"/>
                    </a:lnTo>
                    <a:lnTo>
                      <a:pt x="25" y="8"/>
                    </a:lnTo>
                    <a:lnTo>
                      <a:pt x="16" y="10"/>
                    </a:lnTo>
                    <a:lnTo>
                      <a:pt x="9" y="12"/>
                    </a:lnTo>
                    <a:lnTo>
                      <a:pt x="2" y="8"/>
                    </a:lnTo>
                    <a:lnTo>
                      <a:pt x="0" y="3"/>
                    </a:lnTo>
                    <a:lnTo>
                      <a:pt x="2" y="0"/>
                    </a:lnTo>
                    <a:lnTo>
                      <a:pt x="6" y="0"/>
                    </a:lnTo>
                    <a:lnTo>
                      <a:pt x="14" y="2"/>
                    </a:lnTo>
                    <a:lnTo>
                      <a:pt x="21" y="5"/>
                    </a:lnTo>
                    <a:lnTo>
                      <a:pt x="21"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40" name="Freeform 285"/>
              <p:cNvSpPr>
                <a:spLocks/>
              </p:cNvSpPr>
              <p:nvPr/>
            </p:nvSpPr>
            <p:spPr bwMode="auto">
              <a:xfrm>
                <a:off x="2780507" y="3595688"/>
                <a:ext cx="33338" cy="12700"/>
              </a:xfrm>
              <a:custGeom>
                <a:avLst/>
                <a:gdLst/>
                <a:ahLst/>
                <a:cxnLst>
                  <a:cxn ang="0">
                    <a:pos x="21" y="5"/>
                  </a:cxn>
                  <a:cxn ang="0">
                    <a:pos x="16" y="7"/>
                  </a:cxn>
                  <a:cxn ang="0">
                    <a:pos x="12" y="8"/>
                  </a:cxn>
                  <a:cxn ang="0">
                    <a:pos x="4" y="7"/>
                  </a:cxn>
                  <a:cxn ang="0">
                    <a:pos x="0" y="3"/>
                  </a:cxn>
                  <a:cxn ang="0">
                    <a:pos x="2" y="0"/>
                  </a:cxn>
                  <a:cxn ang="0">
                    <a:pos x="6" y="0"/>
                  </a:cxn>
                  <a:cxn ang="0">
                    <a:pos x="12" y="0"/>
                  </a:cxn>
                  <a:cxn ang="0">
                    <a:pos x="21" y="5"/>
                  </a:cxn>
                </a:cxnLst>
                <a:rect l="0" t="0" r="r" b="b"/>
                <a:pathLst>
                  <a:path w="21" h="8">
                    <a:moveTo>
                      <a:pt x="21" y="5"/>
                    </a:moveTo>
                    <a:lnTo>
                      <a:pt x="16" y="7"/>
                    </a:lnTo>
                    <a:lnTo>
                      <a:pt x="12" y="8"/>
                    </a:lnTo>
                    <a:lnTo>
                      <a:pt x="4" y="7"/>
                    </a:lnTo>
                    <a:lnTo>
                      <a:pt x="0" y="3"/>
                    </a:lnTo>
                    <a:lnTo>
                      <a:pt x="2" y="0"/>
                    </a:lnTo>
                    <a:lnTo>
                      <a:pt x="6" y="0"/>
                    </a:lnTo>
                    <a:lnTo>
                      <a:pt x="12" y="0"/>
                    </a:lnTo>
                    <a:lnTo>
                      <a:pt x="21"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41" name="Freeform 286"/>
              <p:cNvSpPr>
                <a:spLocks/>
              </p:cNvSpPr>
              <p:nvPr/>
            </p:nvSpPr>
            <p:spPr bwMode="auto">
              <a:xfrm>
                <a:off x="2613819" y="3559175"/>
                <a:ext cx="136525" cy="55562"/>
              </a:xfrm>
              <a:custGeom>
                <a:avLst/>
                <a:gdLst/>
                <a:ahLst/>
                <a:cxnLst>
                  <a:cxn ang="0">
                    <a:pos x="73" y="14"/>
                  </a:cxn>
                  <a:cxn ang="0">
                    <a:pos x="80" y="18"/>
                  </a:cxn>
                  <a:cxn ang="0">
                    <a:pos x="86" y="25"/>
                  </a:cxn>
                  <a:cxn ang="0">
                    <a:pos x="68" y="25"/>
                  </a:cxn>
                  <a:cxn ang="0">
                    <a:pos x="62" y="28"/>
                  </a:cxn>
                  <a:cxn ang="0">
                    <a:pos x="59" y="30"/>
                  </a:cxn>
                  <a:cxn ang="0">
                    <a:pos x="56" y="28"/>
                  </a:cxn>
                  <a:cxn ang="0">
                    <a:pos x="54" y="26"/>
                  </a:cxn>
                  <a:cxn ang="0">
                    <a:pos x="47" y="30"/>
                  </a:cxn>
                  <a:cxn ang="0">
                    <a:pos x="42" y="35"/>
                  </a:cxn>
                  <a:cxn ang="0">
                    <a:pos x="38" y="31"/>
                  </a:cxn>
                  <a:cxn ang="0">
                    <a:pos x="37" y="30"/>
                  </a:cxn>
                  <a:cxn ang="0">
                    <a:pos x="25" y="26"/>
                  </a:cxn>
                  <a:cxn ang="0">
                    <a:pos x="13" y="28"/>
                  </a:cxn>
                  <a:cxn ang="0">
                    <a:pos x="9" y="28"/>
                  </a:cxn>
                  <a:cxn ang="0">
                    <a:pos x="7" y="28"/>
                  </a:cxn>
                  <a:cxn ang="0">
                    <a:pos x="7" y="30"/>
                  </a:cxn>
                  <a:cxn ang="0">
                    <a:pos x="7" y="31"/>
                  </a:cxn>
                  <a:cxn ang="0">
                    <a:pos x="2" y="28"/>
                  </a:cxn>
                  <a:cxn ang="0">
                    <a:pos x="0" y="23"/>
                  </a:cxn>
                  <a:cxn ang="0">
                    <a:pos x="2" y="21"/>
                  </a:cxn>
                  <a:cxn ang="0">
                    <a:pos x="4" y="21"/>
                  </a:cxn>
                  <a:cxn ang="0">
                    <a:pos x="16" y="21"/>
                  </a:cxn>
                  <a:cxn ang="0">
                    <a:pos x="26" y="21"/>
                  </a:cxn>
                  <a:cxn ang="0">
                    <a:pos x="23" y="16"/>
                  </a:cxn>
                  <a:cxn ang="0">
                    <a:pos x="23" y="11"/>
                  </a:cxn>
                  <a:cxn ang="0">
                    <a:pos x="18" y="7"/>
                  </a:cxn>
                  <a:cxn ang="0">
                    <a:pos x="16" y="4"/>
                  </a:cxn>
                  <a:cxn ang="0">
                    <a:pos x="18" y="2"/>
                  </a:cxn>
                  <a:cxn ang="0">
                    <a:pos x="19" y="0"/>
                  </a:cxn>
                  <a:cxn ang="0">
                    <a:pos x="25" y="2"/>
                  </a:cxn>
                  <a:cxn ang="0">
                    <a:pos x="31" y="4"/>
                  </a:cxn>
                  <a:cxn ang="0">
                    <a:pos x="38" y="2"/>
                  </a:cxn>
                  <a:cxn ang="0">
                    <a:pos x="47" y="2"/>
                  </a:cxn>
                  <a:cxn ang="0">
                    <a:pos x="57" y="2"/>
                  </a:cxn>
                  <a:cxn ang="0">
                    <a:pos x="64" y="6"/>
                  </a:cxn>
                  <a:cxn ang="0">
                    <a:pos x="69" y="11"/>
                  </a:cxn>
                  <a:cxn ang="0">
                    <a:pos x="76" y="16"/>
                  </a:cxn>
                  <a:cxn ang="0">
                    <a:pos x="73" y="14"/>
                  </a:cxn>
                </a:cxnLst>
                <a:rect l="0" t="0" r="r" b="b"/>
                <a:pathLst>
                  <a:path w="86" h="35">
                    <a:moveTo>
                      <a:pt x="73" y="14"/>
                    </a:moveTo>
                    <a:lnTo>
                      <a:pt x="80" y="18"/>
                    </a:lnTo>
                    <a:lnTo>
                      <a:pt x="86" y="25"/>
                    </a:lnTo>
                    <a:lnTo>
                      <a:pt x="68" y="25"/>
                    </a:lnTo>
                    <a:lnTo>
                      <a:pt x="62" y="28"/>
                    </a:lnTo>
                    <a:lnTo>
                      <a:pt x="59" y="30"/>
                    </a:lnTo>
                    <a:lnTo>
                      <a:pt x="56" y="28"/>
                    </a:lnTo>
                    <a:lnTo>
                      <a:pt x="54" y="26"/>
                    </a:lnTo>
                    <a:lnTo>
                      <a:pt x="47" y="30"/>
                    </a:lnTo>
                    <a:lnTo>
                      <a:pt x="42" y="35"/>
                    </a:lnTo>
                    <a:lnTo>
                      <a:pt x="38" y="31"/>
                    </a:lnTo>
                    <a:lnTo>
                      <a:pt x="37" y="30"/>
                    </a:lnTo>
                    <a:lnTo>
                      <a:pt x="25" y="26"/>
                    </a:lnTo>
                    <a:lnTo>
                      <a:pt x="13" y="28"/>
                    </a:lnTo>
                    <a:lnTo>
                      <a:pt x="9" y="28"/>
                    </a:lnTo>
                    <a:lnTo>
                      <a:pt x="7" y="28"/>
                    </a:lnTo>
                    <a:lnTo>
                      <a:pt x="7" y="30"/>
                    </a:lnTo>
                    <a:lnTo>
                      <a:pt x="7" y="31"/>
                    </a:lnTo>
                    <a:lnTo>
                      <a:pt x="2" y="28"/>
                    </a:lnTo>
                    <a:lnTo>
                      <a:pt x="0" y="23"/>
                    </a:lnTo>
                    <a:lnTo>
                      <a:pt x="2" y="21"/>
                    </a:lnTo>
                    <a:lnTo>
                      <a:pt x="4" y="21"/>
                    </a:lnTo>
                    <a:lnTo>
                      <a:pt x="16" y="21"/>
                    </a:lnTo>
                    <a:lnTo>
                      <a:pt x="26" y="21"/>
                    </a:lnTo>
                    <a:lnTo>
                      <a:pt x="23" y="16"/>
                    </a:lnTo>
                    <a:lnTo>
                      <a:pt x="23" y="11"/>
                    </a:lnTo>
                    <a:lnTo>
                      <a:pt x="18" y="7"/>
                    </a:lnTo>
                    <a:lnTo>
                      <a:pt x="16" y="4"/>
                    </a:lnTo>
                    <a:lnTo>
                      <a:pt x="18" y="2"/>
                    </a:lnTo>
                    <a:lnTo>
                      <a:pt x="19" y="0"/>
                    </a:lnTo>
                    <a:lnTo>
                      <a:pt x="25" y="2"/>
                    </a:lnTo>
                    <a:lnTo>
                      <a:pt x="31" y="4"/>
                    </a:lnTo>
                    <a:lnTo>
                      <a:pt x="38" y="2"/>
                    </a:lnTo>
                    <a:lnTo>
                      <a:pt x="47" y="2"/>
                    </a:lnTo>
                    <a:lnTo>
                      <a:pt x="57" y="2"/>
                    </a:lnTo>
                    <a:lnTo>
                      <a:pt x="64" y="6"/>
                    </a:lnTo>
                    <a:lnTo>
                      <a:pt x="69" y="11"/>
                    </a:lnTo>
                    <a:lnTo>
                      <a:pt x="76" y="16"/>
                    </a:lnTo>
                    <a:lnTo>
                      <a:pt x="73"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42" name="Freeform 287"/>
              <p:cNvSpPr>
                <a:spLocks/>
              </p:cNvSpPr>
              <p:nvPr/>
            </p:nvSpPr>
            <p:spPr bwMode="auto">
              <a:xfrm>
                <a:off x="2907507" y="3781425"/>
                <a:ext cx="15875" cy="15875"/>
              </a:xfrm>
              <a:custGeom>
                <a:avLst/>
                <a:gdLst/>
                <a:ahLst/>
                <a:cxnLst>
                  <a:cxn ang="0">
                    <a:pos x="10" y="3"/>
                  </a:cxn>
                  <a:cxn ang="0">
                    <a:pos x="10" y="0"/>
                  </a:cxn>
                  <a:cxn ang="0">
                    <a:pos x="6" y="0"/>
                  </a:cxn>
                  <a:cxn ang="0">
                    <a:pos x="5" y="0"/>
                  </a:cxn>
                  <a:cxn ang="0">
                    <a:pos x="0" y="1"/>
                  </a:cxn>
                  <a:cxn ang="0">
                    <a:pos x="0" y="10"/>
                  </a:cxn>
                  <a:cxn ang="0">
                    <a:pos x="3" y="10"/>
                  </a:cxn>
                  <a:cxn ang="0">
                    <a:pos x="6" y="7"/>
                  </a:cxn>
                  <a:cxn ang="0">
                    <a:pos x="10" y="3"/>
                  </a:cxn>
                </a:cxnLst>
                <a:rect l="0" t="0" r="r" b="b"/>
                <a:pathLst>
                  <a:path w="10" h="10">
                    <a:moveTo>
                      <a:pt x="10" y="3"/>
                    </a:moveTo>
                    <a:lnTo>
                      <a:pt x="10" y="0"/>
                    </a:lnTo>
                    <a:lnTo>
                      <a:pt x="6" y="0"/>
                    </a:lnTo>
                    <a:lnTo>
                      <a:pt x="5" y="0"/>
                    </a:lnTo>
                    <a:lnTo>
                      <a:pt x="0" y="1"/>
                    </a:lnTo>
                    <a:lnTo>
                      <a:pt x="0" y="10"/>
                    </a:lnTo>
                    <a:lnTo>
                      <a:pt x="3" y="10"/>
                    </a:lnTo>
                    <a:lnTo>
                      <a:pt x="6" y="7"/>
                    </a:lnTo>
                    <a:lnTo>
                      <a:pt x="10"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43" name="Freeform 288"/>
              <p:cNvSpPr>
                <a:spLocks/>
              </p:cNvSpPr>
              <p:nvPr/>
            </p:nvSpPr>
            <p:spPr bwMode="auto">
              <a:xfrm>
                <a:off x="3155157" y="4024313"/>
                <a:ext cx="53975" cy="41275"/>
              </a:xfrm>
              <a:custGeom>
                <a:avLst/>
                <a:gdLst/>
                <a:ahLst/>
                <a:cxnLst>
                  <a:cxn ang="0">
                    <a:pos x="14" y="0"/>
                  </a:cxn>
                  <a:cxn ang="0">
                    <a:pos x="17" y="2"/>
                  </a:cxn>
                  <a:cxn ang="0">
                    <a:pos x="24" y="5"/>
                  </a:cxn>
                  <a:cxn ang="0">
                    <a:pos x="26" y="7"/>
                  </a:cxn>
                  <a:cxn ang="0">
                    <a:pos x="31" y="5"/>
                  </a:cxn>
                  <a:cxn ang="0">
                    <a:pos x="33" y="7"/>
                  </a:cxn>
                  <a:cxn ang="0">
                    <a:pos x="34" y="10"/>
                  </a:cxn>
                  <a:cxn ang="0">
                    <a:pos x="29" y="19"/>
                  </a:cxn>
                  <a:cxn ang="0">
                    <a:pos x="21" y="26"/>
                  </a:cxn>
                  <a:cxn ang="0">
                    <a:pos x="14" y="22"/>
                  </a:cxn>
                  <a:cxn ang="0">
                    <a:pos x="7" y="20"/>
                  </a:cxn>
                  <a:cxn ang="0">
                    <a:pos x="2" y="15"/>
                  </a:cxn>
                  <a:cxn ang="0">
                    <a:pos x="0" y="12"/>
                  </a:cxn>
                  <a:cxn ang="0">
                    <a:pos x="2" y="3"/>
                  </a:cxn>
                  <a:cxn ang="0">
                    <a:pos x="10" y="0"/>
                  </a:cxn>
                  <a:cxn ang="0">
                    <a:pos x="12" y="0"/>
                  </a:cxn>
                  <a:cxn ang="0">
                    <a:pos x="14" y="0"/>
                  </a:cxn>
                </a:cxnLst>
                <a:rect l="0" t="0" r="r" b="b"/>
                <a:pathLst>
                  <a:path w="34" h="26">
                    <a:moveTo>
                      <a:pt x="14" y="0"/>
                    </a:moveTo>
                    <a:lnTo>
                      <a:pt x="17" y="2"/>
                    </a:lnTo>
                    <a:lnTo>
                      <a:pt x="24" y="5"/>
                    </a:lnTo>
                    <a:lnTo>
                      <a:pt x="26" y="7"/>
                    </a:lnTo>
                    <a:lnTo>
                      <a:pt x="31" y="5"/>
                    </a:lnTo>
                    <a:lnTo>
                      <a:pt x="33" y="7"/>
                    </a:lnTo>
                    <a:lnTo>
                      <a:pt x="34" y="10"/>
                    </a:lnTo>
                    <a:lnTo>
                      <a:pt x="29" y="19"/>
                    </a:lnTo>
                    <a:lnTo>
                      <a:pt x="21" y="26"/>
                    </a:lnTo>
                    <a:lnTo>
                      <a:pt x="14" y="22"/>
                    </a:lnTo>
                    <a:lnTo>
                      <a:pt x="7" y="20"/>
                    </a:lnTo>
                    <a:lnTo>
                      <a:pt x="2" y="15"/>
                    </a:lnTo>
                    <a:lnTo>
                      <a:pt x="0" y="12"/>
                    </a:lnTo>
                    <a:lnTo>
                      <a:pt x="2" y="3"/>
                    </a:lnTo>
                    <a:lnTo>
                      <a:pt x="10" y="0"/>
                    </a:lnTo>
                    <a:lnTo>
                      <a:pt x="12"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44" name="Freeform 289"/>
              <p:cNvSpPr>
                <a:spLocks/>
              </p:cNvSpPr>
              <p:nvPr/>
            </p:nvSpPr>
            <p:spPr bwMode="auto">
              <a:xfrm>
                <a:off x="2961482" y="5340350"/>
                <a:ext cx="38100" cy="23812"/>
              </a:xfrm>
              <a:custGeom>
                <a:avLst/>
                <a:gdLst/>
                <a:ahLst/>
                <a:cxnLst>
                  <a:cxn ang="0">
                    <a:pos x="5" y="3"/>
                  </a:cxn>
                  <a:cxn ang="0">
                    <a:pos x="8" y="1"/>
                  </a:cxn>
                  <a:cxn ang="0">
                    <a:pos x="14" y="0"/>
                  </a:cxn>
                  <a:cxn ang="0">
                    <a:pos x="19" y="0"/>
                  </a:cxn>
                  <a:cxn ang="0">
                    <a:pos x="24" y="0"/>
                  </a:cxn>
                  <a:cxn ang="0">
                    <a:pos x="24" y="1"/>
                  </a:cxn>
                  <a:cxn ang="0">
                    <a:pos x="24" y="3"/>
                  </a:cxn>
                  <a:cxn ang="0">
                    <a:pos x="19" y="8"/>
                  </a:cxn>
                  <a:cxn ang="0">
                    <a:pos x="10" y="10"/>
                  </a:cxn>
                  <a:cxn ang="0">
                    <a:pos x="7" y="13"/>
                  </a:cxn>
                  <a:cxn ang="0">
                    <a:pos x="3" y="15"/>
                  </a:cxn>
                  <a:cxn ang="0">
                    <a:pos x="2" y="15"/>
                  </a:cxn>
                  <a:cxn ang="0">
                    <a:pos x="0" y="15"/>
                  </a:cxn>
                  <a:cxn ang="0">
                    <a:pos x="0" y="10"/>
                  </a:cxn>
                  <a:cxn ang="0">
                    <a:pos x="2" y="6"/>
                  </a:cxn>
                  <a:cxn ang="0">
                    <a:pos x="5" y="3"/>
                  </a:cxn>
                </a:cxnLst>
                <a:rect l="0" t="0" r="r" b="b"/>
                <a:pathLst>
                  <a:path w="24" h="15">
                    <a:moveTo>
                      <a:pt x="5" y="3"/>
                    </a:moveTo>
                    <a:lnTo>
                      <a:pt x="8" y="1"/>
                    </a:lnTo>
                    <a:lnTo>
                      <a:pt x="14" y="0"/>
                    </a:lnTo>
                    <a:lnTo>
                      <a:pt x="19" y="0"/>
                    </a:lnTo>
                    <a:lnTo>
                      <a:pt x="24" y="0"/>
                    </a:lnTo>
                    <a:lnTo>
                      <a:pt x="24" y="1"/>
                    </a:lnTo>
                    <a:lnTo>
                      <a:pt x="24" y="3"/>
                    </a:lnTo>
                    <a:lnTo>
                      <a:pt x="19" y="8"/>
                    </a:lnTo>
                    <a:lnTo>
                      <a:pt x="10" y="10"/>
                    </a:lnTo>
                    <a:lnTo>
                      <a:pt x="7" y="13"/>
                    </a:lnTo>
                    <a:lnTo>
                      <a:pt x="3" y="15"/>
                    </a:lnTo>
                    <a:lnTo>
                      <a:pt x="2" y="15"/>
                    </a:lnTo>
                    <a:lnTo>
                      <a:pt x="0" y="15"/>
                    </a:lnTo>
                    <a:lnTo>
                      <a:pt x="0" y="10"/>
                    </a:lnTo>
                    <a:lnTo>
                      <a:pt x="2" y="6"/>
                    </a:lnTo>
                    <a:lnTo>
                      <a:pt x="5"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45" name="Freeform 290"/>
              <p:cNvSpPr>
                <a:spLocks/>
              </p:cNvSpPr>
              <p:nvPr/>
            </p:nvSpPr>
            <p:spPr bwMode="auto">
              <a:xfrm>
                <a:off x="2934494" y="5334000"/>
                <a:ext cx="31750" cy="26987"/>
              </a:xfrm>
              <a:custGeom>
                <a:avLst/>
                <a:gdLst/>
                <a:ahLst/>
                <a:cxnLst>
                  <a:cxn ang="0">
                    <a:pos x="7" y="5"/>
                  </a:cxn>
                  <a:cxn ang="0">
                    <a:pos x="3" y="2"/>
                  </a:cxn>
                  <a:cxn ang="0">
                    <a:pos x="3" y="0"/>
                  </a:cxn>
                  <a:cxn ang="0">
                    <a:pos x="12" y="0"/>
                  </a:cxn>
                  <a:cxn ang="0">
                    <a:pos x="20" y="0"/>
                  </a:cxn>
                  <a:cxn ang="0">
                    <a:pos x="20" y="2"/>
                  </a:cxn>
                  <a:cxn ang="0">
                    <a:pos x="20" y="5"/>
                  </a:cxn>
                  <a:cxn ang="0">
                    <a:pos x="10" y="10"/>
                  </a:cxn>
                  <a:cxn ang="0">
                    <a:pos x="1" y="17"/>
                  </a:cxn>
                  <a:cxn ang="0">
                    <a:pos x="0" y="16"/>
                  </a:cxn>
                  <a:cxn ang="0">
                    <a:pos x="3" y="10"/>
                  </a:cxn>
                  <a:cxn ang="0">
                    <a:pos x="7" y="5"/>
                  </a:cxn>
                </a:cxnLst>
                <a:rect l="0" t="0" r="r" b="b"/>
                <a:pathLst>
                  <a:path w="20" h="17">
                    <a:moveTo>
                      <a:pt x="7" y="5"/>
                    </a:moveTo>
                    <a:lnTo>
                      <a:pt x="3" y="2"/>
                    </a:lnTo>
                    <a:lnTo>
                      <a:pt x="3" y="0"/>
                    </a:lnTo>
                    <a:lnTo>
                      <a:pt x="12" y="0"/>
                    </a:lnTo>
                    <a:lnTo>
                      <a:pt x="20" y="0"/>
                    </a:lnTo>
                    <a:lnTo>
                      <a:pt x="20" y="2"/>
                    </a:lnTo>
                    <a:lnTo>
                      <a:pt x="20" y="5"/>
                    </a:lnTo>
                    <a:lnTo>
                      <a:pt x="10" y="10"/>
                    </a:lnTo>
                    <a:lnTo>
                      <a:pt x="1" y="17"/>
                    </a:lnTo>
                    <a:lnTo>
                      <a:pt x="0" y="16"/>
                    </a:lnTo>
                    <a:lnTo>
                      <a:pt x="3"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46" name="Freeform 291"/>
              <p:cNvSpPr>
                <a:spLocks/>
              </p:cNvSpPr>
              <p:nvPr/>
            </p:nvSpPr>
            <p:spPr bwMode="auto">
              <a:xfrm>
                <a:off x="2620169" y="5057775"/>
                <a:ext cx="19050" cy="47625"/>
              </a:xfrm>
              <a:custGeom>
                <a:avLst/>
                <a:gdLst/>
                <a:ahLst/>
                <a:cxnLst>
                  <a:cxn ang="0">
                    <a:pos x="0" y="16"/>
                  </a:cxn>
                  <a:cxn ang="0">
                    <a:pos x="0" y="13"/>
                  </a:cxn>
                  <a:cxn ang="0">
                    <a:pos x="2" y="7"/>
                  </a:cxn>
                  <a:cxn ang="0">
                    <a:pos x="2" y="2"/>
                  </a:cxn>
                  <a:cxn ang="0">
                    <a:pos x="5" y="0"/>
                  </a:cxn>
                  <a:cxn ang="0">
                    <a:pos x="10" y="2"/>
                  </a:cxn>
                  <a:cxn ang="0">
                    <a:pos x="12" y="9"/>
                  </a:cxn>
                  <a:cxn ang="0">
                    <a:pos x="10" y="13"/>
                  </a:cxn>
                  <a:cxn ang="0">
                    <a:pos x="10" y="14"/>
                  </a:cxn>
                  <a:cxn ang="0">
                    <a:pos x="10" y="30"/>
                  </a:cxn>
                  <a:cxn ang="0">
                    <a:pos x="5" y="30"/>
                  </a:cxn>
                  <a:cxn ang="0">
                    <a:pos x="0" y="26"/>
                  </a:cxn>
                  <a:cxn ang="0">
                    <a:pos x="0" y="23"/>
                  </a:cxn>
                  <a:cxn ang="0">
                    <a:pos x="0" y="18"/>
                  </a:cxn>
                  <a:cxn ang="0">
                    <a:pos x="0" y="16"/>
                  </a:cxn>
                </a:cxnLst>
                <a:rect l="0" t="0" r="r" b="b"/>
                <a:pathLst>
                  <a:path w="12" h="30">
                    <a:moveTo>
                      <a:pt x="0" y="16"/>
                    </a:moveTo>
                    <a:lnTo>
                      <a:pt x="0" y="13"/>
                    </a:lnTo>
                    <a:lnTo>
                      <a:pt x="2" y="7"/>
                    </a:lnTo>
                    <a:lnTo>
                      <a:pt x="2" y="2"/>
                    </a:lnTo>
                    <a:lnTo>
                      <a:pt x="5" y="0"/>
                    </a:lnTo>
                    <a:lnTo>
                      <a:pt x="10" y="2"/>
                    </a:lnTo>
                    <a:lnTo>
                      <a:pt x="12" y="9"/>
                    </a:lnTo>
                    <a:lnTo>
                      <a:pt x="10" y="13"/>
                    </a:lnTo>
                    <a:lnTo>
                      <a:pt x="10" y="14"/>
                    </a:lnTo>
                    <a:lnTo>
                      <a:pt x="10" y="30"/>
                    </a:lnTo>
                    <a:lnTo>
                      <a:pt x="5" y="30"/>
                    </a:lnTo>
                    <a:lnTo>
                      <a:pt x="0" y="26"/>
                    </a:lnTo>
                    <a:lnTo>
                      <a:pt x="0" y="23"/>
                    </a:lnTo>
                    <a:lnTo>
                      <a:pt x="0" y="18"/>
                    </a:lnTo>
                    <a:lnTo>
                      <a:pt x="0"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47" name="Freeform 292"/>
              <p:cNvSpPr>
                <a:spLocks/>
              </p:cNvSpPr>
              <p:nvPr/>
            </p:nvSpPr>
            <p:spPr bwMode="auto">
              <a:xfrm>
                <a:off x="2453482" y="3743325"/>
                <a:ext cx="1069975" cy="1722437"/>
              </a:xfrm>
              <a:custGeom>
                <a:avLst/>
                <a:gdLst/>
                <a:ahLst/>
                <a:cxnLst>
                  <a:cxn ang="0">
                    <a:pos x="52" y="79"/>
                  </a:cxn>
                  <a:cxn ang="0">
                    <a:pos x="65" y="55"/>
                  </a:cxn>
                  <a:cxn ang="0">
                    <a:pos x="86" y="22"/>
                  </a:cxn>
                  <a:cxn ang="0">
                    <a:pos x="143" y="0"/>
                  </a:cxn>
                  <a:cxn ang="0">
                    <a:pos x="139" y="41"/>
                  </a:cxn>
                  <a:cxn ang="0">
                    <a:pos x="158" y="13"/>
                  </a:cxn>
                  <a:cxn ang="0">
                    <a:pos x="191" y="22"/>
                  </a:cxn>
                  <a:cxn ang="0">
                    <a:pos x="234" y="32"/>
                  </a:cxn>
                  <a:cxn ang="0">
                    <a:pos x="272" y="24"/>
                  </a:cxn>
                  <a:cxn ang="0">
                    <a:pos x="313" y="56"/>
                  </a:cxn>
                  <a:cxn ang="0">
                    <a:pos x="344" y="87"/>
                  </a:cxn>
                  <a:cxn ang="0">
                    <a:pos x="409" y="101"/>
                  </a:cxn>
                  <a:cxn ang="0">
                    <a:pos x="442" y="134"/>
                  </a:cxn>
                  <a:cxn ang="0">
                    <a:pos x="437" y="177"/>
                  </a:cxn>
                  <a:cxn ang="0">
                    <a:pos x="463" y="208"/>
                  </a:cxn>
                  <a:cxn ang="0">
                    <a:pos x="507" y="192"/>
                  </a:cxn>
                  <a:cxn ang="0">
                    <a:pos x="538" y="218"/>
                  </a:cxn>
                  <a:cxn ang="0">
                    <a:pos x="616" y="227"/>
                  </a:cxn>
                  <a:cxn ang="0">
                    <a:pos x="671" y="261"/>
                  </a:cxn>
                  <a:cxn ang="0">
                    <a:pos x="642" y="345"/>
                  </a:cxn>
                  <a:cxn ang="0">
                    <a:pos x="614" y="395"/>
                  </a:cxn>
                  <a:cxn ang="0">
                    <a:pos x="604" y="447"/>
                  </a:cxn>
                  <a:cxn ang="0">
                    <a:pos x="571" y="510"/>
                  </a:cxn>
                  <a:cxn ang="0">
                    <a:pos x="509" y="533"/>
                  </a:cxn>
                  <a:cxn ang="0">
                    <a:pos x="475" y="602"/>
                  </a:cxn>
                  <a:cxn ang="0">
                    <a:pos x="433" y="655"/>
                  </a:cxn>
                  <a:cxn ang="0">
                    <a:pos x="368" y="706"/>
                  </a:cxn>
                  <a:cxn ang="0">
                    <a:pos x="342" y="710"/>
                  </a:cxn>
                  <a:cxn ang="0">
                    <a:pos x="349" y="758"/>
                  </a:cxn>
                  <a:cxn ang="0">
                    <a:pos x="282" y="777"/>
                  </a:cxn>
                  <a:cxn ang="0">
                    <a:pos x="277" y="811"/>
                  </a:cxn>
                  <a:cxn ang="0">
                    <a:pos x="237" y="822"/>
                  </a:cxn>
                  <a:cxn ang="0">
                    <a:pos x="260" y="839"/>
                  </a:cxn>
                  <a:cxn ang="0">
                    <a:pos x="237" y="861"/>
                  </a:cxn>
                  <a:cxn ang="0">
                    <a:pos x="217" y="918"/>
                  </a:cxn>
                  <a:cxn ang="0">
                    <a:pos x="205" y="961"/>
                  </a:cxn>
                  <a:cxn ang="0">
                    <a:pos x="186" y="1014"/>
                  </a:cxn>
                  <a:cxn ang="0">
                    <a:pos x="229" y="1068"/>
                  </a:cxn>
                  <a:cxn ang="0">
                    <a:pos x="201" y="1083"/>
                  </a:cxn>
                  <a:cxn ang="0">
                    <a:pos x="169" y="1071"/>
                  </a:cxn>
                  <a:cxn ang="0">
                    <a:pos x="132" y="1050"/>
                  </a:cxn>
                  <a:cxn ang="0">
                    <a:pos x="107" y="1026"/>
                  </a:cxn>
                  <a:cxn ang="0">
                    <a:pos x="105" y="1000"/>
                  </a:cxn>
                  <a:cxn ang="0">
                    <a:pos x="91" y="954"/>
                  </a:cxn>
                  <a:cxn ang="0">
                    <a:pos x="96" y="904"/>
                  </a:cxn>
                  <a:cxn ang="0">
                    <a:pos x="127" y="823"/>
                  </a:cxn>
                  <a:cxn ang="0">
                    <a:pos x="115" y="789"/>
                  </a:cxn>
                  <a:cxn ang="0">
                    <a:pos x="115" y="767"/>
                  </a:cxn>
                  <a:cxn ang="0">
                    <a:pos x="138" y="715"/>
                  </a:cxn>
                  <a:cxn ang="0">
                    <a:pos x="151" y="595"/>
                  </a:cxn>
                  <a:cxn ang="0">
                    <a:pos x="162" y="538"/>
                  </a:cxn>
                  <a:cxn ang="0">
                    <a:pos x="165" y="498"/>
                  </a:cxn>
                  <a:cxn ang="0">
                    <a:pos x="129" y="428"/>
                  </a:cxn>
                  <a:cxn ang="0">
                    <a:pos x="74" y="393"/>
                  </a:cxn>
                  <a:cxn ang="0">
                    <a:pos x="40" y="311"/>
                  </a:cxn>
                  <a:cxn ang="0">
                    <a:pos x="14" y="277"/>
                  </a:cxn>
                  <a:cxn ang="0">
                    <a:pos x="17" y="216"/>
                  </a:cxn>
                  <a:cxn ang="0">
                    <a:pos x="17" y="170"/>
                  </a:cxn>
                  <a:cxn ang="0">
                    <a:pos x="55" y="132"/>
                  </a:cxn>
                </a:cxnLst>
                <a:rect l="0" t="0" r="r" b="b"/>
                <a:pathLst>
                  <a:path w="674" h="1085">
                    <a:moveTo>
                      <a:pt x="57" y="118"/>
                    </a:moveTo>
                    <a:lnTo>
                      <a:pt x="57" y="115"/>
                    </a:lnTo>
                    <a:lnTo>
                      <a:pt x="55" y="108"/>
                    </a:lnTo>
                    <a:lnTo>
                      <a:pt x="53" y="103"/>
                    </a:lnTo>
                    <a:lnTo>
                      <a:pt x="55" y="96"/>
                    </a:lnTo>
                    <a:lnTo>
                      <a:pt x="57" y="91"/>
                    </a:lnTo>
                    <a:lnTo>
                      <a:pt x="52" y="79"/>
                    </a:lnTo>
                    <a:lnTo>
                      <a:pt x="48" y="72"/>
                    </a:lnTo>
                    <a:lnTo>
                      <a:pt x="53" y="63"/>
                    </a:lnTo>
                    <a:lnTo>
                      <a:pt x="60" y="58"/>
                    </a:lnTo>
                    <a:lnTo>
                      <a:pt x="62" y="58"/>
                    </a:lnTo>
                    <a:lnTo>
                      <a:pt x="65" y="58"/>
                    </a:lnTo>
                    <a:lnTo>
                      <a:pt x="65" y="56"/>
                    </a:lnTo>
                    <a:lnTo>
                      <a:pt x="65" y="55"/>
                    </a:lnTo>
                    <a:lnTo>
                      <a:pt x="67" y="53"/>
                    </a:lnTo>
                    <a:lnTo>
                      <a:pt x="69" y="53"/>
                    </a:lnTo>
                    <a:lnTo>
                      <a:pt x="71" y="46"/>
                    </a:lnTo>
                    <a:lnTo>
                      <a:pt x="77" y="43"/>
                    </a:lnTo>
                    <a:lnTo>
                      <a:pt x="79" y="36"/>
                    </a:lnTo>
                    <a:lnTo>
                      <a:pt x="83" y="31"/>
                    </a:lnTo>
                    <a:lnTo>
                      <a:pt x="86" y="22"/>
                    </a:lnTo>
                    <a:lnTo>
                      <a:pt x="96" y="19"/>
                    </a:lnTo>
                    <a:lnTo>
                      <a:pt x="103" y="15"/>
                    </a:lnTo>
                    <a:lnTo>
                      <a:pt x="112" y="13"/>
                    </a:lnTo>
                    <a:lnTo>
                      <a:pt x="119" y="10"/>
                    </a:lnTo>
                    <a:lnTo>
                      <a:pt x="129" y="8"/>
                    </a:lnTo>
                    <a:lnTo>
                      <a:pt x="136" y="3"/>
                    </a:lnTo>
                    <a:lnTo>
                      <a:pt x="143" y="0"/>
                    </a:lnTo>
                    <a:lnTo>
                      <a:pt x="146" y="1"/>
                    </a:lnTo>
                    <a:lnTo>
                      <a:pt x="148" y="5"/>
                    </a:lnTo>
                    <a:lnTo>
                      <a:pt x="144" y="10"/>
                    </a:lnTo>
                    <a:lnTo>
                      <a:pt x="143" y="12"/>
                    </a:lnTo>
                    <a:lnTo>
                      <a:pt x="139" y="22"/>
                    </a:lnTo>
                    <a:lnTo>
                      <a:pt x="138" y="32"/>
                    </a:lnTo>
                    <a:lnTo>
                      <a:pt x="139" y="41"/>
                    </a:lnTo>
                    <a:lnTo>
                      <a:pt x="146" y="48"/>
                    </a:lnTo>
                    <a:lnTo>
                      <a:pt x="148" y="43"/>
                    </a:lnTo>
                    <a:lnTo>
                      <a:pt x="151" y="39"/>
                    </a:lnTo>
                    <a:lnTo>
                      <a:pt x="148" y="31"/>
                    </a:lnTo>
                    <a:lnTo>
                      <a:pt x="144" y="24"/>
                    </a:lnTo>
                    <a:lnTo>
                      <a:pt x="148" y="15"/>
                    </a:lnTo>
                    <a:lnTo>
                      <a:pt x="158" y="13"/>
                    </a:lnTo>
                    <a:lnTo>
                      <a:pt x="170" y="13"/>
                    </a:lnTo>
                    <a:lnTo>
                      <a:pt x="163" y="8"/>
                    </a:lnTo>
                    <a:lnTo>
                      <a:pt x="160" y="5"/>
                    </a:lnTo>
                    <a:lnTo>
                      <a:pt x="170" y="5"/>
                    </a:lnTo>
                    <a:lnTo>
                      <a:pt x="177" y="13"/>
                    </a:lnTo>
                    <a:lnTo>
                      <a:pt x="191" y="17"/>
                    </a:lnTo>
                    <a:lnTo>
                      <a:pt x="191" y="22"/>
                    </a:lnTo>
                    <a:lnTo>
                      <a:pt x="196" y="25"/>
                    </a:lnTo>
                    <a:lnTo>
                      <a:pt x="203" y="25"/>
                    </a:lnTo>
                    <a:lnTo>
                      <a:pt x="212" y="25"/>
                    </a:lnTo>
                    <a:lnTo>
                      <a:pt x="218" y="25"/>
                    </a:lnTo>
                    <a:lnTo>
                      <a:pt x="224" y="25"/>
                    </a:lnTo>
                    <a:lnTo>
                      <a:pt x="227" y="31"/>
                    </a:lnTo>
                    <a:lnTo>
                      <a:pt x="234" y="32"/>
                    </a:lnTo>
                    <a:lnTo>
                      <a:pt x="244" y="29"/>
                    </a:lnTo>
                    <a:lnTo>
                      <a:pt x="249" y="25"/>
                    </a:lnTo>
                    <a:lnTo>
                      <a:pt x="256" y="24"/>
                    </a:lnTo>
                    <a:lnTo>
                      <a:pt x="263" y="22"/>
                    </a:lnTo>
                    <a:lnTo>
                      <a:pt x="272" y="22"/>
                    </a:lnTo>
                    <a:lnTo>
                      <a:pt x="277" y="24"/>
                    </a:lnTo>
                    <a:lnTo>
                      <a:pt x="272" y="24"/>
                    </a:lnTo>
                    <a:lnTo>
                      <a:pt x="268" y="25"/>
                    </a:lnTo>
                    <a:lnTo>
                      <a:pt x="268" y="29"/>
                    </a:lnTo>
                    <a:lnTo>
                      <a:pt x="279" y="36"/>
                    </a:lnTo>
                    <a:lnTo>
                      <a:pt x="291" y="39"/>
                    </a:lnTo>
                    <a:lnTo>
                      <a:pt x="296" y="46"/>
                    </a:lnTo>
                    <a:lnTo>
                      <a:pt x="298" y="56"/>
                    </a:lnTo>
                    <a:lnTo>
                      <a:pt x="313" y="56"/>
                    </a:lnTo>
                    <a:lnTo>
                      <a:pt x="318" y="60"/>
                    </a:lnTo>
                    <a:lnTo>
                      <a:pt x="323" y="63"/>
                    </a:lnTo>
                    <a:lnTo>
                      <a:pt x="327" y="68"/>
                    </a:lnTo>
                    <a:lnTo>
                      <a:pt x="332" y="77"/>
                    </a:lnTo>
                    <a:lnTo>
                      <a:pt x="335" y="79"/>
                    </a:lnTo>
                    <a:lnTo>
                      <a:pt x="341" y="81"/>
                    </a:lnTo>
                    <a:lnTo>
                      <a:pt x="344" y="87"/>
                    </a:lnTo>
                    <a:lnTo>
                      <a:pt x="354" y="91"/>
                    </a:lnTo>
                    <a:lnTo>
                      <a:pt x="366" y="93"/>
                    </a:lnTo>
                    <a:lnTo>
                      <a:pt x="378" y="94"/>
                    </a:lnTo>
                    <a:lnTo>
                      <a:pt x="392" y="94"/>
                    </a:lnTo>
                    <a:lnTo>
                      <a:pt x="399" y="98"/>
                    </a:lnTo>
                    <a:lnTo>
                      <a:pt x="409" y="101"/>
                    </a:lnTo>
                    <a:lnTo>
                      <a:pt x="409" y="101"/>
                    </a:lnTo>
                    <a:lnTo>
                      <a:pt x="411" y="101"/>
                    </a:lnTo>
                    <a:lnTo>
                      <a:pt x="416" y="103"/>
                    </a:lnTo>
                    <a:lnTo>
                      <a:pt x="425" y="110"/>
                    </a:lnTo>
                    <a:lnTo>
                      <a:pt x="430" y="115"/>
                    </a:lnTo>
                    <a:lnTo>
                      <a:pt x="439" y="120"/>
                    </a:lnTo>
                    <a:lnTo>
                      <a:pt x="439" y="125"/>
                    </a:lnTo>
                    <a:lnTo>
                      <a:pt x="442" y="134"/>
                    </a:lnTo>
                    <a:lnTo>
                      <a:pt x="445" y="141"/>
                    </a:lnTo>
                    <a:lnTo>
                      <a:pt x="449" y="149"/>
                    </a:lnTo>
                    <a:lnTo>
                      <a:pt x="452" y="153"/>
                    </a:lnTo>
                    <a:lnTo>
                      <a:pt x="457" y="158"/>
                    </a:lnTo>
                    <a:lnTo>
                      <a:pt x="449" y="163"/>
                    </a:lnTo>
                    <a:lnTo>
                      <a:pt x="442" y="170"/>
                    </a:lnTo>
                    <a:lnTo>
                      <a:pt x="437" y="177"/>
                    </a:lnTo>
                    <a:lnTo>
                      <a:pt x="435" y="189"/>
                    </a:lnTo>
                    <a:lnTo>
                      <a:pt x="437" y="192"/>
                    </a:lnTo>
                    <a:lnTo>
                      <a:pt x="442" y="194"/>
                    </a:lnTo>
                    <a:lnTo>
                      <a:pt x="447" y="199"/>
                    </a:lnTo>
                    <a:lnTo>
                      <a:pt x="451" y="206"/>
                    </a:lnTo>
                    <a:lnTo>
                      <a:pt x="463" y="206"/>
                    </a:lnTo>
                    <a:lnTo>
                      <a:pt x="463" y="208"/>
                    </a:lnTo>
                    <a:lnTo>
                      <a:pt x="464" y="211"/>
                    </a:lnTo>
                    <a:lnTo>
                      <a:pt x="468" y="208"/>
                    </a:lnTo>
                    <a:lnTo>
                      <a:pt x="471" y="206"/>
                    </a:lnTo>
                    <a:lnTo>
                      <a:pt x="478" y="192"/>
                    </a:lnTo>
                    <a:lnTo>
                      <a:pt x="490" y="187"/>
                    </a:lnTo>
                    <a:lnTo>
                      <a:pt x="497" y="187"/>
                    </a:lnTo>
                    <a:lnTo>
                      <a:pt x="507" y="192"/>
                    </a:lnTo>
                    <a:lnTo>
                      <a:pt x="516" y="196"/>
                    </a:lnTo>
                    <a:lnTo>
                      <a:pt x="525" y="201"/>
                    </a:lnTo>
                    <a:lnTo>
                      <a:pt x="530" y="203"/>
                    </a:lnTo>
                    <a:lnTo>
                      <a:pt x="533" y="206"/>
                    </a:lnTo>
                    <a:lnTo>
                      <a:pt x="533" y="211"/>
                    </a:lnTo>
                    <a:lnTo>
                      <a:pt x="535" y="218"/>
                    </a:lnTo>
                    <a:lnTo>
                      <a:pt x="538" y="218"/>
                    </a:lnTo>
                    <a:lnTo>
                      <a:pt x="543" y="215"/>
                    </a:lnTo>
                    <a:lnTo>
                      <a:pt x="549" y="213"/>
                    </a:lnTo>
                    <a:lnTo>
                      <a:pt x="561" y="216"/>
                    </a:lnTo>
                    <a:lnTo>
                      <a:pt x="573" y="222"/>
                    </a:lnTo>
                    <a:lnTo>
                      <a:pt x="592" y="218"/>
                    </a:lnTo>
                    <a:lnTo>
                      <a:pt x="604" y="222"/>
                    </a:lnTo>
                    <a:lnTo>
                      <a:pt x="616" y="227"/>
                    </a:lnTo>
                    <a:lnTo>
                      <a:pt x="619" y="232"/>
                    </a:lnTo>
                    <a:lnTo>
                      <a:pt x="626" y="240"/>
                    </a:lnTo>
                    <a:lnTo>
                      <a:pt x="635" y="246"/>
                    </a:lnTo>
                    <a:lnTo>
                      <a:pt x="643" y="251"/>
                    </a:lnTo>
                    <a:lnTo>
                      <a:pt x="652" y="251"/>
                    </a:lnTo>
                    <a:lnTo>
                      <a:pt x="662" y="252"/>
                    </a:lnTo>
                    <a:lnTo>
                      <a:pt x="671" y="261"/>
                    </a:lnTo>
                    <a:lnTo>
                      <a:pt x="674" y="277"/>
                    </a:lnTo>
                    <a:lnTo>
                      <a:pt x="672" y="289"/>
                    </a:lnTo>
                    <a:lnTo>
                      <a:pt x="671" y="299"/>
                    </a:lnTo>
                    <a:lnTo>
                      <a:pt x="666" y="307"/>
                    </a:lnTo>
                    <a:lnTo>
                      <a:pt x="662" y="316"/>
                    </a:lnTo>
                    <a:lnTo>
                      <a:pt x="652" y="330"/>
                    </a:lnTo>
                    <a:lnTo>
                      <a:pt x="642" y="345"/>
                    </a:lnTo>
                    <a:lnTo>
                      <a:pt x="636" y="349"/>
                    </a:lnTo>
                    <a:lnTo>
                      <a:pt x="633" y="356"/>
                    </a:lnTo>
                    <a:lnTo>
                      <a:pt x="624" y="363"/>
                    </a:lnTo>
                    <a:lnTo>
                      <a:pt x="617" y="369"/>
                    </a:lnTo>
                    <a:lnTo>
                      <a:pt x="612" y="375"/>
                    </a:lnTo>
                    <a:lnTo>
                      <a:pt x="612" y="385"/>
                    </a:lnTo>
                    <a:lnTo>
                      <a:pt x="614" y="395"/>
                    </a:lnTo>
                    <a:lnTo>
                      <a:pt x="616" y="405"/>
                    </a:lnTo>
                    <a:lnTo>
                      <a:pt x="614" y="418"/>
                    </a:lnTo>
                    <a:lnTo>
                      <a:pt x="614" y="430"/>
                    </a:lnTo>
                    <a:lnTo>
                      <a:pt x="612" y="431"/>
                    </a:lnTo>
                    <a:lnTo>
                      <a:pt x="611" y="435"/>
                    </a:lnTo>
                    <a:lnTo>
                      <a:pt x="605" y="440"/>
                    </a:lnTo>
                    <a:lnTo>
                      <a:pt x="604" y="447"/>
                    </a:lnTo>
                    <a:lnTo>
                      <a:pt x="602" y="455"/>
                    </a:lnTo>
                    <a:lnTo>
                      <a:pt x="602" y="464"/>
                    </a:lnTo>
                    <a:lnTo>
                      <a:pt x="592" y="478"/>
                    </a:lnTo>
                    <a:lnTo>
                      <a:pt x="583" y="491"/>
                    </a:lnTo>
                    <a:lnTo>
                      <a:pt x="581" y="497"/>
                    </a:lnTo>
                    <a:lnTo>
                      <a:pt x="581" y="502"/>
                    </a:lnTo>
                    <a:lnTo>
                      <a:pt x="571" y="510"/>
                    </a:lnTo>
                    <a:lnTo>
                      <a:pt x="559" y="516"/>
                    </a:lnTo>
                    <a:lnTo>
                      <a:pt x="545" y="516"/>
                    </a:lnTo>
                    <a:lnTo>
                      <a:pt x="535" y="519"/>
                    </a:lnTo>
                    <a:lnTo>
                      <a:pt x="530" y="521"/>
                    </a:lnTo>
                    <a:lnTo>
                      <a:pt x="528" y="524"/>
                    </a:lnTo>
                    <a:lnTo>
                      <a:pt x="518" y="529"/>
                    </a:lnTo>
                    <a:lnTo>
                      <a:pt x="509" y="533"/>
                    </a:lnTo>
                    <a:lnTo>
                      <a:pt x="500" y="534"/>
                    </a:lnTo>
                    <a:lnTo>
                      <a:pt x="495" y="543"/>
                    </a:lnTo>
                    <a:lnTo>
                      <a:pt x="487" y="548"/>
                    </a:lnTo>
                    <a:lnTo>
                      <a:pt x="480" y="553"/>
                    </a:lnTo>
                    <a:lnTo>
                      <a:pt x="475" y="564"/>
                    </a:lnTo>
                    <a:lnTo>
                      <a:pt x="475" y="577"/>
                    </a:lnTo>
                    <a:lnTo>
                      <a:pt x="475" y="602"/>
                    </a:lnTo>
                    <a:lnTo>
                      <a:pt x="461" y="610"/>
                    </a:lnTo>
                    <a:lnTo>
                      <a:pt x="454" y="626"/>
                    </a:lnTo>
                    <a:lnTo>
                      <a:pt x="454" y="626"/>
                    </a:lnTo>
                    <a:lnTo>
                      <a:pt x="451" y="632"/>
                    </a:lnTo>
                    <a:lnTo>
                      <a:pt x="447" y="641"/>
                    </a:lnTo>
                    <a:lnTo>
                      <a:pt x="439" y="648"/>
                    </a:lnTo>
                    <a:lnTo>
                      <a:pt x="433" y="655"/>
                    </a:lnTo>
                    <a:lnTo>
                      <a:pt x="425" y="660"/>
                    </a:lnTo>
                    <a:lnTo>
                      <a:pt x="420" y="670"/>
                    </a:lnTo>
                    <a:lnTo>
                      <a:pt x="413" y="682"/>
                    </a:lnTo>
                    <a:lnTo>
                      <a:pt x="406" y="694"/>
                    </a:lnTo>
                    <a:lnTo>
                      <a:pt x="396" y="705"/>
                    </a:lnTo>
                    <a:lnTo>
                      <a:pt x="382" y="710"/>
                    </a:lnTo>
                    <a:lnTo>
                      <a:pt x="368" y="706"/>
                    </a:lnTo>
                    <a:lnTo>
                      <a:pt x="359" y="705"/>
                    </a:lnTo>
                    <a:lnTo>
                      <a:pt x="347" y="701"/>
                    </a:lnTo>
                    <a:lnTo>
                      <a:pt x="337" y="700"/>
                    </a:lnTo>
                    <a:lnTo>
                      <a:pt x="334" y="700"/>
                    </a:lnTo>
                    <a:lnTo>
                      <a:pt x="334" y="701"/>
                    </a:lnTo>
                    <a:lnTo>
                      <a:pt x="337" y="706"/>
                    </a:lnTo>
                    <a:lnTo>
                      <a:pt x="342" y="710"/>
                    </a:lnTo>
                    <a:lnTo>
                      <a:pt x="346" y="717"/>
                    </a:lnTo>
                    <a:lnTo>
                      <a:pt x="349" y="725"/>
                    </a:lnTo>
                    <a:lnTo>
                      <a:pt x="353" y="730"/>
                    </a:lnTo>
                    <a:lnTo>
                      <a:pt x="358" y="737"/>
                    </a:lnTo>
                    <a:lnTo>
                      <a:pt x="356" y="744"/>
                    </a:lnTo>
                    <a:lnTo>
                      <a:pt x="356" y="751"/>
                    </a:lnTo>
                    <a:lnTo>
                      <a:pt x="349" y="758"/>
                    </a:lnTo>
                    <a:lnTo>
                      <a:pt x="342" y="767"/>
                    </a:lnTo>
                    <a:lnTo>
                      <a:pt x="327" y="772"/>
                    </a:lnTo>
                    <a:lnTo>
                      <a:pt x="311" y="777"/>
                    </a:lnTo>
                    <a:lnTo>
                      <a:pt x="303" y="775"/>
                    </a:lnTo>
                    <a:lnTo>
                      <a:pt x="294" y="775"/>
                    </a:lnTo>
                    <a:lnTo>
                      <a:pt x="286" y="775"/>
                    </a:lnTo>
                    <a:lnTo>
                      <a:pt x="282" y="777"/>
                    </a:lnTo>
                    <a:lnTo>
                      <a:pt x="277" y="782"/>
                    </a:lnTo>
                    <a:lnTo>
                      <a:pt x="277" y="791"/>
                    </a:lnTo>
                    <a:lnTo>
                      <a:pt x="277" y="798"/>
                    </a:lnTo>
                    <a:lnTo>
                      <a:pt x="277" y="806"/>
                    </a:lnTo>
                    <a:lnTo>
                      <a:pt x="277" y="806"/>
                    </a:lnTo>
                    <a:lnTo>
                      <a:pt x="277" y="808"/>
                    </a:lnTo>
                    <a:lnTo>
                      <a:pt x="277" y="811"/>
                    </a:lnTo>
                    <a:lnTo>
                      <a:pt x="272" y="815"/>
                    </a:lnTo>
                    <a:lnTo>
                      <a:pt x="265" y="818"/>
                    </a:lnTo>
                    <a:lnTo>
                      <a:pt x="253" y="815"/>
                    </a:lnTo>
                    <a:lnTo>
                      <a:pt x="243" y="811"/>
                    </a:lnTo>
                    <a:lnTo>
                      <a:pt x="237" y="813"/>
                    </a:lnTo>
                    <a:lnTo>
                      <a:pt x="237" y="816"/>
                    </a:lnTo>
                    <a:lnTo>
                      <a:pt x="237" y="822"/>
                    </a:lnTo>
                    <a:lnTo>
                      <a:pt x="239" y="828"/>
                    </a:lnTo>
                    <a:lnTo>
                      <a:pt x="243" y="834"/>
                    </a:lnTo>
                    <a:lnTo>
                      <a:pt x="248" y="837"/>
                    </a:lnTo>
                    <a:lnTo>
                      <a:pt x="251" y="835"/>
                    </a:lnTo>
                    <a:lnTo>
                      <a:pt x="255" y="834"/>
                    </a:lnTo>
                    <a:lnTo>
                      <a:pt x="256" y="835"/>
                    </a:lnTo>
                    <a:lnTo>
                      <a:pt x="260" y="839"/>
                    </a:lnTo>
                    <a:lnTo>
                      <a:pt x="256" y="842"/>
                    </a:lnTo>
                    <a:lnTo>
                      <a:pt x="255" y="846"/>
                    </a:lnTo>
                    <a:lnTo>
                      <a:pt x="246" y="842"/>
                    </a:lnTo>
                    <a:lnTo>
                      <a:pt x="241" y="841"/>
                    </a:lnTo>
                    <a:lnTo>
                      <a:pt x="243" y="846"/>
                    </a:lnTo>
                    <a:lnTo>
                      <a:pt x="248" y="847"/>
                    </a:lnTo>
                    <a:lnTo>
                      <a:pt x="237" y="861"/>
                    </a:lnTo>
                    <a:lnTo>
                      <a:pt x="234" y="878"/>
                    </a:lnTo>
                    <a:lnTo>
                      <a:pt x="227" y="884"/>
                    </a:lnTo>
                    <a:lnTo>
                      <a:pt x="220" y="885"/>
                    </a:lnTo>
                    <a:lnTo>
                      <a:pt x="210" y="890"/>
                    </a:lnTo>
                    <a:lnTo>
                      <a:pt x="206" y="904"/>
                    </a:lnTo>
                    <a:lnTo>
                      <a:pt x="208" y="913"/>
                    </a:lnTo>
                    <a:lnTo>
                      <a:pt x="217" y="918"/>
                    </a:lnTo>
                    <a:lnTo>
                      <a:pt x="224" y="921"/>
                    </a:lnTo>
                    <a:lnTo>
                      <a:pt x="229" y="932"/>
                    </a:lnTo>
                    <a:lnTo>
                      <a:pt x="225" y="939"/>
                    </a:lnTo>
                    <a:lnTo>
                      <a:pt x="220" y="945"/>
                    </a:lnTo>
                    <a:lnTo>
                      <a:pt x="213" y="949"/>
                    </a:lnTo>
                    <a:lnTo>
                      <a:pt x="208" y="954"/>
                    </a:lnTo>
                    <a:lnTo>
                      <a:pt x="205" y="961"/>
                    </a:lnTo>
                    <a:lnTo>
                      <a:pt x="203" y="971"/>
                    </a:lnTo>
                    <a:lnTo>
                      <a:pt x="194" y="976"/>
                    </a:lnTo>
                    <a:lnTo>
                      <a:pt x="187" y="980"/>
                    </a:lnTo>
                    <a:lnTo>
                      <a:pt x="181" y="990"/>
                    </a:lnTo>
                    <a:lnTo>
                      <a:pt x="179" y="1004"/>
                    </a:lnTo>
                    <a:lnTo>
                      <a:pt x="181" y="1009"/>
                    </a:lnTo>
                    <a:lnTo>
                      <a:pt x="186" y="1014"/>
                    </a:lnTo>
                    <a:lnTo>
                      <a:pt x="189" y="1019"/>
                    </a:lnTo>
                    <a:lnTo>
                      <a:pt x="193" y="1031"/>
                    </a:lnTo>
                    <a:lnTo>
                      <a:pt x="196" y="1042"/>
                    </a:lnTo>
                    <a:lnTo>
                      <a:pt x="201" y="1050"/>
                    </a:lnTo>
                    <a:lnTo>
                      <a:pt x="208" y="1055"/>
                    </a:lnTo>
                    <a:lnTo>
                      <a:pt x="218" y="1062"/>
                    </a:lnTo>
                    <a:lnTo>
                      <a:pt x="229" y="1068"/>
                    </a:lnTo>
                    <a:lnTo>
                      <a:pt x="239" y="1073"/>
                    </a:lnTo>
                    <a:lnTo>
                      <a:pt x="236" y="1073"/>
                    </a:lnTo>
                    <a:lnTo>
                      <a:pt x="232" y="1073"/>
                    </a:lnTo>
                    <a:lnTo>
                      <a:pt x="217" y="1078"/>
                    </a:lnTo>
                    <a:lnTo>
                      <a:pt x="206" y="1083"/>
                    </a:lnTo>
                    <a:lnTo>
                      <a:pt x="203" y="1083"/>
                    </a:lnTo>
                    <a:lnTo>
                      <a:pt x="201" y="1083"/>
                    </a:lnTo>
                    <a:lnTo>
                      <a:pt x="198" y="1083"/>
                    </a:lnTo>
                    <a:lnTo>
                      <a:pt x="196" y="1085"/>
                    </a:lnTo>
                    <a:lnTo>
                      <a:pt x="189" y="1085"/>
                    </a:lnTo>
                    <a:lnTo>
                      <a:pt x="182" y="1085"/>
                    </a:lnTo>
                    <a:lnTo>
                      <a:pt x="174" y="1081"/>
                    </a:lnTo>
                    <a:lnTo>
                      <a:pt x="172" y="1076"/>
                    </a:lnTo>
                    <a:lnTo>
                      <a:pt x="169" y="1071"/>
                    </a:lnTo>
                    <a:lnTo>
                      <a:pt x="167" y="1069"/>
                    </a:lnTo>
                    <a:lnTo>
                      <a:pt x="153" y="1064"/>
                    </a:lnTo>
                    <a:lnTo>
                      <a:pt x="148" y="1057"/>
                    </a:lnTo>
                    <a:lnTo>
                      <a:pt x="141" y="1057"/>
                    </a:lnTo>
                    <a:lnTo>
                      <a:pt x="138" y="1057"/>
                    </a:lnTo>
                    <a:lnTo>
                      <a:pt x="132" y="1054"/>
                    </a:lnTo>
                    <a:lnTo>
                      <a:pt x="132" y="1050"/>
                    </a:lnTo>
                    <a:lnTo>
                      <a:pt x="120" y="1049"/>
                    </a:lnTo>
                    <a:lnTo>
                      <a:pt x="115" y="1045"/>
                    </a:lnTo>
                    <a:lnTo>
                      <a:pt x="110" y="1040"/>
                    </a:lnTo>
                    <a:lnTo>
                      <a:pt x="107" y="1037"/>
                    </a:lnTo>
                    <a:lnTo>
                      <a:pt x="105" y="1033"/>
                    </a:lnTo>
                    <a:lnTo>
                      <a:pt x="103" y="1031"/>
                    </a:lnTo>
                    <a:lnTo>
                      <a:pt x="107" y="1026"/>
                    </a:lnTo>
                    <a:lnTo>
                      <a:pt x="112" y="1023"/>
                    </a:lnTo>
                    <a:lnTo>
                      <a:pt x="110" y="1021"/>
                    </a:lnTo>
                    <a:lnTo>
                      <a:pt x="108" y="1021"/>
                    </a:lnTo>
                    <a:lnTo>
                      <a:pt x="110" y="1016"/>
                    </a:lnTo>
                    <a:lnTo>
                      <a:pt x="112" y="1012"/>
                    </a:lnTo>
                    <a:lnTo>
                      <a:pt x="108" y="1004"/>
                    </a:lnTo>
                    <a:lnTo>
                      <a:pt x="105" y="1000"/>
                    </a:lnTo>
                    <a:lnTo>
                      <a:pt x="100" y="997"/>
                    </a:lnTo>
                    <a:lnTo>
                      <a:pt x="98" y="992"/>
                    </a:lnTo>
                    <a:lnTo>
                      <a:pt x="98" y="987"/>
                    </a:lnTo>
                    <a:lnTo>
                      <a:pt x="98" y="985"/>
                    </a:lnTo>
                    <a:lnTo>
                      <a:pt x="96" y="975"/>
                    </a:lnTo>
                    <a:lnTo>
                      <a:pt x="95" y="964"/>
                    </a:lnTo>
                    <a:lnTo>
                      <a:pt x="91" y="954"/>
                    </a:lnTo>
                    <a:lnTo>
                      <a:pt x="91" y="947"/>
                    </a:lnTo>
                    <a:lnTo>
                      <a:pt x="96" y="937"/>
                    </a:lnTo>
                    <a:lnTo>
                      <a:pt x="101" y="927"/>
                    </a:lnTo>
                    <a:lnTo>
                      <a:pt x="98" y="916"/>
                    </a:lnTo>
                    <a:lnTo>
                      <a:pt x="95" y="908"/>
                    </a:lnTo>
                    <a:lnTo>
                      <a:pt x="95" y="904"/>
                    </a:lnTo>
                    <a:lnTo>
                      <a:pt x="96" y="904"/>
                    </a:lnTo>
                    <a:lnTo>
                      <a:pt x="96" y="899"/>
                    </a:lnTo>
                    <a:lnTo>
                      <a:pt x="100" y="897"/>
                    </a:lnTo>
                    <a:lnTo>
                      <a:pt x="107" y="902"/>
                    </a:lnTo>
                    <a:lnTo>
                      <a:pt x="114" y="908"/>
                    </a:lnTo>
                    <a:lnTo>
                      <a:pt x="131" y="832"/>
                    </a:lnTo>
                    <a:lnTo>
                      <a:pt x="131" y="825"/>
                    </a:lnTo>
                    <a:lnTo>
                      <a:pt x="127" y="823"/>
                    </a:lnTo>
                    <a:lnTo>
                      <a:pt x="126" y="825"/>
                    </a:lnTo>
                    <a:lnTo>
                      <a:pt x="120" y="827"/>
                    </a:lnTo>
                    <a:lnTo>
                      <a:pt x="117" y="830"/>
                    </a:lnTo>
                    <a:lnTo>
                      <a:pt x="112" y="823"/>
                    </a:lnTo>
                    <a:lnTo>
                      <a:pt x="110" y="813"/>
                    </a:lnTo>
                    <a:lnTo>
                      <a:pt x="112" y="801"/>
                    </a:lnTo>
                    <a:lnTo>
                      <a:pt x="115" y="789"/>
                    </a:lnTo>
                    <a:lnTo>
                      <a:pt x="119" y="787"/>
                    </a:lnTo>
                    <a:lnTo>
                      <a:pt x="120" y="787"/>
                    </a:lnTo>
                    <a:lnTo>
                      <a:pt x="119" y="782"/>
                    </a:lnTo>
                    <a:lnTo>
                      <a:pt x="117" y="780"/>
                    </a:lnTo>
                    <a:lnTo>
                      <a:pt x="115" y="777"/>
                    </a:lnTo>
                    <a:lnTo>
                      <a:pt x="115" y="772"/>
                    </a:lnTo>
                    <a:lnTo>
                      <a:pt x="115" y="767"/>
                    </a:lnTo>
                    <a:lnTo>
                      <a:pt x="115" y="763"/>
                    </a:lnTo>
                    <a:lnTo>
                      <a:pt x="119" y="744"/>
                    </a:lnTo>
                    <a:lnTo>
                      <a:pt x="127" y="732"/>
                    </a:lnTo>
                    <a:lnTo>
                      <a:pt x="129" y="725"/>
                    </a:lnTo>
                    <a:lnTo>
                      <a:pt x="132" y="718"/>
                    </a:lnTo>
                    <a:lnTo>
                      <a:pt x="134" y="717"/>
                    </a:lnTo>
                    <a:lnTo>
                      <a:pt x="138" y="715"/>
                    </a:lnTo>
                    <a:lnTo>
                      <a:pt x="141" y="698"/>
                    </a:lnTo>
                    <a:lnTo>
                      <a:pt x="144" y="682"/>
                    </a:lnTo>
                    <a:lnTo>
                      <a:pt x="143" y="645"/>
                    </a:lnTo>
                    <a:lnTo>
                      <a:pt x="143" y="632"/>
                    </a:lnTo>
                    <a:lnTo>
                      <a:pt x="146" y="620"/>
                    </a:lnTo>
                    <a:lnTo>
                      <a:pt x="146" y="605"/>
                    </a:lnTo>
                    <a:lnTo>
                      <a:pt x="151" y="595"/>
                    </a:lnTo>
                    <a:lnTo>
                      <a:pt x="155" y="583"/>
                    </a:lnTo>
                    <a:lnTo>
                      <a:pt x="158" y="571"/>
                    </a:lnTo>
                    <a:lnTo>
                      <a:pt x="158" y="569"/>
                    </a:lnTo>
                    <a:lnTo>
                      <a:pt x="158" y="567"/>
                    </a:lnTo>
                    <a:lnTo>
                      <a:pt x="158" y="557"/>
                    </a:lnTo>
                    <a:lnTo>
                      <a:pt x="162" y="548"/>
                    </a:lnTo>
                    <a:lnTo>
                      <a:pt x="162" y="538"/>
                    </a:lnTo>
                    <a:lnTo>
                      <a:pt x="162" y="533"/>
                    </a:lnTo>
                    <a:lnTo>
                      <a:pt x="162" y="529"/>
                    </a:lnTo>
                    <a:lnTo>
                      <a:pt x="162" y="526"/>
                    </a:lnTo>
                    <a:lnTo>
                      <a:pt x="162" y="519"/>
                    </a:lnTo>
                    <a:lnTo>
                      <a:pt x="163" y="512"/>
                    </a:lnTo>
                    <a:lnTo>
                      <a:pt x="163" y="504"/>
                    </a:lnTo>
                    <a:lnTo>
                      <a:pt x="165" y="498"/>
                    </a:lnTo>
                    <a:lnTo>
                      <a:pt x="163" y="490"/>
                    </a:lnTo>
                    <a:lnTo>
                      <a:pt x="163" y="478"/>
                    </a:lnTo>
                    <a:lnTo>
                      <a:pt x="162" y="464"/>
                    </a:lnTo>
                    <a:lnTo>
                      <a:pt x="162" y="457"/>
                    </a:lnTo>
                    <a:lnTo>
                      <a:pt x="151" y="442"/>
                    </a:lnTo>
                    <a:lnTo>
                      <a:pt x="139" y="433"/>
                    </a:lnTo>
                    <a:lnTo>
                      <a:pt x="129" y="428"/>
                    </a:lnTo>
                    <a:lnTo>
                      <a:pt x="120" y="424"/>
                    </a:lnTo>
                    <a:lnTo>
                      <a:pt x="112" y="418"/>
                    </a:lnTo>
                    <a:lnTo>
                      <a:pt x="105" y="414"/>
                    </a:lnTo>
                    <a:lnTo>
                      <a:pt x="95" y="409"/>
                    </a:lnTo>
                    <a:lnTo>
                      <a:pt x="86" y="405"/>
                    </a:lnTo>
                    <a:lnTo>
                      <a:pt x="79" y="399"/>
                    </a:lnTo>
                    <a:lnTo>
                      <a:pt x="74" y="393"/>
                    </a:lnTo>
                    <a:lnTo>
                      <a:pt x="71" y="387"/>
                    </a:lnTo>
                    <a:lnTo>
                      <a:pt x="72" y="378"/>
                    </a:lnTo>
                    <a:lnTo>
                      <a:pt x="67" y="368"/>
                    </a:lnTo>
                    <a:lnTo>
                      <a:pt x="62" y="359"/>
                    </a:lnTo>
                    <a:lnTo>
                      <a:pt x="53" y="342"/>
                    </a:lnTo>
                    <a:lnTo>
                      <a:pt x="45" y="326"/>
                    </a:lnTo>
                    <a:lnTo>
                      <a:pt x="40" y="311"/>
                    </a:lnTo>
                    <a:lnTo>
                      <a:pt x="34" y="299"/>
                    </a:lnTo>
                    <a:lnTo>
                      <a:pt x="31" y="295"/>
                    </a:lnTo>
                    <a:lnTo>
                      <a:pt x="28" y="295"/>
                    </a:lnTo>
                    <a:lnTo>
                      <a:pt x="22" y="287"/>
                    </a:lnTo>
                    <a:lnTo>
                      <a:pt x="21" y="280"/>
                    </a:lnTo>
                    <a:lnTo>
                      <a:pt x="17" y="278"/>
                    </a:lnTo>
                    <a:lnTo>
                      <a:pt x="14" y="277"/>
                    </a:lnTo>
                    <a:lnTo>
                      <a:pt x="3" y="264"/>
                    </a:lnTo>
                    <a:lnTo>
                      <a:pt x="0" y="252"/>
                    </a:lnTo>
                    <a:lnTo>
                      <a:pt x="2" y="242"/>
                    </a:lnTo>
                    <a:lnTo>
                      <a:pt x="7" y="237"/>
                    </a:lnTo>
                    <a:lnTo>
                      <a:pt x="14" y="227"/>
                    </a:lnTo>
                    <a:lnTo>
                      <a:pt x="22" y="218"/>
                    </a:lnTo>
                    <a:lnTo>
                      <a:pt x="17" y="216"/>
                    </a:lnTo>
                    <a:lnTo>
                      <a:pt x="14" y="218"/>
                    </a:lnTo>
                    <a:lnTo>
                      <a:pt x="7" y="211"/>
                    </a:lnTo>
                    <a:lnTo>
                      <a:pt x="7" y="201"/>
                    </a:lnTo>
                    <a:lnTo>
                      <a:pt x="7" y="192"/>
                    </a:lnTo>
                    <a:lnTo>
                      <a:pt x="12" y="187"/>
                    </a:lnTo>
                    <a:lnTo>
                      <a:pt x="15" y="180"/>
                    </a:lnTo>
                    <a:lnTo>
                      <a:pt x="17" y="170"/>
                    </a:lnTo>
                    <a:lnTo>
                      <a:pt x="24" y="166"/>
                    </a:lnTo>
                    <a:lnTo>
                      <a:pt x="31" y="161"/>
                    </a:lnTo>
                    <a:lnTo>
                      <a:pt x="34" y="153"/>
                    </a:lnTo>
                    <a:lnTo>
                      <a:pt x="38" y="148"/>
                    </a:lnTo>
                    <a:lnTo>
                      <a:pt x="43" y="139"/>
                    </a:lnTo>
                    <a:lnTo>
                      <a:pt x="50" y="136"/>
                    </a:lnTo>
                    <a:lnTo>
                      <a:pt x="55" y="132"/>
                    </a:lnTo>
                    <a:lnTo>
                      <a:pt x="60" y="125"/>
                    </a:lnTo>
                    <a:lnTo>
                      <a:pt x="57" y="123"/>
                    </a:lnTo>
                    <a:lnTo>
                      <a:pt x="55" y="122"/>
                    </a:lnTo>
                    <a:lnTo>
                      <a:pt x="57" y="117"/>
                    </a:lnTo>
                    <a:lnTo>
                      <a:pt x="57"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48" name="Freeform 293"/>
              <p:cNvSpPr>
                <a:spLocks/>
              </p:cNvSpPr>
              <p:nvPr/>
            </p:nvSpPr>
            <p:spPr bwMode="auto">
              <a:xfrm>
                <a:off x="2518569" y="3440113"/>
                <a:ext cx="14288" cy="15875"/>
              </a:xfrm>
              <a:custGeom>
                <a:avLst/>
                <a:gdLst/>
                <a:ahLst/>
                <a:cxnLst>
                  <a:cxn ang="0">
                    <a:pos x="4" y="0"/>
                  </a:cxn>
                  <a:cxn ang="0">
                    <a:pos x="7" y="2"/>
                  </a:cxn>
                  <a:cxn ang="0">
                    <a:pos x="9" y="7"/>
                  </a:cxn>
                  <a:cxn ang="0">
                    <a:pos x="7" y="8"/>
                  </a:cxn>
                  <a:cxn ang="0">
                    <a:pos x="5" y="10"/>
                  </a:cxn>
                  <a:cxn ang="0">
                    <a:pos x="0" y="7"/>
                  </a:cxn>
                  <a:cxn ang="0">
                    <a:pos x="0" y="0"/>
                  </a:cxn>
                  <a:cxn ang="0">
                    <a:pos x="4" y="0"/>
                  </a:cxn>
                </a:cxnLst>
                <a:rect l="0" t="0" r="r" b="b"/>
                <a:pathLst>
                  <a:path w="9" h="10">
                    <a:moveTo>
                      <a:pt x="4" y="0"/>
                    </a:moveTo>
                    <a:lnTo>
                      <a:pt x="7" y="2"/>
                    </a:lnTo>
                    <a:lnTo>
                      <a:pt x="9" y="7"/>
                    </a:lnTo>
                    <a:lnTo>
                      <a:pt x="7" y="8"/>
                    </a:lnTo>
                    <a:lnTo>
                      <a:pt x="5" y="10"/>
                    </a:lnTo>
                    <a:lnTo>
                      <a:pt x="0" y="7"/>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49" name="Freeform 294"/>
              <p:cNvSpPr>
                <a:spLocks/>
              </p:cNvSpPr>
              <p:nvPr/>
            </p:nvSpPr>
            <p:spPr bwMode="auto">
              <a:xfrm>
                <a:off x="2507457" y="3394075"/>
                <a:ext cx="22225" cy="7937"/>
              </a:xfrm>
              <a:custGeom>
                <a:avLst/>
                <a:gdLst/>
                <a:ahLst/>
                <a:cxnLst>
                  <a:cxn ang="0">
                    <a:pos x="0" y="5"/>
                  </a:cxn>
                  <a:cxn ang="0">
                    <a:pos x="2" y="1"/>
                  </a:cxn>
                  <a:cxn ang="0">
                    <a:pos x="7" y="0"/>
                  </a:cxn>
                  <a:cxn ang="0">
                    <a:pos x="11" y="1"/>
                  </a:cxn>
                  <a:cxn ang="0">
                    <a:pos x="14" y="5"/>
                  </a:cxn>
                  <a:cxn ang="0">
                    <a:pos x="6" y="5"/>
                  </a:cxn>
                  <a:cxn ang="0">
                    <a:pos x="0" y="5"/>
                  </a:cxn>
                </a:cxnLst>
                <a:rect l="0" t="0" r="r" b="b"/>
                <a:pathLst>
                  <a:path w="14" h="5">
                    <a:moveTo>
                      <a:pt x="0" y="5"/>
                    </a:moveTo>
                    <a:lnTo>
                      <a:pt x="2" y="1"/>
                    </a:lnTo>
                    <a:lnTo>
                      <a:pt x="7" y="0"/>
                    </a:lnTo>
                    <a:lnTo>
                      <a:pt x="11" y="1"/>
                    </a:lnTo>
                    <a:lnTo>
                      <a:pt x="14" y="5"/>
                    </a:lnTo>
                    <a:lnTo>
                      <a:pt x="6" y="5"/>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50" name="Freeform 295"/>
              <p:cNvSpPr>
                <a:spLocks/>
              </p:cNvSpPr>
              <p:nvPr/>
            </p:nvSpPr>
            <p:spPr bwMode="auto">
              <a:xfrm>
                <a:off x="2543969" y="3403600"/>
                <a:ext cx="4763" cy="6350"/>
              </a:xfrm>
              <a:custGeom>
                <a:avLst/>
                <a:gdLst/>
                <a:ahLst/>
                <a:cxnLst>
                  <a:cxn ang="0">
                    <a:pos x="3" y="4"/>
                  </a:cxn>
                  <a:cxn ang="0">
                    <a:pos x="0" y="2"/>
                  </a:cxn>
                  <a:cxn ang="0">
                    <a:pos x="0" y="0"/>
                  </a:cxn>
                  <a:cxn ang="0">
                    <a:pos x="3" y="4"/>
                  </a:cxn>
                </a:cxnLst>
                <a:rect l="0" t="0" r="r" b="b"/>
                <a:pathLst>
                  <a:path w="3" h="4">
                    <a:moveTo>
                      <a:pt x="3" y="4"/>
                    </a:moveTo>
                    <a:lnTo>
                      <a:pt x="0" y="2"/>
                    </a:lnTo>
                    <a:lnTo>
                      <a:pt x="0" y="0"/>
                    </a:lnTo>
                    <a:lnTo>
                      <a:pt x="3"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51" name="Freeform 296"/>
              <p:cNvSpPr>
                <a:spLocks/>
              </p:cNvSpPr>
              <p:nvPr/>
            </p:nvSpPr>
            <p:spPr bwMode="auto">
              <a:xfrm>
                <a:off x="2624932" y="3524250"/>
                <a:ext cx="17463" cy="14287"/>
              </a:xfrm>
              <a:custGeom>
                <a:avLst/>
                <a:gdLst/>
                <a:ahLst/>
                <a:cxnLst>
                  <a:cxn ang="0">
                    <a:pos x="0" y="5"/>
                  </a:cxn>
                  <a:cxn ang="0">
                    <a:pos x="0" y="9"/>
                  </a:cxn>
                  <a:cxn ang="0">
                    <a:pos x="2" y="9"/>
                  </a:cxn>
                  <a:cxn ang="0">
                    <a:pos x="6" y="7"/>
                  </a:cxn>
                  <a:cxn ang="0">
                    <a:pos x="11" y="5"/>
                  </a:cxn>
                  <a:cxn ang="0">
                    <a:pos x="11" y="0"/>
                  </a:cxn>
                  <a:cxn ang="0">
                    <a:pos x="6" y="4"/>
                  </a:cxn>
                  <a:cxn ang="0">
                    <a:pos x="0" y="5"/>
                  </a:cxn>
                </a:cxnLst>
                <a:rect l="0" t="0" r="r" b="b"/>
                <a:pathLst>
                  <a:path w="11" h="9">
                    <a:moveTo>
                      <a:pt x="0" y="5"/>
                    </a:moveTo>
                    <a:lnTo>
                      <a:pt x="0" y="9"/>
                    </a:lnTo>
                    <a:lnTo>
                      <a:pt x="2" y="9"/>
                    </a:lnTo>
                    <a:lnTo>
                      <a:pt x="6" y="7"/>
                    </a:lnTo>
                    <a:lnTo>
                      <a:pt x="11" y="5"/>
                    </a:lnTo>
                    <a:lnTo>
                      <a:pt x="11" y="0"/>
                    </a:lnTo>
                    <a:lnTo>
                      <a:pt x="6" y="4"/>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52" name="Freeform 297"/>
              <p:cNvSpPr>
                <a:spLocks/>
              </p:cNvSpPr>
              <p:nvPr/>
            </p:nvSpPr>
            <p:spPr bwMode="auto">
              <a:xfrm>
                <a:off x="1456532" y="2787650"/>
                <a:ext cx="1323975" cy="649287"/>
              </a:xfrm>
              <a:custGeom>
                <a:avLst/>
                <a:gdLst/>
                <a:ahLst/>
                <a:cxnLst>
                  <a:cxn ang="0">
                    <a:pos x="642" y="289"/>
                  </a:cxn>
                  <a:cxn ang="0">
                    <a:pos x="626" y="337"/>
                  </a:cxn>
                  <a:cxn ang="0">
                    <a:pos x="638" y="368"/>
                  </a:cxn>
                  <a:cxn ang="0">
                    <a:pos x="626" y="404"/>
                  </a:cxn>
                  <a:cxn ang="0">
                    <a:pos x="600" y="347"/>
                  </a:cxn>
                  <a:cxn ang="0">
                    <a:pos x="559" y="330"/>
                  </a:cxn>
                  <a:cxn ang="0">
                    <a:pos x="530" y="325"/>
                  </a:cxn>
                  <a:cxn ang="0">
                    <a:pos x="506" y="339"/>
                  </a:cxn>
                  <a:cxn ang="0">
                    <a:pos x="473" y="335"/>
                  </a:cxn>
                  <a:cxn ang="0">
                    <a:pos x="441" y="335"/>
                  </a:cxn>
                  <a:cxn ang="0">
                    <a:pos x="410" y="356"/>
                  </a:cxn>
                  <a:cxn ang="0">
                    <a:pos x="392" y="390"/>
                  </a:cxn>
                  <a:cxn ang="0">
                    <a:pos x="358" y="370"/>
                  </a:cxn>
                  <a:cxn ang="0">
                    <a:pos x="332" y="332"/>
                  </a:cxn>
                  <a:cxn ang="0">
                    <a:pos x="306" y="347"/>
                  </a:cxn>
                  <a:cxn ang="0">
                    <a:pos x="275" y="313"/>
                  </a:cxn>
                  <a:cxn ang="0">
                    <a:pos x="238" y="308"/>
                  </a:cxn>
                  <a:cxn ang="0">
                    <a:pos x="86" y="270"/>
                  </a:cxn>
                  <a:cxn ang="0">
                    <a:pos x="47" y="234"/>
                  </a:cxn>
                  <a:cxn ang="0">
                    <a:pos x="17" y="186"/>
                  </a:cxn>
                  <a:cxn ang="0">
                    <a:pos x="5" y="141"/>
                  </a:cxn>
                  <a:cxn ang="0">
                    <a:pos x="5" y="82"/>
                  </a:cxn>
                  <a:cxn ang="0">
                    <a:pos x="2" y="22"/>
                  </a:cxn>
                  <a:cxn ang="0">
                    <a:pos x="29" y="17"/>
                  </a:cxn>
                  <a:cxn ang="0">
                    <a:pos x="435" y="5"/>
                  </a:cxn>
                  <a:cxn ang="0">
                    <a:pos x="494" y="20"/>
                  </a:cxn>
                  <a:cxn ang="0">
                    <a:pos x="470" y="51"/>
                  </a:cxn>
                  <a:cxn ang="0">
                    <a:pos x="494" y="53"/>
                  </a:cxn>
                  <a:cxn ang="0">
                    <a:pos x="527" y="41"/>
                  </a:cxn>
                  <a:cxn ang="0">
                    <a:pos x="551" y="50"/>
                  </a:cxn>
                  <a:cxn ang="0">
                    <a:pos x="573" y="62"/>
                  </a:cxn>
                  <a:cxn ang="0">
                    <a:pos x="530" y="86"/>
                  </a:cxn>
                  <a:cxn ang="0">
                    <a:pos x="530" y="115"/>
                  </a:cxn>
                  <a:cxn ang="0">
                    <a:pos x="549" y="131"/>
                  </a:cxn>
                  <a:cxn ang="0">
                    <a:pos x="552" y="94"/>
                  </a:cxn>
                  <a:cxn ang="0">
                    <a:pos x="570" y="70"/>
                  </a:cxn>
                  <a:cxn ang="0">
                    <a:pos x="595" y="74"/>
                  </a:cxn>
                  <a:cxn ang="0">
                    <a:pos x="604" y="96"/>
                  </a:cxn>
                  <a:cxn ang="0">
                    <a:pos x="599" y="136"/>
                  </a:cxn>
                  <a:cxn ang="0">
                    <a:pos x="654" y="124"/>
                  </a:cxn>
                  <a:cxn ang="0">
                    <a:pos x="668" y="110"/>
                  </a:cxn>
                  <a:cxn ang="0">
                    <a:pos x="712" y="86"/>
                  </a:cxn>
                  <a:cxn ang="0">
                    <a:pos x="757" y="74"/>
                  </a:cxn>
                  <a:cxn ang="0">
                    <a:pos x="783" y="67"/>
                  </a:cxn>
                  <a:cxn ang="0">
                    <a:pos x="814" y="34"/>
                  </a:cxn>
                  <a:cxn ang="0">
                    <a:pos x="834" y="82"/>
                  </a:cxn>
                  <a:cxn ang="0">
                    <a:pos x="798" y="96"/>
                  </a:cxn>
                  <a:cxn ang="0">
                    <a:pos x="783" y="129"/>
                  </a:cxn>
                  <a:cxn ang="0">
                    <a:pos x="795" y="139"/>
                  </a:cxn>
                  <a:cxn ang="0">
                    <a:pos x="748" y="146"/>
                  </a:cxn>
                  <a:cxn ang="0">
                    <a:pos x="747" y="151"/>
                  </a:cxn>
                  <a:cxn ang="0">
                    <a:pos x="733" y="160"/>
                  </a:cxn>
                  <a:cxn ang="0">
                    <a:pos x="721" y="184"/>
                  </a:cxn>
                  <a:cxn ang="0">
                    <a:pos x="719" y="192"/>
                  </a:cxn>
                  <a:cxn ang="0">
                    <a:pos x="705" y="211"/>
                  </a:cxn>
                  <a:cxn ang="0">
                    <a:pos x="700" y="187"/>
                  </a:cxn>
                  <a:cxn ang="0">
                    <a:pos x="700" y="217"/>
                  </a:cxn>
                  <a:cxn ang="0">
                    <a:pos x="705" y="225"/>
                  </a:cxn>
                  <a:cxn ang="0">
                    <a:pos x="704" y="239"/>
                  </a:cxn>
                  <a:cxn ang="0">
                    <a:pos x="699" y="254"/>
                  </a:cxn>
                  <a:cxn ang="0">
                    <a:pos x="678" y="268"/>
                  </a:cxn>
                </a:cxnLst>
                <a:rect l="0" t="0" r="r" b="b"/>
                <a:pathLst>
                  <a:path w="834" h="409">
                    <a:moveTo>
                      <a:pt x="678" y="268"/>
                    </a:moveTo>
                    <a:lnTo>
                      <a:pt x="668" y="272"/>
                    </a:lnTo>
                    <a:lnTo>
                      <a:pt x="659" y="277"/>
                    </a:lnTo>
                    <a:lnTo>
                      <a:pt x="649" y="282"/>
                    </a:lnTo>
                    <a:lnTo>
                      <a:pt x="642" y="289"/>
                    </a:lnTo>
                    <a:lnTo>
                      <a:pt x="633" y="294"/>
                    </a:lnTo>
                    <a:lnTo>
                      <a:pt x="628" y="304"/>
                    </a:lnTo>
                    <a:lnTo>
                      <a:pt x="625" y="315"/>
                    </a:lnTo>
                    <a:lnTo>
                      <a:pt x="625" y="328"/>
                    </a:lnTo>
                    <a:lnTo>
                      <a:pt x="626" y="337"/>
                    </a:lnTo>
                    <a:lnTo>
                      <a:pt x="631" y="345"/>
                    </a:lnTo>
                    <a:lnTo>
                      <a:pt x="635" y="354"/>
                    </a:lnTo>
                    <a:lnTo>
                      <a:pt x="638" y="366"/>
                    </a:lnTo>
                    <a:lnTo>
                      <a:pt x="638" y="364"/>
                    </a:lnTo>
                    <a:lnTo>
                      <a:pt x="638" y="368"/>
                    </a:lnTo>
                    <a:lnTo>
                      <a:pt x="642" y="376"/>
                    </a:lnTo>
                    <a:lnTo>
                      <a:pt x="645" y="388"/>
                    </a:lnTo>
                    <a:lnTo>
                      <a:pt x="642" y="402"/>
                    </a:lnTo>
                    <a:lnTo>
                      <a:pt x="633" y="409"/>
                    </a:lnTo>
                    <a:lnTo>
                      <a:pt x="626" y="404"/>
                    </a:lnTo>
                    <a:lnTo>
                      <a:pt x="623" y="395"/>
                    </a:lnTo>
                    <a:lnTo>
                      <a:pt x="614" y="385"/>
                    </a:lnTo>
                    <a:lnTo>
                      <a:pt x="607" y="376"/>
                    </a:lnTo>
                    <a:lnTo>
                      <a:pt x="602" y="361"/>
                    </a:lnTo>
                    <a:lnTo>
                      <a:pt x="600" y="347"/>
                    </a:lnTo>
                    <a:lnTo>
                      <a:pt x="594" y="333"/>
                    </a:lnTo>
                    <a:lnTo>
                      <a:pt x="583" y="330"/>
                    </a:lnTo>
                    <a:lnTo>
                      <a:pt x="578" y="333"/>
                    </a:lnTo>
                    <a:lnTo>
                      <a:pt x="573" y="337"/>
                    </a:lnTo>
                    <a:lnTo>
                      <a:pt x="559" y="330"/>
                    </a:lnTo>
                    <a:lnTo>
                      <a:pt x="545" y="325"/>
                    </a:lnTo>
                    <a:lnTo>
                      <a:pt x="537" y="327"/>
                    </a:lnTo>
                    <a:lnTo>
                      <a:pt x="533" y="328"/>
                    </a:lnTo>
                    <a:lnTo>
                      <a:pt x="530" y="327"/>
                    </a:lnTo>
                    <a:lnTo>
                      <a:pt x="530" y="325"/>
                    </a:lnTo>
                    <a:lnTo>
                      <a:pt x="516" y="327"/>
                    </a:lnTo>
                    <a:lnTo>
                      <a:pt x="502" y="328"/>
                    </a:lnTo>
                    <a:lnTo>
                      <a:pt x="506" y="328"/>
                    </a:lnTo>
                    <a:lnTo>
                      <a:pt x="509" y="328"/>
                    </a:lnTo>
                    <a:lnTo>
                      <a:pt x="506" y="339"/>
                    </a:lnTo>
                    <a:lnTo>
                      <a:pt x="509" y="345"/>
                    </a:lnTo>
                    <a:lnTo>
                      <a:pt x="499" y="345"/>
                    </a:lnTo>
                    <a:lnTo>
                      <a:pt x="489" y="342"/>
                    </a:lnTo>
                    <a:lnTo>
                      <a:pt x="480" y="337"/>
                    </a:lnTo>
                    <a:lnTo>
                      <a:pt x="473" y="335"/>
                    </a:lnTo>
                    <a:lnTo>
                      <a:pt x="468" y="337"/>
                    </a:lnTo>
                    <a:lnTo>
                      <a:pt x="466" y="339"/>
                    </a:lnTo>
                    <a:lnTo>
                      <a:pt x="458" y="335"/>
                    </a:lnTo>
                    <a:lnTo>
                      <a:pt x="451" y="333"/>
                    </a:lnTo>
                    <a:lnTo>
                      <a:pt x="441" y="335"/>
                    </a:lnTo>
                    <a:lnTo>
                      <a:pt x="434" y="340"/>
                    </a:lnTo>
                    <a:lnTo>
                      <a:pt x="428" y="345"/>
                    </a:lnTo>
                    <a:lnTo>
                      <a:pt x="423" y="352"/>
                    </a:lnTo>
                    <a:lnTo>
                      <a:pt x="416" y="354"/>
                    </a:lnTo>
                    <a:lnTo>
                      <a:pt x="410" y="356"/>
                    </a:lnTo>
                    <a:lnTo>
                      <a:pt x="401" y="359"/>
                    </a:lnTo>
                    <a:lnTo>
                      <a:pt x="396" y="366"/>
                    </a:lnTo>
                    <a:lnTo>
                      <a:pt x="392" y="376"/>
                    </a:lnTo>
                    <a:lnTo>
                      <a:pt x="392" y="388"/>
                    </a:lnTo>
                    <a:lnTo>
                      <a:pt x="392" y="390"/>
                    </a:lnTo>
                    <a:lnTo>
                      <a:pt x="394" y="394"/>
                    </a:lnTo>
                    <a:lnTo>
                      <a:pt x="379" y="390"/>
                    </a:lnTo>
                    <a:lnTo>
                      <a:pt x="370" y="387"/>
                    </a:lnTo>
                    <a:lnTo>
                      <a:pt x="363" y="378"/>
                    </a:lnTo>
                    <a:lnTo>
                      <a:pt x="358" y="370"/>
                    </a:lnTo>
                    <a:lnTo>
                      <a:pt x="355" y="361"/>
                    </a:lnTo>
                    <a:lnTo>
                      <a:pt x="351" y="352"/>
                    </a:lnTo>
                    <a:lnTo>
                      <a:pt x="346" y="342"/>
                    </a:lnTo>
                    <a:lnTo>
                      <a:pt x="341" y="337"/>
                    </a:lnTo>
                    <a:lnTo>
                      <a:pt x="332" y="332"/>
                    </a:lnTo>
                    <a:lnTo>
                      <a:pt x="324" y="332"/>
                    </a:lnTo>
                    <a:lnTo>
                      <a:pt x="317" y="333"/>
                    </a:lnTo>
                    <a:lnTo>
                      <a:pt x="313" y="339"/>
                    </a:lnTo>
                    <a:lnTo>
                      <a:pt x="310" y="344"/>
                    </a:lnTo>
                    <a:lnTo>
                      <a:pt x="306" y="347"/>
                    </a:lnTo>
                    <a:lnTo>
                      <a:pt x="298" y="344"/>
                    </a:lnTo>
                    <a:lnTo>
                      <a:pt x="291" y="337"/>
                    </a:lnTo>
                    <a:lnTo>
                      <a:pt x="286" y="328"/>
                    </a:lnTo>
                    <a:lnTo>
                      <a:pt x="282" y="323"/>
                    </a:lnTo>
                    <a:lnTo>
                      <a:pt x="275" y="313"/>
                    </a:lnTo>
                    <a:lnTo>
                      <a:pt x="269" y="308"/>
                    </a:lnTo>
                    <a:lnTo>
                      <a:pt x="258" y="302"/>
                    </a:lnTo>
                    <a:lnTo>
                      <a:pt x="248" y="301"/>
                    </a:lnTo>
                    <a:lnTo>
                      <a:pt x="238" y="301"/>
                    </a:lnTo>
                    <a:lnTo>
                      <a:pt x="238" y="308"/>
                    </a:lnTo>
                    <a:lnTo>
                      <a:pt x="196" y="308"/>
                    </a:lnTo>
                    <a:lnTo>
                      <a:pt x="141" y="290"/>
                    </a:lnTo>
                    <a:lnTo>
                      <a:pt x="109" y="290"/>
                    </a:lnTo>
                    <a:lnTo>
                      <a:pt x="100" y="278"/>
                    </a:lnTo>
                    <a:lnTo>
                      <a:pt x="86" y="270"/>
                    </a:lnTo>
                    <a:lnTo>
                      <a:pt x="71" y="261"/>
                    </a:lnTo>
                    <a:lnTo>
                      <a:pt x="57" y="256"/>
                    </a:lnTo>
                    <a:lnTo>
                      <a:pt x="54" y="251"/>
                    </a:lnTo>
                    <a:lnTo>
                      <a:pt x="54" y="246"/>
                    </a:lnTo>
                    <a:lnTo>
                      <a:pt x="47" y="234"/>
                    </a:lnTo>
                    <a:lnTo>
                      <a:pt x="40" y="223"/>
                    </a:lnTo>
                    <a:lnTo>
                      <a:pt x="35" y="213"/>
                    </a:lnTo>
                    <a:lnTo>
                      <a:pt x="35" y="201"/>
                    </a:lnTo>
                    <a:lnTo>
                      <a:pt x="26" y="196"/>
                    </a:lnTo>
                    <a:lnTo>
                      <a:pt x="17" y="186"/>
                    </a:lnTo>
                    <a:lnTo>
                      <a:pt x="9" y="174"/>
                    </a:lnTo>
                    <a:lnTo>
                      <a:pt x="4" y="161"/>
                    </a:lnTo>
                    <a:lnTo>
                      <a:pt x="4" y="156"/>
                    </a:lnTo>
                    <a:lnTo>
                      <a:pt x="9" y="153"/>
                    </a:lnTo>
                    <a:lnTo>
                      <a:pt x="5" y="141"/>
                    </a:lnTo>
                    <a:lnTo>
                      <a:pt x="5" y="131"/>
                    </a:lnTo>
                    <a:lnTo>
                      <a:pt x="4" y="119"/>
                    </a:lnTo>
                    <a:lnTo>
                      <a:pt x="4" y="110"/>
                    </a:lnTo>
                    <a:lnTo>
                      <a:pt x="2" y="96"/>
                    </a:lnTo>
                    <a:lnTo>
                      <a:pt x="5" y="82"/>
                    </a:lnTo>
                    <a:lnTo>
                      <a:pt x="9" y="65"/>
                    </a:lnTo>
                    <a:lnTo>
                      <a:pt x="12" y="53"/>
                    </a:lnTo>
                    <a:lnTo>
                      <a:pt x="5" y="39"/>
                    </a:lnTo>
                    <a:lnTo>
                      <a:pt x="0" y="26"/>
                    </a:lnTo>
                    <a:lnTo>
                      <a:pt x="2" y="22"/>
                    </a:lnTo>
                    <a:lnTo>
                      <a:pt x="7" y="22"/>
                    </a:lnTo>
                    <a:lnTo>
                      <a:pt x="16" y="24"/>
                    </a:lnTo>
                    <a:lnTo>
                      <a:pt x="23" y="31"/>
                    </a:lnTo>
                    <a:lnTo>
                      <a:pt x="26" y="24"/>
                    </a:lnTo>
                    <a:lnTo>
                      <a:pt x="29" y="17"/>
                    </a:lnTo>
                    <a:lnTo>
                      <a:pt x="26" y="10"/>
                    </a:lnTo>
                    <a:lnTo>
                      <a:pt x="23" y="5"/>
                    </a:lnTo>
                    <a:lnTo>
                      <a:pt x="428" y="5"/>
                    </a:lnTo>
                    <a:lnTo>
                      <a:pt x="428" y="0"/>
                    </a:lnTo>
                    <a:lnTo>
                      <a:pt x="435" y="5"/>
                    </a:lnTo>
                    <a:lnTo>
                      <a:pt x="442" y="12"/>
                    </a:lnTo>
                    <a:lnTo>
                      <a:pt x="466" y="12"/>
                    </a:lnTo>
                    <a:lnTo>
                      <a:pt x="473" y="17"/>
                    </a:lnTo>
                    <a:lnTo>
                      <a:pt x="484" y="20"/>
                    </a:lnTo>
                    <a:lnTo>
                      <a:pt x="494" y="20"/>
                    </a:lnTo>
                    <a:lnTo>
                      <a:pt x="509" y="22"/>
                    </a:lnTo>
                    <a:lnTo>
                      <a:pt x="499" y="27"/>
                    </a:lnTo>
                    <a:lnTo>
                      <a:pt x="489" y="34"/>
                    </a:lnTo>
                    <a:lnTo>
                      <a:pt x="478" y="39"/>
                    </a:lnTo>
                    <a:lnTo>
                      <a:pt x="470" y="51"/>
                    </a:lnTo>
                    <a:lnTo>
                      <a:pt x="477" y="51"/>
                    </a:lnTo>
                    <a:lnTo>
                      <a:pt x="480" y="48"/>
                    </a:lnTo>
                    <a:lnTo>
                      <a:pt x="487" y="48"/>
                    </a:lnTo>
                    <a:lnTo>
                      <a:pt x="489" y="51"/>
                    </a:lnTo>
                    <a:lnTo>
                      <a:pt x="494" y="53"/>
                    </a:lnTo>
                    <a:lnTo>
                      <a:pt x="501" y="50"/>
                    </a:lnTo>
                    <a:lnTo>
                      <a:pt x="508" y="46"/>
                    </a:lnTo>
                    <a:lnTo>
                      <a:pt x="516" y="39"/>
                    </a:lnTo>
                    <a:lnTo>
                      <a:pt x="530" y="34"/>
                    </a:lnTo>
                    <a:lnTo>
                      <a:pt x="527" y="41"/>
                    </a:lnTo>
                    <a:lnTo>
                      <a:pt x="525" y="48"/>
                    </a:lnTo>
                    <a:lnTo>
                      <a:pt x="535" y="48"/>
                    </a:lnTo>
                    <a:lnTo>
                      <a:pt x="537" y="51"/>
                    </a:lnTo>
                    <a:lnTo>
                      <a:pt x="544" y="53"/>
                    </a:lnTo>
                    <a:lnTo>
                      <a:pt x="551" y="50"/>
                    </a:lnTo>
                    <a:lnTo>
                      <a:pt x="557" y="48"/>
                    </a:lnTo>
                    <a:lnTo>
                      <a:pt x="571" y="51"/>
                    </a:lnTo>
                    <a:lnTo>
                      <a:pt x="587" y="55"/>
                    </a:lnTo>
                    <a:lnTo>
                      <a:pt x="587" y="62"/>
                    </a:lnTo>
                    <a:lnTo>
                      <a:pt x="573" y="62"/>
                    </a:lnTo>
                    <a:lnTo>
                      <a:pt x="563" y="62"/>
                    </a:lnTo>
                    <a:lnTo>
                      <a:pt x="552" y="63"/>
                    </a:lnTo>
                    <a:lnTo>
                      <a:pt x="542" y="69"/>
                    </a:lnTo>
                    <a:lnTo>
                      <a:pt x="533" y="77"/>
                    </a:lnTo>
                    <a:lnTo>
                      <a:pt x="530" y="86"/>
                    </a:lnTo>
                    <a:lnTo>
                      <a:pt x="537" y="81"/>
                    </a:lnTo>
                    <a:lnTo>
                      <a:pt x="544" y="79"/>
                    </a:lnTo>
                    <a:lnTo>
                      <a:pt x="537" y="88"/>
                    </a:lnTo>
                    <a:lnTo>
                      <a:pt x="533" y="101"/>
                    </a:lnTo>
                    <a:lnTo>
                      <a:pt x="530" y="115"/>
                    </a:lnTo>
                    <a:lnTo>
                      <a:pt x="530" y="129"/>
                    </a:lnTo>
                    <a:lnTo>
                      <a:pt x="533" y="136"/>
                    </a:lnTo>
                    <a:lnTo>
                      <a:pt x="542" y="139"/>
                    </a:lnTo>
                    <a:lnTo>
                      <a:pt x="545" y="136"/>
                    </a:lnTo>
                    <a:lnTo>
                      <a:pt x="549" y="131"/>
                    </a:lnTo>
                    <a:lnTo>
                      <a:pt x="551" y="122"/>
                    </a:lnTo>
                    <a:lnTo>
                      <a:pt x="552" y="117"/>
                    </a:lnTo>
                    <a:lnTo>
                      <a:pt x="552" y="106"/>
                    </a:lnTo>
                    <a:lnTo>
                      <a:pt x="552" y="101"/>
                    </a:lnTo>
                    <a:lnTo>
                      <a:pt x="552" y="94"/>
                    </a:lnTo>
                    <a:lnTo>
                      <a:pt x="552" y="88"/>
                    </a:lnTo>
                    <a:lnTo>
                      <a:pt x="552" y="81"/>
                    </a:lnTo>
                    <a:lnTo>
                      <a:pt x="557" y="79"/>
                    </a:lnTo>
                    <a:lnTo>
                      <a:pt x="566" y="74"/>
                    </a:lnTo>
                    <a:lnTo>
                      <a:pt x="570" y="70"/>
                    </a:lnTo>
                    <a:lnTo>
                      <a:pt x="571" y="65"/>
                    </a:lnTo>
                    <a:lnTo>
                      <a:pt x="576" y="65"/>
                    </a:lnTo>
                    <a:lnTo>
                      <a:pt x="580" y="65"/>
                    </a:lnTo>
                    <a:lnTo>
                      <a:pt x="588" y="70"/>
                    </a:lnTo>
                    <a:lnTo>
                      <a:pt x="595" y="74"/>
                    </a:lnTo>
                    <a:lnTo>
                      <a:pt x="599" y="81"/>
                    </a:lnTo>
                    <a:lnTo>
                      <a:pt x="595" y="89"/>
                    </a:lnTo>
                    <a:lnTo>
                      <a:pt x="594" y="100"/>
                    </a:lnTo>
                    <a:lnTo>
                      <a:pt x="599" y="98"/>
                    </a:lnTo>
                    <a:lnTo>
                      <a:pt x="604" y="96"/>
                    </a:lnTo>
                    <a:lnTo>
                      <a:pt x="606" y="105"/>
                    </a:lnTo>
                    <a:lnTo>
                      <a:pt x="611" y="112"/>
                    </a:lnTo>
                    <a:lnTo>
                      <a:pt x="602" y="120"/>
                    </a:lnTo>
                    <a:lnTo>
                      <a:pt x="599" y="129"/>
                    </a:lnTo>
                    <a:lnTo>
                      <a:pt x="599" y="136"/>
                    </a:lnTo>
                    <a:lnTo>
                      <a:pt x="606" y="141"/>
                    </a:lnTo>
                    <a:lnTo>
                      <a:pt x="616" y="137"/>
                    </a:lnTo>
                    <a:lnTo>
                      <a:pt x="630" y="134"/>
                    </a:lnTo>
                    <a:lnTo>
                      <a:pt x="643" y="127"/>
                    </a:lnTo>
                    <a:lnTo>
                      <a:pt x="654" y="124"/>
                    </a:lnTo>
                    <a:lnTo>
                      <a:pt x="650" y="115"/>
                    </a:lnTo>
                    <a:lnTo>
                      <a:pt x="649" y="112"/>
                    </a:lnTo>
                    <a:lnTo>
                      <a:pt x="652" y="112"/>
                    </a:lnTo>
                    <a:lnTo>
                      <a:pt x="656" y="112"/>
                    </a:lnTo>
                    <a:lnTo>
                      <a:pt x="668" y="110"/>
                    </a:lnTo>
                    <a:lnTo>
                      <a:pt x="683" y="110"/>
                    </a:lnTo>
                    <a:lnTo>
                      <a:pt x="695" y="105"/>
                    </a:lnTo>
                    <a:lnTo>
                      <a:pt x="702" y="96"/>
                    </a:lnTo>
                    <a:lnTo>
                      <a:pt x="704" y="93"/>
                    </a:lnTo>
                    <a:lnTo>
                      <a:pt x="712" y="86"/>
                    </a:lnTo>
                    <a:lnTo>
                      <a:pt x="719" y="77"/>
                    </a:lnTo>
                    <a:lnTo>
                      <a:pt x="724" y="76"/>
                    </a:lnTo>
                    <a:lnTo>
                      <a:pt x="735" y="74"/>
                    </a:lnTo>
                    <a:lnTo>
                      <a:pt x="752" y="74"/>
                    </a:lnTo>
                    <a:lnTo>
                      <a:pt x="757" y="74"/>
                    </a:lnTo>
                    <a:lnTo>
                      <a:pt x="764" y="74"/>
                    </a:lnTo>
                    <a:lnTo>
                      <a:pt x="769" y="72"/>
                    </a:lnTo>
                    <a:lnTo>
                      <a:pt x="776" y="72"/>
                    </a:lnTo>
                    <a:lnTo>
                      <a:pt x="779" y="70"/>
                    </a:lnTo>
                    <a:lnTo>
                      <a:pt x="783" y="67"/>
                    </a:lnTo>
                    <a:lnTo>
                      <a:pt x="786" y="58"/>
                    </a:lnTo>
                    <a:lnTo>
                      <a:pt x="791" y="50"/>
                    </a:lnTo>
                    <a:lnTo>
                      <a:pt x="795" y="39"/>
                    </a:lnTo>
                    <a:lnTo>
                      <a:pt x="803" y="33"/>
                    </a:lnTo>
                    <a:lnTo>
                      <a:pt x="814" y="34"/>
                    </a:lnTo>
                    <a:lnTo>
                      <a:pt x="824" y="36"/>
                    </a:lnTo>
                    <a:lnTo>
                      <a:pt x="826" y="46"/>
                    </a:lnTo>
                    <a:lnTo>
                      <a:pt x="828" y="58"/>
                    </a:lnTo>
                    <a:lnTo>
                      <a:pt x="829" y="70"/>
                    </a:lnTo>
                    <a:lnTo>
                      <a:pt x="834" y="82"/>
                    </a:lnTo>
                    <a:lnTo>
                      <a:pt x="828" y="89"/>
                    </a:lnTo>
                    <a:lnTo>
                      <a:pt x="819" y="91"/>
                    </a:lnTo>
                    <a:lnTo>
                      <a:pt x="812" y="89"/>
                    </a:lnTo>
                    <a:lnTo>
                      <a:pt x="807" y="91"/>
                    </a:lnTo>
                    <a:lnTo>
                      <a:pt x="798" y="96"/>
                    </a:lnTo>
                    <a:lnTo>
                      <a:pt x="790" y="103"/>
                    </a:lnTo>
                    <a:lnTo>
                      <a:pt x="783" y="112"/>
                    </a:lnTo>
                    <a:lnTo>
                      <a:pt x="781" y="125"/>
                    </a:lnTo>
                    <a:lnTo>
                      <a:pt x="781" y="127"/>
                    </a:lnTo>
                    <a:lnTo>
                      <a:pt x="783" y="129"/>
                    </a:lnTo>
                    <a:lnTo>
                      <a:pt x="785" y="134"/>
                    </a:lnTo>
                    <a:lnTo>
                      <a:pt x="788" y="139"/>
                    </a:lnTo>
                    <a:lnTo>
                      <a:pt x="791" y="137"/>
                    </a:lnTo>
                    <a:lnTo>
                      <a:pt x="795" y="136"/>
                    </a:lnTo>
                    <a:lnTo>
                      <a:pt x="795" y="139"/>
                    </a:lnTo>
                    <a:lnTo>
                      <a:pt x="783" y="139"/>
                    </a:lnTo>
                    <a:lnTo>
                      <a:pt x="778" y="139"/>
                    </a:lnTo>
                    <a:lnTo>
                      <a:pt x="767" y="143"/>
                    </a:lnTo>
                    <a:lnTo>
                      <a:pt x="759" y="144"/>
                    </a:lnTo>
                    <a:lnTo>
                      <a:pt x="748" y="146"/>
                    </a:lnTo>
                    <a:lnTo>
                      <a:pt x="740" y="151"/>
                    </a:lnTo>
                    <a:lnTo>
                      <a:pt x="745" y="151"/>
                    </a:lnTo>
                    <a:lnTo>
                      <a:pt x="750" y="149"/>
                    </a:lnTo>
                    <a:lnTo>
                      <a:pt x="757" y="151"/>
                    </a:lnTo>
                    <a:lnTo>
                      <a:pt x="747" y="151"/>
                    </a:lnTo>
                    <a:lnTo>
                      <a:pt x="738" y="153"/>
                    </a:lnTo>
                    <a:lnTo>
                      <a:pt x="735" y="153"/>
                    </a:lnTo>
                    <a:lnTo>
                      <a:pt x="731" y="153"/>
                    </a:lnTo>
                    <a:lnTo>
                      <a:pt x="731" y="156"/>
                    </a:lnTo>
                    <a:lnTo>
                      <a:pt x="733" y="160"/>
                    </a:lnTo>
                    <a:lnTo>
                      <a:pt x="735" y="163"/>
                    </a:lnTo>
                    <a:lnTo>
                      <a:pt x="731" y="167"/>
                    </a:lnTo>
                    <a:lnTo>
                      <a:pt x="728" y="174"/>
                    </a:lnTo>
                    <a:lnTo>
                      <a:pt x="724" y="180"/>
                    </a:lnTo>
                    <a:lnTo>
                      <a:pt x="721" y="184"/>
                    </a:lnTo>
                    <a:lnTo>
                      <a:pt x="719" y="182"/>
                    </a:lnTo>
                    <a:lnTo>
                      <a:pt x="717" y="180"/>
                    </a:lnTo>
                    <a:lnTo>
                      <a:pt x="716" y="184"/>
                    </a:lnTo>
                    <a:lnTo>
                      <a:pt x="717" y="187"/>
                    </a:lnTo>
                    <a:lnTo>
                      <a:pt x="719" y="192"/>
                    </a:lnTo>
                    <a:lnTo>
                      <a:pt x="716" y="196"/>
                    </a:lnTo>
                    <a:lnTo>
                      <a:pt x="712" y="203"/>
                    </a:lnTo>
                    <a:lnTo>
                      <a:pt x="709" y="210"/>
                    </a:lnTo>
                    <a:lnTo>
                      <a:pt x="707" y="213"/>
                    </a:lnTo>
                    <a:lnTo>
                      <a:pt x="705" y="211"/>
                    </a:lnTo>
                    <a:lnTo>
                      <a:pt x="705" y="210"/>
                    </a:lnTo>
                    <a:lnTo>
                      <a:pt x="705" y="206"/>
                    </a:lnTo>
                    <a:lnTo>
                      <a:pt x="705" y="204"/>
                    </a:lnTo>
                    <a:lnTo>
                      <a:pt x="702" y="196"/>
                    </a:lnTo>
                    <a:lnTo>
                      <a:pt x="700" y="187"/>
                    </a:lnTo>
                    <a:lnTo>
                      <a:pt x="699" y="191"/>
                    </a:lnTo>
                    <a:lnTo>
                      <a:pt x="700" y="194"/>
                    </a:lnTo>
                    <a:lnTo>
                      <a:pt x="700" y="203"/>
                    </a:lnTo>
                    <a:lnTo>
                      <a:pt x="702" y="213"/>
                    </a:lnTo>
                    <a:lnTo>
                      <a:pt x="700" y="217"/>
                    </a:lnTo>
                    <a:lnTo>
                      <a:pt x="702" y="220"/>
                    </a:lnTo>
                    <a:lnTo>
                      <a:pt x="704" y="220"/>
                    </a:lnTo>
                    <a:lnTo>
                      <a:pt x="705" y="220"/>
                    </a:lnTo>
                    <a:lnTo>
                      <a:pt x="705" y="222"/>
                    </a:lnTo>
                    <a:lnTo>
                      <a:pt x="705" y="225"/>
                    </a:lnTo>
                    <a:lnTo>
                      <a:pt x="702" y="229"/>
                    </a:lnTo>
                    <a:lnTo>
                      <a:pt x="699" y="232"/>
                    </a:lnTo>
                    <a:lnTo>
                      <a:pt x="702" y="234"/>
                    </a:lnTo>
                    <a:lnTo>
                      <a:pt x="705" y="235"/>
                    </a:lnTo>
                    <a:lnTo>
                      <a:pt x="704" y="239"/>
                    </a:lnTo>
                    <a:lnTo>
                      <a:pt x="699" y="241"/>
                    </a:lnTo>
                    <a:lnTo>
                      <a:pt x="699" y="246"/>
                    </a:lnTo>
                    <a:lnTo>
                      <a:pt x="704" y="249"/>
                    </a:lnTo>
                    <a:lnTo>
                      <a:pt x="700" y="251"/>
                    </a:lnTo>
                    <a:lnTo>
                      <a:pt x="699" y="254"/>
                    </a:lnTo>
                    <a:lnTo>
                      <a:pt x="690" y="256"/>
                    </a:lnTo>
                    <a:lnTo>
                      <a:pt x="686" y="260"/>
                    </a:lnTo>
                    <a:lnTo>
                      <a:pt x="680" y="263"/>
                    </a:lnTo>
                    <a:lnTo>
                      <a:pt x="676" y="266"/>
                    </a:lnTo>
                    <a:lnTo>
                      <a:pt x="678" y="26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53" name="Freeform 298"/>
              <p:cNvSpPr>
                <a:spLocks/>
              </p:cNvSpPr>
              <p:nvPr/>
            </p:nvSpPr>
            <p:spPr bwMode="auto">
              <a:xfrm>
                <a:off x="1085057" y="1992313"/>
                <a:ext cx="1955800" cy="1011237"/>
              </a:xfrm>
              <a:custGeom>
                <a:avLst/>
                <a:gdLst/>
                <a:ahLst/>
                <a:cxnLst>
                  <a:cxn ang="0">
                    <a:pos x="1096" y="570"/>
                  </a:cxn>
                  <a:cxn ang="0">
                    <a:pos x="1091" y="607"/>
                  </a:cxn>
                  <a:cxn ang="0">
                    <a:pos x="1149" y="568"/>
                  </a:cxn>
                  <a:cxn ang="0">
                    <a:pos x="1103" y="527"/>
                  </a:cxn>
                  <a:cxn ang="0">
                    <a:pos x="1092" y="499"/>
                  </a:cxn>
                  <a:cxn ang="0">
                    <a:pos x="1067" y="499"/>
                  </a:cxn>
                  <a:cxn ang="0">
                    <a:pos x="1172" y="479"/>
                  </a:cxn>
                  <a:cxn ang="0">
                    <a:pos x="1218" y="410"/>
                  </a:cxn>
                  <a:cxn ang="0">
                    <a:pos x="1187" y="408"/>
                  </a:cxn>
                  <a:cxn ang="0">
                    <a:pos x="1165" y="370"/>
                  </a:cxn>
                  <a:cxn ang="0">
                    <a:pos x="1127" y="319"/>
                  </a:cxn>
                  <a:cxn ang="0">
                    <a:pos x="1089" y="293"/>
                  </a:cxn>
                  <a:cxn ang="0">
                    <a:pos x="1031" y="281"/>
                  </a:cxn>
                  <a:cxn ang="0">
                    <a:pos x="969" y="231"/>
                  </a:cxn>
                  <a:cxn ang="0">
                    <a:pos x="903" y="243"/>
                  </a:cxn>
                  <a:cxn ang="0">
                    <a:pos x="907" y="300"/>
                  </a:cxn>
                  <a:cxn ang="0">
                    <a:pos x="917" y="374"/>
                  </a:cxn>
                  <a:cxn ang="0">
                    <a:pos x="891" y="458"/>
                  </a:cxn>
                  <a:cxn ang="0">
                    <a:pos x="841" y="391"/>
                  </a:cxn>
                  <a:cxn ang="0">
                    <a:pos x="705" y="348"/>
                  </a:cxn>
                  <a:cxn ang="0">
                    <a:pos x="666" y="308"/>
                  </a:cxn>
                  <a:cxn ang="0">
                    <a:pos x="695" y="227"/>
                  </a:cxn>
                  <a:cxn ang="0">
                    <a:pos x="697" y="202"/>
                  </a:cxn>
                  <a:cxn ang="0">
                    <a:pos x="738" y="195"/>
                  </a:cxn>
                  <a:cxn ang="0">
                    <a:pos x="733" y="152"/>
                  </a:cxn>
                  <a:cxn ang="0">
                    <a:pos x="785" y="140"/>
                  </a:cxn>
                  <a:cxn ang="0">
                    <a:pos x="845" y="131"/>
                  </a:cxn>
                  <a:cxn ang="0">
                    <a:pos x="857" y="78"/>
                  </a:cxn>
                  <a:cxn ang="0">
                    <a:pos x="798" y="64"/>
                  </a:cxn>
                  <a:cxn ang="0">
                    <a:pos x="757" y="104"/>
                  </a:cxn>
                  <a:cxn ang="0">
                    <a:pos x="735" y="78"/>
                  </a:cxn>
                  <a:cxn ang="0">
                    <a:pos x="700" y="50"/>
                  </a:cxn>
                  <a:cxn ang="0">
                    <a:pos x="659" y="0"/>
                  </a:cxn>
                  <a:cxn ang="0">
                    <a:pos x="642" y="52"/>
                  </a:cxn>
                  <a:cxn ang="0">
                    <a:pos x="668" y="93"/>
                  </a:cxn>
                  <a:cxn ang="0">
                    <a:pos x="638" y="92"/>
                  </a:cxn>
                  <a:cxn ang="0">
                    <a:pos x="582" y="105"/>
                  </a:cxn>
                  <a:cxn ang="0">
                    <a:pos x="487" y="76"/>
                  </a:cxn>
                  <a:cxn ang="0">
                    <a:pos x="482" y="97"/>
                  </a:cxn>
                  <a:cxn ang="0">
                    <a:pos x="427" y="102"/>
                  </a:cxn>
                  <a:cxn ang="0">
                    <a:pos x="367" y="95"/>
                  </a:cxn>
                  <a:cxn ang="0">
                    <a:pos x="343" y="80"/>
                  </a:cxn>
                  <a:cxn ang="0">
                    <a:pos x="253" y="59"/>
                  </a:cxn>
                  <a:cxn ang="0">
                    <a:pos x="184" y="40"/>
                  </a:cxn>
                  <a:cxn ang="0">
                    <a:pos x="131" y="52"/>
                  </a:cxn>
                  <a:cxn ang="0">
                    <a:pos x="85" y="68"/>
                  </a:cxn>
                  <a:cxn ang="0">
                    <a:pos x="28" y="71"/>
                  </a:cxn>
                  <a:cxn ang="0">
                    <a:pos x="19" y="281"/>
                  </a:cxn>
                  <a:cxn ang="0">
                    <a:pos x="78" y="291"/>
                  </a:cxn>
                  <a:cxn ang="0">
                    <a:pos x="134" y="360"/>
                  </a:cxn>
                  <a:cxn ang="0">
                    <a:pos x="150" y="411"/>
                  </a:cxn>
                  <a:cxn ang="0">
                    <a:pos x="183" y="448"/>
                  </a:cxn>
                  <a:cxn ang="0">
                    <a:pos x="232" y="492"/>
                  </a:cxn>
                  <a:cxn ang="0">
                    <a:pos x="700" y="513"/>
                  </a:cxn>
                  <a:cxn ang="0">
                    <a:pos x="771" y="515"/>
                  </a:cxn>
                  <a:cxn ang="0">
                    <a:pos x="807" y="540"/>
                  </a:cxn>
                  <a:cxn ang="0">
                    <a:pos x="876" y="587"/>
                  </a:cxn>
                  <a:cxn ang="0">
                    <a:pos x="833" y="630"/>
                  </a:cxn>
                  <a:cxn ang="0">
                    <a:pos x="883" y="626"/>
                  </a:cxn>
                  <a:cxn ang="0">
                    <a:pos x="912" y="601"/>
                  </a:cxn>
                  <a:cxn ang="0">
                    <a:pos x="991" y="575"/>
                  </a:cxn>
                  <a:cxn ang="0">
                    <a:pos x="1037" y="534"/>
                  </a:cxn>
                </a:cxnLst>
                <a:rect l="0" t="0" r="r" b="b"/>
                <a:pathLst>
                  <a:path w="1232" h="637">
                    <a:moveTo>
                      <a:pt x="1067" y="580"/>
                    </a:moveTo>
                    <a:lnTo>
                      <a:pt x="1067" y="578"/>
                    </a:lnTo>
                    <a:lnTo>
                      <a:pt x="1068" y="578"/>
                    </a:lnTo>
                    <a:lnTo>
                      <a:pt x="1072" y="578"/>
                    </a:lnTo>
                    <a:lnTo>
                      <a:pt x="1074" y="578"/>
                    </a:lnTo>
                    <a:lnTo>
                      <a:pt x="1080" y="578"/>
                    </a:lnTo>
                    <a:lnTo>
                      <a:pt x="1086" y="577"/>
                    </a:lnTo>
                    <a:lnTo>
                      <a:pt x="1091" y="577"/>
                    </a:lnTo>
                    <a:lnTo>
                      <a:pt x="1096" y="570"/>
                    </a:lnTo>
                    <a:lnTo>
                      <a:pt x="1105" y="566"/>
                    </a:lnTo>
                    <a:lnTo>
                      <a:pt x="1105" y="573"/>
                    </a:lnTo>
                    <a:lnTo>
                      <a:pt x="1111" y="575"/>
                    </a:lnTo>
                    <a:lnTo>
                      <a:pt x="1101" y="575"/>
                    </a:lnTo>
                    <a:lnTo>
                      <a:pt x="1091" y="580"/>
                    </a:lnTo>
                    <a:lnTo>
                      <a:pt x="1084" y="585"/>
                    </a:lnTo>
                    <a:lnTo>
                      <a:pt x="1082" y="594"/>
                    </a:lnTo>
                    <a:lnTo>
                      <a:pt x="1086" y="602"/>
                    </a:lnTo>
                    <a:lnTo>
                      <a:pt x="1091" y="607"/>
                    </a:lnTo>
                    <a:lnTo>
                      <a:pt x="1094" y="604"/>
                    </a:lnTo>
                    <a:lnTo>
                      <a:pt x="1099" y="599"/>
                    </a:lnTo>
                    <a:lnTo>
                      <a:pt x="1106" y="594"/>
                    </a:lnTo>
                    <a:lnTo>
                      <a:pt x="1115" y="590"/>
                    </a:lnTo>
                    <a:lnTo>
                      <a:pt x="1122" y="587"/>
                    </a:lnTo>
                    <a:lnTo>
                      <a:pt x="1134" y="582"/>
                    </a:lnTo>
                    <a:lnTo>
                      <a:pt x="1146" y="577"/>
                    </a:lnTo>
                    <a:lnTo>
                      <a:pt x="1153" y="573"/>
                    </a:lnTo>
                    <a:lnTo>
                      <a:pt x="1149" y="568"/>
                    </a:lnTo>
                    <a:lnTo>
                      <a:pt x="1144" y="566"/>
                    </a:lnTo>
                    <a:lnTo>
                      <a:pt x="1139" y="566"/>
                    </a:lnTo>
                    <a:lnTo>
                      <a:pt x="1135" y="566"/>
                    </a:lnTo>
                    <a:lnTo>
                      <a:pt x="1123" y="563"/>
                    </a:lnTo>
                    <a:lnTo>
                      <a:pt x="1111" y="558"/>
                    </a:lnTo>
                    <a:lnTo>
                      <a:pt x="1101" y="549"/>
                    </a:lnTo>
                    <a:lnTo>
                      <a:pt x="1098" y="540"/>
                    </a:lnTo>
                    <a:lnTo>
                      <a:pt x="1099" y="534"/>
                    </a:lnTo>
                    <a:lnTo>
                      <a:pt x="1103" y="527"/>
                    </a:lnTo>
                    <a:lnTo>
                      <a:pt x="1098" y="527"/>
                    </a:lnTo>
                    <a:lnTo>
                      <a:pt x="1091" y="527"/>
                    </a:lnTo>
                    <a:lnTo>
                      <a:pt x="1094" y="521"/>
                    </a:lnTo>
                    <a:lnTo>
                      <a:pt x="1101" y="520"/>
                    </a:lnTo>
                    <a:lnTo>
                      <a:pt x="1108" y="515"/>
                    </a:lnTo>
                    <a:lnTo>
                      <a:pt x="1111" y="509"/>
                    </a:lnTo>
                    <a:lnTo>
                      <a:pt x="1108" y="503"/>
                    </a:lnTo>
                    <a:lnTo>
                      <a:pt x="1101" y="501"/>
                    </a:lnTo>
                    <a:lnTo>
                      <a:pt x="1092" y="499"/>
                    </a:lnTo>
                    <a:lnTo>
                      <a:pt x="1086" y="501"/>
                    </a:lnTo>
                    <a:lnTo>
                      <a:pt x="1068" y="503"/>
                    </a:lnTo>
                    <a:lnTo>
                      <a:pt x="1058" y="509"/>
                    </a:lnTo>
                    <a:lnTo>
                      <a:pt x="1048" y="515"/>
                    </a:lnTo>
                    <a:lnTo>
                      <a:pt x="1037" y="520"/>
                    </a:lnTo>
                    <a:lnTo>
                      <a:pt x="1043" y="511"/>
                    </a:lnTo>
                    <a:lnTo>
                      <a:pt x="1049" y="508"/>
                    </a:lnTo>
                    <a:lnTo>
                      <a:pt x="1056" y="504"/>
                    </a:lnTo>
                    <a:lnTo>
                      <a:pt x="1067" y="499"/>
                    </a:lnTo>
                    <a:lnTo>
                      <a:pt x="1070" y="489"/>
                    </a:lnTo>
                    <a:lnTo>
                      <a:pt x="1079" y="484"/>
                    </a:lnTo>
                    <a:lnTo>
                      <a:pt x="1091" y="480"/>
                    </a:lnTo>
                    <a:lnTo>
                      <a:pt x="1103" y="480"/>
                    </a:lnTo>
                    <a:lnTo>
                      <a:pt x="1115" y="480"/>
                    </a:lnTo>
                    <a:lnTo>
                      <a:pt x="1129" y="482"/>
                    </a:lnTo>
                    <a:lnTo>
                      <a:pt x="1144" y="482"/>
                    </a:lnTo>
                    <a:lnTo>
                      <a:pt x="1160" y="482"/>
                    </a:lnTo>
                    <a:lnTo>
                      <a:pt x="1172" y="479"/>
                    </a:lnTo>
                    <a:lnTo>
                      <a:pt x="1184" y="470"/>
                    </a:lnTo>
                    <a:lnTo>
                      <a:pt x="1194" y="463"/>
                    </a:lnTo>
                    <a:lnTo>
                      <a:pt x="1209" y="458"/>
                    </a:lnTo>
                    <a:lnTo>
                      <a:pt x="1225" y="451"/>
                    </a:lnTo>
                    <a:lnTo>
                      <a:pt x="1232" y="442"/>
                    </a:lnTo>
                    <a:lnTo>
                      <a:pt x="1228" y="427"/>
                    </a:lnTo>
                    <a:lnTo>
                      <a:pt x="1223" y="418"/>
                    </a:lnTo>
                    <a:lnTo>
                      <a:pt x="1220" y="415"/>
                    </a:lnTo>
                    <a:lnTo>
                      <a:pt x="1218" y="410"/>
                    </a:lnTo>
                    <a:lnTo>
                      <a:pt x="1218" y="405"/>
                    </a:lnTo>
                    <a:lnTo>
                      <a:pt x="1206" y="410"/>
                    </a:lnTo>
                    <a:lnTo>
                      <a:pt x="1194" y="415"/>
                    </a:lnTo>
                    <a:lnTo>
                      <a:pt x="1178" y="417"/>
                    </a:lnTo>
                    <a:lnTo>
                      <a:pt x="1170" y="420"/>
                    </a:lnTo>
                    <a:lnTo>
                      <a:pt x="1166" y="418"/>
                    </a:lnTo>
                    <a:lnTo>
                      <a:pt x="1165" y="417"/>
                    </a:lnTo>
                    <a:lnTo>
                      <a:pt x="1173" y="411"/>
                    </a:lnTo>
                    <a:lnTo>
                      <a:pt x="1187" y="408"/>
                    </a:lnTo>
                    <a:lnTo>
                      <a:pt x="1199" y="403"/>
                    </a:lnTo>
                    <a:lnTo>
                      <a:pt x="1206" y="398"/>
                    </a:lnTo>
                    <a:lnTo>
                      <a:pt x="1204" y="394"/>
                    </a:lnTo>
                    <a:lnTo>
                      <a:pt x="1203" y="393"/>
                    </a:lnTo>
                    <a:lnTo>
                      <a:pt x="1190" y="391"/>
                    </a:lnTo>
                    <a:lnTo>
                      <a:pt x="1178" y="389"/>
                    </a:lnTo>
                    <a:lnTo>
                      <a:pt x="1168" y="382"/>
                    </a:lnTo>
                    <a:lnTo>
                      <a:pt x="1165" y="372"/>
                    </a:lnTo>
                    <a:lnTo>
                      <a:pt x="1165" y="370"/>
                    </a:lnTo>
                    <a:lnTo>
                      <a:pt x="1149" y="365"/>
                    </a:lnTo>
                    <a:lnTo>
                      <a:pt x="1139" y="358"/>
                    </a:lnTo>
                    <a:lnTo>
                      <a:pt x="1144" y="355"/>
                    </a:lnTo>
                    <a:lnTo>
                      <a:pt x="1148" y="348"/>
                    </a:lnTo>
                    <a:lnTo>
                      <a:pt x="1144" y="341"/>
                    </a:lnTo>
                    <a:lnTo>
                      <a:pt x="1144" y="334"/>
                    </a:lnTo>
                    <a:lnTo>
                      <a:pt x="1137" y="329"/>
                    </a:lnTo>
                    <a:lnTo>
                      <a:pt x="1132" y="325"/>
                    </a:lnTo>
                    <a:lnTo>
                      <a:pt x="1127" y="319"/>
                    </a:lnTo>
                    <a:lnTo>
                      <a:pt x="1127" y="313"/>
                    </a:lnTo>
                    <a:lnTo>
                      <a:pt x="1125" y="305"/>
                    </a:lnTo>
                    <a:lnTo>
                      <a:pt x="1120" y="298"/>
                    </a:lnTo>
                    <a:lnTo>
                      <a:pt x="1111" y="291"/>
                    </a:lnTo>
                    <a:lnTo>
                      <a:pt x="1110" y="284"/>
                    </a:lnTo>
                    <a:lnTo>
                      <a:pt x="1105" y="281"/>
                    </a:lnTo>
                    <a:lnTo>
                      <a:pt x="1101" y="279"/>
                    </a:lnTo>
                    <a:lnTo>
                      <a:pt x="1092" y="282"/>
                    </a:lnTo>
                    <a:lnTo>
                      <a:pt x="1089" y="293"/>
                    </a:lnTo>
                    <a:lnTo>
                      <a:pt x="1086" y="298"/>
                    </a:lnTo>
                    <a:lnTo>
                      <a:pt x="1079" y="308"/>
                    </a:lnTo>
                    <a:lnTo>
                      <a:pt x="1068" y="315"/>
                    </a:lnTo>
                    <a:lnTo>
                      <a:pt x="1060" y="319"/>
                    </a:lnTo>
                    <a:lnTo>
                      <a:pt x="1049" y="313"/>
                    </a:lnTo>
                    <a:lnTo>
                      <a:pt x="1043" y="308"/>
                    </a:lnTo>
                    <a:lnTo>
                      <a:pt x="1036" y="303"/>
                    </a:lnTo>
                    <a:lnTo>
                      <a:pt x="1032" y="293"/>
                    </a:lnTo>
                    <a:lnTo>
                      <a:pt x="1031" y="281"/>
                    </a:lnTo>
                    <a:lnTo>
                      <a:pt x="1031" y="272"/>
                    </a:lnTo>
                    <a:lnTo>
                      <a:pt x="1024" y="264"/>
                    </a:lnTo>
                    <a:lnTo>
                      <a:pt x="1013" y="262"/>
                    </a:lnTo>
                    <a:lnTo>
                      <a:pt x="1003" y="258"/>
                    </a:lnTo>
                    <a:lnTo>
                      <a:pt x="1000" y="250"/>
                    </a:lnTo>
                    <a:lnTo>
                      <a:pt x="989" y="245"/>
                    </a:lnTo>
                    <a:lnTo>
                      <a:pt x="984" y="239"/>
                    </a:lnTo>
                    <a:lnTo>
                      <a:pt x="976" y="233"/>
                    </a:lnTo>
                    <a:lnTo>
                      <a:pt x="969" y="231"/>
                    </a:lnTo>
                    <a:lnTo>
                      <a:pt x="962" y="233"/>
                    </a:lnTo>
                    <a:lnTo>
                      <a:pt x="955" y="236"/>
                    </a:lnTo>
                    <a:lnTo>
                      <a:pt x="943" y="233"/>
                    </a:lnTo>
                    <a:lnTo>
                      <a:pt x="934" y="231"/>
                    </a:lnTo>
                    <a:lnTo>
                      <a:pt x="926" y="227"/>
                    </a:lnTo>
                    <a:lnTo>
                      <a:pt x="917" y="227"/>
                    </a:lnTo>
                    <a:lnTo>
                      <a:pt x="905" y="229"/>
                    </a:lnTo>
                    <a:lnTo>
                      <a:pt x="902" y="239"/>
                    </a:lnTo>
                    <a:lnTo>
                      <a:pt x="903" y="243"/>
                    </a:lnTo>
                    <a:lnTo>
                      <a:pt x="907" y="248"/>
                    </a:lnTo>
                    <a:lnTo>
                      <a:pt x="908" y="253"/>
                    </a:lnTo>
                    <a:lnTo>
                      <a:pt x="903" y="262"/>
                    </a:lnTo>
                    <a:lnTo>
                      <a:pt x="902" y="265"/>
                    </a:lnTo>
                    <a:lnTo>
                      <a:pt x="905" y="272"/>
                    </a:lnTo>
                    <a:lnTo>
                      <a:pt x="908" y="277"/>
                    </a:lnTo>
                    <a:lnTo>
                      <a:pt x="914" y="284"/>
                    </a:lnTo>
                    <a:lnTo>
                      <a:pt x="910" y="293"/>
                    </a:lnTo>
                    <a:lnTo>
                      <a:pt x="907" y="300"/>
                    </a:lnTo>
                    <a:lnTo>
                      <a:pt x="898" y="303"/>
                    </a:lnTo>
                    <a:lnTo>
                      <a:pt x="895" y="307"/>
                    </a:lnTo>
                    <a:lnTo>
                      <a:pt x="903" y="319"/>
                    </a:lnTo>
                    <a:lnTo>
                      <a:pt x="912" y="331"/>
                    </a:lnTo>
                    <a:lnTo>
                      <a:pt x="915" y="336"/>
                    </a:lnTo>
                    <a:lnTo>
                      <a:pt x="920" y="344"/>
                    </a:lnTo>
                    <a:lnTo>
                      <a:pt x="922" y="355"/>
                    </a:lnTo>
                    <a:lnTo>
                      <a:pt x="924" y="367"/>
                    </a:lnTo>
                    <a:lnTo>
                      <a:pt x="917" y="374"/>
                    </a:lnTo>
                    <a:lnTo>
                      <a:pt x="907" y="386"/>
                    </a:lnTo>
                    <a:lnTo>
                      <a:pt x="893" y="394"/>
                    </a:lnTo>
                    <a:lnTo>
                      <a:pt x="883" y="399"/>
                    </a:lnTo>
                    <a:lnTo>
                      <a:pt x="891" y="408"/>
                    </a:lnTo>
                    <a:lnTo>
                      <a:pt x="895" y="422"/>
                    </a:lnTo>
                    <a:lnTo>
                      <a:pt x="896" y="436"/>
                    </a:lnTo>
                    <a:lnTo>
                      <a:pt x="900" y="446"/>
                    </a:lnTo>
                    <a:lnTo>
                      <a:pt x="895" y="449"/>
                    </a:lnTo>
                    <a:lnTo>
                      <a:pt x="891" y="458"/>
                    </a:lnTo>
                    <a:lnTo>
                      <a:pt x="883" y="461"/>
                    </a:lnTo>
                    <a:lnTo>
                      <a:pt x="876" y="463"/>
                    </a:lnTo>
                    <a:lnTo>
                      <a:pt x="865" y="453"/>
                    </a:lnTo>
                    <a:lnTo>
                      <a:pt x="855" y="444"/>
                    </a:lnTo>
                    <a:lnTo>
                      <a:pt x="847" y="434"/>
                    </a:lnTo>
                    <a:lnTo>
                      <a:pt x="845" y="423"/>
                    </a:lnTo>
                    <a:lnTo>
                      <a:pt x="845" y="410"/>
                    </a:lnTo>
                    <a:lnTo>
                      <a:pt x="845" y="401"/>
                    </a:lnTo>
                    <a:lnTo>
                      <a:pt x="841" y="391"/>
                    </a:lnTo>
                    <a:lnTo>
                      <a:pt x="834" y="386"/>
                    </a:lnTo>
                    <a:lnTo>
                      <a:pt x="802" y="386"/>
                    </a:lnTo>
                    <a:lnTo>
                      <a:pt x="786" y="375"/>
                    </a:lnTo>
                    <a:lnTo>
                      <a:pt x="771" y="367"/>
                    </a:lnTo>
                    <a:lnTo>
                      <a:pt x="754" y="360"/>
                    </a:lnTo>
                    <a:lnTo>
                      <a:pt x="738" y="355"/>
                    </a:lnTo>
                    <a:lnTo>
                      <a:pt x="728" y="348"/>
                    </a:lnTo>
                    <a:lnTo>
                      <a:pt x="716" y="344"/>
                    </a:lnTo>
                    <a:lnTo>
                      <a:pt x="705" y="348"/>
                    </a:lnTo>
                    <a:lnTo>
                      <a:pt x="697" y="351"/>
                    </a:lnTo>
                    <a:lnTo>
                      <a:pt x="695" y="338"/>
                    </a:lnTo>
                    <a:lnTo>
                      <a:pt x="692" y="325"/>
                    </a:lnTo>
                    <a:lnTo>
                      <a:pt x="685" y="315"/>
                    </a:lnTo>
                    <a:lnTo>
                      <a:pt x="678" y="312"/>
                    </a:lnTo>
                    <a:lnTo>
                      <a:pt x="671" y="313"/>
                    </a:lnTo>
                    <a:lnTo>
                      <a:pt x="666" y="317"/>
                    </a:lnTo>
                    <a:lnTo>
                      <a:pt x="666" y="312"/>
                    </a:lnTo>
                    <a:lnTo>
                      <a:pt x="666" y="308"/>
                    </a:lnTo>
                    <a:lnTo>
                      <a:pt x="666" y="301"/>
                    </a:lnTo>
                    <a:lnTo>
                      <a:pt x="666" y="295"/>
                    </a:lnTo>
                    <a:lnTo>
                      <a:pt x="666" y="279"/>
                    </a:lnTo>
                    <a:lnTo>
                      <a:pt x="669" y="269"/>
                    </a:lnTo>
                    <a:lnTo>
                      <a:pt x="675" y="258"/>
                    </a:lnTo>
                    <a:lnTo>
                      <a:pt x="683" y="250"/>
                    </a:lnTo>
                    <a:lnTo>
                      <a:pt x="685" y="243"/>
                    </a:lnTo>
                    <a:lnTo>
                      <a:pt x="690" y="236"/>
                    </a:lnTo>
                    <a:lnTo>
                      <a:pt x="695" y="227"/>
                    </a:lnTo>
                    <a:lnTo>
                      <a:pt x="700" y="224"/>
                    </a:lnTo>
                    <a:lnTo>
                      <a:pt x="707" y="222"/>
                    </a:lnTo>
                    <a:lnTo>
                      <a:pt x="714" y="221"/>
                    </a:lnTo>
                    <a:lnTo>
                      <a:pt x="721" y="219"/>
                    </a:lnTo>
                    <a:lnTo>
                      <a:pt x="724" y="214"/>
                    </a:lnTo>
                    <a:lnTo>
                      <a:pt x="721" y="209"/>
                    </a:lnTo>
                    <a:lnTo>
                      <a:pt x="712" y="205"/>
                    </a:lnTo>
                    <a:lnTo>
                      <a:pt x="704" y="203"/>
                    </a:lnTo>
                    <a:lnTo>
                      <a:pt x="697" y="202"/>
                    </a:lnTo>
                    <a:lnTo>
                      <a:pt x="697" y="200"/>
                    </a:lnTo>
                    <a:lnTo>
                      <a:pt x="699" y="198"/>
                    </a:lnTo>
                    <a:lnTo>
                      <a:pt x="705" y="198"/>
                    </a:lnTo>
                    <a:lnTo>
                      <a:pt x="714" y="200"/>
                    </a:lnTo>
                    <a:lnTo>
                      <a:pt x="728" y="205"/>
                    </a:lnTo>
                    <a:lnTo>
                      <a:pt x="731" y="203"/>
                    </a:lnTo>
                    <a:lnTo>
                      <a:pt x="733" y="200"/>
                    </a:lnTo>
                    <a:lnTo>
                      <a:pt x="735" y="197"/>
                    </a:lnTo>
                    <a:lnTo>
                      <a:pt x="738" y="195"/>
                    </a:lnTo>
                    <a:lnTo>
                      <a:pt x="740" y="195"/>
                    </a:lnTo>
                    <a:lnTo>
                      <a:pt x="748" y="195"/>
                    </a:lnTo>
                    <a:lnTo>
                      <a:pt x="762" y="188"/>
                    </a:lnTo>
                    <a:lnTo>
                      <a:pt x="776" y="176"/>
                    </a:lnTo>
                    <a:lnTo>
                      <a:pt x="776" y="169"/>
                    </a:lnTo>
                    <a:lnTo>
                      <a:pt x="762" y="166"/>
                    </a:lnTo>
                    <a:lnTo>
                      <a:pt x="750" y="164"/>
                    </a:lnTo>
                    <a:lnTo>
                      <a:pt x="740" y="159"/>
                    </a:lnTo>
                    <a:lnTo>
                      <a:pt x="733" y="152"/>
                    </a:lnTo>
                    <a:lnTo>
                      <a:pt x="736" y="152"/>
                    </a:lnTo>
                    <a:lnTo>
                      <a:pt x="743" y="152"/>
                    </a:lnTo>
                    <a:lnTo>
                      <a:pt x="752" y="159"/>
                    </a:lnTo>
                    <a:lnTo>
                      <a:pt x="766" y="164"/>
                    </a:lnTo>
                    <a:lnTo>
                      <a:pt x="771" y="160"/>
                    </a:lnTo>
                    <a:lnTo>
                      <a:pt x="779" y="157"/>
                    </a:lnTo>
                    <a:lnTo>
                      <a:pt x="785" y="152"/>
                    </a:lnTo>
                    <a:lnTo>
                      <a:pt x="788" y="147"/>
                    </a:lnTo>
                    <a:lnTo>
                      <a:pt x="785" y="140"/>
                    </a:lnTo>
                    <a:lnTo>
                      <a:pt x="785" y="136"/>
                    </a:lnTo>
                    <a:lnTo>
                      <a:pt x="797" y="141"/>
                    </a:lnTo>
                    <a:lnTo>
                      <a:pt x="807" y="147"/>
                    </a:lnTo>
                    <a:lnTo>
                      <a:pt x="814" y="143"/>
                    </a:lnTo>
                    <a:lnTo>
                      <a:pt x="824" y="141"/>
                    </a:lnTo>
                    <a:lnTo>
                      <a:pt x="824" y="135"/>
                    </a:lnTo>
                    <a:lnTo>
                      <a:pt x="831" y="140"/>
                    </a:lnTo>
                    <a:lnTo>
                      <a:pt x="834" y="138"/>
                    </a:lnTo>
                    <a:lnTo>
                      <a:pt x="845" y="131"/>
                    </a:lnTo>
                    <a:lnTo>
                      <a:pt x="855" y="123"/>
                    </a:lnTo>
                    <a:lnTo>
                      <a:pt x="860" y="116"/>
                    </a:lnTo>
                    <a:lnTo>
                      <a:pt x="853" y="107"/>
                    </a:lnTo>
                    <a:lnTo>
                      <a:pt x="848" y="102"/>
                    </a:lnTo>
                    <a:lnTo>
                      <a:pt x="847" y="97"/>
                    </a:lnTo>
                    <a:lnTo>
                      <a:pt x="847" y="93"/>
                    </a:lnTo>
                    <a:lnTo>
                      <a:pt x="848" y="88"/>
                    </a:lnTo>
                    <a:lnTo>
                      <a:pt x="857" y="83"/>
                    </a:lnTo>
                    <a:lnTo>
                      <a:pt x="857" y="78"/>
                    </a:lnTo>
                    <a:lnTo>
                      <a:pt x="857" y="71"/>
                    </a:lnTo>
                    <a:lnTo>
                      <a:pt x="847" y="68"/>
                    </a:lnTo>
                    <a:lnTo>
                      <a:pt x="841" y="64"/>
                    </a:lnTo>
                    <a:lnTo>
                      <a:pt x="834" y="59"/>
                    </a:lnTo>
                    <a:lnTo>
                      <a:pt x="824" y="57"/>
                    </a:lnTo>
                    <a:lnTo>
                      <a:pt x="817" y="56"/>
                    </a:lnTo>
                    <a:lnTo>
                      <a:pt x="812" y="54"/>
                    </a:lnTo>
                    <a:lnTo>
                      <a:pt x="802" y="56"/>
                    </a:lnTo>
                    <a:lnTo>
                      <a:pt x="798" y="64"/>
                    </a:lnTo>
                    <a:lnTo>
                      <a:pt x="802" y="71"/>
                    </a:lnTo>
                    <a:lnTo>
                      <a:pt x="807" y="78"/>
                    </a:lnTo>
                    <a:lnTo>
                      <a:pt x="800" y="83"/>
                    </a:lnTo>
                    <a:lnTo>
                      <a:pt x="791" y="88"/>
                    </a:lnTo>
                    <a:lnTo>
                      <a:pt x="788" y="100"/>
                    </a:lnTo>
                    <a:lnTo>
                      <a:pt x="783" y="114"/>
                    </a:lnTo>
                    <a:lnTo>
                      <a:pt x="773" y="117"/>
                    </a:lnTo>
                    <a:lnTo>
                      <a:pt x="764" y="112"/>
                    </a:lnTo>
                    <a:lnTo>
                      <a:pt x="757" y="104"/>
                    </a:lnTo>
                    <a:lnTo>
                      <a:pt x="755" y="98"/>
                    </a:lnTo>
                    <a:lnTo>
                      <a:pt x="759" y="92"/>
                    </a:lnTo>
                    <a:lnTo>
                      <a:pt x="764" y="86"/>
                    </a:lnTo>
                    <a:lnTo>
                      <a:pt x="761" y="81"/>
                    </a:lnTo>
                    <a:lnTo>
                      <a:pt x="755" y="74"/>
                    </a:lnTo>
                    <a:lnTo>
                      <a:pt x="748" y="69"/>
                    </a:lnTo>
                    <a:lnTo>
                      <a:pt x="745" y="68"/>
                    </a:lnTo>
                    <a:lnTo>
                      <a:pt x="736" y="69"/>
                    </a:lnTo>
                    <a:lnTo>
                      <a:pt x="735" y="78"/>
                    </a:lnTo>
                    <a:lnTo>
                      <a:pt x="731" y="85"/>
                    </a:lnTo>
                    <a:lnTo>
                      <a:pt x="724" y="90"/>
                    </a:lnTo>
                    <a:lnTo>
                      <a:pt x="723" y="78"/>
                    </a:lnTo>
                    <a:lnTo>
                      <a:pt x="714" y="71"/>
                    </a:lnTo>
                    <a:lnTo>
                      <a:pt x="716" y="66"/>
                    </a:lnTo>
                    <a:lnTo>
                      <a:pt x="719" y="64"/>
                    </a:lnTo>
                    <a:lnTo>
                      <a:pt x="704" y="61"/>
                    </a:lnTo>
                    <a:lnTo>
                      <a:pt x="693" y="57"/>
                    </a:lnTo>
                    <a:lnTo>
                      <a:pt x="700" y="50"/>
                    </a:lnTo>
                    <a:lnTo>
                      <a:pt x="705" y="43"/>
                    </a:lnTo>
                    <a:lnTo>
                      <a:pt x="702" y="37"/>
                    </a:lnTo>
                    <a:lnTo>
                      <a:pt x="697" y="35"/>
                    </a:lnTo>
                    <a:lnTo>
                      <a:pt x="692" y="31"/>
                    </a:lnTo>
                    <a:lnTo>
                      <a:pt x="690" y="28"/>
                    </a:lnTo>
                    <a:lnTo>
                      <a:pt x="687" y="16"/>
                    </a:lnTo>
                    <a:lnTo>
                      <a:pt x="681" y="9"/>
                    </a:lnTo>
                    <a:lnTo>
                      <a:pt x="671" y="2"/>
                    </a:lnTo>
                    <a:lnTo>
                      <a:pt x="659" y="0"/>
                    </a:lnTo>
                    <a:lnTo>
                      <a:pt x="652" y="4"/>
                    </a:lnTo>
                    <a:lnTo>
                      <a:pt x="654" y="13"/>
                    </a:lnTo>
                    <a:lnTo>
                      <a:pt x="644" y="13"/>
                    </a:lnTo>
                    <a:lnTo>
                      <a:pt x="640" y="19"/>
                    </a:lnTo>
                    <a:lnTo>
                      <a:pt x="642" y="26"/>
                    </a:lnTo>
                    <a:lnTo>
                      <a:pt x="644" y="33"/>
                    </a:lnTo>
                    <a:lnTo>
                      <a:pt x="640" y="37"/>
                    </a:lnTo>
                    <a:lnTo>
                      <a:pt x="637" y="43"/>
                    </a:lnTo>
                    <a:lnTo>
                      <a:pt x="642" y="52"/>
                    </a:lnTo>
                    <a:lnTo>
                      <a:pt x="654" y="56"/>
                    </a:lnTo>
                    <a:lnTo>
                      <a:pt x="664" y="59"/>
                    </a:lnTo>
                    <a:lnTo>
                      <a:pt x="671" y="68"/>
                    </a:lnTo>
                    <a:lnTo>
                      <a:pt x="669" y="76"/>
                    </a:lnTo>
                    <a:lnTo>
                      <a:pt x="668" y="83"/>
                    </a:lnTo>
                    <a:lnTo>
                      <a:pt x="673" y="80"/>
                    </a:lnTo>
                    <a:lnTo>
                      <a:pt x="678" y="78"/>
                    </a:lnTo>
                    <a:lnTo>
                      <a:pt x="676" y="88"/>
                    </a:lnTo>
                    <a:lnTo>
                      <a:pt x="668" y="93"/>
                    </a:lnTo>
                    <a:lnTo>
                      <a:pt x="661" y="95"/>
                    </a:lnTo>
                    <a:lnTo>
                      <a:pt x="656" y="98"/>
                    </a:lnTo>
                    <a:lnTo>
                      <a:pt x="652" y="104"/>
                    </a:lnTo>
                    <a:lnTo>
                      <a:pt x="652" y="114"/>
                    </a:lnTo>
                    <a:lnTo>
                      <a:pt x="644" y="112"/>
                    </a:lnTo>
                    <a:lnTo>
                      <a:pt x="642" y="107"/>
                    </a:lnTo>
                    <a:lnTo>
                      <a:pt x="644" y="100"/>
                    </a:lnTo>
                    <a:lnTo>
                      <a:pt x="644" y="95"/>
                    </a:lnTo>
                    <a:lnTo>
                      <a:pt x="638" y="92"/>
                    </a:lnTo>
                    <a:lnTo>
                      <a:pt x="633" y="92"/>
                    </a:lnTo>
                    <a:lnTo>
                      <a:pt x="626" y="90"/>
                    </a:lnTo>
                    <a:lnTo>
                      <a:pt x="621" y="90"/>
                    </a:lnTo>
                    <a:lnTo>
                      <a:pt x="611" y="93"/>
                    </a:lnTo>
                    <a:lnTo>
                      <a:pt x="609" y="105"/>
                    </a:lnTo>
                    <a:lnTo>
                      <a:pt x="601" y="105"/>
                    </a:lnTo>
                    <a:lnTo>
                      <a:pt x="594" y="105"/>
                    </a:lnTo>
                    <a:lnTo>
                      <a:pt x="587" y="105"/>
                    </a:lnTo>
                    <a:lnTo>
                      <a:pt x="582" y="105"/>
                    </a:lnTo>
                    <a:lnTo>
                      <a:pt x="573" y="105"/>
                    </a:lnTo>
                    <a:lnTo>
                      <a:pt x="564" y="105"/>
                    </a:lnTo>
                    <a:lnTo>
                      <a:pt x="554" y="104"/>
                    </a:lnTo>
                    <a:lnTo>
                      <a:pt x="544" y="102"/>
                    </a:lnTo>
                    <a:lnTo>
                      <a:pt x="533" y="100"/>
                    </a:lnTo>
                    <a:lnTo>
                      <a:pt x="523" y="98"/>
                    </a:lnTo>
                    <a:lnTo>
                      <a:pt x="508" y="88"/>
                    </a:lnTo>
                    <a:lnTo>
                      <a:pt x="499" y="76"/>
                    </a:lnTo>
                    <a:lnTo>
                      <a:pt x="487" y="76"/>
                    </a:lnTo>
                    <a:lnTo>
                      <a:pt x="475" y="78"/>
                    </a:lnTo>
                    <a:lnTo>
                      <a:pt x="463" y="81"/>
                    </a:lnTo>
                    <a:lnTo>
                      <a:pt x="460" y="90"/>
                    </a:lnTo>
                    <a:lnTo>
                      <a:pt x="461" y="93"/>
                    </a:lnTo>
                    <a:lnTo>
                      <a:pt x="466" y="95"/>
                    </a:lnTo>
                    <a:lnTo>
                      <a:pt x="480" y="92"/>
                    </a:lnTo>
                    <a:lnTo>
                      <a:pt x="494" y="88"/>
                    </a:lnTo>
                    <a:lnTo>
                      <a:pt x="490" y="93"/>
                    </a:lnTo>
                    <a:lnTo>
                      <a:pt x="482" y="97"/>
                    </a:lnTo>
                    <a:lnTo>
                      <a:pt x="473" y="98"/>
                    </a:lnTo>
                    <a:lnTo>
                      <a:pt x="470" y="107"/>
                    </a:lnTo>
                    <a:lnTo>
                      <a:pt x="472" y="116"/>
                    </a:lnTo>
                    <a:lnTo>
                      <a:pt x="473" y="123"/>
                    </a:lnTo>
                    <a:lnTo>
                      <a:pt x="461" y="116"/>
                    </a:lnTo>
                    <a:lnTo>
                      <a:pt x="453" y="105"/>
                    </a:lnTo>
                    <a:lnTo>
                      <a:pt x="444" y="102"/>
                    </a:lnTo>
                    <a:lnTo>
                      <a:pt x="434" y="102"/>
                    </a:lnTo>
                    <a:lnTo>
                      <a:pt x="427" y="102"/>
                    </a:lnTo>
                    <a:lnTo>
                      <a:pt x="420" y="102"/>
                    </a:lnTo>
                    <a:lnTo>
                      <a:pt x="411" y="102"/>
                    </a:lnTo>
                    <a:lnTo>
                      <a:pt x="398" y="104"/>
                    </a:lnTo>
                    <a:lnTo>
                      <a:pt x="384" y="107"/>
                    </a:lnTo>
                    <a:lnTo>
                      <a:pt x="372" y="105"/>
                    </a:lnTo>
                    <a:lnTo>
                      <a:pt x="367" y="104"/>
                    </a:lnTo>
                    <a:lnTo>
                      <a:pt x="365" y="100"/>
                    </a:lnTo>
                    <a:lnTo>
                      <a:pt x="365" y="98"/>
                    </a:lnTo>
                    <a:lnTo>
                      <a:pt x="367" y="95"/>
                    </a:lnTo>
                    <a:lnTo>
                      <a:pt x="372" y="95"/>
                    </a:lnTo>
                    <a:lnTo>
                      <a:pt x="377" y="93"/>
                    </a:lnTo>
                    <a:lnTo>
                      <a:pt x="382" y="93"/>
                    </a:lnTo>
                    <a:lnTo>
                      <a:pt x="374" y="81"/>
                    </a:lnTo>
                    <a:lnTo>
                      <a:pt x="367" y="78"/>
                    </a:lnTo>
                    <a:lnTo>
                      <a:pt x="361" y="76"/>
                    </a:lnTo>
                    <a:lnTo>
                      <a:pt x="358" y="76"/>
                    </a:lnTo>
                    <a:lnTo>
                      <a:pt x="351" y="78"/>
                    </a:lnTo>
                    <a:lnTo>
                      <a:pt x="343" y="80"/>
                    </a:lnTo>
                    <a:lnTo>
                      <a:pt x="331" y="78"/>
                    </a:lnTo>
                    <a:lnTo>
                      <a:pt x="320" y="76"/>
                    </a:lnTo>
                    <a:lnTo>
                      <a:pt x="312" y="71"/>
                    </a:lnTo>
                    <a:lnTo>
                      <a:pt x="303" y="68"/>
                    </a:lnTo>
                    <a:lnTo>
                      <a:pt x="293" y="62"/>
                    </a:lnTo>
                    <a:lnTo>
                      <a:pt x="284" y="59"/>
                    </a:lnTo>
                    <a:lnTo>
                      <a:pt x="274" y="57"/>
                    </a:lnTo>
                    <a:lnTo>
                      <a:pt x="265" y="57"/>
                    </a:lnTo>
                    <a:lnTo>
                      <a:pt x="253" y="59"/>
                    </a:lnTo>
                    <a:lnTo>
                      <a:pt x="243" y="62"/>
                    </a:lnTo>
                    <a:lnTo>
                      <a:pt x="234" y="57"/>
                    </a:lnTo>
                    <a:lnTo>
                      <a:pt x="231" y="49"/>
                    </a:lnTo>
                    <a:lnTo>
                      <a:pt x="220" y="56"/>
                    </a:lnTo>
                    <a:lnTo>
                      <a:pt x="212" y="62"/>
                    </a:lnTo>
                    <a:lnTo>
                      <a:pt x="203" y="57"/>
                    </a:lnTo>
                    <a:lnTo>
                      <a:pt x="195" y="50"/>
                    </a:lnTo>
                    <a:lnTo>
                      <a:pt x="188" y="42"/>
                    </a:lnTo>
                    <a:lnTo>
                      <a:pt x="184" y="40"/>
                    </a:lnTo>
                    <a:lnTo>
                      <a:pt x="177" y="42"/>
                    </a:lnTo>
                    <a:lnTo>
                      <a:pt x="176" y="47"/>
                    </a:lnTo>
                    <a:lnTo>
                      <a:pt x="172" y="50"/>
                    </a:lnTo>
                    <a:lnTo>
                      <a:pt x="167" y="54"/>
                    </a:lnTo>
                    <a:lnTo>
                      <a:pt x="162" y="52"/>
                    </a:lnTo>
                    <a:lnTo>
                      <a:pt x="159" y="47"/>
                    </a:lnTo>
                    <a:lnTo>
                      <a:pt x="146" y="49"/>
                    </a:lnTo>
                    <a:lnTo>
                      <a:pt x="140" y="50"/>
                    </a:lnTo>
                    <a:lnTo>
                      <a:pt x="131" y="52"/>
                    </a:lnTo>
                    <a:lnTo>
                      <a:pt x="122" y="57"/>
                    </a:lnTo>
                    <a:lnTo>
                      <a:pt x="116" y="59"/>
                    </a:lnTo>
                    <a:lnTo>
                      <a:pt x="110" y="62"/>
                    </a:lnTo>
                    <a:lnTo>
                      <a:pt x="104" y="64"/>
                    </a:lnTo>
                    <a:lnTo>
                      <a:pt x="100" y="64"/>
                    </a:lnTo>
                    <a:lnTo>
                      <a:pt x="91" y="59"/>
                    </a:lnTo>
                    <a:lnTo>
                      <a:pt x="88" y="61"/>
                    </a:lnTo>
                    <a:lnTo>
                      <a:pt x="86" y="64"/>
                    </a:lnTo>
                    <a:lnTo>
                      <a:pt x="85" y="68"/>
                    </a:lnTo>
                    <a:lnTo>
                      <a:pt x="73" y="68"/>
                    </a:lnTo>
                    <a:lnTo>
                      <a:pt x="67" y="69"/>
                    </a:lnTo>
                    <a:lnTo>
                      <a:pt x="64" y="71"/>
                    </a:lnTo>
                    <a:lnTo>
                      <a:pt x="66" y="74"/>
                    </a:lnTo>
                    <a:lnTo>
                      <a:pt x="67" y="78"/>
                    </a:lnTo>
                    <a:lnTo>
                      <a:pt x="69" y="81"/>
                    </a:lnTo>
                    <a:lnTo>
                      <a:pt x="57" y="80"/>
                    </a:lnTo>
                    <a:lnTo>
                      <a:pt x="43" y="78"/>
                    </a:lnTo>
                    <a:lnTo>
                      <a:pt x="28" y="71"/>
                    </a:lnTo>
                    <a:lnTo>
                      <a:pt x="12" y="66"/>
                    </a:lnTo>
                    <a:lnTo>
                      <a:pt x="9" y="62"/>
                    </a:lnTo>
                    <a:lnTo>
                      <a:pt x="5" y="59"/>
                    </a:lnTo>
                    <a:lnTo>
                      <a:pt x="2" y="59"/>
                    </a:lnTo>
                    <a:lnTo>
                      <a:pt x="0" y="59"/>
                    </a:lnTo>
                    <a:lnTo>
                      <a:pt x="0" y="279"/>
                    </a:lnTo>
                    <a:lnTo>
                      <a:pt x="4" y="279"/>
                    </a:lnTo>
                    <a:lnTo>
                      <a:pt x="12" y="281"/>
                    </a:lnTo>
                    <a:lnTo>
                      <a:pt x="19" y="281"/>
                    </a:lnTo>
                    <a:lnTo>
                      <a:pt x="28" y="286"/>
                    </a:lnTo>
                    <a:lnTo>
                      <a:pt x="31" y="291"/>
                    </a:lnTo>
                    <a:lnTo>
                      <a:pt x="38" y="298"/>
                    </a:lnTo>
                    <a:lnTo>
                      <a:pt x="45" y="303"/>
                    </a:lnTo>
                    <a:lnTo>
                      <a:pt x="54" y="307"/>
                    </a:lnTo>
                    <a:lnTo>
                      <a:pt x="61" y="300"/>
                    </a:lnTo>
                    <a:lnTo>
                      <a:pt x="67" y="295"/>
                    </a:lnTo>
                    <a:lnTo>
                      <a:pt x="71" y="293"/>
                    </a:lnTo>
                    <a:lnTo>
                      <a:pt x="78" y="291"/>
                    </a:lnTo>
                    <a:lnTo>
                      <a:pt x="86" y="300"/>
                    </a:lnTo>
                    <a:lnTo>
                      <a:pt x="95" y="308"/>
                    </a:lnTo>
                    <a:lnTo>
                      <a:pt x="102" y="319"/>
                    </a:lnTo>
                    <a:lnTo>
                      <a:pt x="112" y="332"/>
                    </a:lnTo>
                    <a:lnTo>
                      <a:pt x="116" y="334"/>
                    </a:lnTo>
                    <a:lnTo>
                      <a:pt x="119" y="339"/>
                    </a:lnTo>
                    <a:lnTo>
                      <a:pt x="122" y="348"/>
                    </a:lnTo>
                    <a:lnTo>
                      <a:pt x="129" y="358"/>
                    </a:lnTo>
                    <a:lnTo>
                      <a:pt x="134" y="360"/>
                    </a:lnTo>
                    <a:lnTo>
                      <a:pt x="141" y="363"/>
                    </a:lnTo>
                    <a:lnTo>
                      <a:pt x="150" y="370"/>
                    </a:lnTo>
                    <a:lnTo>
                      <a:pt x="155" y="382"/>
                    </a:lnTo>
                    <a:lnTo>
                      <a:pt x="152" y="387"/>
                    </a:lnTo>
                    <a:lnTo>
                      <a:pt x="148" y="393"/>
                    </a:lnTo>
                    <a:lnTo>
                      <a:pt x="148" y="394"/>
                    </a:lnTo>
                    <a:lnTo>
                      <a:pt x="150" y="399"/>
                    </a:lnTo>
                    <a:lnTo>
                      <a:pt x="148" y="405"/>
                    </a:lnTo>
                    <a:lnTo>
                      <a:pt x="150" y="411"/>
                    </a:lnTo>
                    <a:lnTo>
                      <a:pt x="150" y="417"/>
                    </a:lnTo>
                    <a:lnTo>
                      <a:pt x="157" y="422"/>
                    </a:lnTo>
                    <a:lnTo>
                      <a:pt x="162" y="422"/>
                    </a:lnTo>
                    <a:lnTo>
                      <a:pt x="167" y="425"/>
                    </a:lnTo>
                    <a:lnTo>
                      <a:pt x="169" y="432"/>
                    </a:lnTo>
                    <a:lnTo>
                      <a:pt x="172" y="441"/>
                    </a:lnTo>
                    <a:lnTo>
                      <a:pt x="174" y="441"/>
                    </a:lnTo>
                    <a:lnTo>
                      <a:pt x="179" y="444"/>
                    </a:lnTo>
                    <a:lnTo>
                      <a:pt x="183" y="448"/>
                    </a:lnTo>
                    <a:lnTo>
                      <a:pt x="186" y="451"/>
                    </a:lnTo>
                    <a:lnTo>
                      <a:pt x="188" y="458"/>
                    </a:lnTo>
                    <a:lnTo>
                      <a:pt x="191" y="466"/>
                    </a:lnTo>
                    <a:lnTo>
                      <a:pt x="196" y="472"/>
                    </a:lnTo>
                    <a:lnTo>
                      <a:pt x="208" y="475"/>
                    </a:lnTo>
                    <a:lnTo>
                      <a:pt x="210" y="479"/>
                    </a:lnTo>
                    <a:lnTo>
                      <a:pt x="219" y="482"/>
                    </a:lnTo>
                    <a:lnTo>
                      <a:pt x="226" y="484"/>
                    </a:lnTo>
                    <a:lnTo>
                      <a:pt x="232" y="492"/>
                    </a:lnTo>
                    <a:lnTo>
                      <a:pt x="239" y="497"/>
                    </a:lnTo>
                    <a:lnTo>
                      <a:pt x="251" y="504"/>
                    </a:lnTo>
                    <a:lnTo>
                      <a:pt x="253" y="504"/>
                    </a:lnTo>
                    <a:lnTo>
                      <a:pt x="257" y="506"/>
                    </a:lnTo>
                    <a:lnTo>
                      <a:pt x="662" y="506"/>
                    </a:lnTo>
                    <a:lnTo>
                      <a:pt x="662" y="501"/>
                    </a:lnTo>
                    <a:lnTo>
                      <a:pt x="669" y="506"/>
                    </a:lnTo>
                    <a:lnTo>
                      <a:pt x="676" y="513"/>
                    </a:lnTo>
                    <a:lnTo>
                      <a:pt x="700" y="513"/>
                    </a:lnTo>
                    <a:lnTo>
                      <a:pt x="707" y="518"/>
                    </a:lnTo>
                    <a:lnTo>
                      <a:pt x="718" y="521"/>
                    </a:lnTo>
                    <a:lnTo>
                      <a:pt x="728" y="521"/>
                    </a:lnTo>
                    <a:lnTo>
                      <a:pt x="743" y="523"/>
                    </a:lnTo>
                    <a:lnTo>
                      <a:pt x="748" y="521"/>
                    </a:lnTo>
                    <a:lnTo>
                      <a:pt x="755" y="521"/>
                    </a:lnTo>
                    <a:lnTo>
                      <a:pt x="759" y="513"/>
                    </a:lnTo>
                    <a:lnTo>
                      <a:pt x="764" y="509"/>
                    </a:lnTo>
                    <a:lnTo>
                      <a:pt x="771" y="515"/>
                    </a:lnTo>
                    <a:lnTo>
                      <a:pt x="776" y="521"/>
                    </a:lnTo>
                    <a:lnTo>
                      <a:pt x="776" y="516"/>
                    </a:lnTo>
                    <a:lnTo>
                      <a:pt x="778" y="515"/>
                    </a:lnTo>
                    <a:lnTo>
                      <a:pt x="781" y="515"/>
                    </a:lnTo>
                    <a:lnTo>
                      <a:pt x="785" y="516"/>
                    </a:lnTo>
                    <a:lnTo>
                      <a:pt x="793" y="523"/>
                    </a:lnTo>
                    <a:lnTo>
                      <a:pt x="802" y="528"/>
                    </a:lnTo>
                    <a:lnTo>
                      <a:pt x="807" y="534"/>
                    </a:lnTo>
                    <a:lnTo>
                      <a:pt x="807" y="540"/>
                    </a:lnTo>
                    <a:lnTo>
                      <a:pt x="810" y="549"/>
                    </a:lnTo>
                    <a:lnTo>
                      <a:pt x="819" y="554"/>
                    </a:lnTo>
                    <a:lnTo>
                      <a:pt x="829" y="558"/>
                    </a:lnTo>
                    <a:lnTo>
                      <a:pt x="840" y="559"/>
                    </a:lnTo>
                    <a:lnTo>
                      <a:pt x="850" y="566"/>
                    </a:lnTo>
                    <a:lnTo>
                      <a:pt x="864" y="566"/>
                    </a:lnTo>
                    <a:lnTo>
                      <a:pt x="872" y="571"/>
                    </a:lnTo>
                    <a:lnTo>
                      <a:pt x="877" y="583"/>
                    </a:lnTo>
                    <a:lnTo>
                      <a:pt x="876" y="587"/>
                    </a:lnTo>
                    <a:lnTo>
                      <a:pt x="872" y="589"/>
                    </a:lnTo>
                    <a:lnTo>
                      <a:pt x="862" y="583"/>
                    </a:lnTo>
                    <a:lnTo>
                      <a:pt x="859" y="580"/>
                    </a:lnTo>
                    <a:lnTo>
                      <a:pt x="855" y="587"/>
                    </a:lnTo>
                    <a:lnTo>
                      <a:pt x="853" y="599"/>
                    </a:lnTo>
                    <a:lnTo>
                      <a:pt x="848" y="607"/>
                    </a:lnTo>
                    <a:lnTo>
                      <a:pt x="845" y="613"/>
                    </a:lnTo>
                    <a:lnTo>
                      <a:pt x="836" y="621"/>
                    </a:lnTo>
                    <a:lnTo>
                      <a:pt x="833" y="630"/>
                    </a:lnTo>
                    <a:lnTo>
                      <a:pt x="836" y="633"/>
                    </a:lnTo>
                    <a:lnTo>
                      <a:pt x="841" y="637"/>
                    </a:lnTo>
                    <a:lnTo>
                      <a:pt x="845" y="633"/>
                    </a:lnTo>
                    <a:lnTo>
                      <a:pt x="848" y="632"/>
                    </a:lnTo>
                    <a:lnTo>
                      <a:pt x="855" y="626"/>
                    </a:lnTo>
                    <a:lnTo>
                      <a:pt x="867" y="626"/>
                    </a:lnTo>
                    <a:lnTo>
                      <a:pt x="874" y="626"/>
                    </a:lnTo>
                    <a:lnTo>
                      <a:pt x="879" y="628"/>
                    </a:lnTo>
                    <a:lnTo>
                      <a:pt x="883" y="626"/>
                    </a:lnTo>
                    <a:lnTo>
                      <a:pt x="888" y="625"/>
                    </a:lnTo>
                    <a:lnTo>
                      <a:pt x="886" y="620"/>
                    </a:lnTo>
                    <a:lnTo>
                      <a:pt x="884" y="616"/>
                    </a:lnTo>
                    <a:lnTo>
                      <a:pt x="883" y="613"/>
                    </a:lnTo>
                    <a:lnTo>
                      <a:pt x="881" y="611"/>
                    </a:lnTo>
                    <a:lnTo>
                      <a:pt x="883" y="607"/>
                    </a:lnTo>
                    <a:lnTo>
                      <a:pt x="888" y="607"/>
                    </a:lnTo>
                    <a:lnTo>
                      <a:pt x="896" y="604"/>
                    </a:lnTo>
                    <a:lnTo>
                      <a:pt x="912" y="601"/>
                    </a:lnTo>
                    <a:lnTo>
                      <a:pt x="924" y="597"/>
                    </a:lnTo>
                    <a:lnTo>
                      <a:pt x="936" y="597"/>
                    </a:lnTo>
                    <a:lnTo>
                      <a:pt x="938" y="594"/>
                    </a:lnTo>
                    <a:lnTo>
                      <a:pt x="946" y="587"/>
                    </a:lnTo>
                    <a:lnTo>
                      <a:pt x="953" y="578"/>
                    </a:lnTo>
                    <a:lnTo>
                      <a:pt x="958" y="577"/>
                    </a:lnTo>
                    <a:lnTo>
                      <a:pt x="969" y="575"/>
                    </a:lnTo>
                    <a:lnTo>
                      <a:pt x="986" y="575"/>
                    </a:lnTo>
                    <a:lnTo>
                      <a:pt x="991" y="575"/>
                    </a:lnTo>
                    <a:lnTo>
                      <a:pt x="998" y="575"/>
                    </a:lnTo>
                    <a:lnTo>
                      <a:pt x="1003" y="573"/>
                    </a:lnTo>
                    <a:lnTo>
                      <a:pt x="1010" y="573"/>
                    </a:lnTo>
                    <a:lnTo>
                      <a:pt x="1013" y="571"/>
                    </a:lnTo>
                    <a:lnTo>
                      <a:pt x="1017" y="568"/>
                    </a:lnTo>
                    <a:lnTo>
                      <a:pt x="1020" y="559"/>
                    </a:lnTo>
                    <a:lnTo>
                      <a:pt x="1025" y="551"/>
                    </a:lnTo>
                    <a:lnTo>
                      <a:pt x="1029" y="540"/>
                    </a:lnTo>
                    <a:lnTo>
                      <a:pt x="1037" y="534"/>
                    </a:lnTo>
                    <a:lnTo>
                      <a:pt x="1048" y="535"/>
                    </a:lnTo>
                    <a:lnTo>
                      <a:pt x="1058" y="537"/>
                    </a:lnTo>
                    <a:lnTo>
                      <a:pt x="1060" y="547"/>
                    </a:lnTo>
                    <a:lnTo>
                      <a:pt x="1062" y="558"/>
                    </a:lnTo>
                    <a:lnTo>
                      <a:pt x="1062" y="568"/>
                    </a:lnTo>
                    <a:lnTo>
                      <a:pt x="1067" y="580"/>
                    </a:lnTo>
                    <a:lnTo>
                      <a:pt x="1067" y="5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54" name="Freeform 299"/>
              <p:cNvSpPr>
                <a:spLocks/>
              </p:cNvSpPr>
              <p:nvPr/>
            </p:nvSpPr>
            <p:spPr bwMode="auto">
              <a:xfrm>
                <a:off x="473869" y="2020888"/>
                <a:ext cx="857250" cy="614362"/>
              </a:xfrm>
              <a:custGeom>
                <a:avLst/>
                <a:gdLst/>
                <a:ahLst/>
                <a:cxnLst>
                  <a:cxn ang="0">
                    <a:pos x="397" y="263"/>
                  </a:cxn>
                  <a:cxn ang="0">
                    <a:pos x="423" y="280"/>
                  </a:cxn>
                  <a:cxn ang="0">
                    <a:pos x="452" y="277"/>
                  </a:cxn>
                  <a:cxn ang="0">
                    <a:pos x="480" y="290"/>
                  </a:cxn>
                  <a:cxn ang="0">
                    <a:pos x="504" y="321"/>
                  </a:cxn>
                  <a:cxn ang="0">
                    <a:pos x="526" y="345"/>
                  </a:cxn>
                  <a:cxn ang="0">
                    <a:pos x="533" y="375"/>
                  </a:cxn>
                  <a:cxn ang="0">
                    <a:pos x="513" y="368"/>
                  </a:cxn>
                  <a:cxn ang="0">
                    <a:pos x="506" y="352"/>
                  </a:cxn>
                  <a:cxn ang="0">
                    <a:pos x="482" y="337"/>
                  </a:cxn>
                  <a:cxn ang="0">
                    <a:pos x="490" y="321"/>
                  </a:cxn>
                  <a:cxn ang="0">
                    <a:pos x="468" y="321"/>
                  </a:cxn>
                  <a:cxn ang="0">
                    <a:pos x="464" y="306"/>
                  </a:cxn>
                  <a:cxn ang="0">
                    <a:pos x="442" y="307"/>
                  </a:cxn>
                  <a:cxn ang="0">
                    <a:pos x="418" y="289"/>
                  </a:cxn>
                  <a:cxn ang="0">
                    <a:pos x="372" y="271"/>
                  </a:cxn>
                  <a:cxn ang="0">
                    <a:pos x="303" y="254"/>
                  </a:cxn>
                  <a:cxn ang="0">
                    <a:pos x="277" y="256"/>
                  </a:cxn>
                  <a:cxn ang="0">
                    <a:pos x="241" y="285"/>
                  </a:cxn>
                  <a:cxn ang="0">
                    <a:pos x="225" y="282"/>
                  </a:cxn>
                  <a:cxn ang="0">
                    <a:pos x="229" y="264"/>
                  </a:cxn>
                  <a:cxn ang="0">
                    <a:pos x="251" y="247"/>
                  </a:cxn>
                  <a:cxn ang="0">
                    <a:pos x="231" y="249"/>
                  </a:cxn>
                  <a:cxn ang="0">
                    <a:pos x="200" y="294"/>
                  </a:cxn>
                  <a:cxn ang="0">
                    <a:pos x="169" y="323"/>
                  </a:cxn>
                  <a:cxn ang="0">
                    <a:pos x="138" y="347"/>
                  </a:cxn>
                  <a:cxn ang="0">
                    <a:pos x="100" y="366"/>
                  </a:cxn>
                  <a:cxn ang="0">
                    <a:pos x="53" y="385"/>
                  </a:cxn>
                  <a:cxn ang="0">
                    <a:pos x="72" y="368"/>
                  </a:cxn>
                  <a:cxn ang="0">
                    <a:pos x="112" y="342"/>
                  </a:cxn>
                  <a:cxn ang="0">
                    <a:pos x="151" y="316"/>
                  </a:cxn>
                  <a:cxn ang="0">
                    <a:pos x="162" y="294"/>
                  </a:cxn>
                  <a:cxn ang="0">
                    <a:pos x="131" y="295"/>
                  </a:cxn>
                  <a:cxn ang="0">
                    <a:pos x="112" y="297"/>
                  </a:cxn>
                  <a:cxn ang="0">
                    <a:pos x="102" y="299"/>
                  </a:cxn>
                  <a:cxn ang="0">
                    <a:pos x="83" y="297"/>
                  </a:cxn>
                  <a:cxn ang="0">
                    <a:pos x="81" y="275"/>
                  </a:cxn>
                  <a:cxn ang="0">
                    <a:pos x="60" y="277"/>
                  </a:cxn>
                  <a:cxn ang="0">
                    <a:pos x="38" y="256"/>
                  </a:cxn>
                  <a:cxn ang="0">
                    <a:pos x="24" y="239"/>
                  </a:cxn>
                  <a:cxn ang="0">
                    <a:pos x="48" y="206"/>
                  </a:cxn>
                  <a:cxn ang="0">
                    <a:pos x="93" y="191"/>
                  </a:cxn>
                  <a:cxn ang="0">
                    <a:pos x="95" y="170"/>
                  </a:cxn>
                  <a:cxn ang="0">
                    <a:pos x="89" y="166"/>
                  </a:cxn>
                  <a:cxn ang="0">
                    <a:pos x="46" y="170"/>
                  </a:cxn>
                  <a:cxn ang="0">
                    <a:pos x="14" y="156"/>
                  </a:cxn>
                  <a:cxn ang="0">
                    <a:pos x="0" y="144"/>
                  </a:cxn>
                  <a:cxn ang="0">
                    <a:pos x="46" y="122"/>
                  </a:cxn>
                  <a:cxn ang="0">
                    <a:pos x="65" y="132"/>
                  </a:cxn>
                  <a:cxn ang="0">
                    <a:pos x="81" y="122"/>
                  </a:cxn>
                  <a:cxn ang="0">
                    <a:pos x="52" y="103"/>
                  </a:cxn>
                  <a:cxn ang="0">
                    <a:pos x="33" y="84"/>
                  </a:cxn>
                  <a:cxn ang="0">
                    <a:pos x="19" y="70"/>
                  </a:cxn>
                  <a:cxn ang="0">
                    <a:pos x="77" y="34"/>
                  </a:cxn>
                  <a:cxn ang="0">
                    <a:pos x="115" y="15"/>
                  </a:cxn>
                  <a:cxn ang="0">
                    <a:pos x="157" y="0"/>
                  </a:cxn>
                  <a:cxn ang="0">
                    <a:pos x="167" y="13"/>
                  </a:cxn>
                  <a:cxn ang="0">
                    <a:pos x="193" y="12"/>
                  </a:cxn>
                  <a:cxn ang="0">
                    <a:pos x="272" y="22"/>
                  </a:cxn>
                  <a:cxn ang="0">
                    <a:pos x="329" y="36"/>
                  </a:cxn>
                  <a:cxn ang="0">
                    <a:pos x="368" y="34"/>
                  </a:cxn>
                  <a:cxn ang="0">
                    <a:pos x="385" y="41"/>
                  </a:cxn>
                </a:cxnLst>
                <a:rect l="0" t="0" r="r" b="b"/>
                <a:pathLst>
                  <a:path w="540" h="387">
                    <a:moveTo>
                      <a:pt x="385" y="41"/>
                    </a:moveTo>
                    <a:lnTo>
                      <a:pt x="385" y="261"/>
                    </a:lnTo>
                    <a:lnTo>
                      <a:pt x="389" y="261"/>
                    </a:lnTo>
                    <a:lnTo>
                      <a:pt x="397" y="263"/>
                    </a:lnTo>
                    <a:lnTo>
                      <a:pt x="404" y="263"/>
                    </a:lnTo>
                    <a:lnTo>
                      <a:pt x="413" y="268"/>
                    </a:lnTo>
                    <a:lnTo>
                      <a:pt x="416" y="273"/>
                    </a:lnTo>
                    <a:lnTo>
                      <a:pt x="423" y="280"/>
                    </a:lnTo>
                    <a:lnTo>
                      <a:pt x="430" y="285"/>
                    </a:lnTo>
                    <a:lnTo>
                      <a:pt x="439" y="289"/>
                    </a:lnTo>
                    <a:lnTo>
                      <a:pt x="446" y="282"/>
                    </a:lnTo>
                    <a:lnTo>
                      <a:pt x="452" y="277"/>
                    </a:lnTo>
                    <a:lnTo>
                      <a:pt x="456" y="275"/>
                    </a:lnTo>
                    <a:lnTo>
                      <a:pt x="463" y="273"/>
                    </a:lnTo>
                    <a:lnTo>
                      <a:pt x="471" y="282"/>
                    </a:lnTo>
                    <a:lnTo>
                      <a:pt x="480" y="290"/>
                    </a:lnTo>
                    <a:lnTo>
                      <a:pt x="487" y="301"/>
                    </a:lnTo>
                    <a:lnTo>
                      <a:pt x="497" y="314"/>
                    </a:lnTo>
                    <a:lnTo>
                      <a:pt x="501" y="316"/>
                    </a:lnTo>
                    <a:lnTo>
                      <a:pt x="504" y="321"/>
                    </a:lnTo>
                    <a:lnTo>
                      <a:pt x="507" y="330"/>
                    </a:lnTo>
                    <a:lnTo>
                      <a:pt x="514" y="340"/>
                    </a:lnTo>
                    <a:lnTo>
                      <a:pt x="519" y="342"/>
                    </a:lnTo>
                    <a:lnTo>
                      <a:pt x="526" y="345"/>
                    </a:lnTo>
                    <a:lnTo>
                      <a:pt x="535" y="352"/>
                    </a:lnTo>
                    <a:lnTo>
                      <a:pt x="540" y="364"/>
                    </a:lnTo>
                    <a:lnTo>
                      <a:pt x="537" y="369"/>
                    </a:lnTo>
                    <a:lnTo>
                      <a:pt x="533" y="375"/>
                    </a:lnTo>
                    <a:lnTo>
                      <a:pt x="530" y="375"/>
                    </a:lnTo>
                    <a:lnTo>
                      <a:pt x="528" y="375"/>
                    </a:lnTo>
                    <a:lnTo>
                      <a:pt x="519" y="371"/>
                    </a:lnTo>
                    <a:lnTo>
                      <a:pt x="513" y="368"/>
                    </a:lnTo>
                    <a:lnTo>
                      <a:pt x="507" y="362"/>
                    </a:lnTo>
                    <a:lnTo>
                      <a:pt x="506" y="359"/>
                    </a:lnTo>
                    <a:lnTo>
                      <a:pt x="506" y="356"/>
                    </a:lnTo>
                    <a:lnTo>
                      <a:pt x="506" y="352"/>
                    </a:lnTo>
                    <a:lnTo>
                      <a:pt x="501" y="344"/>
                    </a:lnTo>
                    <a:lnTo>
                      <a:pt x="492" y="344"/>
                    </a:lnTo>
                    <a:lnTo>
                      <a:pt x="483" y="340"/>
                    </a:lnTo>
                    <a:lnTo>
                      <a:pt x="482" y="337"/>
                    </a:lnTo>
                    <a:lnTo>
                      <a:pt x="485" y="332"/>
                    </a:lnTo>
                    <a:lnTo>
                      <a:pt x="490" y="328"/>
                    </a:lnTo>
                    <a:lnTo>
                      <a:pt x="490" y="323"/>
                    </a:lnTo>
                    <a:lnTo>
                      <a:pt x="490" y="321"/>
                    </a:lnTo>
                    <a:lnTo>
                      <a:pt x="482" y="325"/>
                    </a:lnTo>
                    <a:lnTo>
                      <a:pt x="476" y="328"/>
                    </a:lnTo>
                    <a:lnTo>
                      <a:pt x="471" y="325"/>
                    </a:lnTo>
                    <a:lnTo>
                      <a:pt x="468" y="321"/>
                    </a:lnTo>
                    <a:lnTo>
                      <a:pt x="470" y="313"/>
                    </a:lnTo>
                    <a:lnTo>
                      <a:pt x="473" y="309"/>
                    </a:lnTo>
                    <a:lnTo>
                      <a:pt x="468" y="304"/>
                    </a:lnTo>
                    <a:lnTo>
                      <a:pt x="464" y="306"/>
                    </a:lnTo>
                    <a:lnTo>
                      <a:pt x="454" y="302"/>
                    </a:lnTo>
                    <a:lnTo>
                      <a:pt x="449" y="299"/>
                    </a:lnTo>
                    <a:lnTo>
                      <a:pt x="446" y="304"/>
                    </a:lnTo>
                    <a:lnTo>
                      <a:pt x="442" y="307"/>
                    </a:lnTo>
                    <a:lnTo>
                      <a:pt x="432" y="304"/>
                    </a:lnTo>
                    <a:lnTo>
                      <a:pt x="427" y="299"/>
                    </a:lnTo>
                    <a:lnTo>
                      <a:pt x="421" y="292"/>
                    </a:lnTo>
                    <a:lnTo>
                      <a:pt x="418" y="289"/>
                    </a:lnTo>
                    <a:lnTo>
                      <a:pt x="406" y="282"/>
                    </a:lnTo>
                    <a:lnTo>
                      <a:pt x="394" y="278"/>
                    </a:lnTo>
                    <a:lnTo>
                      <a:pt x="382" y="275"/>
                    </a:lnTo>
                    <a:lnTo>
                      <a:pt x="372" y="271"/>
                    </a:lnTo>
                    <a:lnTo>
                      <a:pt x="344" y="271"/>
                    </a:lnTo>
                    <a:lnTo>
                      <a:pt x="330" y="266"/>
                    </a:lnTo>
                    <a:lnTo>
                      <a:pt x="317" y="261"/>
                    </a:lnTo>
                    <a:lnTo>
                      <a:pt x="303" y="254"/>
                    </a:lnTo>
                    <a:lnTo>
                      <a:pt x="296" y="246"/>
                    </a:lnTo>
                    <a:lnTo>
                      <a:pt x="286" y="249"/>
                    </a:lnTo>
                    <a:lnTo>
                      <a:pt x="275" y="252"/>
                    </a:lnTo>
                    <a:lnTo>
                      <a:pt x="277" y="256"/>
                    </a:lnTo>
                    <a:lnTo>
                      <a:pt x="280" y="259"/>
                    </a:lnTo>
                    <a:lnTo>
                      <a:pt x="270" y="268"/>
                    </a:lnTo>
                    <a:lnTo>
                      <a:pt x="256" y="277"/>
                    </a:lnTo>
                    <a:lnTo>
                      <a:pt x="241" y="285"/>
                    </a:lnTo>
                    <a:lnTo>
                      <a:pt x="231" y="289"/>
                    </a:lnTo>
                    <a:lnTo>
                      <a:pt x="225" y="287"/>
                    </a:lnTo>
                    <a:lnTo>
                      <a:pt x="225" y="285"/>
                    </a:lnTo>
                    <a:lnTo>
                      <a:pt x="225" y="282"/>
                    </a:lnTo>
                    <a:lnTo>
                      <a:pt x="229" y="280"/>
                    </a:lnTo>
                    <a:lnTo>
                      <a:pt x="227" y="277"/>
                    </a:lnTo>
                    <a:lnTo>
                      <a:pt x="229" y="275"/>
                    </a:lnTo>
                    <a:lnTo>
                      <a:pt x="229" y="264"/>
                    </a:lnTo>
                    <a:lnTo>
                      <a:pt x="234" y="259"/>
                    </a:lnTo>
                    <a:lnTo>
                      <a:pt x="239" y="252"/>
                    </a:lnTo>
                    <a:lnTo>
                      <a:pt x="251" y="251"/>
                    </a:lnTo>
                    <a:lnTo>
                      <a:pt x="251" y="247"/>
                    </a:lnTo>
                    <a:lnTo>
                      <a:pt x="251" y="246"/>
                    </a:lnTo>
                    <a:lnTo>
                      <a:pt x="246" y="246"/>
                    </a:lnTo>
                    <a:lnTo>
                      <a:pt x="244" y="246"/>
                    </a:lnTo>
                    <a:lnTo>
                      <a:pt x="231" y="249"/>
                    </a:lnTo>
                    <a:lnTo>
                      <a:pt x="217" y="261"/>
                    </a:lnTo>
                    <a:lnTo>
                      <a:pt x="203" y="275"/>
                    </a:lnTo>
                    <a:lnTo>
                      <a:pt x="200" y="290"/>
                    </a:lnTo>
                    <a:lnTo>
                      <a:pt x="200" y="294"/>
                    </a:lnTo>
                    <a:lnTo>
                      <a:pt x="200" y="297"/>
                    </a:lnTo>
                    <a:lnTo>
                      <a:pt x="193" y="309"/>
                    </a:lnTo>
                    <a:lnTo>
                      <a:pt x="177" y="318"/>
                    </a:lnTo>
                    <a:lnTo>
                      <a:pt x="169" y="323"/>
                    </a:lnTo>
                    <a:lnTo>
                      <a:pt x="163" y="330"/>
                    </a:lnTo>
                    <a:lnTo>
                      <a:pt x="155" y="335"/>
                    </a:lnTo>
                    <a:lnTo>
                      <a:pt x="146" y="342"/>
                    </a:lnTo>
                    <a:lnTo>
                      <a:pt x="138" y="347"/>
                    </a:lnTo>
                    <a:lnTo>
                      <a:pt x="131" y="354"/>
                    </a:lnTo>
                    <a:lnTo>
                      <a:pt x="122" y="357"/>
                    </a:lnTo>
                    <a:lnTo>
                      <a:pt x="112" y="362"/>
                    </a:lnTo>
                    <a:lnTo>
                      <a:pt x="100" y="366"/>
                    </a:lnTo>
                    <a:lnTo>
                      <a:pt x="89" y="369"/>
                    </a:lnTo>
                    <a:lnTo>
                      <a:pt x="77" y="373"/>
                    </a:lnTo>
                    <a:lnTo>
                      <a:pt x="65" y="380"/>
                    </a:lnTo>
                    <a:lnTo>
                      <a:pt x="53" y="385"/>
                    </a:lnTo>
                    <a:lnTo>
                      <a:pt x="41" y="387"/>
                    </a:lnTo>
                    <a:lnTo>
                      <a:pt x="52" y="378"/>
                    </a:lnTo>
                    <a:lnTo>
                      <a:pt x="65" y="376"/>
                    </a:lnTo>
                    <a:lnTo>
                      <a:pt x="72" y="368"/>
                    </a:lnTo>
                    <a:lnTo>
                      <a:pt x="81" y="359"/>
                    </a:lnTo>
                    <a:lnTo>
                      <a:pt x="93" y="356"/>
                    </a:lnTo>
                    <a:lnTo>
                      <a:pt x="105" y="352"/>
                    </a:lnTo>
                    <a:lnTo>
                      <a:pt x="112" y="342"/>
                    </a:lnTo>
                    <a:lnTo>
                      <a:pt x="124" y="335"/>
                    </a:lnTo>
                    <a:lnTo>
                      <a:pt x="134" y="330"/>
                    </a:lnTo>
                    <a:lnTo>
                      <a:pt x="146" y="325"/>
                    </a:lnTo>
                    <a:lnTo>
                      <a:pt x="151" y="316"/>
                    </a:lnTo>
                    <a:lnTo>
                      <a:pt x="158" y="307"/>
                    </a:lnTo>
                    <a:lnTo>
                      <a:pt x="162" y="299"/>
                    </a:lnTo>
                    <a:lnTo>
                      <a:pt x="170" y="294"/>
                    </a:lnTo>
                    <a:lnTo>
                      <a:pt x="162" y="294"/>
                    </a:lnTo>
                    <a:lnTo>
                      <a:pt x="153" y="297"/>
                    </a:lnTo>
                    <a:lnTo>
                      <a:pt x="145" y="301"/>
                    </a:lnTo>
                    <a:lnTo>
                      <a:pt x="136" y="297"/>
                    </a:lnTo>
                    <a:lnTo>
                      <a:pt x="131" y="295"/>
                    </a:lnTo>
                    <a:lnTo>
                      <a:pt x="127" y="301"/>
                    </a:lnTo>
                    <a:lnTo>
                      <a:pt x="127" y="306"/>
                    </a:lnTo>
                    <a:lnTo>
                      <a:pt x="117" y="301"/>
                    </a:lnTo>
                    <a:lnTo>
                      <a:pt x="112" y="297"/>
                    </a:lnTo>
                    <a:lnTo>
                      <a:pt x="107" y="294"/>
                    </a:lnTo>
                    <a:lnTo>
                      <a:pt x="102" y="290"/>
                    </a:lnTo>
                    <a:lnTo>
                      <a:pt x="102" y="294"/>
                    </a:lnTo>
                    <a:lnTo>
                      <a:pt x="102" y="299"/>
                    </a:lnTo>
                    <a:lnTo>
                      <a:pt x="96" y="299"/>
                    </a:lnTo>
                    <a:lnTo>
                      <a:pt x="91" y="301"/>
                    </a:lnTo>
                    <a:lnTo>
                      <a:pt x="88" y="302"/>
                    </a:lnTo>
                    <a:lnTo>
                      <a:pt x="83" y="297"/>
                    </a:lnTo>
                    <a:lnTo>
                      <a:pt x="83" y="290"/>
                    </a:lnTo>
                    <a:lnTo>
                      <a:pt x="83" y="283"/>
                    </a:lnTo>
                    <a:lnTo>
                      <a:pt x="83" y="280"/>
                    </a:lnTo>
                    <a:lnTo>
                      <a:pt x="81" y="275"/>
                    </a:lnTo>
                    <a:lnTo>
                      <a:pt x="79" y="273"/>
                    </a:lnTo>
                    <a:lnTo>
                      <a:pt x="72" y="277"/>
                    </a:lnTo>
                    <a:lnTo>
                      <a:pt x="69" y="280"/>
                    </a:lnTo>
                    <a:lnTo>
                      <a:pt x="60" y="277"/>
                    </a:lnTo>
                    <a:lnTo>
                      <a:pt x="50" y="270"/>
                    </a:lnTo>
                    <a:lnTo>
                      <a:pt x="40" y="261"/>
                    </a:lnTo>
                    <a:lnTo>
                      <a:pt x="34" y="258"/>
                    </a:lnTo>
                    <a:lnTo>
                      <a:pt x="38" y="256"/>
                    </a:lnTo>
                    <a:lnTo>
                      <a:pt x="41" y="256"/>
                    </a:lnTo>
                    <a:lnTo>
                      <a:pt x="36" y="249"/>
                    </a:lnTo>
                    <a:lnTo>
                      <a:pt x="29" y="244"/>
                    </a:lnTo>
                    <a:lnTo>
                      <a:pt x="24" y="239"/>
                    </a:lnTo>
                    <a:lnTo>
                      <a:pt x="22" y="234"/>
                    </a:lnTo>
                    <a:lnTo>
                      <a:pt x="26" y="221"/>
                    </a:lnTo>
                    <a:lnTo>
                      <a:pt x="36" y="213"/>
                    </a:lnTo>
                    <a:lnTo>
                      <a:pt x="48" y="206"/>
                    </a:lnTo>
                    <a:lnTo>
                      <a:pt x="60" y="206"/>
                    </a:lnTo>
                    <a:lnTo>
                      <a:pt x="67" y="203"/>
                    </a:lnTo>
                    <a:lnTo>
                      <a:pt x="81" y="197"/>
                    </a:lnTo>
                    <a:lnTo>
                      <a:pt x="93" y="191"/>
                    </a:lnTo>
                    <a:lnTo>
                      <a:pt x="100" y="185"/>
                    </a:lnTo>
                    <a:lnTo>
                      <a:pt x="95" y="179"/>
                    </a:lnTo>
                    <a:lnTo>
                      <a:pt x="89" y="173"/>
                    </a:lnTo>
                    <a:lnTo>
                      <a:pt x="95" y="170"/>
                    </a:lnTo>
                    <a:lnTo>
                      <a:pt x="98" y="173"/>
                    </a:lnTo>
                    <a:lnTo>
                      <a:pt x="98" y="166"/>
                    </a:lnTo>
                    <a:lnTo>
                      <a:pt x="93" y="165"/>
                    </a:lnTo>
                    <a:lnTo>
                      <a:pt x="89" y="166"/>
                    </a:lnTo>
                    <a:lnTo>
                      <a:pt x="79" y="170"/>
                    </a:lnTo>
                    <a:lnTo>
                      <a:pt x="69" y="175"/>
                    </a:lnTo>
                    <a:lnTo>
                      <a:pt x="57" y="172"/>
                    </a:lnTo>
                    <a:lnTo>
                      <a:pt x="46" y="170"/>
                    </a:lnTo>
                    <a:lnTo>
                      <a:pt x="31" y="170"/>
                    </a:lnTo>
                    <a:lnTo>
                      <a:pt x="21" y="170"/>
                    </a:lnTo>
                    <a:lnTo>
                      <a:pt x="17" y="161"/>
                    </a:lnTo>
                    <a:lnTo>
                      <a:pt x="14" y="156"/>
                    </a:lnTo>
                    <a:lnTo>
                      <a:pt x="14" y="153"/>
                    </a:lnTo>
                    <a:lnTo>
                      <a:pt x="16" y="151"/>
                    </a:lnTo>
                    <a:lnTo>
                      <a:pt x="5" y="149"/>
                    </a:lnTo>
                    <a:lnTo>
                      <a:pt x="0" y="144"/>
                    </a:lnTo>
                    <a:lnTo>
                      <a:pt x="9" y="137"/>
                    </a:lnTo>
                    <a:lnTo>
                      <a:pt x="22" y="132"/>
                    </a:lnTo>
                    <a:lnTo>
                      <a:pt x="34" y="127"/>
                    </a:lnTo>
                    <a:lnTo>
                      <a:pt x="46" y="122"/>
                    </a:lnTo>
                    <a:lnTo>
                      <a:pt x="55" y="122"/>
                    </a:lnTo>
                    <a:lnTo>
                      <a:pt x="55" y="129"/>
                    </a:lnTo>
                    <a:lnTo>
                      <a:pt x="60" y="132"/>
                    </a:lnTo>
                    <a:lnTo>
                      <a:pt x="65" y="132"/>
                    </a:lnTo>
                    <a:lnTo>
                      <a:pt x="74" y="132"/>
                    </a:lnTo>
                    <a:lnTo>
                      <a:pt x="81" y="132"/>
                    </a:lnTo>
                    <a:lnTo>
                      <a:pt x="88" y="132"/>
                    </a:lnTo>
                    <a:lnTo>
                      <a:pt x="81" y="122"/>
                    </a:lnTo>
                    <a:lnTo>
                      <a:pt x="76" y="117"/>
                    </a:lnTo>
                    <a:lnTo>
                      <a:pt x="65" y="111"/>
                    </a:lnTo>
                    <a:lnTo>
                      <a:pt x="57" y="108"/>
                    </a:lnTo>
                    <a:lnTo>
                      <a:pt x="52" y="103"/>
                    </a:lnTo>
                    <a:lnTo>
                      <a:pt x="48" y="98"/>
                    </a:lnTo>
                    <a:lnTo>
                      <a:pt x="45" y="91"/>
                    </a:lnTo>
                    <a:lnTo>
                      <a:pt x="41" y="87"/>
                    </a:lnTo>
                    <a:lnTo>
                      <a:pt x="33" y="84"/>
                    </a:lnTo>
                    <a:lnTo>
                      <a:pt x="26" y="82"/>
                    </a:lnTo>
                    <a:lnTo>
                      <a:pt x="17" y="79"/>
                    </a:lnTo>
                    <a:lnTo>
                      <a:pt x="16" y="77"/>
                    </a:lnTo>
                    <a:lnTo>
                      <a:pt x="19" y="70"/>
                    </a:lnTo>
                    <a:lnTo>
                      <a:pt x="22" y="63"/>
                    </a:lnTo>
                    <a:lnTo>
                      <a:pt x="52" y="63"/>
                    </a:lnTo>
                    <a:lnTo>
                      <a:pt x="62" y="48"/>
                    </a:lnTo>
                    <a:lnTo>
                      <a:pt x="77" y="34"/>
                    </a:lnTo>
                    <a:lnTo>
                      <a:pt x="86" y="27"/>
                    </a:lnTo>
                    <a:lnTo>
                      <a:pt x="95" y="22"/>
                    </a:lnTo>
                    <a:lnTo>
                      <a:pt x="105" y="17"/>
                    </a:lnTo>
                    <a:lnTo>
                      <a:pt x="115" y="15"/>
                    </a:lnTo>
                    <a:lnTo>
                      <a:pt x="124" y="13"/>
                    </a:lnTo>
                    <a:lnTo>
                      <a:pt x="134" y="13"/>
                    </a:lnTo>
                    <a:lnTo>
                      <a:pt x="145" y="5"/>
                    </a:lnTo>
                    <a:lnTo>
                      <a:pt x="157" y="0"/>
                    </a:lnTo>
                    <a:lnTo>
                      <a:pt x="163" y="1"/>
                    </a:lnTo>
                    <a:lnTo>
                      <a:pt x="172" y="7"/>
                    </a:lnTo>
                    <a:lnTo>
                      <a:pt x="169" y="10"/>
                    </a:lnTo>
                    <a:lnTo>
                      <a:pt x="167" y="13"/>
                    </a:lnTo>
                    <a:lnTo>
                      <a:pt x="174" y="12"/>
                    </a:lnTo>
                    <a:lnTo>
                      <a:pt x="181" y="7"/>
                    </a:lnTo>
                    <a:lnTo>
                      <a:pt x="186" y="8"/>
                    </a:lnTo>
                    <a:lnTo>
                      <a:pt x="193" y="12"/>
                    </a:lnTo>
                    <a:lnTo>
                      <a:pt x="217" y="12"/>
                    </a:lnTo>
                    <a:lnTo>
                      <a:pt x="224" y="17"/>
                    </a:lnTo>
                    <a:lnTo>
                      <a:pt x="232" y="22"/>
                    </a:lnTo>
                    <a:lnTo>
                      <a:pt x="272" y="22"/>
                    </a:lnTo>
                    <a:lnTo>
                      <a:pt x="282" y="27"/>
                    </a:lnTo>
                    <a:lnTo>
                      <a:pt x="298" y="32"/>
                    </a:lnTo>
                    <a:lnTo>
                      <a:pt x="313" y="34"/>
                    </a:lnTo>
                    <a:lnTo>
                      <a:pt x="329" y="36"/>
                    </a:lnTo>
                    <a:lnTo>
                      <a:pt x="341" y="32"/>
                    </a:lnTo>
                    <a:lnTo>
                      <a:pt x="353" y="31"/>
                    </a:lnTo>
                    <a:lnTo>
                      <a:pt x="361" y="31"/>
                    </a:lnTo>
                    <a:lnTo>
                      <a:pt x="368" y="34"/>
                    </a:lnTo>
                    <a:lnTo>
                      <a:pt x="375" y="38"/>
                    </a:lnTo>
                    <a:lnTo>
                      <a:pt x="385" y="41"/>
                    </a:lnTo>
                    <a:lnTo>
                      <a:pt x="385" y="39"/>
                    </a:lnTo>
                    <a:lnTo>
                      <a:pt x="385"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55" name="Freeform 300"/>
              <p:cNvSpPr>
                <a:spLocks/>
              </p:cNvSpPr>
              <p:nvPr/>
            </p:nvSpPr>
            <p:spPr bwMode="auto">
              <a:xfrm>
                <a:off x="1246982" y="2568575"/>
                <a:ext cx="38100" cy="55562"/>
              </a:xfrm>
              <a:custGeom>
                <a:avLst/>
                <a:gdLst/>
                <a:ahLst/>
                <a:cxnLst>
                  <a:cxn ang="0">
                    <a:pos x="10" y="14"/>
                  </a:cxn>
                  <a:cxn ang="0">
                    <a:pos x="3" y="11"/>
                  </a:cxn>
                  <a:cxn ang="0">
                    <a:pos x="0" y="14"/>
                  </a:cxn>
                  <a:cxn ang="0">
                    <a:pos x="0" y="5"/>
                  </a:cxn>
                  <a:cxn ang="0">
                    <a:pos x="2" y="2"/>
                  </a:cxn>
                  <a:cxn ang="0">
                    <a:pos x="5" y="0"/>
                  </a:cxn>
                  <a:cxn ang="0">
                    <a:pos x="12" y="4"/>
                  </a:cxn>
                  <a:cxn ang="0">
                    <a:pos x="12" y="11"/>
                  </a:cxn>
                  <a:cxn ang="0">
                    <a:pos x="17" y="17"/>
                  </a:cxn>
                  <a:cxn ang="0">
                    <a:pos x="20" y="23"/>
                  </a:cxn>
                  <a:cxn ang="0">
                    <a:pos x="24" y="30"/>
                  </a:cxn>
                  <a:cxn ang="0">
                    <a:pos x="22" y="33"/>
                  </a:cxn>
                  <a:cxn ang="0">
                    <a:pos x="20" y="35"/>
                  </a:cxn>
                  <a:cxn ang="0">
                    <a:pos x="12" y="30"/>
                  </a:cxn>
                  <a:cxn ang="0">
                    <a:pos x="10" y="24"/>
                  </a:cxn>
                  <a:cxn ang="0">
                    <a:pos x="8" y="17"/>
                  </a:cxn>
                  <a:cxn ang="0">
                    <a:pos x="10" y="14"/>
                  </a:cxn>
                </a:cxnLst>
                <a:rect l="0" t="0" r="r" b="b"/>
                <a:pathLst>
                  <a:path w="24" h="35">
                    <a:moveTo>
                      <a:pt x="10" y="14"/>
                    </a:moveTo>
                    <a:lnTo>
                      <a:pt x="3" y="11"/>
                    </a:lnTo>
                    <a:lnTo>
                      <a:pt x="0" y="14"/>
                    </a:lnTo>
                    <a:lnTo>
                      <a:pt x="0" y="5"/>
                    </a:lnTo>
                    <a:lnTo>
                      <a:pt x="2" y="2"/>
                    </a:lnTo>
                    <a:lnTo>
                      <a:pt x="5" y="0"/>
                    </a:lnTo>
                    <a:lnTo>
                      <a:pt x="12" y="4"/>
                    </a:lnTo>
                    <a:lnTo>
                      <a:pt x="12" y="11"/>
                    </a:lnTo>
                    <a:lnTo>
                      <a:pt x="17" y="17"/>
                    </a:lnTo>
                    <a:lnTo>
                      <a:pt x="20" y="23"/>
                    </a:lnTo>
                    <a:lnTo>
                      <a:pt x="24" y="30"/>
                    </a:lnTo>
                    <a:lnTo>
                      <a:pt x="22" y="33"/>
                    </a:lnTo>
                    <a:lnTo>
                      <a:pt x="20" y="35"/>
                    </a:lnTo>
                    <a:lnTo>
                      <a:pt x="12" y="30"/>
                    </a:lnTo>
                    <a:lnTo>
                      <a:pt x="10" y="24"/>
                    </a:lnTo>
                    <a:lnTo>
                      <a:pt x="8" y="17"/>
                    </a:lnTo>
                    <a:lnTo>
                      <a:pt x="1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56" name="Freeform 301"/>
              <p:cNvSpPr>
                <a:spLocks/>
              </p:cNvSpPr>
              <p:nvPr/>
            </p:nvSpPr>
            <p:spPr bwMode="auto">
              <a:xfrm>
                <a:off x="1186657" y="2508250"/>
                <a:ext cx="34925" cy="66675"/>
              </a:xfrm>
              <a:custGeom>
                <a:avLst/>
                <a:gdLst/>
                <a:ahLst/>
                <a:cxnLst>
                  <a:cxn ang="0">
                    <a:pos x="17" y="21"/>
                  </a:cxn>
                  <a:cxn ang="0">
                    <a:pos x="19" y="21"/>
                  </a:cxn>
                  <a:cxn ang="0">
                    <a:pos x="22" y="21"/>
                  </a:cxn>
                  <a:cxn ang="0">
                    <a:pos x="22" y="31"/>
                  </a:cxn>
                  <a:cxn ang="0">
                    <a:pos x="21" y="42"/>
                  </a:cxn>
                  <a:cxn ang="0">
                    <a:pos x="14" y="31"/>
                  </a:cxn>
                  <a:cxn ang="0">
                    <a:pos x="14" y="21"/>
                  </a:cxn>
                  <a:cxn ang="0">
                    <a:pos x="3" y="16"/>
                  </a:cxn>
                  <a:cxn ang="0">
                    <a:pos x="0" y="6"/>
                  </a:cxn>
                  <a:cxn ang="0">
                    <a:pos x="2" y="0"/>
                  </a:cxn>
                  <a:cxn ang="0">
                    <a:pos x="5" y="0"/>
                  </a:cxn>
                  <a:cxn ang="0">
                    <a:pos x="10" y="0"/>
                  </a:cxn>
                  <a:cxn ang="0">
                    <a:pos x="17" y="0"/>
                  </a:cxn>
                  <a:cxn ang="0">
                    <a:pos x="15" y="7"/>
                  </a:cxn>
                  <a:cxn ang="0">
                    <a:pos x="15" y="13"/>
                  </a:cxn>
                  <a:cxn ang="0">
                    <a:pos x="15" y="16"/>
                  </a:cxn>
                  <a:cxn ang="0">
                    <a:pos x="17" y="21"/>
                  </a:cxn>
                </a:cxnLst>
                <a:rect l="0" t="0" r="r" b="b"/>
                <a:pathLst>
                  <a:path w="22" h="42">
                    <a:moveTo>
                      <a:pt x="17" y="21"/>
                    </a:moveTo>
                    <a:lnTo>
                      <a:pt x="19" y="21"/>
                    </a:lnTo>
                    <a:lnTo>
                      <a:pt x="22" y="21"/>
                    </a:lnTo>
                    <a:lnTo>
                      <a:pt x="22" y="31"/>
                    </a:lnTo>
                    <a:lnTo>
                      <a:pt x="21" y="42"/>
                    </a:lnTo>
                    <a:lnTo>
                      <a:pt x="14" y="31"/>
                    </a:lnTo>
                    <a:lnTo>
                      <a:pt x="14" y="21"/>
                    </a:lnTo>
                    <a:lnTo>
                      <a:pt x="3" y="16"/>
                    </a:lnTo>
                    <a:lnTo>
                      <a:pt x="0" y="6"/>
                    </a:lnTo>
                    <a:lnTo>
                      <a:pt x="2" y="0"/>
                    </a:lnTo>
                    <a:lnTo>
                      <a:pt x="5" y="0"/>
                    </a:lnTo>
                    <a:lnTo>
                      <a:pt x="10" y="0"/>
                    </a:lnTo>
                    <a:lnTo>
                      <a:pt x="17" y="0"/>
                    </a:lnTo>
                    <a:lnTo>
                      <a:pt x="15" y="7"/>
                    </a:lnTo>
                    <a:lnTo>
                      <a:pt x="15" y="13"/>
                    </a:lnTo>
                    <a:lnTo>
                      <a:pt x="15" y="16"/>
                    </a:lnTo>
                    <a:lnTo>
                      <a:pt x="17"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57" name="Freeform 302"/>
              <p:cNvSpPr>
                <a:spLocks/>
              </p:cNvSpPr>
              <p:nvPr/>
            </p:nvSpPr>
            <p:spPr bwMode="auto">
              <a:xfrm>
                <a:off x="1577182" y="1905000"/>
                <a:ext cx="420688" cy="222250"/>
              </a:xfrm>
              <a:custGeom>
                <a:avLst/>
                <a:gdLst/>
                <a:ahLst/>
                <a:cxnLst>
                  <a:cxn ang="0">
                    <a:pos x="239" y="111"/>
                  </a:cxn>
                  <a:cxn ang="0">
                    <a:pos x="241" y="117"/>
                  </a:cxn>
                  <a:cxn ang="0">
                    <a:pos x="248" y="124"/>
                  </a:cxn>
                  <a:cxn ang="0">
                    <a:pos x="246" y="131"/>
                  </a:cxn>
                  <a:cxn ang="0">
                    <a:pos x="230" y="135"/>
                  </a:cxn>
                  <a:cxn ang="0">
                    <a:pos x="208" y="133"/>
                  </a:cxn>
                  <a:cxn ang="0">
                    <a:pos x="189" y="123"/>
                  </a:cxn>
                  <a:cxn ang="0">
                    <a:pos x="174" y="123"/>
                  </a:cxn>
                  <a:cxn ang="0">
                    <a:pos x="158" y="131"/>
                  </a:cxn>
                  <a:cxn ang="0">
                    <a:pos x="137" y="135"/>
                  </a:cxn>
                  <a:cxn ang="0">
                    <a:pos x="115" y="140"/>
                  </a:cxn>
                  <a:cxn ang="0">
                    <a:pos x="94" y="140"/>
                  </a:cxn>
                  <a:cxn ang="0">
                    <a:pos x="79" y="135"/>
                  </a:cxn>
                  <a:cxn ang="0">
                    <a:pos x="69" y="124"/>
                  </a:cxn>
                  <a:cxn ang="0">
                    <a:pos x="53" y="123"/>
                  </a:cxn>
                  <a:cxn ang="0">
                    <a:pos x="33" y="117"/>
                  </a:cxn>
                  <a:cxn ang="0">
                    <a:pos x="33" y="100"/>
                  </a:cxn>
                  <a:cxn ang="0">
                    <a:pos x="58" y="95"/>
                  </a:cxn>
                  <a:cxn ang="0">
                    <a:pos x="82" y="95"/>
                  </a:cxn>
                  <a:cxn ang="0">
                    <a:pos x="84" y="90"/>
                  </a:cxn>
                  <a:cxn ang="0">
                    <a:pos x="62" y="90"/>
                  </a:cxn>
                  <a:cxn ang="0">
                    <a:pos x="38" y="90"/>
                  </a:cxn>
                  <a:cxn ang="0">
                    <a:pos x="15" y="86"/>
                  </a:cxn>
                  <a:cxn ang="0">
                    <a:pos x="14" y="73"/>
                  </a:cxn>
                  <a:cxn ang="0">
                    <a:pos x="26" y="69"/>
                  </a:cxn>
                  <a:cxn ang="0">
                    <a:pos x="22" y="68"/>
                  </a:cxn>
                  <a:cxn ang="0">
                    <a:pos x="3" y="64"/>
                  </a:cxn>
                  <a:cxn ang="0">
                    <a:pos x="0" y="49"/>
                  </a:cxn>
                  <a:cxn ang="0">
                    <a:pos x="14" y="31"/>
                  </a:cxn>
                  <a:cxn ang="0">
                    <a:pos x="34" y="21"/>
                  </a:cxn>
                  <a:cxn ang="0">
                    <a:pos x="53" y="16"/>
                  </a:cxn>
                  <a:cxn ang="0">
                    <a:pos x="67" y="18"/>
                  </a:cxn>
                  <a:cxn ang="0">
                    <a:pos x="70" y="28"/>
                  </a:cxn>
                  <a:cxn ang="0">
                    <a:pos x="77" y="28"/>
                  </a:cxn>
                  <a:cxn ang="0">
                    <a:pos x="94" y="25"/>
                  </a:cxn>
                  <a:cxn ang="0">
                    <a:pos x="105" y="31"/>
                  </a:cxn>
                  <a:cxn ang="0">
                    <a:pos x="117" y="37"/>
                  </a:cxn>
                  <a:cxn ang="0">
                    <a:pos x="124" y="30"/>
                  </a:cxn>
                  <a:cxn ang="0">
                    <a:pos x="134" y="26"/>
                  </a:cxn>
                  <a:cxn ang="0">
                    <a:pos x="151" y="42"/>
                  </a:cxn>
                  <a:cxn ang="0">
                    <a:pos x="153" y="52"/>
                  </a:cxn>
                  <a:cxn ang="0">
                    <a:pos x="160" y="61"/>
                  </a:cxn>
                  <a:cxn ang="0">
                    <a:pos x="167" y="55"/>
                  </a:cxn>
                  <a:cxn ang="0">
                    <a:pos x="158" y="37"/>
                  </a:cxn>
                  <a:cxn ang="0">
                    <a:pos x="155" y="21"/>
                  </a:cxn>
                  <a:cxn ang="0">
                    <a:pos x="163" y="14"/>
                  </a:cxn>
                  <a:cxn ang="0">
                    <a:pos x="179" y="14"/>
                  </a:cxn>
                  <a:cxn ang="0">
                    <a:pos x="177" y="9"/>
                  </a:cxn>
                  <a:cxn ang="0">
                    <a:pos x="193" y="0"/>
                  </a:cxn>
                  <a:cxn ang="0">
                    <a:pos x="211" y="12"/>
                  </a:cxn>
                  <a:cxn ang="0">
                    <a:pos x="199" y="28"/>
                  </a:cxn>
                  <a:cxn ang="0">
                    <a:pos x="206" y="52"/>
                  </a:cxn>
                  <a:cxn ang="0">
                    <a:pos x="213" y="71"/>
                  </a:cxn>
                  <a:cxn ang="0">
                    <a:pos x="236" y="92"/>
                  </a:cxn>
                  <a:cxn ang="0">
                    <a:pos x="265" y="107"/>
                  </a:cxn>
                  <a:cxn ang="0">
                    <a:pos x="246" y="111"/>
                  </a:cxn>
                </a:cxnLst>
                <a:rect l="0" t="0" r="r" b="b"/>
                <a:pathLst>
                  <a:path w="265" h="140">
                    <a:moveTo>
                      <a:pt x="246" y="111"/>
                    </a:moveTo>
                    <a:lnTo>
                      <a:pt x="239" y="111"/>
                    </a:lnTo>
                    <a:lnTo>
                      <a:pt x="239" y="116"/>
                    </a:lnTo>
                    <a:lnTo>
                      <a:pt x="241" y="117"/>
                    </a:lnTo>
                    <a:lnTo>
                      <a:pt x="246" y="119"/>
                    </a:lnTo>
                    <a:lnTo>
                      <a:pt x="248" y="124"/>
                    </a:lnTo>
                    <a:lnTo>
                      <a:pt x="251" y="126"/>
                    </a:lnTo>
                    <a:lnTo>
                      <a:pt x="246" y="131"/>
                    </a:lnTo>
                    <a:lnTo>
                      <a:pt x="239" y="135"/>
                    </a:lnTo>
                    <a:lnTo>
                      <a:pt x="230" y="135"/>
                    </a:lnTo>
                    <a:lnTo>
                      <a:pt x="222" y="136"/>
                    </a:lnTo>
                    <a:lnTo>
                      <a:pt x="208" y="133"/>
                    </a:lnTo>
                    <a:lnTo>
                      <a:pt x="199" y="128"/>
                    </a:lnTo>
                    <a:lnTo>
                      <a:pt x="189" y="123"/>
                    </a:lnTo>
                    <a:lnTo>
                      <a:pt x="180" y="121"/>
                    </a:lnTo>
                    <a:lnTo>
                      <a:pt x="174" y="123"/>
                    </a:lnTo>
                    <a:lnTo>
                      <a:pt x="168" y="129"/>
                    </a:lnTo>
                    <a:lnTo>
                      <a:pt x="158" y="131"/>
                    </a:lnTo>
                    <a:lnTo>
                      <a:pt x="148" y="135"/>
                    </a:lnTo>
                    <a:lnTo>
                      <a:pt x="137" y="135"/>
                    </a:lnTo>
                    <a:lnTo>
                      <a:pt x="131" y="140"/>
                    </a:lnTo>
                    <a:lnTo>
                      <a:pt x="115" y="140"/>
                    </a:lnTo>
                    <a:lnTo>
                      <a:pt x="105" y="140"/>
                    </a:lnTo>
                    <a:lnTo>
                      <a:pt x="94" y="140"/>
                    </a:lnTo>
                    <a:lnTo>
                      <a:pt x="86" y="140"/>
                    </a:lnTo>
                    <a:lnTo>
                      <a:pt x="79" y="135"/>
                    </a:lnTo>
                    <a:lnTo>
                      <a:pt x="76" y="128"/>
                    </a:lnTo>
                    <a:lnTo>
                      <a:pt x="69" y="124"/>
                    </a:lnTo>
                    <a:lnTo>
                      <a:pt x="62" y="123"/>
                    </a:lnTo>
                    <a:lnTo>
                      <a:pt x="53" y="123"/>
                    </a:lnTo>
                    <a:lnTo>
                      <a:pt x="48" y="124"/>
                    </a:lnTo>
                    <a:lnTo>
                      <a:pt x="33" y="117"/>
                    </a:lnTo>
                    <a:lnTo>
                      <a:pt x="24" y="107"/>
                    </a:lnTo>
                    <a:lnTo>
                      <a:pt x="33" y="100"/>
                    </a:lnTo>
                    <a:lnTo>
                      <a:pt x="45" y="97"/>
                    </a:lnTo>
                    <a:lnTo>
                      <a:pt x="58" y="95"/>
                    </a:lnTo>
                    <a:lnTo>
                      <a:pt x="74" y="95"/>
                    </a:lnTo>
                    <a:lnTo>
                      <a:pt x="82" y="95"/>
                    </a:lnTo>
                    <a:lnTo>
                      <a:pt x="91" y="95"/>
                    </a:lnTo>
                    <a:lnTo>
                      <a:pt x="84" y="90"/>
                    </a:lnTo>
                    <a:lnTo>
                      <a:pt x="77" y="90"/>
                    </a:lnTo>
                    <a:lnTo>
                      <a:pt x="62" y="90"/>
                    </a:lnTo>
                    <a:lnTo>
                      <a:pt x="51" y="90"/>
                    </a:lnTo>
                    <a:lnTo>
                      <a:pt x="38" y="90"/>
                    </a:lnTo>
                    <a:lnTo>
                      <a:pt x="26" y="90"/>
                    </a:lnTo>
                    <a:lnTo>
                      <a:pt x="15" y="86"/>
                    </a:lnTo>
                    <a:lnTo>
                      <a:pt x="12" y="80"/>
                    </a:lnTo>
                    <a:lnTo>
                      <a:pt x="14" y="73"/>
                    </a:lnTo>
                    <a:lnTo>
                      <a:pt x="19" y="71"/>
                    </a:lnTo>
                    <a:lnTo>
                      <a:pt x="26" y="69"/>
                    </a:lnTo>
                    <a:lnTo>
                      <a:pt x="33" y="69"/>
                    </a:lnTo>
                    <a:lnTo>
                      <a:pt x="22" y="68"/>
                    </a:lnTo>
                    <a:lnTo>
                      <a:pt x="14" y="69"/>
                    </a:lnTo>
                    <a:lnTo>
                      <a:pt x="3" y="64"/>
                    </a:lnTo>
                    <a:lnTo>
                      <a:pt x="0" y="59"/>
                    </a:lnTo>
                    <a:lnTo>
                      <a:pt x="0" y="49"/>
                    </a:lnTo>
                    <a:lnTo>
                      <a:pt x="7" y="40"/>
                    </a:lnTo>
                    <a:lnTo>
                      <a:pt x="14" y="31"/>
                    </a:lnTo>
                    <a:lnTo>
                      <a:pt x="24" y="26"/>
                    </a:lnTo>
                    <a:lnTo>
                      <a:pt x="34" y="21"/>
                    </a:lnTo>
                    <a:lnTo>
                      <a:pt x="45" y="18"/>
                    </a:lnTo>
                    <a:lnTo>
                      <a:pt x="53" y="16"/>
                    </a:lnTo>
                    <a:lnTo>
                      <a:pt x="64" y="16"/>
                    </a:lnTo>
                    <a:lnTo>
                      <a:pt x="67" y="18"/>
                    </a:lnTo>
                    <a:lnTo>
                      <a:pt x="69" y="23"/>
                    </a:lnTo>
                    <a:lnTo>
                      <a:pt x="70" y="28"/>
                    </a:lnTo>
                    <a:lnTo>
                      <a:pt x="72" y="33"/>
                    </a:lnTo>
                    <a:lnTo>
                      <a:pt x="77" y="28"/>
                    </a:lnTo>
                    <a:lnTo>
                      <a:pt x="88" y="25"/>
                    </a:lnTo>
                    <a:lnTo>
                      <a:pt x="94" y="25"/>
                    </a:lnTo>
                    <a:lnTo>
                      <a:pt x="101" y="28"/>
                    </a:lnTo>
                    <a:lnTo>
                      <a:pt x="105" y="31"/>
                    </a:lnTo>
                    <a:lnTo>
                      <a:pt x="110" y="40"/>
                    </a:lnTo>
                    <a:lnTo>
                      <a:pt x="117" y="37"/>
                    </a:lnTo>
                    <a:lnTo>
                      <a:pt x="125" y="37"/>
                    </a:lnTo>
                    <a:lnTo>
                      <a:pt x="124" y="30"/>
                    </a:lnTo>
                    <a:lnTo>
                      <a:pt x="124" y="26"/>
                    </a:lnTo>
                    <a:lnTo>
                      <a:pt x="134" y="26"/>
                    </a:lnTo>
                    <a:lnTo>
                      <a:pt x="144" y="31"/>
                    </a:lnTo>
                    <a:lnTo>
                      <a:pt x="151" y="42"/>
                    </a:lnTo>
                    <a:lnTo>
                      <a:pt x="151" y="45"/>
                    </a:lnTo>
                    <a:lnTo>
                      <a:pt x="153" y="52"/>
                    </a:lnTo>
                    <a:lnTo>
                      <a:pt x="153" y="57"/>
                    </a:lnTo>
                    <a:lnTo>
                      <a:pt x="160" y="61"/>
                    </a:lnTo>
                    <a:lnTo>
                      <a:pt x="163" y="57"/>
                    </a:lnTo>
                    <a:lnTo>
                      <a:pt x="167" y="55"/>
                    </a:lnTo>
                    <a:lnTo>
                      <a:pt x="162" y="47"/>
                    </a:lnTo>
                    <a:lnTo>
                      <a:pt x="158" y="37"/>
                    </a:lnTo>
                    <a:lnTo>
                      <a:pt x="155" y="26"/>
                    </a:lnTo>
                    <a:lnTo>
                      <a:pt x="155" y="21"/>
                    </a:lnTo>
                    <a:lnTo>
                      <a:pt x="156" y="14"/>
                    </a:lnTo>
                    <a:lnTo>
                      <a:pt x="163" y="14"/>
                    </a:lnTo>
                    <a:lnTo>
                      <a:pt x="170" y="14"/>
                    </a:lnTo>
                    <a:lnTo>
                      <a:pt x="179" y="14"/>
                    </a:lnTo>
                    <a:lnTo>
                      <a:pt x="177" y="11"/>
                    </a:lnTo>
                    <a:lnTo>
                      <a:pt x="177" y="9"/>
                    </a:lnTo>
                    <a:lnTo>
                      <a:pt x="182" y="2"/>
                    </a:lnTo>
                    <a:lnTo>
                      <a:pt x="193" y="0"/>
                    </a:lnTo>
                    <a:lnTo>
                      <a:pt x="205" y="2"/>
                    </a:lnTo>
                    <a:lnTo>
                      <a:pt x="211" y="12"/>
                    </a:lnTo>
                    <a:lnTo>
                      <a:pt x="205" y="19"/>
                    </a:lnTo>
                    <a:lnTo>
                      <a:pt x="199" y="28"/>
                    </a:lnTo>
                    <a:lnTo>
                      <a:pt x="201" y="40"/>
                    </a:lnTo>
                    <a:lnTo>
                      <a:pt x="206" y="52"/>
                    </a:lnTo>
                    <a:lnTo>
                      <a:pt x="210" y="61"/>
                    </a:lnTo>
                    <a:lnTo>
                      <a:pt x="213" y="71"/>
                    </a:lnTo>
                    <a:lnTo>
                      <a:pt x="218" y="81"/>
                    </a:lnTo>
                    <a:lnTo>
                      <a:pt x="236" y="92"/>
                    </a:lnTo>
                    <a:lnTo>
                      <a:pt x="253" y="98"/>
                    </a:lnTo>
                    <a:lnTo>
                      <a:pt x="265" y="107"/>
                    </a:lnTo>
                    <a:lnTo>
                      <a:pt x="254" y="111"/>
                    </a:lnTo>
                    <a:lnTo>
                      <a:pt x="246" y="1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58" name="Freeform 303"/>
              <p:cNvSpPr>
                <a:spLocks/>
              </p:cNvSpPr>
              <p:nvPr/>
            </p:nvSpPr>
            <p:spPr bwMode="auto">
              <a:xfrm>
                <a:off x="1421607" y="1873250"/>
                <a:ext cx="234950" cy="152400"/>
              </a:xfrm>
              <a:custGeom>
                <a:avLst/>
                <a:gdLst/>
                <a:ahLst/>
                <a:cxnLst>
                  <a:cxn ang="0">
                    <a:pos x="31" y="91"/>
                  </a:cxn>
                  <a:cxn ang="0">
                    <a:pos x="27" y="86"/>
                  </a:cxn>
                  <a:cxn ang="0">
                    <a:pos x="24" y="81"/>
                  </a:cxn>
                  <a:cxn ang="0">
                    <a:pos x="17" y="77"/>
                  </a:cxn>
                  <a:cxn ang="0">
                    <a:pos x="10" y="75"/>
                  </a:cxn>
                  <a:cxn ang="0">
                    <a:pos x="2" y="72"/>
                  </a:cxn>
                  <a:cxn ang="0">
                    <a:pos x="0" y="70"/>
                  </a:cxn>
                  <a:cxn ang="0">
                    <a:pos x="3" y="57"/>
                  </a:cxn>
                  <a:cxn ang="0">
                    <a:pos x="12" y="46"/>
                  </a:cxn>
                  <a:cxn ang="0">
                    <a:pos x="19" y="34"/>
                  </a:cxn>
                  <a:cxn ang="0">
                    <a:pos x="24" y="22"/>
                  </a:cxn>
                  <a:cxn ang="0">
                    <a:pos x="20" y="12"/>
                  </a:cxn>
                  <a:cxn ang="0">
                    <a:pos x="17" y="3"/>
                  </a:cxn>
                  <a:cxn ang="0">
                    <a:pos x="33" y="0"/>
                  </a:cxn>
                  <a:cxn ang="0">
                    <a:pos x="48" y="3"/>
                  </a:cxn>
                  <a:cxn ang="0">
                    <a:pos x="55" y="0"/>
                  </a:cxn>
                  <a:cxn ang="0">
                    <a:pos x="69" y="0"/>
                  </a:cxn>
                  <a:cxn ang="0">
                    <a:pos x="81" y="5"/>
                  </a:cxn>
                  <a:cxn ang="0">
                    <a:pos x="94" y="10"/>
                  </a:cxn>
                  <a:cxn ang="0">
                    <a:pos x="103" y="10"/>
                  </a:cxn>
                  <a:cxn ang="0">
                    <a:pos x="112" y="8"/>
                  </a:cxn>
                  <a:cxn ang="0">
                    <a:pos x="120" y="8"/>
                  </a:cxn>
                  <a:cxn ang="0">
                    <a:pos x="134" y="14"/>
                  </a:cxn>
                  <a:cxn ang="0">
                    <a:pos x="143" y="20"/>
                  </a:cxn>
                  <a:cxn ang="0">
                    <a:pos x="148" y="31"/>
                  </a:cxn>
                  <a:cxn ang="0">
                    <a:pos x="143" y="32"/>
                  </a:cxn>
                  <a:cxn ang="0">
                    <a:pos x="132" y="36"/>
                  </a:cxn>
                  <a:cxn ang="0">
                    <a:pos x="122" y="38"/>
                  </a:cxn>
                  <a:cxn ang="0">
                    <a:pos x="117" y="41"/>
                  </a:cxn>
                  <a:cxn ang="0">
                    <a:pos x="103" y="46"/>
                  </a:cxn>
                  <a:cxn ang="0">
                    <a:pos x="89" y="58"/>
                  </a:cxn>
                  <a:cxn ang="0">
                    <a:pos x="81" y="69"/>
                  </a:cxn>
                  <a:cxn ang="0">
                    <a:pos x="77" y="81"/>
                  </a:cxn>
                  <a:cxn ang="0">
                    <a:pos x="70" y="84"/>
                  </a:cxn>
                  <a:cxn ang="0">
                    <a:pos x="58" y="89"/>
                  </a:cxn>
                  <a:cxn ang="0">
                    <a:pos x="46" y="93"/>
                  </a:cxn>
                  <a:cxn ang="0">
                    <a:pos x="39" y="96"/>
                  </a:cxn>
                  <a:cxn ang="0">
                    <a:pos x="34" y="93"/>
                  </a:cxn>
                  <a:cxn ang="0">
                    <a:pos x="31" y="91"/>
                  </a:cxn>
                </a:cxnLst>
                <a:rect l="0" t="0" r="r" b="b"/>
                <a:pathLst>
                  <a:path w="148" h="96">
                    <a:moveTo>
                      <a:pt x="31" y="91"/>
                    </a:moveTo>
                    <a:lnTo>
                      <a:pt x="27" y="86"/>
                    </a:lnTo>
                    <a:lnTo>
                      <a:pt x="24" y="81"/>
                    </a:lnTo>
                    <a:lnTo>
                      <a:pt x="17" y="77"/>
                    </a:lnTo>
                    <a:lnTo>
                      <a:pt x="10" y="75"/>
                    </a:lnTo>
                    <a:lnTo>
                      <a:pt x="2" y="72"/>
                    </a:lnTo>
                    <a:lnTo>
                      <a:pt x="0" y="70"/>
                    </a:lnTo>
                    <a:lnTo>
                      <a:pt x="3" y="57"/>
                    </a:lnTo>
                    <a:lnTo>
                      <a:pt x="12" y="46"/>
                    </a:lnTo>
                    <a:lnTo>
                      <a:pt x="19" y="34"/>
                    </a:lnTo>
                    <a:lnTo>
                      <a:pt x="24" y="22"/>
                    </a:lnTo>
                    <a:lnTo>
                      <a:pt x="20" y="12"/>
                    </a:lnTo>
                    <a:lnTo>
                      <a:pt x="17" y="3"/>
                    </a:lnTo>
                    <a:lnTo>
                      <a:pt x="33" y="0"/>
                    </a:lnTo>
                    <a:lnTo>
                      <a:pt x="48" y="3"/>
                    </a:lnTo>
                    <a:lnTo>
                      <a:pt x="55" y="0"/>
                    </a:lnTo>
                    <a:lnTo>
                      <a:pt x="69" y="0"/>
                    </a:lnTo>
                    <a:lnTo>
                      <a:pt x="81" y="5"/>
                    </a:lnTo>
                    <a:lnTo>
                      <a:pt x="94" y="10"/>
                    </a:lnTo>
                    <a:lnTo>
                      <a:pt x="103" y="10"/>
                    </a:lnTo>
                    <a:lnTo>
                      <a:pt x="112" y="8"/>
                    </a:lnTo>
                    <a:lnTo>
                      <a:pt x="120" y="8"/>
                    </a:lnTo>
                    <a:lnTo>
                      <a:pt x="134" y="14"/>
                    </a:lnTo>
                    <a:lnTo>
                      <a:pt x="143" y="20"/>
                    </a:lnTo>
                    <a:lnTo>
                      <a:pt x="148" y="31"/>
                    </a:lnTo>
                    <a:lnTo>
                      <a:pt x="143" y="32"/>
                    </a:lnTo>
                    <a:lnTo>
                      <a:pt x="132" y="36"/>
                    </a:lnTo>
                    <a:lnTo>
                      <a:pt x="122" y="38"/>
                    </a:lnTo>
                    <a:lnTo>
                      <a:pt x="117" y="41"/>
                    </a:lnTo>
                    <a:lnTo>
                      <a:pt x="103" y="46"/>
                    </a:lnTo>
                    <a:lnTo>
                      <a:pt x="89" y="58"/>
                    </a:lnTo>
                    <a:lnTo>
                      <a:pt x="81" y="69"/>
                    </a:lnTo>
                    <a:lnTo>
                      <a:pt x="77" y="81"/>
                    </a:lnTo>
                    <a:lnTo>
                      <a:pt x="70" y="84"/>
                    </a:lnTo>
                    <a:lnTo>
                      <a:pt x="58" y="89"/>
                    </a:lnTo>
                    <a:lnTo>
                      <a:pt x="46" y="93"/>
                    </a:lnTo>
                    <a:lnTo>
                      <a:pt x="39" y="96"/>
                    </a:lnTo>
                    <a:lnTo>
                      <a:pt x="34" y="93"/>
                    </a:lnTo>
                    <a:lnTo>
                      <a:pt x="31"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59" name="Freeform 304"/>
              <p:cNvSpPr>
                <a:spLocks/>
              </p:cNvSpPr>
              <p:nvPr/>
            </p:nvSpPr>
            <p:spPr bwMode="auto">
              <a:xfrm>
                <a:off x="1607344" y="1760538"/>
                <a:ext cx="284163" cy="117475"/>
              </a:xfrm>
              <a:custGeom>
                <a:avLst/>
                <a:gdLst/>
                <a:ahLst/>
                <a:cxnLst>
                  <a:cxn ang="0">
                    <a:pos x="51" y="71"/>
                  </a:cxn>
                  <a:cxn ang="0">
                    <a:pos x="51" y="61"/>
                  </a:cxn>
                  <a:cxn ang="0">
                    <a:pos x="55" y="55"/>
                  </a:cxn>
                  <a:cxn ang="0">
                    <a:pos x="48" y="52"/>
                  </a:cxn>
                  <a:cxn ang="0">
                    <a:pos x="34" y="57"/>
                  </a:cxn>
                  <a:cxn ang="0">
                    <a:pos x="15" y="57"/>
                  </a:cxn>
                  <a:cxn ang="0">
                    <a:pos x="2" y="52"/>
                  </a:cxn>
                  <a:cxn ang="0">
                    <a:pos x="0" y="43"/>
                  </a:cxn>
                  <a:cxn ang="0">
                    <a:pos x="7" y="38"/>
                  </a:cxn>
                  <a:cxn ang="0">
                    <a:pos x="26" y="38"/>
                  </a:cxn>
                  <a:cxn ang="0">
                    <a:pos x="24" y="38"/>
                  </a:cxn>
                  <a:cxn ang="0">
                    <a:pos x="14" y="26"/>
                  </a:cxn>
                  <a:cxn ang="0">
                    <a:pos x="22" y="26"/>
                  </a:cxn>
                  <a:cxn ang="0">
                    <a:pos x="31" y="28"/>
                  </a:cxn>
                  <a:cxn ang="0">
                    <a:pos x="45" y="30"/>
                  </a:cxn>
                  <a:cxn ang="0">
                    <a:pos x="19" y="24"/>
                  </a:cxn>
                  <a:cxn ang="0">
                    <a:pos x="29" y="19"/>
                  </a:cxn>
                  <a:cxn ang="0">
                    <a:pos x="43" y="21"/>
                  </a:cxn>
                  <a:cxn ang="0">
                    <a:pos x="27" y="14"/>
                  </a:cxn>
                  <a:cxn ang="0">
                    <a:pos x="43" y="14"/>
                  </a:cxn>
                  <a:cxn ang="0">
                    <a:pos x="51" y="21"/>
                  </a:cxn>
                  <a:cxn ang="0">
                    <a:pos x="63" y="21"/>
                  </a:cxn>
                  <a:cxn ang="0">
                    <a:pos x="84" y="31"/>
                  </a:cxn>
                  <a:cxn ang="0">
                    <a:pos x="112" y="42"/>
                  </a:cxn>
                  <a:cxn ang="0">
                    <a:pos x="124" y="35"/>
                  </a:cxn>
                  <a:cxn ang="0">
                    <a:pos x="113" y="33"/>
                  </a:cxn>
                  <a:cxn ang="0">
                    <a:pos x="118" y="31"/>
                  </a:cxn>
                  <a:cxn ang="0">
                    <a:pos x="110" y="21"/>
                  </a:cxn>
                  <a:cxn ang="0">
                    <a:pos x="106" y="11"/>
                  </a:cxn>
                  <a:cxn ang="0">
                    <a:pos x="117" y="2"/>
                  </a:cxn>
                  <a:cxn ang="0">
                    <a:pos x="129" y="2"/>
                  </a:cxn>
                  <a:cxn ang="0">
                    <a:pos x="132" y="7"/>
                  </a:cxn>
                  <a:cxn ang="0">
                    <a:pos x="139" y="23"/>
                  </a:cxn>
                  <a:cxn ang="0">
                    <a:pos x="158" y="26"/>
                  </a:cxn>
                  <a:cxn ang="0">
                    <a:pos x="174" y="26"/>
                  </a:cxn>
                  <a:cxn ang="0">
                    <a:pos x="175" y="42"/>
                  </a:cxn>
                  <a:cxn ang="0">
                    <a:pos x="165" y="55"/>
                  </a:cxn>
                  <a:cxn ang="0">
                    <a:pos x="155" y="59"/>
                  </a:cxn>
                  <a:cxn ang="0">
                    <a:pos x="132" y="57"/>
                  </a:cxn>
                  <a:cxn ang="0">
                    <a:pos x="122" y="59"/>
                  </a:cxn>
                  <a:cxn ang="0">
                    <a:pos x="100" y="64"/>
                  </a:cxn>
                  <a:cxn ang="0">
                    <a:pos x="77" y="71"/>
                  </a:cxn>
                </a:cxnLst>
                <a:rect l="0" t="0" r="r" b="b"/>
                <a:pathLst>
                  <a:path w="179" h="74">
                    <a:moveTo>
                      <a:pt x="62" y="74"/>
                    </a:moveTo>
                    <a:lnTo>
                      <a:pt x="51" y="71"/>
                    </a:lnTo>
                    <a:lnTo>
                      <a:pt x="48" y="67"/>
                    </a:lnTo>
                    <a:lnTo>
                      <a:pt x="51" y="61"/>
                    </a:lnTo>
                    <a:lnTo>
                      <a:pt x="62" y="61"/>
                    </a:lnTo>
                    <a:lnTo>
                      <a:pt x="55" y="55"/>
                    </a:lnTo>
                    <a:lnTo>
                      <a:pt x="53" y="48"/>
                    </a:lnTo>
                    <a:lnTo>
                      <a:pt x="48" y="52"/>
                    </a:lnTo>
                    <a:lnTo>
                      <a:pt x="48" y="55"/>
                    </a:lnTo>
                    <a:lnTo>
                      <a:pt x="34" y="57"/>
                    </a:lnTo>
                    <a:lnTo>
                      <a:pt x="26" y="59"/>
                    </a:lnTo>
                    <a:lnTo>
                      <a:pt x="15" y="57"/>
                    </a:lnTo>
                    <a:lnTo>
                      <a:pt x="8" y="55"/>
                    </a:lnTo>
                    <a:lnTo>
                      <a:pt x="2" y="52"/>
                    </a:lnTo>
                    <a:lnTo>
                      <a:pt x="0" y="48"/>
                    </a:lnTo>
                    <a:lnTo>
                      <a:pt x="0" y="43"/>
                    </a:lnTo>
                    <a:lnTo>
                      <a:pt x="0" y="42"/>
                    </a:lnTo>
                    <a:lnTo>
                      <a:pt x="7" y="38"/>
                    </a:lnTo>
                    <a:lnTo>
                      <a:pt x="14" y="36"/>
                    </a:lnTo>
                    <a:lnTo>
                      <a:pt x="26" y="38"/>
                    </a:lnTo>
                    <a:lnTo>
                      <a:pt x="36" y="42"/>
                    </a:lnTo>
                    <a:lnTo>
                      <a:pt x="24" y="38"/>
                    </a:lnTo>
                    <a:lnTo>
                      <a:pt x="14" y="35"/>
                    </a:lnTo>
                    <a:lnTo>
                      <a:pt x="14" y="26"/>
                    </a:lnTo>
                    <a:lnTo>
                      <a:pt x="19" y="26"/>
                    </a:lnTo>
                    <a:lnTo>
                      <a:pt x="22" y="26"/>
                    </a:lnTo>
                    <a:lnTo>
                      <a:pt x="24" y="26"/>
                    </a:lnTo>
                    <a:lnTo>
                      <a:pt x="31" y="28"/>
                    </a:lnTo>
                    <a:lnTo>
                      <a:pt x="38" y="28"/>
                    </a:lnTo>
                    <a:lnTo>
                      <a:pt x="45" y="30"/>
                    </a:lnTo>
                    <a:lnTo>
                      <a:pt x="29" y="28"/>
                    </a:lnTo>
                    <a:lnTo>
                      <a:pt x="19" y="24"/>
                    </a:lnTo>
                    <a:lnTo>
                      <a:pt x="22" y="19"/>
                    </a:lnTo>
                    <a:lnTo>
                      <a:pt x="29" y="19"/>
                    </a:lnTo>
                    <a:lnTo>
                      <a:pt x="36" y="19"/>
                    </a:lnTo>
                    <a:lnTo>
                      <a:pt x="43" y="21"/>
                    </a:lnTo>
                    <a:lnTo>
                      <a:pt x="32" y="19"/>
                    </a:lnTo>
                    <a:lnTo>
                      <a:pt x="27" y="14"/>
                    </a:lnTo>
                    <a:lnTo>
                      <a:pt x="36" y="12"/>
                    </a:lnTo>
                    <a:lnTo>
                      <a:pt x="43" y="14"/>
                    </a:lnTo>
                    <a:lnTo>
                      <a:pt x="48" y="14"/>
                    </a:lnTo>
                    <a:lnTo>
                      <a:pt x="51" y="21"/>
                    </a:lnTo>
                    <a:lnTo>
                      <a:pt x="60" y="21"/>
                    </a:lnTo>
                    <a:lnTo>
                      <a:pt x="63" y="21"/>
                    </a:lnTo>
                    <a:lnTo>
                      <a:pt x="74" y="23"/>
                    </a:lnTo>
                    <a:lnTo>
                      <a:pt x="84" y="31"/>
                    </a:lnTo>
                    <a:lnTo>
                      <a:pt x="94" y="38"/>
                    </a:lnTo>
                    <a:lnTo>
                      <a:pt x="112" y="42"/>
                    </a:lnTo>
                    <a:lnTo>
                      <a:pt x="118" y="38"/>
                    </a:lnTo>
                    <a:lnTo>
                      <a:pt x="124" y="35"/>
                    </a:lnTo>
                    <a:lnTo>
                      <a:pt x="117" y="33"/>
                    </a:lnTo>
                    <a:lnTo>
                      <a:pt x="113" y="33"/>
                    </a:lnTo>
                    <a:lnTo>
                      <a:pt x="115" y="31"/>
                    </a:lnTo>
                    <a:lnTo>
                      <a:pt x="118" y="31"/>
                    </a:lnTo>
                    <a:lnTo>
                      <a:pt x="118" y="24"/>
                    </a:lnTo>
                    <a:lnTo>
                      <a:pt x="110" y="21"/>
                    </a:lnTo>
                    <a:lnTo>
                      <a:pt x="105" y="16"/>
                    </a:lnTo>
                    <a:lnTo>
                      <a:pt x="106" y="11"/>
                    </a:lnTo>
                    <a:lnTo>
                      <a:pt x="112" y="5"/>
                    </a:lnTo>
                    <a:lnTo>
                      <a:pt x="117" y="2"/>
                    </a:lnTo>
                    <a:lnTo>
                      <a:pt x="124" y="0"/>
                    </a:lnTo>
                    <a:lnTo>
                      <a:pt x="129" y="2"/>
                    </a:lnTo>
                    <a:lnTo>
                      <a:pt x="134" y="4"/>
                    </a:lnTo>
                    <a:lnTo>
                      <a:pt x="132" y="7"/>
                    </a:lnTo>
                    <a:lnTo>
                      <a:pt x="134" y="11"/>
                    </a:lnTo>
                    <a:lnTo>
                      <a:pt x="139" y="23"/>
                    </a:lnTo>
                    <a:lnTo>
                      <a:pt x="153" y="30"/>
                    </a:lnTo>
                    <a:lnTo>
                      <a:pt x="158" y="26"/>
                    </a:lnTo>
                    <a:lnTo>
                      <a:pt x="167" y="23"/>
                    </a:lnTo>
                    <a:lnTo>
                      <a:pt x="174" y="26"/>
                    </a:lnTo>
                    <a:lnTo>
                      <a:pt x="179" y="36"/>
                    </a:lnTo>
                    <a:lnTo>
                      <a:pt x="175" y="42"/>
                    </a:lnTo>
                    <a:lnTo>
                      <a:pt x="172" y="50"/>
                    </a:lnTo>
                    <a:lnTo>
                      <a:pt x="165" y="55"/>
                    </a:lnTo>
                    <a:lnTo>
                      <a:pt x="161" y="59"/>
                    </a:lnTo>
                    <a:lnTo>
                      <a:pt x="155" y="59"/>
                    </a:lnTo>
                    <a:lnTo>
                      <a:pt x="143" y="59"/>
                    </a:lnTo>
                    <a:lnTo>
                      <a:pt x="132" y="57"/>
                    </a:lnTo>
                    <a:lnTo>
                      <a:pt x="129" y="59"/>
                    </a:lnTo>
                    <a:lnTo>
                      <a:pt x="122" y="59"/>
                    </a:lnTo>
                    <a:lnTo>
                      <a:pt x="112" y="62"/>
                    </a:lnTo>
                    <a:lnTo>
                      <a:pt x="100" y="64"/>
                    </a:lnTo>
                    <a:lnTo>
                      <a:pt x="94" y="67"/>
                    </a:lnTo>
                    <a:lnTo>
                      <a:pt x="77" y="71"/>
                    </a:lnTo>
                    <a:lnTo>
                      <a:pt x="62" y="7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60" name="Freeform 305"/>
              <p:cNvSpPr>
                <a:spLocks/>
              </p:cNvSpPr>
              <p:nvPr/>
            </p:nvSpPr>
            <p:spPr bwMode="auto">
              <a:xfrm>
                <a:off x="1569244" y="1801813"/>
                <a:ext cx="38100" cy="30162"/>
              </a:xfrm>
              <a:custGeom>
                <a:avLst/>
                <a:gdLst/>
                <a:ahLst/>
                <a:cxnLst>
                  <a:cxn ang="0">
                    <a:pos x="8" y="19"/>
                  </a:cxn>
                  <a:cxn ang="0">
                    <a:pos x="1" y="16"/>
                  </a:cxn>
                  <a:cxn ang="0">
                    <a:pos x="0" y="12"/>
                  </a:cxn>
                  <a:cxn ang="0">
                    <a:pos x="1" y="5"/>
                  </a:cxn>
                  <a:cxn ang="0">
                    <a:pos x="8" y="2"/>
                  </a:cxn>
                  <a:cxn ang="0">
                    <a:pos x="17" y="0"/>
                  </a:cxn>
                  <a:cxn ang="0">
                    <a:pos x="24" y="0"/>
                  </a:cxn>
                  <a:cxn ang="0">
                    <a:pos x="17" y="12"/>
                  </a:cxn>
                  <a:cxn ang="0">
                    <a:pos x="8" y="19"/>
                  </a:cxn>
                </a:cxnLst>
                <a:rect l="0" t="0" r="r" b="b"/>
                <a:pathLst>
                  <a:path w="24" h="19">
                    <a:moveTo>
                      <a:pt x="8" y="19"/>
                    </a:moveTo>
                    <a:lnTo>
                      <a:pt x="1" y="16"/>
                    </a:lnTo>
                    <a:lnTo>
                      <a:pt x="0" y="12"/>
                    </a:lnTo>
                    <a:lnTo>
                      <a:pt x="1" y="5"/>
                    </a:lnTo>
                    <a:lnTo>
                      <a:pt x="8" y="2"/>
                    </a:lnTo>
                    <a:lnTo>
                      <a:pt x="17" y="0"/>
                    </a:lnTo>
                    <a:lnTo>
                      <a:pt x="24" y="0"/>
                    </a:lnTo>
                    <a:lnTo>
                      <a:pt x="17" y="12"/>
                    </a:lnTo>
                    <a:lnTo>
                      <a:pt x="8"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61" name="Freeform 306"/>
              <p:cNvSpPr>
                <a:spLocks/>
              </p:cNvSpPr>
              <p:nvPr/>
            </p:nvSpPr>
            <p:spPr bwMode="auto">
              <a:xfrm>
                <a:off x="1669257" y="1760538"/>
                <a:ext cx="28575" cy="11112"/>
              </a:xfrm>
              <a:custGeom>
                <a:avLst/>
                <a:gdLst/>
                <a:ahLst/>
                <a:cxnLst>
                  <a:cxn ang="0">
                    <a:pos x="7" y="7"/>
                  </a:cxn>
                  <a:cxn ang="0">
                    <a:pos x="2" y="5"/>
                  </a:cxn>
                  <a:cxn ang="0">
                    <a:pos x="0" y="0"/>
                  </a:cxn>
                  <a:cxn ang="0">
                    <a:pos x="18" y="0"/>
                  </a:cxn>
                  <a:cxn ang="0">
                    <a:pos x="18" y="7"/>
                  </a:cxn>
                  <a:cxn ang="0">
                    <a:pos x="11" y="7"/>
                  </a:cxn>
                  <a:cxn ang="0">
                    <a:pos x="7" y="7"/>
                  </a:cxn>
                </a:cxnLst>
                <a:rect l="0" t="0" r="r" b="b"/>
                <a:pathLst>
                  <a:path w="18" h="7">
                    <a:moveTo>
                      <a:pt x="7" y="7"/>
                    </a:moveTo>
                    <a:lnTo>
                      <a:pt x="2" y="5"/>
                    </a:lnTo>
                    <a:lnTo>
                      <a:pt x="0" y="0"/>
                    </a:lnTo>
                    <a:lnTo>
                      <a:pt x="18" y="0"/>
                    </a:lnTo>
                    <a:lnTo>
                      <a:pt x="18" y="7"/>
                    </a:lnTo>
                    <a:lnTo>
                      <a:pt x="11" y="7"/>
                    </a:lnTo>
                    <a:lnTo>
                      <a:pt x="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62" name="Freeform 307"/>
              <p:cNvSpPr>
                <a:spLocks/>
              </p:cNvSpPr>
              <p:nvPr/>
            </p:nvSpPr>
            <p:spPr bwMode="auto">
              <a:xfrm>
                <a:off x="1486694" y="1730375"/>
                <a:ext cx="161925" cy="85725"/>
              </a:xfrm>
              <a:custGeom>
                <a:avLst/>
                <a:gdLst/>
                <a:ahLst/>
                <a:cxnLst>
                  <a:cxn ang="0">
                    <a:pos x="102" y="6"/>
                  </a:cxn>
                  <a:cxn ang="0">
                    <a:pos x="98" y="9"/>
                  </a:cxn>
                  <a:cxn ang="0">
                    <a:pos x="95" y="14"/>
                  </a:cxn>
                  <a:cxn ang="0">
                    <a:pos x="96" y="19"/>
                  </a:cxn>
                  <a:cxn ang="0">
                    <a:pos x="100" y="24"/>
                  </a:cxn>
                  <a:cxn ang="0">
                    <a:pos x="78" y="40"/>
                  </a:cxn>
                  <a:cxn ang="0">
                    <a:pos x="69" y="33"/>
                  </a:cxn>
                  <a:cxn ang="0">
                    <a:pos x="65" y="26"/>
                  </a:cxn>
                  <a:cxn ang="0">
                    <a:pos x="59" y="37"/>
                  </a:cxn>
                  <a:cxn ang="0">
                    <a:pos x="48" y="42"/>
                  </a:cxn>
                  <a:cxn ang="0">
                    <a:pos x="43" y="49"/>
                  </a:cxn>
                  <a:cxn ang="0">
                    <a:pos x="36" y="54"/>
                  </a:cxn>
                  <a:cxn ang="0">
                    <a:pos x="31" y="49"/>
                  </a:cxn>
                  <a:cxn ang="0">
                    <a:pos x="28" y="45"/>
                  </a:cxn>
                  <a:cxn ang="0">
                    <a:pos x="21" y="45"/>
                  </a:cxn>
                  <a:cxn ang="0">
                    <a:pos x="14" y="45"/>
                  </a:cxn>
                  <a:cxn ang="0">
                    <a:pos x="9" y="47"/>
                  </a:cxn>
                  <a:cxn ang="0">
                    <a:pos x="5" y="50"/>
                  </a:cxn>
                  <a:cxn ang="0">
                    <a:pos x="2" y="45"/>
                  </a:cxn>
                  <a:cxn ang="0">
                    <a:pos x="0" y="42"/>
                  </a:cxn>
                  <a:cxn ang="0">
                    <a:pos x="4" y="37"/>
                  </a:cxn>
                  <a:cxn ang="0">
                    <a:pos x="12" y="33"/>
                  </a:cxn>
                  <a:cxn ang="0">
                    <a:pos x="22" y="28"/>
                  </a:cxn>
                  <a:cxn ang="0">
                    <a:pos x="36" y="23"/>
                  </a:cxn>
                  <a:cxn ang="0">
                    <a:pos x="41" y="16"/>
                  </a:cxn>
                  <a:cxn ang="0">
                    <a:pos x="47" y="11"/>
                  </a:cxn>
                  <a:cxn ang="0">
                    <a:pos x="52" y="6"/>
                  </a:cxn>
                  <a:cxn ang="0">
                    <a:pos x="62" y="4"/>
                  </a:cxn>
                  <a:cxn ang="0">
                    <a:pos x="65" y="4"/>
                  </a:cxn>
                  <a:cxn ang="0">
                    <a:pos x="71" y="6"/>
                  </a:cxn>
                  <a:cxn ang="0">
                    <a:pos x="74" y="4"/>
                  </a:cxn>
                  <a:cxn ang="0">
                    <a:pos x="86" y="2"/>
                  </a:cxn>
                  <a:cxn ang="0">
                    <a:pos x="96" y="0"/>
                  </a:cxn>
                  <a:cxn ang="0">
                    <a:pos x="102" y="6"/>
                  </a:cxn>
                </a:cxnLst>
                <a:rect l="0" t="0" r="r" b="b"/>
                <a:pathLst>
                  <a:path w="102" h="54">
                    <a:moveTo>
                      <a:pt x="102" y="6"/>
                    </a:moveTo>
                    <a:lnTo>
                      <a:pt x="98" y="9"/>
                    </a:lnTo>
                    <a:lnTo>
                      <a:pt x="95" y="14"/>
                    </a:lnTo>
                    <a:lnTo>
                      <a:pt x="96" y="19"/>
                    </a:lnTo>
                    <a:lnTo>
                      <a:pt x="100" y="24"/>
                    </a:lnTo>
                    <a:lnTo>
                      <a:pt x="78" y="40"/>
                    </a:lnTo>
                    <a:lnTo>
                      <a:pt x="69" y="33"/>
                    </a:lnTo>
                    <a:lnTo>
                      <a:pt x="65" y="26"/>
                    </a:lnTo>
                    <a:lnTo>
                      <a:pt x="59" y="37"/>
                    </a:lnTo>
                    <a:lnTo>
                      <a:pt x="48" y="42"/>
                    </a:lnTo>
                    <a:lnTo>
                      <a:pt x="43" y="49"/>
                    </a:lnTo>
                    <a:lnTo>
                      <a:pt x="36" y="54"/>
                    </a:lnTo>
                    <a:lnTo>
                      <a:pt x="31" y="49"/>
                    </a:lnTo>
                    <a:lnTo>
                      <a:pt x="28" y="45"/>
                    </a:lnTo>
                    <a:lnTo>
                      <a:pt x="21" y="45"/>
                    </a:lnTo>
                    <a:lnTo>
                      <a:pt x="14" y="45"/>
                    </a:lnTo>
                    <a:lnTo>
                      <a:pt x="9" y="47"/>
                    </a:lnTo>
                    <a:lnTo>
                      <a:pt x="5" y="50"/>
                    </a:lnTo>
                    <a:lnTo>
                      <a:pt x="2" y="45"/>
                    </a:lnTo>
                    <a:lnTo>
                      <a:pt x="0" y="42"/>
                    </a:lnTo>
                    <a:lnTo>
                      <a:pt x="4" y="37"/>
                    </a:lnTo>
                    <a:lnTo>
                      <a:pt x="12" y="33"/>
                    </a:lnTo>
                    <a:lnTo>
                      <a:pt x="22" y="28"/>
                    </a:lnTo>
                    <a:lnTo>
                      <a:pt x="36" y="23"/>
                    </a:lnTo>
                    <a:lnTo>
                      <a:pt x="41" y="16"/>
                    </a:lnTo>
                    <a:lnTo>
                      <a:pt x="47" y="11"/>
                    </a:lnTo>
                    <a:lnTo>
                      <a:pt x="52" y="6"/>
                    </a:lnTo>
                    <a:lnTo>
                      <a:pt x="62" y="4"/>
                    </a:lnTo>
                    <a:lnTo>
                      <a:pt x="65" y="4"/>
                    </a:lnTo>
                    <a:lnTo>
                      <a:pt x="71" y="6"/>
                    </a:lnTo>
                    <a:lnTo>
                      <a:pt x="74" y="4"/>
                    </a:lnTo>
                    <a:lnTo>
                      <a:pt x="86" y="2"/>
                    </a:lnTo>
                    <a:lnTo>
                      <a:pt x="96" y="0"/>
                    </a:lnTo>
                    <a:lnTo>
                      <a:pt x="102"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63" name="Freeform 308"/>
              <p:cNvSpPr>
                <a:spLocks/>
              </p:cNvSpPr>
              <p:nvPr/>
            </p:nvSpPr>
            <p:spPr bwMode="auto">
              <a:xfrm>
                <a:off x="1702594" y="1668463"/>
                <a:ext cx="92075" cy="26987"/>
              </a:xfrm>
              <a:custGeom>
                <a:avLst/>
                <a:gdLst/>
                <a:ahLst/>
                <a:cxnLst>
                  <a:cxn ang="0">
                    <a:pos x="22" y="17"/>
                  </a:cxn>
                  <a:cxn ang="0">
                    <a:pos x="15" y="15"/>
                  </a:cxn>
                  <a:cxn ang="0">
                    <a:pos x="10" y="14"/>
                  </a:cxn>
                  <a:cxn ang="0">
                    <a:pos x="3" y="15"/>
                  </a:cxn>
                  <a:cxn ang="0">
                    <a:pos x="0" y="17"/>
                  </a:cxn>
                  <a:cxn ang="0">
                    <a:pos x="3" y="10"/>
                  </a:cxn>
                  <a:cxn ang="0">
                    <a:pos x="15" y="5"/>
                  </a:cxn>
                  <a:cxn ang="0">
                    <a:pos x="28" y="0"/>
                  </a:cxn>
                  <a:cxn ang="0">
                    <a:pos x="36" y="0"/>
                  </a:cxn>
                  <a:cxn ang="0">
                    <a:pos x="50" y="3"/>
                  </a:cxn>
                  <a:cxn ang="0">
                    <a:pos x="58" y="12"/>
                  </a:cxn>
                  <a:cxn ang="0">
                    <a:pos x="52" y="15"/>
                  </a:cxn>
                  <a:cxn ang="0">
                    <a:pos x="45" y="17"/>
                  </a:cxn>
                  <a:cxn ang="0">
                    <a:pos x="36" y="17"/>
                  </a:cxn>
                  <a:cxn ang="0">
                    <a:pos x="33" y="17"/>
                  </a:cxn>
                  <a:cxn ang="0">
                    <a:pos x="28" y="17"/>
                  </a:cxn>
                  <a:cxn ang="0">
                    <a:pos x="22" y="17"/>
                  </a:cxn>
                </a:cxnLst>
                <a:rect l="0" t="0" r="r" b="b"/>
                <a:pathLst>
                  <a:path w="58" h="17">
                    <a:moveTo>
                      <a:pt x="22" y="17"/>
                    </a:moveTo>
                    <a:lnTo>
                      <a:pt x="15" y="15"/>
                    </a:lnTo>
                    <a:lnTo>
                      <a:pt x="10" y="14"/>
                    </a:lnTo>
                    <a:lnTo>
                      <a:pt x="3" y="15"/>
                    </a:lnTo>
                    <a:lnTo>
                      <a:pt x="0" y="17"/>
                    </a:lnTo>
                    <a:lnTo>
                      <a:pt x="3" y="10"/>
                    </a:lnTo>
                    <a:lnTo>
                      <a:pt x="15" y="5"/>
                    </a:lnTo>
                    <a:lnTo>
                      <a:pt x="28" y="0"/>
                    </a:lnTo>
                    <a:lnTo>
                      <a:pt x="36" y="0"/>
                    </a:lnTo>
                    <a:lnTo>
                      <a:pt x="50" y="3"/>
                    </a:lnTo>
                    <a:lnTo>
                      <a:pt x="58" y="12"/>
                    </a:lnTo>
                    <a:lnTo>
                      <a:pt x="52" y="15"/>
                    </a:lnTo>
                    <a:lnTo>
                      <a:pt x="45" y="17"/>
                    </a:lnTo>
                    <a:lnTo>
                      <a:pt x="36" y="17"/>
                    </a:lnTo>
                    <a:lnTo>
                      <a:pt x="33" y="17"/>
                    </a:lnTo>
                    <a:lnTo>
                      <a:pt x="28" y="17"/>
                    </a:lnTo>
                    <a:lnTo>
                      <a:pt x="22"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64" name="Freeform 309"/>
              <p:cNvSpPr>
                <a:spLocks/>
              </p:cNvSpPr>
              <p:nvPr/>
            </p:nvSpPr>
            <p:spPr bwMode="auto">
              <a:xfrm>
                <a:off x="1705769" y="1700213"/>
                <a:ext cx="79375" cy="41275"/>
              </a:xfrm>
              <a:custGeom>
                <a:avLst/>
                <a:gdLst/>
                <a:ahLst/>
                <a:cxnLst>
                  <a:cxn ang="0">
                    <a:pos x="43" y="11"/>
                  </a:cxn>
                  <a:cxn ang="0">
                    <a:pos x="39" y="16"/>
                  </a:cxn>
                  <a:cxn ang="0">
                    <a:pos x="32" y="21"/>
                  </a:cxn>
                  <a:cxn ang="0">
                    <a:pos x="24" y="25"/>
                  </a:cxn>
                  <a:cxn ang="0">
                    <a:pos x="15" y="26"/>
                  </a:cxn>
                  <a:cxn ang="0">
                    <a:pos x="5" y="21"/>
                  </a:cxn>
                  <a:cxn ang="0">
                    <a:pos x="0" y="13"/>
                  </a:cxn>
                  <a:cxn ang="0">
                    <a:pos x="3" y="4"/>
                  </a:cxn>
                  <a:cxn ang="0">
                    <a:pos x="15" y="0"/>
                  </a:cxn>
                  <a:cxn ang="0">
                    <a:pos x="29" y="0"/>
                  </a:cxn>
                  <a:cxn ang="0">
                    <a:pos x="41" y="0"/>
                  </a:cxn>
                  <a:cxn ang="0">
                    <a:pos x="46" y="2"/>
                  </a:cxn>
                  <a:cxn ang="0">
                    <a:pos x="50" y="6"/>
                  </a:cxn>
                  <a:cxn ang="0">
                    <a:pos x="39" y="9"/>
                  </a:cxn>
                  <a:cxn ang="0">
                    <a:pos x="29" y="11"/>
                  </a:cxn>
                  <a:cxn ang="0">
                    <a:pos x="43" y="11"/>
                  </a:cxn>
                </a:cxnLst>
                <a:rect l="0" t="0" r="r" b="b"/>
                <a:pathLst>
                  <a:path w="50" h="26">
                    <a:moveTo>
                      <a:pt x="43" y="11"/>
                    </a:moveTo>
                    <a:lnTo>
                      <a:pt x="39" y="16"/>
                    </a:lnTo>
                    <a:lnTo>
                      <a:pt x="32" y="21"/>
                    </a:lnTo>
                    <a:lnTo>
                      <a:pt x="24" y="25"/>
                    </a:lnTo>
                    <a:lnTo>
                      <a:pt x="15" y="26"/>
                    </a:lnTo>
                    <a:lnTo>
                      <a:pt x="5" y="21"/>
                    </a:lnTo>
                    <a:lnTo>
                      <a:pt x="0" y="13"/>
                    </a:lnTo>
                    <a:lnTo>
                      <a:pt x="3" y="4"/>
                    </a:lnTo>
                    <a:lnTo>
                      <a:pt x="15" y="0"/>
                    </a:lnTo>
                    <a:lnTo>
                      <a:pt x="29" y="0"/>
                    </a:lnTo>
                    <a:lnTo>
                      <a:pt x="41" y="0"/>
                    </a:lnTo>
                    <a:lnTo>
                      <a:pt x="46" y="2"/>
                    </a:lnTo>
                    <a:lnTo>
                      <a:pt x="50" y="6"/>
                    </a:lnTo>
                    <a:lnTo>
                      <a:pt x="39" y="9"/>
                    </a:lnTo>
                    <a:lnTo>
                      <a:pt x="29" y="11"/>
                    </a:lnTo>
                    <a:lnTo>
                      <a:pt x="43"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65" name="Freeform 310"/>
              <p:cNvSpPr>
                <a:spLocks/>
              </p:cNvSpPr>
              <p:nvPr/>
            </p:nvSpPr>
            <p:spPr bwMode="auto">
              <a:xfrm>
                <a:off x="1667669" y="1703388"/>
                <a:ext cx="26988" cy="22225"/>
              </a:xfrm>
              <a:custGeom>
                <a:avLst/>
                <a:gdLst/>
                <a:ahLst/>
                <a:cxnLst>
                  <a:cxn ang="0">
                    <a:pos x="17" y="9"/>
                  </a:cxn>
                  <a:cxn ang="0">
                    <a:pos x="13" y="12"/>
                  </a:cxn>
                  <a:cxn ang="0">
                    <a:pos x="10" y="14"/>
                  </a:cxn>
                  <a:cxn ang="0">
                    <a:pos x="1" y="11"/>
                  </a:cxn>
                  <a:cxn ang="0">
                    <a:pos x="0" y="7"/>
                  </a:cxn>
                  <a:cxn ang="0">
                    <a:pos x="1" y="0"/>
                  </a:cxn>
                  <a:cxn ang="0">
                    <a:pos x="7" y="2"/>
                  </a:cxn>
                  <a:cxn ang="0">
                    <a:pos x="12" y="5"/>
                  </a:cxn>
                  <a:cxn ang="0">
                    <a:pos x="17" y="9"/>
                  </a:cxn>
                </a:cxnLst>
                <a:rect l="0" t="0" r="r" b="b"/>
                <a:pathLst>
                  <a:path w="17" h="14">
                    <a:moveTo>
                      <a:pt x="17" y="9"/>
                    </a:moveTo>
                    <a:lnTo>
                      <a:pt x="13" y="12"/>
                    </a:lnTo>
                    <a:lnTo>
                      <a:pt x="10" y="14"/>
                    </a:lnTo>
                    <a:lnTo>
                      <a:pt x="1" y="11"/>
                    </a:lnTo>
                    <a:lnTo>
                      <a:pt x="0" y="7"/>
                    </a:lnTo>
                    <a:lnTo>
                      <a:pt x="1" y="0"/>
                    </a:lnTo>
                    <a:lnTo>
                      <a:pt x="7" y="2"/>
                    </a:lnTo>
                    <a:lnTo>
                      <a:pt x="12" y="5"/>
                    </a:lnTo>
                    <a:lnTo>
                      <a:pt x="17" y="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66" name="Freeform 311"/>
              <p:cNvSpPr>
                <a:spLocks/>
              </p:cNvSpPr>
              <p:nvPr/>
            </p:nvSpPr>
            <p:spPr bwMode="auto">
              <a:xfrm>
                <a:off x="1964532" y="1905000"/>
                <a:ext cx="136525" cy="109537"/>
              </a:xfrm>
              <a:custGeom>
                <a:avLst/>
                <a:gdLst/>
                <a:ahLst/>
                <a:cxnLst>
                  <a:cxn ang="0">
                    <a:pos x="76" y="26"/>
                  </a:cxn>
                  <a:cxn ang="0">
                    <a:pos x="74" y="30"/>
                  </a:cxn>
                  <a:cxn ang="0">
                    <a:pos x="74" y="33"/>
                  </a:cxn>
                  <a:cxn ang="0">
                    <a:pos x="79" y="33"/>
                  </a:cxn>
                  <a:cxn ang="0">
                    <a:pos x="86" y="37"/>
                  </a:cxn>
                  <a:cxn ang="0">
                    <a:pos x="84" y="43"/>
                  </a:cxn>
                  <a:cxn ang="0">
                    <a:pos x="83" y="50"/>
                  </a:cxn>
                  <a:cxn ang="0">
                    <a:pos x="81" y="54"/>
                  </a:cxn>
                  <a:cxn ang="0">
                    <a:pos x="81" y="57"/>
                  </a:cxn>
                  <a:cxn ang="0">
                    <a:pos x="74" y="59"/>
                  </a:cxn>
                  <a:cxn ang="0">
                    <a:pos x="65" y="62"/>
                  </a:cxn>
                  <a:cxn ang="0">
                    <a:pos x="60" y="66"/>
                  </a:cxn>
                  <a:cxn ang="0">
                    <a:pos x="55" y="69"/>
                  </a:cxn>
                  <a:cxn ang="0">
                    <a:pos x="48" y="66"/>
                  </a:cxn>
                  <a:cxn ang="0">
                    <a:pos x="45" y="61"/>
                  </a:cxn>
                  <a:cxn ang="0">
                    <a:pos x="33" y="52"/>
                  </a:cxn>
                  <a:cxn ang="0">
                    <a:pos x="22" y="47"/>
                  </a:cxn>
                  <a:cxn ang="0">
                    <a:pos x="10" y="42"/>
                  </a:cxn>
                  <a:cxn ang="0">
                    <a:pos x="0" y="35"/>
                  </a:cxn>
                  <a:cxn ang="0">
                    <a:pos x="0" y="26"/>
                  </a:cxn>
                  <a:cxn ang="0">
                    <a:pos x="10" y="28"/>
                  </a:cxn>
                  <a:cxn ang="0">
                    <a:pos x="22" y="31"/>
                  </a:cxn>
                  <a:cxn ang="0">
                    <a:pos x="26" y="31"/>
                  </a:cxn>
                  <a:cxn ang="0">
                    <a:pos x="31" y="31"/>
                  </a:cxn>
                  <a:cxn ang="0">
                    <a:pos x="31" y="18"/>
                  </a:cxn>
                  <a:cxn ang="0">
                    <a:pos x="19" y="16"/>
                  </a:cxn>
                  <a:cxn ang="0">
                    <a:pos x="14" y="12"/>
                  </a:cxn>
                  <a:cxn ang="0">
                    <a:pos x="16" y="9"/>
                  </a:cxn>
                  <a:cxn ang="0">
                    <a:pos x="17" y="7"/>
                  </a:cxn>
                  <a:cxn ang="0">
                    <a:pos x="31" y="0"/>
                  </a:cxn>
                  <a:cxn ang="0">
                    <a:pos x="48" y="2"/>
                  </a:cxn>
                  <a:cxn ang="0">
                    <a:pos x="60" y="2"/>
                  </a:cxn>
                  <a:cxn ang="0">
                    <a:pos x="69" y="2"/>
                  </a:cxn>
                  <a:cxn ang="0">
                    <a:pos x="71" y="2"/>
                  </a:cxn>
                  <a:cxn ang="0">
                    <a:pos x="72" y="6"/>
                  </a:cxn>
                  <a:cxn ang="0">
                    <a:pos x="65" y="18"/>
                  </a:cxn>
                  <a:cxn ang="0">
                    <a:pos x="57" y="25"/>
                  </a:cxn>
                  <a:cxn ang="0">
                    <a:pos x="60" y="23"/>
                  </a:cxn>
                  <a:cxn ang="0">
                    <a:pos x="67" y="23"/>
                  </a:cxn>
                  <a:cxn ang="0">
                    <a:pos x="72" y="21"/>
                  </a:cxn>
                  <a:cxn ang="0">
                    <a:pos x="76" y="26"/>
                  </a:cxn>
                </a:cxnLst>
                <a:rect l="0" t="0" r="r" b="b"/>
                <a:pathLst>
                  <a:path w="86" h="69">
                    <a:moveTo>
                      <a:pt x="76" y="26"/>
                    </a:moveTo>
                    <a:lnTo>
                      <a:pt x="74" y="30"/>
                    </a:lnTo>
                    <a:lnTo>
                      <a:pt x="74" y="33"/>
                    </a:lnTo>
                    <a:lnTo>
                      <a:pt x="79" y="33"/>
                    </a:lnTo>
                    <a:lnTo>
                      <a:pt x="86" y="37"/>
                    </a:lnTo>
                    <a:lnTo>
                      <a:pt x="84" y="43"/>
                    </a:lnTo>
                    <a:lnTo>
                      <a:pt x="83" y="50"/>
                    </a:lnTo>
                    <a:lnTo>
                      <a:pt x="81" y="54"/>
                    </a:lnTo>
                    <a:lnTo>
                      <a:pt x="81" y="57"/>
                    </a:lnTo>
                    <a:lnTo>
                      <a:pt x="74" y="59"/>
                    </a:lnTo>
                    <a:lnTo>
                      <a:pt x="65" y="62"/>
                    </a:lnTo>
                    <a:lnTo>
                      <a:pt x="60" y="66"/>
                    </a:lnTo>
                    <a:lnTo>
                      <a:pt x="55" y="69"/>
                    </a:lnTo>
                    <a:lnTo>
                      <a:pt x="48" y="66"/>
                    </a:lnTo>
                    <a:lnTo>
                      <a:pt x="45" y="61"/>
                    </a:lnTo>
                    <a:lnTo>
                      <a:pt x="33" y="52"/>
                    </a:lnTo>
                    <a:lnTo>
                      <a:pt x="22" y="47"/>
                    </a:lnTo>
                    <a:lnTo>
                      <a:pt x="10" y="42"/>
                    </a:lnTo>
                    <a:lnTo>
                      <a:pt x="0" y="35"/>
                    </a:lnTo>
                    <a:lnTo>
                      <a:pt x="0" y="26"/>
                    </a:lnTo>
                    <a:lnTo>
                      <a:pt x="10" y="28"/>
                    </a:lnTo>
                    <a:lnTo>
                      <a:pt x="22" y="31"/>
                    </a:lnTo>
                    <a:lnTo>
                      <a:pt x="26" y="31"/>
                    </a:lnTo>
                    <a:lnTo>
                      <a:pt x="31" y="31"/>
                    </a:lnTo>
                    <a:lnTo>
                      <a:pt x="31" y="18"/>
                    </a:lnTo>
                    <a:lnTo>
                      <a:pt x="19" y="16"/>
                    </a:lnTo>
                    <a:lnTo>
                      <a:pt x="14" y="12"/>
                    </a:lnTo>
                    <a:lnTo>
                      <a:pt x="16" y="9"/>
                    </a:lnTo>
                    <a:lnTo>
                      <a:pt x="17" y="7"/>
                    </a:lnTo>
                    <a:lnTo>
                      <a:pt x="31" y="0"/>
                    </a:lnTo>
                    <a:lnTo>
                      <a:pt x="48" y="2"/>
                    </a:lnTo>
                    <a:lnTo>
                      <a:pt x="60" y="2"/>
                    </a:lnTo>
                    <a:lnTo>
                      <a:pt x="69" y="2"/>
                    </a:lnTo>
                    <a:lnTo>
                      <a:pt x="71" y="2"/>
                    </a:lnTo>
                    <a:lnTo>
                      <a:pt x="72" y="6"/>
                    </a:lnTo>
                    <a:lnTo>
                      <a:pt x="65" y="18"/>
                    </a:lnTo>
                    <a:lnTo>
                      <a:pt x="57" y="25"/>
                    </a:lnTo>
                    <a:lnTo>
                      <a:pt x="60" y="23"/>
                    </a:lnTo>
                    <a:lnTo>
                      <a:pt x="67" y="23"/>
                    </a:lnTo>
                    <a:lnTo>
                      <a:pt x="72" y="21"/>
                    </a:lnTo>
                    <a:lnTo>
                      <a:pt x="76"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67" name="Freeform 312"/>
              <p:cNvSpPr>
                <a:spLocks/>
              </p:cNvSpPr>
              <p:nvPr/>
            </p:nvSpPr>
            <p:spPr bwMode="auto">
              <a:xfrm>
                <a:off x="1915319" y="1771650"/>
                <a:ext cx="152400" cy="76200"/>
              </a:xfrm>
              <a:custGeom>
                <a:avLst/>
                <a:gdLst/>
                <a:ahLst/>
                <a:cxnLst>
                  <a:cxn ang="0">
                    <a:pos x="4" y="12"/>
                  </a:cxn>
                  <a:cxn ang="0">
                    <a:pos x="0" y="7"/>
                  </a:cxn>
                  <a:cxn ang="0">
                    <a:pos x="0" y="2"/>
                  </a:cxn>
                  <a:cxn ang="0">
                    <a:pos x="2" y="2"/>
                  </a:cxn>
                  <a:cxn ang="0">
                    <a:pos x="5" y="2"/>
                  </a:cxn>
                  <a:cxn ang="0">
                    <a:pos x="14" y="5"/>
                  </a:cxn>
                  <a:cxn ang="0">
                    <a:pos x="24" y="14"/>
                  </a:cxn>
                  <a:cxn ang="0">
                    <a:pos x="31" y="21"/>
                  </a:cxn>
                  <a:cxn ang="0">
                    <a:pos x="43" y="23"/>
                  </a:cxn>
                  <a:cxn ang="0">
                    <a:pos x="36" y="17"/>
                  </a:cxn>
                  <a:cxn ang="0">
                    <a:pos x="33" y="14"/>
                  </a:cxn>
                  <a:cxn ang="0">
                    <a:pos x="33" y="9"/>
                  </a:cxn>
                  <a:cxn ang="0">
                    <a:pos x="40" y="9"/>
                  </a:cxn>
                  <a:cxn ang="0">
                    <a:pos x="47" y="14"/>
                  </a:cxn>
                  <a:cxn ang="0">
                    <a:pos x="52" y="16"/>
                  </a:cxn>
                  <a:cxn ang="0">
                    <a:pos x="62" y="19"/>
                  </a:cxn>
                  <a:cxn ang="0">
                    <a:pos x="62" y="9"/>
                  </a:cxn>
                  <a:cxn ang="0">
                    <a:pos x="48" y="7"/>
                  </a:cxn>
                  <a:cxn ang="0">
                    <a:pos x="43" y="2"/>
                  </a:cxn>
                  <a:cxn ang="0">
                    <a:pos x="47" y="0"/>
                  </a:cxn>
                  <a:cxn ang="0">
                    <a:pos x="52" y="0"/>
                  </a:cxn>
                  <a:cxn ang="0">
                    <a:pos x="62" y="2"/>
                  </a:cxn>
                  <a:cxn ang="0">
                    <a:pos x="76" y="5"/>
                  </a:cxn>
                  <a:cxn ang="0">
                    <a:pos x="79" y="4"/>
                  </a:cxn>
                  <a:cxn ang="0">
                    <a:pos x="86" y="2"/>
                  </a:cxn>
                  <a:cxn ang="0">
                    <a:pos x="93" y="5"/>
                  </a:cxn>
                  <a:cxn ang="0">
                    <a:pos x="96" y="14"/>
                  </a:cxn>
                  <a:cxn ang="0">
                    <a:pos x="95" y="21"/>
                  </a:cxn>
                  <a:cxn ang="0">
                    <a:pos x="93" y="29"/>
                  </a:cxn>
                  <a:cxn ang="0">
                    <a:pos x="90" y="36"/>
                  </a:cxn>
                  <a:cxn ang="0">
                    <a:pos x="91" y="47"/>
                  </a:cxn>
                  <a:cxn ang="0">
                    <a:pos x="78" y="47"/>
                  </a:cxn>
                  <a:cxn ang="0">
                    <a:pos x="71" y="48"/>
                  </a:cxn>
                  <a:cxn ang="0">
                    <a:pos x="66" y="48"/>
                  </a:cxn>
                  <a:cxn ang="0">
                    <a:pos x="62" y="48"/>
                  </a:cxn>
                  <a:cxn ang="0">
                    <a:pos x="57" y="47"/>
                  </a:cxn>
                  <a:cxn ang="0">
                    <a:pos x="55" y="47"/>
                  </a:cxn>
                  <a:cxn ang="0">
                    <a:pos x="55" y="43"/>
                  </a:cxn>
                  <a:cxn ang="0">
                    <a:pos x="59" y="41"/>
                  </a:cxn>
                  <a:cxn ang="0">
                    <a:pos x="59" y="38"/>
                  </a:cxn>
                  <a:cxn ang="0">
                    <a:pos x="59" y="36"/>
                  </a:cxn>
                  <a:cxn ang="0">
                    <a:pos x="64" y="31"/>
                  </a:cxn>
                  <a:cxn ang="0">
                    <a:pos x="71" y="29"/>
                  </a:cxn>
                  <a:cxn ang="0">
                    <a:pos x="67" y="28"/>
                  </a:cxn>
                  <a:cxn ang="0">
                    <a:pos x="66" y="28"/>
                  </a:cxn>
                  <a:cxn ang="0">
                    <a:pos x="55" y="28"/>
                  </a:cxn>
                  <a:cxn ang="0">
                    <a:pos x="47" y="29"/>
                  </a:cxn>
                  <a:cxn ang="0">
                    <a:pos x="36" y="31"/>
                  </a:cxn>
                  <a:cxn ang="0">
                    <a:pos x="28" y="33"/>
                  </a:cxn>
                  <a:cxn ang="0">
                    <a:pos x="23" y="29"/>
                  </a:cxn>
                  <a:cxn ang="0">
                    <a:pos x="23" y="26"/>
                  </a:cxn>
                  <a:cxn ang="0">
                    <a:pos x="14" y="26"/>
                  </a:cxn>
                  <a:cxn ang="0">
                    <a:pos x="14" y="21"/>
                  </a:cxn>
                  <a:cxn ang="0">
                    <a:pos x="5" y="19"/>
                  </a:cxn>
                  <a:cxn ang="0">
                    <a:pos x="0" y="16"/>
                  </a:cxn>
                  <a:cxn ang="0">
                    <a:pos x="0" y="7"/>
                  </a:cxn>
                  <a:cxn ang="0">
                    <a:pos x="4" y="12"/>
                  </a:cxn>
                </a:cxnLst>
                <a:rect l="0" t="0" r="r" b="b"/>
                <a:pathLst>
                  <a:path w="96" h="48">
                    <a:moveTo>
                      <a:pt x="4" y="12"/>
                    </a:moveTo>
                    <a:lnTo>
                      <a:pt x="0" y="7"/>
                    </a:lnTo>
                    <a:lnTo>
                      <a:pt x="0" y="2"/>
                    </a:lnTo>
                    <a:lnTo>
                      <a:pt x="2" y="2"/>
                    </a:lnTo>
                    <a:lnTo>
                      <a:pt x="5" y="2"/>
                    </a:lnTo>
                    <a:lnTo>
                      <a:pt x="14" y="5"/>
                    </a:lnTo>
                    <a:lnTo>
                      <a:pt x="24" y="14"/>
                    </a:lnTo>
                    <a:lnTo>
                      <a:pt x="31" y="21"/>
                    </a:lnTo>
                    <a:lnTo>
                      <a:pt x="43" y="23"/>
                    </a:lnTo>
                    <a:lnTo>
                      <a:pt x="36" y="17"/>
                    </a:lnTo>
                    <a:lnTo>
                      <a:pt x="33" y="14"/>
                    </a:lnTo>
                    <a:lnTo>
                      <a:pt x="33" y="9"/>
                    </a:lnTo>
                    <a:lnTo>
                      <a:pt x="40" y="9"/>
                    </a:lnTo>
                    <a:lnTo>
                      <a:pt x="47" y="14"/>
                    </a:lnTo>
                    <a:lnTo>
                      <a:pt x="52" y="16"/>
                    </a:lnTo>
                    <a:lnTo>
                      <a:pt x="62" y="19"/>
                    </a:lnTo>
                    <a:lnTo>
                      <a:pt x="62" y="9"/>
                    </a:lnTo>
                    <a:lnTo>
                      <a:pt x="48" y="7"/>
                    </a:lnTo>
                    <a:lnTo>
                      <a:pt x="43" y="2"/>
                    </a:lnTo>
                    <a:lnTo>
                      <a:pt x="47" y="0"/>
                    </a:lnTo>
                    <a:lnTo>
                      <a:pt x="52" y="0"/>
                    </a:lnTo>
                    <a:lnTo>
                      <a:pt x="62" y="2"/>
                    </a:lnTo>
                    <a:lnTo>
                      <a:pt x="76" y="5"/>
                    </a:lnTo>
                    <a:lnTo>
                      <a:pt x="79" y="4"/>
                    </a:lnTo>
                    <a:lnTo>
                      <a:pt x="86" y="2"/>
                    </a:lnTo>
                    <a:lnTo>
                      <a:pt x="93" y="5"/>
                    </a:lnTo>
                    <a:lnTo>
                      <a:pt x="96" y="14"/>
                    </a:lnTo>
                    <a:lnTo>
                      <a:pt x="95" y="21"/>
                    </a:lnTo>
                    <a:lnTo>
                      <a:pt x="93" y="29"/>
                    </a:lnTo>
                    <a:lnTo>
                      <a:pt x="90" y="36"/>
                    </a:lnTo>
                    <a:lnTo>
                      <a:pt x="91" y="47"/>
                    </a:lnTo>
                    <a:lnTo>
                      <a:pt x="78" y="47"/>
                    </a:lnTo>
                    <a:lnTo>
                      <a:pt x="71" y="48"/>
                    </a:lnTo>
                    <a:lnTo>
                      <a:pt x="66" y="48"/>
                    </a:lnTo>
                    <a:lnTo>
                      <a:pt x="62" y="48"/>
                    </a:lnTo>
                    <a:lnTo>
                      <a:pt x="57" y="47"/>
                    </a:lnTo>
                    <a:lnTo>
                      <a:pt x="55" y="47"/>
                    </a:lnTo>
                    <a:lnTo>
                      <a:pt x="55" y="43"/>
                    </a:lnTo>
                    <a:lnTo>
                      <a:pt x="59" y="41"/>
                    </a:lnTo>
                    <a:lnTo>
                      <a:pt x="59" y="38"/>
                    </a:lnTo>
                    <a:lnTo>
                      <a:pt x="59" y="36"/>
                    </a:lnTo>
                    <a:lnTo>
                      <a:pt x="64" y="31"/>
                    </a:lnTo>
                    <a:lnTo>
                      <a:pt x="71" y="29"/>
                    </a:lnTo>
                    <a:lnTo>
                      <a:pt x="67" y="28"/>
                    </a:lnTo>
                    <a:lnTo>
                      <a:pt x="66" y="28"/>
                    </a:lnTo>
                    <a:lnTo>
                      <a:pt x="55" y="28"/>
                    </a:lnTo>
                    <a:lnTo>
                      <a:pt x="47" y="29"/>
                    </a:lnTo>
                    <a:lnTo>
                      <a:pt x="36" y="31"/>
                    </a:lnTo>
                    <a:lnTo>
                      <a:pt x="28" y="33"/>
                    </a:lnTo>
                    <a:lnTo>
                      <a:pt x="23" y="29"/>
                    </a:lnTo>
                    <a:lnTo>
                      <a:pt x="23" y="26"/>
                    </a:lnTo>
                    <a:lnTo>
                      <a:pt x="14" y="26"/>
                    </a:lnTo>
                    <a:lnTo>
                      <a:pt x="14" y="21"/>
                    </a:lnTo>
                    <a:lnTo>
                      <a:pt x="5" y="19"/>
                    </a:lnTo>
                    <a:lnTo>
                      <a:pt x="0" y="16"/>
                    </a:lnTo>
                    <a:lnTo>
                      <a:pt x="0" y="7"/>
                    </a:lnTo>
                    <a:lnTo>
                      <a:pt x="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68" name="Freeform 313"/>
              <p:cNvSpPr>
                <a:spLocks/>
              </p:cNvSpPr>
              <p:nvPr/>
            </p:nvSpPr>
            <p:spPr bwMode="auto">
              <a:xfrm>
                <a:off x="2029619" y="2078038"/>
                <a:ext cx="90488" cy="53975"/>
              </a:xfrm>
              <a:custGeom>
                <a:avLst/>
                <a:gdLst/>
                <a:ahLst/>
                <a:cxnLst>
                  <a:cxn ang="0">
                    <a:pos x="45" y="34"/>
                  </a:cxn>
                  <a:cxn ang="0">
                    <a:pos x="35" y="31"/>
                  </a:cxn>
                  <a:cxn ang="0">
                    <a:pos x="19" y="26"/>
                  </a:cxn>
                  <a:cxn ang="0">
                    <a:pos x="6" y="20"/>
                  </a:cxn>
                  <a:cxn ang="0">
                    <a:pos x="0" y="19"/>
                  </a:cxn>
                  <a:cxn ang="0">
                    <a:pos x="6" y="15"/>
                  </a:cxn>
                  <a:cxn ang="0">
                    <a:pos x="12" y="17"/>
                  </a:cxn>
                  <a:cxn ang="0">
                    <a:pos x="14" y="12"/>
                  </a:cxn>
                  <a:cxn ang="0">
                    <a:pos x="16" y="7"/>
                  </a:cxn>
                  <a:cxn ang="0">
                    <a:pos x="19" y="2"/>
                  </a:cxn>
                  <a:cxn ang="0">
                    <a:pos x="26" y="0"/>
                  </a:cxn>
                  <a:cxn ang="0">
                    <a:pos x="33" y="2"/>
                  </a:cxn>
                  <a:cxn ang="0">
                    <a:pos x="43" y="10"/>
                  </a:cxn>
                  <a:cxn ang="0">
                    <a:pos x="52" y="17"/>
                  </a:cxn>
                  <a:cxn ang="0">
                    <a:pos x="57" y="26"/>
                  </a:cxn>
                  <a:cxn ang="0">
                    <a:pos x="50" y="31"/>
                  </a:cxn>
                  <a:cxn ang="0">
                    <a:pos x="45" y="34"/>
                  </a:cxn>
                </a:cxnLst>
                <a:rect l="0" t="0" r="r" b="b"/>
                <a:pathLst>
                  <a:path w="57" h="34">
                    <a:moveTo>
                      <a:pt x="45" y="34"/>
                    </a:moveTo>
                    <a:lnTo>
                      <a:pt x="35" y="31"/>
                    </a:lnTo>
                    <a:lnTo>
                      <a:pt x="19" y="26"/>
                    </a:lnTo>
                    <a:lnTo>
                      <a:pt x="6" y="20"/>
                    </a:lnTo>
                    <a:lnTo>
                      <a:pt x="0" y="19"/>
                    </a:lnTo>
                    <a:lnTo>
                      <a:pt x="6" y="15"/>
                    </a:lnTo>
                    <a:lnTo>
                      <a:pt x="12" y="17"/>
                    </a:lnTo>
                    <a:lnTo>
                      <a:pt x="14" y="12"/>
                    </a:lnTo>
                    <a:lnTo>
                      <a:pt x="16" y="7"/>
                    </a:lnTo>
                    <a:lnTo>
                      <a:pt x="19" y="2"/>
                    </a:lnTo>
                    <a:lnTo>
                      <a:pt x="26" y="0"/>
                    </a:lnTo>
                    <a:lnTo>
                      <a:pt x="33" y="2"/>
                    </a:lnTo>
                    <a:lnTo>
                      <a:pt x="43" y="10"/>
                    </a:lnTo>
                    <a:lnTo>
                      <a:pt x="52" y="17"/>
                    </a:lnTo>
                    <a:lnTo>
                      <a:pt x="57" y="26"/>
                    </a:lnTo>
                    <a:lnTo>
                      <a:pt x="50" y="31"/>
                    </a:lnTo>
                    <a:lnTo>
                      <a:pt x="45" y="3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69" name="Freeform 314"/>
              <p:cNvSpPr>
                <a:spLocks/>
              </p:cNvSpPr>
              <p:nvPr/>
            </p:nvSpPr>
            <p:spPr bwMode="auto">
              <a:xfrm>
                <a:off x="2116932" y="1889125"/>
                <a:ext cx="117475" cy="95250"/>
              </a:xfrm>
              <a:custGeom>
                <a:avLst/>
                <a:gdLst/>
                <a:ahLst/>
                <a:cxnLst>
                  <a:cxn ang="0">
                    <a:pos x="74" y="12"/>
                  </a:cxn>
                  <a:cxn ang="0">
                    <a:pos x="69" y="16"/>
                  </a:cxn>
                  <a:cxn ang="0">
                    <a:pos x="66" y="21"/>
                  </a:cxn>
                  <a:cxn ang="0">
                    <a:pos x="59" y="26"/>
                  </a:cxn>
                  <a:cxn ang="0">
                    <a:pos x="54" y="33"/>
                  </a:cxn>
                  <a:cxn ang="0">
                    <a:pos x="45" y="38"/>
                  </a:cxn>
                  <a:cxn ang="0">
                    <a:pos x="37" y="41"/>
                  </a:cxn>
                  <a:cxn ang="0">
                    <a:pos x="26" y="38"/>
                  </a:cxn>
                  <a:cxn ang="0">
                    <a:pos x="23" y="45"/>
                  </a:cxn>
                  <a:cxn ang="0">
                    <a:pos x="30" y="45"/>
                  </a:cxn>
                  <a:cxn ang="0">
                    <a:pos x="25" y="53"/>
                  </a:cxn>
                  <a:cxn ang="0">
                    <a:pos x="18" y="60"/>
                  </a:cxn>
                  <a:cxn ang="0">
                    <a:pos x="7" y="60"/>
                  </a:cxn>
                  <a:cxn ang="0">
                    <a:pos x="7" y="52"/>
                  </a:cxn>
                  <a:cxn ang="0">
                    <a:pos x="7" y="47"/>
                  </a:cxn>
                  <a:cxn ang="0">
                    <a:pos x="2" y="35"/>
                  </a:cxn>
                  <a:cxn ang="0">
                    <a:pos x="0" y="22"/>
                  </a:cxn>
                  <a:cxn ang="0">
                    <a:pos x="0" y="12"/>
                  </a:cxn>
                  <a:cxn ang="0">
                    <a:pos x="6" y="12"/>
                  </a:cxn>
                  <a:cxn ang="0">
                    <a:pos x="12" y="12"/>
                  </a:cxn>
                  <a:cxn ang="0">
                    <a:pos x="11" y="10"/>
                  </a:cxn>
                  <a:cxn ang="0">
                    <a:pos x="12" y="9"/>
                  </a:cxn>
                  <a:cxn ang="0">
                    <a:pos x="14" y="4"/>
                  </a:cxn>
                  <a:cxn ang="0">
                    <a:pos x="26" y="0"/>
                  </a:cxn>
                  <a:cxn ang="0">
                    <a:pos x="38" y="0"/>
                  </a:cxn>
                  <a:cxn ang="0">
                    <a:pos x="50" y="4"/>
                  </a:cxn>
                  <a:cxn ang="0">
                    <a:pos x="61" y="5"/>
                  </a:cxn>
                  <a:cxn ang="0">
                    <a:pos x="74" y="7"/>
                  </a:cxn>
                  <a:cxn ang="0">
                    <a:pos x="74" y="9"/>
                  </a:cxn>
                  <a:cxn ang="0">
                    <a:pos x="74" y="12"/>
                  </a:cxn>
                </a:cxnLst>
                <a:rect l="0" t="0" r="r" b="b"/>
                <a:pathLst>
                  <a:path w="74" h="60">
                    <a:moveTo>
                      <a:pt x="74" y="12"/>
                    </a:moveTo>
                    <a:lnTo>
                      <a:pt x="69" y="16"/>
                    </a:lnTo>
                    <a:lnTo>
                      <a:pt x="66" y="21"/>
                    </a:lnTo>
                    <a:lnTo>
                      <a:pt x="59" y="26"/>
                    </a:lnTo>
                    <a:lnTo>
                      <a:pt x="54" y="33"/>
                    </a:lnTo>
                    <a:lnTo>
                      <a:pt x="45" y="38"/>
                    </a:lnTo>
                    <a:lnTo>
                      <a:pt x="37" y="41"/>
                    </a:lnTo>
                    <a:lnTo>
                      <a:pt x="26" y="38"/>
                    </a:lnTo>
                    <a:lnTo>
                      <a:pt x="23" y="45"/>
                    </a:lnTo>
                    <a:lnTo>
                      <a:pt x="30" y="45"/>
                    </a:lnTo>
                    <a:lnTo>
                      <a:pt x="25" y="53"/>
                    </a:lnTo>
                    <a:lnTo>
                      <a:pt x="18" y="60"/>
                    </a:lnTo>
                    <a:lnTo>
                      <a:pt x="7" y="60"/>
                    </a:lnTo>
                    <a:lnTo>
                      <a:pt x="7" y="52"/>
                    </a:lnTo>
                    <a:lnTo>
                      <a:pt x="7" y="47"/>
                    </a:lnTo>
                    <a:lnTo>
                      <a:pt x="2" y="35"/>
                    </a:lnTo>
                    <a:lnTo>
                      <a:pt x="0" y="22"/>
                    </a:lnTo>
                    <a:lnTo>
                      <a:pt x="0" y="12"/>
                    </a:lnTo>
                    <a:lnTo>
                      <a:pt x="6" y="12"/>
                    </a:lnTo>
                    <a:lnTo>
                      <a:pt x="12" y="12"/>
                    </a:lnTo>
                    <a:lnTo>
                      <a:pt x="11" y="10"/>
                    </a:lnTo>
                    <a:lnTo>
                      <a:pt x="12" y="9"/>
                    </a:lnTo>
                    <a:lnTo>
                      <a:pt x="14" y="4"/>
                    </a:lnTo>
                    <a:lnTo>
                      <a:pt x="26" y="0"/>
                    </a:lnTo>
                    <a:lnTo>
                      <a:pt x="38" y="0"/>
                    </a:lnTo>
                    <a:lnTo>
                      <a:pt x="50" y="4"/>
                    </a:lnTo>
                    <a:lnTo>
                      <a:pt x="61" y="5"/>
                    </a:lnTo>
                    <a:lnTo>
                      <a:pt x="74" y="7"/>
                    </a:lnTo>
                    <a:lnTo>
                      <a:pt x="74" y="9"/>
                    </a:lnTo>
                    <a:lnTo>
                      <a:pt x="7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70" name="Freeform 315"/>
              <p:cNvSpPr>
                <a:spLocks/>
              </p:cNvSpPr>
              <p:nvPr/>
            </p:nvSpPr>
            <p:spPr bwMode="auto">
              <a:xfrm>
                <a:off x="1874044" y="1717675"/>
                <a:ext cx="41275" cy="31750"/>
              </a:xfrm>
              <a:custGeom>
                <a:avLst/>
                <a:gdLst/>
                <a:ahLst/>
                <a:cxnLst>
                  <a:cxn ang="0">
                    <a:pos x="26" y="15"/>
                  </a:cxn>
                  <a:cxn ang="0">
                    <a:pos x="23" y="19"/>
                  </a:cxn>
                  <a:cxn ang="0">
                    <a:pos x="19" y="20"/>
                  </a:cxn>
                  <a:cxn ang="0">
                    <a:pos x="12" y="17"/>
                  </a:cxn>
                  <a:cxn ang="0">
                    <a:pos x="7" y="12"/>
                  </a:cxn>
                  <a:cxn ang="0">
                    <a:pos x="0" y="5"/>
                  </a:cxn>
                  <a:cxn ang="0">
                    <a:pos x="0" y="0"/>
                  </a:cxn>
                  <a:cxn ang="0">
                    <a:pos x="7" y="0"/>
                  </a:cxn>
                  <a:cxn ang="0">
                    <a:pos x="14" y="5"/>
                  </a:cxn>
                  <a:cxn ang="0">
                    <a:pos x="19" y="10"/>
                  </a:cxn>
                  <a:cxn ang="0">
                    <a:pos x="26" y="15"/>
                  </a:cxn>
                </a:cxnLst>
                <a:rect l="0" t="0" r="r" b="b"/>
                <a:pathLst>
                  <a:path w="26" h="20">
                    <a:moveTo>
                      <a:pt x="26" y="15"/>
                    </a:moveTo>
                    <a:lnTo>
                      <a:pt x="23" y="19"/>
                    </a:lnTo>
                    <a:lnTo>
                      <a:pt x="19" y="20"/>
                    </a:lnTo>
                    <a:lnTo>
                      <a:pt x="12" y="17"/>
                    </a:lnTo>
                    <a:lnTo>
                      <a:pt x="7" y="12"/>
                    </a:lnTo>
                    <a:lnTo>
                      <a:pt x="0" y="5"/>
                    </a:lnTo>
                    <a:lnTo>
                      <a:pt x="0" y="0"/>
                    </a:lnTo>
                    <a:lnTo>
                      <a:pt x="7" y="0"/>
                    </a:lnTo>
                    <a:lnTo>
                      <a:pt x="14" y="5"/>
                    </a:lnTo>
                    <a:lnTo>
                      <a:pt x="19" y="10"/>
                    </a:lnTo>
                    <a:lnTo>
                      <a:pt x="26" y="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71" name="Freeform 316"/>
              <p:cNvSpPr>
                <a:spLocks/>
              </p:cNvSpPr>
              <p:nvPr/>
            </p:nvSpPr>
            <p:spPr bwMode="auto">
              <a:xfrm>
                <a:off x="1899444" y="1827213"/>
                <a:ext cx="26988" cy="20637"/>
              </a:xfrm>
              <a:custGeom>
                <a:avLst/>
                <a:gdLst/>
                <a:ahLst/>
                <a:cxnLst>
                  <a:cxn ang="0">
                    <a:pos x="14" y="0"/>
                  </a:cxn>
                  <a:cxn ang="0">
                    <a:pos x="15" y="3"/>
                  </a:cxn>
                  <a:cxn ang="0">
                    <a:pos x="17" y="6"/>
                  </a:cxn>
                  <a:cxn ang="0">
                    <a:pos x="14" y="12"/>
                  </a:cxn>
                  <a:cxn ang="0">
                    <a:pos x="10" y="13"/>
                  </a:cxn>
                  <a:cxn ang="0">
                    <a:pos x="3" y="13"/>
                  </a:cxn>
                  <a:cxn ang="0">
                    <a:pos x="0" y="13"/>
                  </a:cxn>
                  <a:cxn ang="0">
                    <a:pos x="3" y="3"/>
                  </a:cxn>
                  <a:cxn ang="0">
                    <a:pos x="14" y="0"/>
                  </a:cxn>
                </a:cxnLst>
                <a:rect l="0" t="0" r="r" b="b"/>
                <a:pathLst>
                  <a:path w="17" h="13">
                    <a:moveTo>
                      <a:pt x="14" y="0"/>
                    </a:moveTo>
                    <a:lnTo>
                      <a:pt x="15" y="3"/>
                    </a:lnTo>
                    <a:lnTo>
                      <a:pt x="17" y="6"/>
                    </a:lnTo>
                    <a:lnTo>
                      <a:pt x="14" y="12"/>
                    </a:lnTo>
                    <a:lnTo>
                      <a:pt x="10" y="13"/>
                    </a:lnTo>
                    <a:lnTo>
                      <a:pt x="3" y="13"/>
                    </a:lnTo>
                    <a:lnTo>
                      <a:pt x="0" y="13"/>
                    </a:lnTo>
                    <a:lnTo>
                      <a:pt x="3" y="3"/>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72" name="Freeform 317"/>
              <p:cNvSpPr>
                <a:spLocks/>
              </p:cNvSpPr>
              <p:nvPr/>
            </p:nvSpPr>
            <p:spPr bwMode="auto">
              <a:xfrm>
                <a:off x="1885157" y="1638300"/>
                <a:ext cx="150813" cy="79375"/>
              </a:xfrm>
              <a:custGeom>
                <a:avLst/>
                <a:gdLst/>
                <a:ahLst/>
                <a:cxnLst>
                  <a:cxn ang="0">
                    <a:pos x="62" y="36"/>
                  </a:cxn>
                  <a:cxn ang="0">
                    <a:pos x="50" y="34"/>
                  </a:cxn>
                  <a:cxn ang="0">
                    <a:pos x="38" y="34"/>
                  </a:cxn>
                  <a:cxn ang="0">
                    <a:pos x="31" y="31"/>
                  </a:cxn>
                  <a:cxn ang="0">
                    <a:pos x="23" y="33"/>
                  </a:cxn>
                  <a:cxn ang="0">
                    <a:pos x="12" y="31"/>
                  </a:cxn>
                  <a:cxn ang="0">
                    <a:pos x="9" y="29"/>
                  </a:cxn>
                  <a:cxn ang="0">
                    <a:pos x="14" y="24"/>
                  </a:cxn>
                  <a:cxn ang="0">
                    <a:pos x="23" y="22"/>
                  </a:cxn>
                  <a:cxn ang="0">
                    <a:pos x="23" y="19"/>
                  </a:cxn>
                  <a:cxn ang="0">
                    <a:pos x="23" y="17"/>
                  </a:cxn>
                  <a:cxn ang="0">
                    <a:pos x="11" y="17"/>
                  </a:cxn>
                  <a:cxn ang="0">
                    <a:pos x="5" y="17"/>
                  </a:cxn>
                  <a:cxn ang="0">
                    <a:pos x="7" y="14"/>
                  </a:cxn>
                  <a:cxn ang="0">
                    <a:pos x="9" y="12"/>
                  </a:cxn>
                  <a:cxn ang="0">
                    <a:pos x="2" y="10"/>
                  </a:cxn>
                  <a:cxn ang="0">
                    <a:pos x="0" y="3"/>
                  </a:cxn>
                  <a:cxn ang="0">
                    <a:pos x="9" y="2"/>
                  </a:cxn>
                  <a:cxn ang="0">
                    <a:pos x="17" y="0"/>
                  </a:cxn>
                  <a:cxn ang="0">
                    <a:pos x="28" y="3"/>
                  </a:cxn>
                  <a:cxn ang="0">
                    <a:pos x="36" y="9"/>
                  </a:cxn>
                  <a:cxn ang="0">
                    <a:pos x="40" y="7"/>
                  </a:cxn>
                  <a:cxn ang="0">
                    <a:pos x="47" y="5"/>
                  </a:cxn>
                  <a:cxn ang="0">
                    <a:pos x="55" y="10"/>
                  </a:cxn>
                  <a:cxn ang="0">
                    <a:pos x="60" y="17"/>
                  </a:cxn>
                  <a:cxn ang="0">
                    <a:pos x="64" y="14"/>
                  </a:cxn>
                  <a:cxn ang="0">
                    <a:pos x="69" y="12"/>
                  </a:cxn>
                  <a:cxn ang="0">
                    <a:pos x="78" y="17"/>
                  </a:cxn>
                  <a:cxn ang="0">
                    <a:pos x="85" y="24"/>
                  </a:cxn>
                  <a:cxn ang="0">
                    <a:pos x="81" y="26"/>
                  </a:cxn>
                  <a:cxn ang="0">
                    <a:pos x="81" y="29"/>
                  </a:cxn>
                  <a:cxn ang="0">
                    <a:pos x="88" y="34"/>
                  </a:cxn>
                  <a:cxn ang="0">
                    <a:pos x="95" y="43"/>
                  </a:cxn>
                  <a:cxn ang="0">
                    <a:pos x="91" y="48"/>
                  </a:cxn>
                  <a:cxn ang="0">
                    <a:pos x="85" y="50"/>
                  </a:cxn>
                  <a:cxn ang="0">
                    <a:pos x="76" y="46"/>
                  </a:cxn>
                  <a:cxn ang="0">
                    <a:pos x="72" y="43"/>
                  </a:cxn>
                  <a:cxn ang="0">
                    <a:pos x="67" y="38"/>
                  </a:cxn>
                  <a:cxn ang="0">
                    <a:pos x="62" y="36"/>
                  </a:cxn>
                </a:cxnLst>
                <a:rect l="0" t="0" r="r" b="b"/>
                <a:pathLst>
                  <a:path w="95" h="50">
                    <a:moveTo>
                      <a:pt x="62" y="36"/>
                    </a:moveTo>
                    <a:lnTo>
                      <a:pt x="50" y="34"/>
                    </a:lnTo>
                    <a:lnTo>
                      <a:pt x="38" y="34"/>
                    </a:lnTo>
                    <a:lnTo>
                      <a:pt x="31" y="31"/>
                    </a:lnTo>
                    <a:lnTo>
                      <a:pt x="23" y="33"/>
                    </a:lnTo>
                    <a:lnTo>
                      <a:pt x="12" y="31"/>
                    </a:lnTo>
                    <a:lnTo>
                      <a:pt x="9" y="29"/>
                    </a:lnTo>
                    <a:lnTo>
                      <a:pt x="14" y="24"/>
                    </a:lnTo>
                    <a:lnTo>
                      <a:pt x="23" y="22"/>
                    </a:lnTo>
                    <a:lnTo>
                      <a:pt x="23" y="19"/>
                    </a:lnTo>
                    <a:lnTo>
                      <a:pt x="23" y="17"/>
                    </a:lnTo>
                    <a:lnTo>
                      <a:pt x="11" y="17"/>
                    </a:lnTo>
                    <a:lnTo>
                      <a:pt x="5" y="17"/>
                    </a:lnTo>
                    <a:lnTo>
                      <a:pt x="7" y="14"/>
                    </a:lnTo>
                    <a:lnTo>
                      <a:pt x="9" y="12"/>
                    </a:lnTo>
                    <a:lnTo>
                      <a:pt x="2" y="10"/>
                    </a:lnTo>
                    <a:lnTo>
                      <a:pt x="0" y="3"/>
                    </a:lnTo>
                    <a:lnTo>
                      <a:pt x="9" y="2"/>
                    </a:lnTo>
                    <a:lnTo>
                      <a:pt x="17" y="0"/>
                    </a:lnTo>
                    <a:lnTo>
                      <a:pt x="28" y="3"/>
                    </a:lnTo>
                    <a:lnTo>
                      <a:pt x="36" y="9"/>
                    </a:lnTo>
                    <a:lnTo>
                      <a:pt x="40" y="7"/>
                    </a:lnTo>
                    <a:lnTo>
                      <a:pt x="47" y="5"/>
                    </a:lnTo>
                    <a:lnTo>
                      <a:pt x="55" y="10"/>
                    </a:lnTo>
                    <a:lnTo>
                      <a:pt x="60" y="17"/>
                    </a:lnTo>
                    <a:lnTo>
                      <a:pt x="64" y="14"/>
                    </a:lnTo>
                    <a:lnTo>
                      <a:pt x="69" y="12"/>
                    </a:lnTo>
                    <a:lnTo>
                      <a:pt x="78" y="17"/>
                    </a:lnTo>
                    <a:lnTo>
                      <a:pt x="85" y="24"/>
                    </a:lnTo>
                    <a:lnTo>
                      <a:pt x="81" y="26"/>
                    </a:lnTo>
                    <a:lnTo>
                      <a:pt x="81" y="29"/>
                    </a:lnTo>
                    <a:lnTo>
                      <a:pt x="88" y="34"/>
                    </a:lnTo>
                    <a:lnTo>
                      <a:pt x="95" y="43"/>
                    </a:lnTo>
                    <a:lnTo>
                      <a:pt x="91" y="48"/>
                    </a:lnTo>
                    <a:lnTo>
                      <a:pt x="85" y="50"/>
                    </a:lnTo>
                    <a:lnTo>
                      <a:pt x="76" y="46"/>
                    </a:lnTo>
                    <a:lnTo>
                      <a:pt x="72" y="43"/>
                    </a:lnTo>
                    <a:lnTo>
                      <a:pt x="67" y="38"/>
                    </a:lnTo>
                    <a:lnTo>
                      <a:pt x="62"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73" name="Freeform 318"/>
              <p:cNvSpPr>
                <a:spLocks/>
              </p:cNvSpPr>
              <p:nvPr/>
            </p:nvSpPr>
            <p:spPr bwMode="auto">
              <a:xfrm>
                <a:off x="1956594" y="1706563"/>
                <a:ext cx="30163" cy="11112"/>
              </a:xfrm>
              <a:custGeom>
                <a:avLst/>
                <a:gdLst/>
                <a:ahLst/>
                <a:cxnLst>
                  <a:cxn ang="0">
                    <a:pos x="2" y="7"/>
                  </a:cxn>
                  <a:cxn ang="0">
                    <a:pos x="0" y="3"/>
                  </a:cxn>
                  <a:cxn ang="0">
                    <a:pos x="7" y="0"/>
                  </a:cxn>
                  <a:cxn ang="0">
                    <a:pos x="12" y="0"/>
                  </a:cxn>
                  <a:cxn ang="0">
                    <a:pos x="19" y="3"/>
                  </a:cxn>
                  <a:cxn ang="0">
                    <a:pos x="10" y="5"/>
                  </a:cxn>
                  <a:cxn ang="0">
                    <a:pos x="2" y="7"/>
                  </a:cxn>
                </a:cxnLst>
                <a:rect l="0" t="0" r="r" b="b"/>
                <a:pathLst>
                  <a:path w="19" h="7">
                    <a:moveTo>
                      <a:pt x="2" y="7"/>
                    </a:moveTo>
                    <a:lnTo>
                      <a:pt x="0" y="3"/>
                    </a:lnTo>
                    <a:lnTo>
                      <a:pt x="7" y="0"/>
                    </a:lnTo>
                    <a:lnTo>
                      <a:pt x="12" y="0"/>
                    </a:lnTo>
                    <a:lnTo>
                      <a:pt x="19" y="3"/>
                    </a:lnTo>
                    <a:lnTo>
                      <a:pt x="10" y="5"/>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74" name="Freeform 319"/>
              <p:cNvSpPr>
                <a:spLocks/>
              </p:cNvSpPr>
              <p:nvPr/>
            </p:nvSpPr>
            <p:spPr bwMode="auto">
              <a:xfrm>
                <a:off x="2089944" y="1752600"/>
                <a:ext cx="396875" cy="123825"/>
              </a:xfrm>
              <a:custGeom>
                <a:avLst/>
                <a:gdLst/>
                <a:ahLst/>
                <a:cxnLst>
                  <a:cxn ang="0">
                    <a:pos x="244" y="53"/>
                  </a:cxn>
                  <a:cxn ang="0">
                    <a:pos x="246" y="59"/>
                  </a:cxn>
                  <a:cxn ang="0">
                    <a:pos x="244" y="69"/>
                  </a:cxn>
                  <a:cxn ang="0">
                    <a:pos x="220" y="76"/>
                  </a:cxn>
                  <a:cxn ang="0">
                    <a:pos x="200" y="74"/>
                  </a:cxn>
                  <a:cxn ang="0">
                    <a:pos x="189" y="71"/>
                  </a:cxn>
                  <a:cxn ang="0">
                    <a:pos x="145" y="76"/>
                  </a:cxn>
                  <a:cxn ang="0">
                    <a:pos x="126" y="76"/>
                  </a:cxn>
                  <a:cxn ang="0">
                    <a:pos x="119" y="69"/>
                  </a:cxn>
                  <a:cxn ang="0">
                    <a:pos x="105" y="72"/>
                  </a:cxn>
                  <a:cxn ang="0">
                    <a:pos x="86" y="74"/>
                  </a:cxn>
                  <a:cxn ang="0">
                    <a:pos x="66" y="60"/>
                  </a:cxn>
                  <a:cxn ang="0">
                    <a:pos x="64" y="48"/>
                  </a:cxn>
                  <a:cxn ang="0">
                    <a:pos x="57" y="33"/>
                  </a:cxn>
                  <a:cxn ang="0">
                    <a:pos x="43" y="23"/>
                  </a:cxn>
                  <a:cxn ang="0">
                    <a:pos x="28" y="23"/>
                  </a:cxn>
                  <a:cxn ang="0">
                    <a:pos x="4" y="10"/>
                  </a:cxn>
                  <a:cxn ang="0">
                    <a:pos x="5" y="0"/>
                  </a:cxn>
                  <a:cxn ang="0">
                    <a:pos x="28" y="2"/>
                  </a:cxn>
                  <a:cxn ang="0">
                    <a:pos x="48" y="14"/>
                  </a:cxn>
                  <a:cxn ang="0">
                    <a:pos x="66" y="16"/>
                  </a:cxn>
                  <a:cxn ang="0">
                    <a:pos x="76" y="14"/>
                  </a:cxn>
                  <a:cxn ang="0">
                    <a:pos x="79" y="19"/>
                  </a:cxn>
                  <a:cxn ang="0">
                    <a:pos x="95" y="24"/>
                  </a:cxn>
                  <a:cxn ang="0">
                    <a:pos x="83" y="29"/>
                  </a:cxn>
                  <a:cxn ang="0">
                    <a:pos x="91" y="38"/>
                  </a:cxn>
                  <a:cxn ang="0">
                    <a:pos x="105" y="41"/>
                  </a:cxn>
                  <a:cxn ang="0">
                    <a:pos x="102" y="43"/>
                  </a:cxn>
                  <a:cxn ang="0">
                    <a:pos x="110" y="47"/>
                  </a:cxn>
                  <a:cxn ang="0">
                    <a:pos x="145" y="52"/>
                  </a:cxn>
                  <a:cxn ang="0">
                    <a:pos x="162" y="48"/>
                  </a:cxn>
                  <a:cxn ang="0">
                    <a:pos x="177" y="45"/>
                  </a:cxn>
                  <a:cxn ang="0">
                    <a:pos x="189" y="40"/>
                  </a:cxn>
                  <a:cxn ang="0">
                    <a:pos x="208" y="40"/>
                  </a:cxn>
                  <a:cxn ang="0">
                    <a:pos x="234" y="41"/>
                  </a:cxn>
                  <a:cxn ang="0">
                    <a:pos x="250" y="53"/>
                  </a:cxn>
                  <a:cxn ang="0">
                    <a:pos x="244" y="53"/>
                  </a:cxn>
                </a:cxnLst>
                <a:rect l="0" t="0" r="r" b="b"/>
                <a:pathLst>
                  <a:path w="250" h="78">
                    <a:moveTo>
                      <a:pt x="248" y="52"/>
                    </a:moveTo>
                    <a:lnTo>
                      <a:pt x="244" y="53"/>
                    </a:lnTo>
                    <a:lnTo>
                      <a:pt x="243" y="59"/>
                    </a:lnTo>
                    <a:lnTo>
                      <a:pt x="246" y="59"/>
                    </a:lnTo>
                    <a:lnTo>
                      <a:pt x="250" y="60"/>
                    </a:lnTo>
                    <a:lnTo>
                      <a:pt x="244" y="69"/>
                    </a:lnTo>
                    <a:lnTo>
                      <a:pt x="234" y="74"/>
                    </a:lnTo>
                    <a:lnTo>
                      <a:pt x="220" y="76"/>
                    </a:lnTo>
                    <a:lnTo>
                      <a:pt x="207" y="78"/>
                    </a:lnTo>
                    <a:lnTo>
                      <a:pt x="200" y="74"/>
                    </a:lnTo>
                    <a:lnTo>
                      <a:pt x="198" y="69"/>
                    </a:lnTo>
                    <a:lnTo>
                      <a:pt x="189" y="71"/>
                    </a:lnTo>
                    <a:lnTo>
                      <a:pt x="184" y="76"/>
                    </a:lnTo>
                    <a:lnTo>
                      <a:pt x="145" y="76"/>
                    </a:lnTo>
                    <a:lnTo>
                      <a:pt x="134" y="76"/>
                    </a:lnTo>
                    <a:lnTo>
                      <a:pt x="126" y="76"/>
                    </a:lnTo>
                    <a:lnTo>
                      <a:pt x="119" y="72"/>
                    </a:lnTo>
                    <a:lnTo>
                      <a:pt x="119" y="69"/>
                    </a:lnTo>
                    <a:lnTo>
                      <a:pt x="112" y="69"/>
                    </a:lnTo>
                    <a:lnTo>
                      <a:pt x="105" y="72"/>
                    </a:lnTo>
                    <a:lnTo>
                      <a:pt x="98" y="78"/>
                    </a:lnTo>
                    <a:lnTo>
                      <a:pt x="86" y="74"/>
                    </a:lnTo>
                    <a:lnTo>
                      <a:pt x="76" y="69"/>
                    </a:lnTo>
                    <a:lnTo>
                      <a:pt x="66" y="60"/>
                    </a:lnTo>
                    <a:lnTo>
                      <a:pt x="62" y="53"/>
                    </a:lnTo>
                    <a:lnTo>
                      <a:pt x="64" y="48"/>
                    </a:lnTo>
                    <a:lnTo>
                      <a:pt x="67" y="47"/>
                    </a:lnTo>
                    <a:lnTo>
                      <a:pt x="57" y="33"/>
                    </a:lnTo>
                    <a:lnTo>
                      <a:pt x="48" y="21"/>
                    </a:lnTo>
                    <a:lnTo>
                      <a:pt x="43" y="23"/>
                    </a:lnTo>
                    <a:lnTo>
                      <a:pt x="38" y="26"/>
                    </a:lnTo>
                    <a:lnTo>
                      <a:pt x="28" y="23"/>
                    </a:lnTo>
                    <a:lnTo>
                      <a:pt x="16" y="17"/>
                    </a:lnTo>
                    <a:lnTo>
                      <a:pt x="4" y="10"/>
                    </a:lnTo>
                    <a:lnTo>
                      <a:pt x="0" y="7"/>
                    </a:lnTo>
                    <a:lnTo>
                      <a:pt x="5" y="0"/>
                    </a:lnTo>
                    <a:lnTo>
                      <a:pt x="16" y="0"/>
                    </a:lnTo>
                    <a:lnTo>
                      <a:pt x="28" y="2"/>
                    </a:lnTo>
                    <a:lnTo>
                      <a:pt x="40" y="9"/>
                    </a:lnTo>
                    <a:lnTo>
                      <a:pt x="48" y="14"/>
                    </a:lnTo>
                    <a:lnTo>
                      <a:pt x="60" y="17"/>
                    </a:lnTo>
                    <a:lnTo>
                      <a:pt x="66" y="16"/>
                    </a:lnTo>
                    <a:lnTo>
                      <a:pt x="71" y="14"/>
                    </a:lnTo>
                    <a:lnTo>
                      <a:pt x="76" y="14"/>
                    </a:lnTo>
                    <a:lnTo>
                      <a:pt x="79" y="14"/>
                    </a:lnTo>
                    <a:lnTo>
                      <a:pt x="79" y="19"/>
                    </a:lnTo>
                    <a:lnTo>
                      <a:pt x="88" y="23"/>
                    </a:lnTo>
                    <a:lnTo>
                      <a:pt x="95" y="24"/>
                    </a:lnTo>
                    <a:lnTo>
                      <a:pt x="103" y="29"/>
                    </a:lnTo>
                    <a:lnTo>
                      <a:pt x="83" y="29"/>
                    </a:lnTo>
                    <a:lnTo>
                      <a:pt x="86" y="35"/>
                    </a:lnTo>
                    <a:lnTo>
                      <a:pt x="91" y="38"/>
                    </a:lnTo>
                    <a:lnTo>
                      <a:pt x="98" y="38"/>
                    </a:lnTo>
                    <a:lnTo>
                      <a:pt x="105" y="41"/>
                    </a:lnTo>
                    <a:lnTo>
                      <a:pt x="103" y="41"/>
                    </a:lnTo>
                    <a:lnTo>
                      <a:pt x="102" y="43"/>
                    </a:lnTo>
                    <a:lnTo>
                      <a:pt x="105" y="47"/>
                    </a:lnTo>
                    <a:lnTo>
                      <a:pt x="110" y="47"/>
                    </a:lnTo>
                    <a:lnTo>
                      <a:pt x="128" y="48"/>
                    </a:lnTo>
                    <a:lnTo>
                      <a:pt x="145" y="52"/>
                    </a:lnTo>
                    <a:lnTo>
                      <a:pt x="153" y="50"/>
                    </a:lnTo>
                    <a:lnTo>
                      <a:pt x="162" y="48"/>
                    </a:lnTo>
                    <a:lnTo>
                      <a:pt x="169" y="47"/>
                    </a:lnTo>
                    <a:lnTo>
                      <a:pt x="177" y="45"/>
                    </a:lnTo>
                    <a:lnTo>
                      <a:pt x="183" y="41"/>
                    </a:lnTo>
                    <a:lnTo>
                      <a:pt x="189" y="40"/>
                    </a:lnTo>
                    <a:lnTo>
                      <a:pt x="198" y="40"/>
                    </a:lnTo>
                    <a:lnTo>
                      <a:pt x="208" y="40"/>
                    </a:lnTo>
                    <a:lnTo>
                      <a:pt x="222" y="40"/>
                    </a:lnTo>
                    <a:lnTo>
                      <a:pt x="234" y="41"/>
                    </a:lnTo>
                    <a:lnTo>
                      <a:pt x="243" y="45"/>
                    </a:lnTo>
                    <a:lnTo>
                      <a:pt x="250" y="53"/>
                    </a:lnTo>
                    <a:lnTo>
                      <a:pt x="246" y="53"/>
                    </a:lnTo>
                    <a:lnTo>
                      <a:pt x="244" y="53"/>
                    </a:lnTo>
                    <a:lnTo>
                      <a:pt x="248" y="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75" name="Freeform 320"/>
              <p:cNvSpPr>
                <a:spLocks/>
              </p:cNvSpPr>
              <p:nvPr/>
            </p:nvSpPr>
            <p:spPr bwMode="auto">
              <a:xfrm>
                <a:off x="2096294" y="1817688"/>
                <a:ext cx="69850" cy="52387"/>
              </a:xfrm>
              <a:custGeom>
                <a:avLst/>
                <a:gdLst/>
                <a:ahLst/>
                <a:cxnLst>
                  <a:cxn ang="0">
                    <a:pos x="7" y="12"/>
                  </a:cxn>
                  <a:cxn ang="0">
                    <a:pos x="12" y="6"/>
                  </a:cxn>
                  <a:cxn ang="0">
                    <a:pos x="22" y="0"/>
                  </a:cxn>
                  <a:cxn ang="0">
                    <a:pos x="27" y="0"/>
                  </a:cxn>
                  <a:cxn ang="0">
                    <a:pos x="36" y="6"/>
                  </a:cxn>
                  <a:cxn ang="0">
                    <a:pos x="41" y="11"/>
                  </a:cxn>
                  <a:cxn ang="0">
                    <a:pos x="44" y="18"/>
                  </a:cxn>
                  <a:cxn ang="0">
                    <a:pos x="41" y="28"/>
                  </a:cxn>
                  <a:cxn ang="0">
                    <a:pos x="34" y="33"/>
                  </a:cxn>
                  <a:cxn ang="0">
                    <a:pos x="27" y="30"/>
                  </a:cxn>
                  <a:cxn ang="0">
                    <a:pos x="15" y="26"/>
                  </a:cxn>
                  <a:cxn ang="0">
                    <a:pos x="3" y="21"/>
                  </a:cxn>
                  <a:cxn ang="0">
                    <a:pos x="0" y="19"/>
                  </a:cxn>
                  <a:cxn ang="0">
                    <a:pos x="3" y="12"/>
                  </a:cxn>
                  <a:cxn ang="0">
                    <a:pos x="7" y="12"/>
                  </a:cxn>
                </a:cxnLst>
                <a:rect l="0" t="0" r="r" b="b"/>
                <a:pathLst>
                  <a:path w="44" h="33">
                    <a:moveTo>
                      <a:pt x="7" y="12"/>
                    </a:moveTo>
                    <a:lnTo>
                      <a:pt x="12" y="6"/>
                    </a:lnTo>
                    <a:lnTo>
                      <a:pt x="22" y="0"/>
                    </a:lnTo>
                    <a:lnTo>
                      <a:pt x="27" y="0"/>
                    </a:lnTo>
                    <a:lnTo>
                      <a:pt x="36" y="6"/>
                    </a:lnTo>
                    <a:lnTo>
                      <a:pt x="41" y="11"/>
                    </a:lnTo>
                    <a:lnTo>
                      <a:pt x="44" y="18"/>
                    </a:lnTo>
                    <a:lnTo>
                      <a:pt x="41" y="28"/>
                    </a:lnTo>
                    <a:lnTo>
                      <a:pt x="34" y="33"/>
                    </a:lnTo>
                    <a:lnTo>
                      <a:pt x="27" y="30"/>
                    </a:lnTo>
                    <a:lnTo>
                      <a:pt x="15" y="26"/>
                    </a:lnTo>
                    <a:lnTo>
                      <a:pt x="3" y="21"/>
                    </a:lnTo>
                    <a:lnTo>
                      <a:pt x="0" y="19"/>
                    </a:lnTo>
                    <a:lnTo>
                      <a:pt x="3" y="12"/>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76" name="Freeform 321"/>
              <p:cNvSpPr>
                <a:spLocks/>
              </p:cNvSpPr>
              <p:nvPr/>
            </p:nvSpPr>
            <p:spPr bwMode="auto">
              <a:xfrm>
                <a:off x="2104232" y="1717675"/>
                <a:ext cx="61913" cy="19050"/>
              </a:xfrm>
              <a:custGeom>
                <a:avLst/>
                <a:gdLst/>
                <a:ahLst/>
                <a:cxnLst>
                  <a:cxn ang="0">
                    <a:pos x="34" y="0"/>
                  </a:cxn>
                  <a:cxn ang="0">
                    <a:pos x="36" y="0"/>
                  </a:cxn>
                  <a:cxn ang="0">
                    <a:pos x="39" y="0"/>
                  </a:cxn>
                  <a:cxn ang="0">
                    <a:pos x="39" y="3"/>
                  </a:cxn>
                  <a:cxn ang="0">
                    <a:pos x="39" y="7"/>
                  </a:cxn>
                  <a:cxn ang="0">
                    <a:pos x="38" y="10"/>
                  </a:cxn>
                  <a:cxn ang="0">
                    <a:pos x="33" y="12"/>
                  </a:cxn>
                  <a:cxn ang="0">
                    <a:pos x="26" y="10"/>
                  </a:cxn>
                  <a:cxn ang="0">
                    <a:pos x="14" y="8"/>
                  </a:cxn>
                  <a:cxn ang="0">
                    <a:pos x="3" y="7"/>
                  </a:cxn>
                  <a:cxn ang="0">
                    <a:pos x="0" y="7"/>
                  </a:cxn>
                  <a:cxn ang="0">
                    <a:pos x="5" y="2"/>
                  </a:cxn>
                  <a:cxn ang="0">
                    <a:pos x="14" y="0"/>
                  </a:cxn>
                  <a:cxn ang="0">
                    <a:pos x="24" y="0"/>
                  </a:cxn>
                  <a:cxn ang="0">
                    <a:pos x="34" y="0"/>
                  </a:cxn>
                </a:cxnLst>
                <a:rect l="0" t="0" r="r" b="b"/>
                <a:pathLst>
                  <a:path w="39" h="12">
                    <a:moveTo>
                      <a:pt x="34" y="0"/>
                    </a:moveTo>
                    <a:lnTo>
                      <a:pt x="36" y="0"/>
                    </a:lnTo>
                    <a:lnTo>
                      <a:pt x="39" y="0"/>
                    </a:lnTo>
                    <a:lnTo>
                      <a:pt x="39" y="3"/>
                    </a:lnTo>
                    <a:lnTo>
                      <a:pt x="39" y="7"/>
                    </a:lnTo>
                    <a:lnTo>
                      <a:pt x="38" y="10"/>
                    </a:lnTo>
                    <a:lnTo>
                      <a:pt x="33" y="12"/>
                    </a:lnTo>
                    <a:lnTo>
                      <a:pt x="26" y="10"/>
                    </a:lnTo>
                    <a:lnTo>
                      <a:pt x="14" y="8"/>
                    </a:lnTo>
                    <a:lnTo>
                      <a:pt x="3" y="7"/>
                    </a:lnTo>
                    <a:lnTo>
                      <a:pt x="0" y="7"/>
                    </a:lnTo>
                    <a:lnTo>
                      <a:pt x="5" y="2"/>
                    </a:lnTo>
                    <a:lnTo>
                      <a:pt x="14" y="0"/>
                    </a:lnTo>
                    <a:lnTo>
                      <a:pt x="24" y="0"/>
                    </a:lnTo>
                    <a:lnTo>
                      <a:pt x="3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77" name="Freeform 322"/>
              <p:cNvSpPr>
                <a:spLocks/>
              </p:cNvSpPr>
              <p:nvPr/>
            </p:nvSpPr>
            <p:spPr bwMode="auto">
              <a:xfrm>
                <a:off x="2058194" y="1657350"/>
                <a:ext cx="73025" cy="53975"/>
              </a:xfrm>
              <a:custGeom>
                <a:avLst/>
                <a:gdLst/>
                <a:ahLst/>
                <a:cxnLst>
                  <a:cxn ang="0">
                    <a:pos x="10" y="33"/>
                  </a:cxn>
                  <a:cxn ang="0">
                    <a:pos x="12" y="27"/>
                  </a:cxn>
                  <a:cxn ang="0">
                    <a:pos x="15" y="27"/>
                  </a:cxn>
                  <a:cxn ang="0">
                    <a:pos x="5" y="17"/>
                  </a:cxn>
                  <a:cxn ang="0">
                    <a:pos x="0" y="9"/>
                  </a:cxn>
                  <a:cxn ang="0">
                    <a:pos x="3" y="2"/>
                  </a:cxn>
                  <a:cxn ang="0">
                    <a:pos x="10" y="0"/>
                  </a:cxn>
                  <a:cxn ang="0">
                    <a:pos x="17" y="5"/>
                  </a:cxn>
                  <a:cxn ang="0">
                    <a:pos x="29" y="9"/>
                  </a:cxn>
                  <a:cxn ang="0">
                    <a:pos x="31" y="12"/>
                  </a:cxn>
                  <a:cxn ang="0">
                    <a:pos x="37" y="14"/>
                  </a:cxn>
                  <a:cxn ang="0">
                    <a:pos x="43" y="14"/>
                  </a:cxn>
                  <a:cxn ang="0">
                    <a:pos x="46" y="19"/>
                  </a:cxn>
                  <a:cxn ang="0">
                    <a:pos x="44" y="24"/>
                  </a:cxn>
                  <a:cxn ang="0">
                    <a:pos x="46" y="33"/>
                  </a:cxn>
                  <a:cxn ang="0">
                    <a:pos x="32" y="33"/>
                  </a:cxn>
                  <a:cxn ang="0">
                    <a:pos x="20" y="34"/>
                  </a:cxn>
                  <a:cxn ang="0">
                    <a:pos x="12" y="34"/>
                  </a:cxn>
                  <a:cxn ang="0">
                    <a:pos x="10" y="33"/>
                  </a:cxn>
                </a:cxnLst>
                <a:rect l="0" t="0" r="r" b="b"/>
                <a:pathLst>
                  <a:path w="46" h="34">
                    <a:moveTo>
                      <a:pt x="10" y="33"/>
                    </a:moveTo>
                    <a:lnTo>
                      <a:pt x="12" y="27"/>
                    </a:lnTo>
                    <a:lnTo>
                      <a:pt x="15" y="27"/>
                    </a:lnTo>
                    <a:lnTo>
                      <a:pt x="5" y="17"/>
                    </a:lnTo>
                    <a:lnTo>
                      <a:pt x="0" y="9"/>
                    </a:lnTo>
                    <a:lnTo>
                      <a:pt x="3" y="2"/>
                    </a:lnTo>
                    <a:lnTo>
                      <a:pt x="10" y="0"/>
                    </a:lnTo>
                    <a:lnTo>
                      <a:pt x="17" y="5"/>
                    </a:lnTo>
                    <a:lnTo>
                      <a:pt x="29" y="9"/>
                    </a:lnTo>
                    <a:lnTo>
                      <a:pt x="31" y="12"/>
                    </a:lnTo>
                    <a:lnTo>
                      <a:pt x="37" y="14"/>
                    </a:lnTo>
                    <a:lnTo>
                      <a:pt x="43" y="14"/>
                    </a:lnTo>
                    <a:lnTo>
                      <a:pt x="46" y="19"/>
                    </a:lnTo>
                    <a:lnTo>
                      <a:pt x="44" y="24"/>
                    </a:lnTo>
                    <a:lnTo>
                      <a:pt x="46" y="33"/>
                    </a:lnTo>
                    <a:lnTo>
                      <a:pt x="32" y="33"/>
                    </a:lnTo>
                    <a:lnTo>
                      <a:pt x="20" y="34"/>
                    </a:lnTo>
                    <a:lnTo>
                      <a:pt x="12" y="34"/>
                    </a:lnTo>
                    <a:lnTo>
                      <a:pt x="10"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78" name="Freeform 323"/>
              <p:cNvSpPr>
                <a:spLocks/>
              </p:cNvSpPr>
              <p:nvPr/>
            </p:nvSpPr>
            <p:spPr bwMode="auto">
              <a:xfrm>
                <a:off x="2028032" y="1603375"/>
                <a:ext cx="30163" cy="15875"/>
              </a:xfrm>
              <a:custGeom>
                <a:avLst/>
                <a:gdLst/>
                <a:ahLst/>
                <a:cxnLst>
                  <a:cxn ang="0">
                    <a:pos x="19" y="0"/>
                  </a:cxn>
                  <a:cxn ang="0">
                    <a:pos x="19" y="10"/>
                  </a:cxn>
                  <a:cxn ang="0">
                    <a:pos x="10" y="10"/>
                  </a:cxn>
                  <a:cxn ang="0">
                    <a:pos x="3" y="6"/>
                  </a:cxn>
                  <a:cxn ang="0">
                    <a:pos x="0" y="0"/>
                  </a:cxn>
                  <a:cxn ang="0">
                    <a:pos x="10" y="0"/>
                  </a:cxn>
                  <a:cxn ang="0">
                    <a:pos x="19" y="0"/>
                  </a:cxn>
                </a:cxnLst>
                <a:rect l="0" t="0" r="r" b="b"/>
                <a:pathLst>
                  <a:path w="19" h="10">
                    <a:moveTo>
                      <a:pt x="19" y="0"/>
                    </a:moveTo>
                    <a:lnTo>
                      <a:pt x="19" y="10"/>
                    </a:lnTo>
                    <a:lnTo>
                      <a:pt x="10" y="10"/>
                    </a:lnTo>
                    <a:lnTo>
                      <a:pt x="3" y="6"/>
                    </a:lnTo>
                    <a:lnTo>
                      <a:pt x="0" y="0"/>
                    </a:lnTo>
                    <a:lnTo>
                      <a:pt x="10"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79" name="Freeform 324"/>
              <p:cNvSpPr>
                <a:spLocks/>
              </p:cNvSpPr>
              <p:nvPr/>
            </p:nvSpPr>
            <p:spPr bwMode="auto">
              <a:xfrm>
                <a:off x="2108994" y="1531938"/>
                <a:ext cx="249238" cy="168275"/>
              </a:xfrm>
              <a:custGeom>
                <a:avLst/>
                <a:gdLst/>
                <a:ahLst/>
                <a:cxnLst>
                  <a:cxn ang="0">
                    <a:pos x="112" y="43"/>
                  </a:cxn>
                  <a:cxn ang="0">
                    <a:pos x="109" y="33"/>
                  </a:cxn>
                  <a:cxn ang="0">
                    <a:pos x="114" y="33"/>
                  </a:cxn>
                  <a:cxn ang="0">
                    <a:pos x="121" y="41"/>
                  </a:cxn>
                  <a:cxn ang="0">
                    <a:pos x="128" y="48"/>
                  </a:cxn>
                  <a:cxn ang="0">
                    <a:pos x="124" y="57"/>
                  </a:cxn>
                  <a:cxn ang="0">
                    <a:pos x="133" y="57"/>
                  </a:cxn>
                  <a:cxn ang="0">
                    <a:pos x="157" y="64"/>
                  </a:cxn>
                  <a:cxn ang="0">
                    <a:pos x="157" y="70"/>
                  </a:cxn>
                  <a:cxn ang="0">
                    <a:pos x="145" y="74"/>
                  </a:cxn>
                  <a:cxn ang="0">
                    <a:pos x="131" y="81"/>
                  </a:cxn>
                  <a:cxn ang="0">
                    <a:pos x="121" y="89"/>
                  </a:cxn>
                  <a:cxn ang="0">
                    <a:pos x="112" y="79"/>
                  </a:cxn>
                  <a:cxn ang="0">
                    <a:pos x="107" y="88"/>
                  </a:cxn>
                  <a:cxn ang="0">
                    <a:pos x="114" y="96"/>
                  </a:cxn>
                  <a:cxn ang="0">
                    <a:pos x="103" y="103"/>
                  </a:cxn>
                  <a:cxn ang="0">
                    <a:pos x="86" y="94"/>
                  </a:cxn>
                  <a:cxn ang="0">
                    <a:pos x="74" y="106"/>
                  </a:cxn>
                  <a:cxn ang="0">
                    <a:pos x="54" y="96"/>
                  </a:cxn>
                  <a:cxn ang="0">
                    <a:pos x="60" y="93"/>
                  </a:cxn>
                  <a:cxn ang="0">
                    <a:pos x="45" y="89"/>
                  </a:cxn>
                  <a:cxn ang="0">
                    <a:pos x="36" y="81"/>
                  </a:cxn>
                  <a:cxn ang="0">
                    <a:pos x="54" y="72"/>
                  </a:cxn>
                  <a:cxn ang="0">
                    <a:pos x="76" y="70"/>
                  </a:cxn>
                  <a:cxn ang="0">
                    <a:pos x="55" y="67"/>
                  </a:cxn>
                  <a:cxn ang="0">
                    <a:pos x="40" y="70"/>
                  </a:cxn>
                  <a:cxn ang="0">
                    <a:pos x="33" y="64"/>
                  </a:cxn>
                  <a:cxn ang="0">
                    <a:pos x="23" y="69"/>
                  </a:cxn>
                  <a:cxn ang="0">
                    <a:pos x="17" y="64"/>
                  </a:cxn>
                  <a:cxn ang="0">
                    <a:pos x="30" y="57"/>
                  </a:cxn>
                  <a:cxn ang="0">
                    <a:pos x="9" y="53"/>
                  </a:cxn>
                  <a:cxn ang="0">
                    <a:pos x="0" y="41"/>
                  </a:cxn>
                  <a:cxn ang="0">
                    <a:pos x="14" y="43"/>
                  </a:cxn>
                  <a:cxn ang="0">
                    <a:pos x="24" y="43"/>
                  </a:cxn>
                  <a:cxn ang="0">
                    <a:pos x="21" y="38"/>
                  </a:cxn>
                  <a:cxn ang="0">
                    <a:pos x="7" y="33"/>
                  </a:cxn>
                  <a:cxn ang="0">
                    <a:pos x="9" y="26"/>
                  </a:cxn>
                  <a:cxn ang="0">
                    <a:pos x="24" y="27"/>
                  </a:cxn>
                  <a:cxn ang="0">
                    <a:pos x="33" y="26"/>
                  </a:cxn>
                  <a:cxn ang="0">
                    <a:pos x="28" y="22"/>
                  </a:cxn>
                  <a:cxn ang="0">
                    <a:pos x="17" y="19"/>
                  </a:cxn>
                  <a:cxn ang="0">
                    <a:pos x="23" y="10"/>
                  </a:cxn>
                  <a:cxn ang="0">
                    <a:pos x="43" y="10"/>
                  </a:cxn>
                  <a:cxn ang="0">
                    <a:pos x="28" y="0"/>
                  </a:cxn>
                  <a:cxn ang="0">
                    <a:pos x="60" y="5"/>
                  </a:cxn>
                  <a:cxn ang="0">
                    <a:pos x="67" y="15"/>
                  </a:cxn>
                  <a:cxn ang="0">
                    <a:pos x="76" y="27"/>
                  </a:cxn>
                  <a:cxn ang="0">
                    <a:pos x="97" y="29"/>
                  </a:cxn>
                  <a:cxn ang="0">
                    <a:pos x="105" y="43"/>
                  </a:cxn>
                </a:cxnLst>
                <a:rect l="0" t="0" r="r" b="b"/>
                <a:pathLst>
                  <a:path w="157" h="106">
                    <a:moveTo>
                      <a:pt x="105" y="43"/>
                    </a:moveTo>
                    <a:lnTo>
                      <a:pt x="112" y="43"/>
                    </a:lnTo>
                    <a:lnTo>
                      <a:pt x="112" y="36"/>
                    </a:lnTo>
                    <a:lnTo>
                      <a:pt x="109" y="33"/>
                    </a:lnTo>
                    <a:lnTo>
                      <a:pt x="110" y="33"/>
                    </a:lnTo>
                    <a:lnTo>
                      <a:pt x="114" y="33"/>
                    </a:lnTo>
                    <a:lnTo>
                      <a:pt x="119" y="34"/>
                    </a:lnTo>
                    <a:lnTo>
                      <a:pt x="121" y="41"/>
                    </a:lnTo>
                    <a:lnTo>
                      <a:pt x="124" y="45"/>
                    </a:lnTo>
                    <a:lnTo>
                      <a:pt x="128" y="48"/>
                    </a:lnTo>
                    <a:lnTo>
                      <a:pt x="126" y="51"/>
                    </a:lnTo>
                    <a:lnTo>
                      <a:pt x="124" y="57"/>
                    </a:lnTo>
                    <a:lnTo>
                      <a:pt x="128" y="58"/>
                    </a:lnTo>
                    <a:lnTo>
                      <a:pt x="133" y="57"/>
                    </a:lnTo>
                    <a:lnTo>
                      <a:pt x="143" y="58"/>
                    </a:lnTo>
                    <a:lnTo>
                      <a:pt x="157" y="64"/>
                    </a:lnTo>
                    <a:lnTo>
                      <a:pt x="157" y="67"/>
                    </a:lnTo>
                    <a:lnTo>
                      <a:pt x="157" y="70"/>
                    </a:lnTo>
                    <a:lnTo>
                      <a:pt x="150" y="72"/>
                    </a:lnTo>
                    <a:lnTo>
                      <a:pt x="145" y="74"/>
                    </a:lnTo>
                    <a:lnTo>
                      <a:pt x="136" y="76"/>
                    </a:lnTo>
                    <a:lnTo>
                      <a:pt x="131" y="81"/>
                    </a:lnTo>
                    <a:lnTo>
                      <a:pt x="126" y="86"/>
                    </a:lnTo>
                    <a:lnTo>
                      <a:pt x="121" y="89"/>
                    </a:lnTo>
                    <a:lnTo>
                      <a:pt x="114" y="86"/>
                    </a:lnTo>
                    <a:lnTo>
                      <a:pt x="112" y="79"/>
                    </a:lnTo>
                    <a:lnTo>
                      <a:pt x="109" y="82"/>
                    </a:lnTo>
                    <a:lnTo>
                      <a:pt x="107" y="88"/>
                    </a:lnTo>
                    <a:lnTo>
                      <a:pt x="110" y="91"/>
                    </a:lnTo>
                    <a:lnTo>
                      <a:pt x="114" y="96"/>
                    </a:lnTo>
                    <a:lnTo>
                      <a:pt x="103" y="96"/>
                    </a:lnTo>
                    <a:lnTo>
                      <a:pt x="103" y="103"/>
                    </a:lnTo>
                    <a:lnTo>
                      <a:pt x="95" y="100"/>
                    </a:lnTo>
                    <a:lnTo>
                      <a:pt x="86" y="94"/>
                    </a:lnTo>
                    <a:lnTo>
                      <a:pt x="83" y="103"/>
                    </a:lnTo>
                    <a:lnTo>
                      <a:pt x="74" y="106"/>
                    </a:lnTo>
                    <a:lnTo>
                      <a:pt x="60" y="103"/>
                    </a:lnTo>
                    <a:lnTo>
                      <a:pt x="54" y="96"/>
                    </a:lnTo>
                    <a:lnTo>
                      <a:pt x="57" y="94"/>
                    </a:lnTo>
                    <a:lnTo>
                      <a:pt x="60" y="93"/>
                    </a:lnTo>
                    <a:lnTo>
                      <a:pt x="52" y="91"/>
                    </a:lnTo>
                    <a:lnTo>
                      <a:pt x="45" y="89"/>
                    </a:lnTo>
                    <a:lnTo>
                      <a:pt x="38" y="84"/>
                    </a:lnTo>
                    <a:lnTo>
                      <a:pt x="36" y="81"/>
                    </a:lnTo>
                    <a:lnTo>
                      <a:pt x="40" y="74"/>
                    </a:lnTo>
                    <a:lnTo>
                      <a:pt x="54" y="72"/>
                    </a:lnTo>
                    <a:lnTo>
                      <a:pt x="66" y="70"/>
                    </a:lnTo>
                    <a:lnTo>
                      <a:pt x="76" y="70"/>
                    </a:lnTo>
                    <a:lnTo>
                      <a:pt x="64" y="67"/>
                    </a:lnTo>
                    <a:lnTo>
                      <a:pt x="55" y="67"/>
                    </a:lnTo>
                    <a:lnTo>
                      <a:pt x="45" y="69"/>
                    </a:lnTo>
                    <a:lnTo>
                      <a:pt x="40" y="70"/>
                    </a:lnTo>
                    <a:lnTo>
                      <a:pt x="35" y="67"/>
                    </a:lnTo>
                    <a:lnTo>
                      <a:pt x="33" y="64"/>
                    </a:lnTo>
                    <a:lnTo>
                      <a:pt x="26" y="65"/>
                    </a:lnTo>
                    <a:lnTo>
                      <a:pt x="23" y="69"/>
                    </a:lnTo>
                    <a:lnTo>
                      <a:pt x="17" y="65"/>
                    </a:lnTo>
                    <a:lnTo>
                      <a:pt x="17" y="64"/>
                    </a:lnTo>
                    <a:lnTo>
                      <a:pt x="23" y="60"/>
                    </a:lnTo>
                    <a:lnTo>
                      <a:pt x="30" y="57"/>
                    </a:lnTo>
                    <a:lnTo>
                      <a:pt x="17" y="55"/>
                    </a:lnTo>
                    <a:lnTo>
                      <a:pt x="9" y="53"/>
                    </a:lnTo>
                    <a:lnTo>
                      <a:pt x="2" y="48"/>
                    </a:lnTo>
                    <a:lnTo>
                      <a:pt x="0" y="41"/>
                    </a:lnTo>
                    <a:lnTo>
                      <a:pt x="7" y="41"/>
                    </a:lnTo>
                    <a:lnTo>
                      <a:pt x="14" y="43"/>
                    </a:lnTo>
                    <a:lnTo>
                      <a:pt x="23" y="45"/>
                    </a:lnTo>
                    <a:lnTo>
                      <a:pt x="24" y="43"/>
                    </a:lnTo>
                    <a:lnTo>
                      <a:pt x="28" y="41"/>
                    </a:lnTo>
                    <a:lnTo>
                      <a:pt x="21" y="38"/>
                    </a:lnTo>
                    <a:lnTo>
                      <a:pt x="14" y="36"/>
                    </a:lnTo>
                    <a:lnTo>
                      <a:pt x="7" y="33"/>
                    </a:lnTo>
                    <a:lnTo>
                      <a:pt x="5" y="31"/>
                    </a:lnTo>
                    <a:lnTo>
                      <a:pt x="9" y="26"/>
                    </a:lnTo>
                    <a:lnTo>
                      <a:pt x="17" y="26"/>
                    </a:lnTo>
                    <a:lnTo>
                      <a:pt x="24" y="27"/>
                    </a:lnTo>
                    <a:lnTo>
                      <a:pt x="31" y="29"/>
                    </a:lnTo>
                    <a:lnTo>
                      <a:pt x="33" y="26"/>
                    </a:lnTo>
                    <a:lnTo>
                      <a:pt x="36" y="24"/>
                    </a:lnTo>
                    <a:lnTo>
                      <a:pt x="28" y="22"/>
                    </a:lnTo>
                    <a:lnTo>
                      <a:pt x="23" y="24"/>
                    </a:lnTo>
                    <a:lnTo>
                      <a:pt x="17" y="19"/>
                    </a:lnTo>
                    <a:lnTo>
                      <a:pt x="16" y="15"/>
                    </a:lnTo>
                    <a:lnTo>
                      <a:pt x="23" y="10"/>
                    </a:lnTo>
                    <a:lnTo>
                      <a:pt x="35" y="10"/>
                    </a:lnTo>
                    <a:lnTo>
                      <a:pt x="43" y="10"/>
                    </a:lnTo>
                    <a:lnTo>
                      <a:pt x="33" y="7"/>
                    </a:lnTo>
                    <a:lnTo>
                      <a:pt x="28" y="0"/>
                    </a:lnTo>
                    <a:lnTo>
                      <a:pt x="43" y="2"/>
                    </a:lnTo>
                    <a:lnTo>
                      <a:pt x="60" y="5"/>
                    </a:lnTo>
                    <a:lnTo>
                      <a:pt x="66" y="8"/>
                    </a:lnTo>
                    <a:lnTo>
                      <a:pt x="67" y="15"/>
                    </a:lnTo>
                    <a:lnTo>
                      <a:pt x="69" y="22"/>
                    </a:lnTo>
                    <a:lnTo>
                      <a:pt x="76" y="27"/>
                    </a:lnTo>
                    <a:lnTo>
                      <a:pt x="86" y="27"/>
                    </a:lnTo>
                    <a:lnTo>
                      <a:pt x="97" y="29"/>
                    </a:lnTo>
                    <a:lnTo>
                      <a:pt x="102" y="34"/>
                    </a:lnTo>
                    <a:lnTo>
                      <a:pt x="105"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80" name="Freeform 325"/>
              <p:cNvSpPr>
                <a:spLocks/>
              </p:cNvSpPr>
              <p:nvPr/>
            </p:nvSpPr>
            <p:spPr bwMode="auto">
              <a:xfrm>
                <a:off x="2312194" y="2233613"/>
                <a:ext cx="163513" cy="103187"/>
              </a:xfrm>
              <a:custGeom>
                <a:avLst/>
                <a:gdLst/>
                <a:ahLst/>
                <a:cxnLst>
                  <a:cxn ang="0">
                    <a:pos x="6" y="45"/>
                  </a:cxn>
                  <a:cxn ang="0">
                    <a:pos x="10" y="41"/>
                  </a:cxn>
                  <a:cxn ang="0">
                    <a:pos x="12" y="38"/>
                  </a:cxn>
                  <a:cxn ang="0">
                    <a:pos x="12" y="32"/>
                  </a:cxn>
                  <a:cxn ang="0">
                    <a:pos x="12" y="31"/>
                  </a:cxn>
                  <a:cxn ang="0">
                    <a:pos x="12" y="20"/>
                  </a:cxn>
                  <a:cxn ang="0">
                    <a:pos x="13" y="12"/>
                  </a:cxn>
                  <a:cxn ang="0">
                    <a:pos x="18" y="3"/>
                  </a:cxn>
                  <a:cxn ang="0">
                    <a:pos x="29" y="0"/>
                  </a:cxn>
                  <a:cxn ang="0">
                    <a:pos x="32" y="7"/>
                  </a:cxn>
                  <a:cxn ang="0">
                    <a:pos x="36" y="14"/>
                  </a:cxn>
                  <a:cxn ang="0">
                    <a:pos x="37" y="12"/>
                  </a:cxn>
                  <a:cxn ang="0">
                    <a:pos x="41" y="10"/>
                  </a:cxn>
                  <a:cxn ang="0">
                    <a:pos x="48" y="15"/>
                  </a:cxn>
                  <a:cxn ang="0">
                    <a:pos x="58" y="20"/>
                  </a:cxn>
                  <a:cxn ang="0">
                    <a:pos x="67" y="22"/>
                  </a:cxn>
                  <a:cxn ang="0">
                    <a:pos x="77" y="31"/>
                  </a:cxn>
                  <a:cxn ang="0">
                    <a:pos x="77" y="34"/>
                  </a:cxn>
                  <a:cxn ang="0">
                    <a:pos x="80" y="39"/>
                  </a:cxn>
                  <a:cxn ang="0">
                    <a:pos x="92" y="45"/>
                  </a:cxn>
                  <a:cxn ang="0">
                    <a:pos x="103" y="50"/>
                  </a:cxn>
                  <a:cxn ang="0">
                    <a:pos x="94" y="53"/>
                  </a:cxn>
                  <a:cxn ang="0">
                    <a:pos x="86" y="55"/>
                  </a:cxn>
                  <a:cxn ang="0">
                    <a:pos x="77" y="55"/>
                  </a:cxn>
                  <a:cxn ang="0">
                    <a:pos x="72" y="55"/>
                  </a:cxn>
                  <a:cxn ang="0">
                    <a:pos x="68" y="51"/>
                  </a:cxn>
                  <a:cxn ang="0">
                    <a:pos x="61" y="48"/>
                  </a:cxn>
                  <a:cxn ang="0">
                    <a:pos x="55" y="43"/>
                  </a:cxn>
                  <a:cxn ang="0">
                    <a:pos x="53" y="43"/>
                  </a:cxn>
                  <a:cxn ang="0">
                    <a:pos x="49" y="50"/>
                  </a:cxn>
                  <a:cxn ang="0">
                    <a:pos x="43" y="57"/>
                  </a:cxn>
                  <a:cxn ang="0">
                    <a:pos x="34" y="60"/>
                  </a:cxn>
                  <a:cxn ang="0">
                    <a:pos x="29" y="60"/>
                  </a:cxn>
                  <a:cxn ang="0">
                    <a:pos x="25" y="63"/>
                  </a:cxn>
                  <a:cxn ang="0">
                    <a:pos x="24" y="65"/>
                  </a:cxn>
                  <a:cxn ang="0">
                    <a:pos x="18" y="62"/>
                  </a:cxn>
                  <a:cxn ang="0">
                    <a:pos x="20" y="55"/>
                  </a:cxn>
                  <a:cxn ang="0">
                    <a:pos x="8" y="53"/>
                  </a:cxn>
                  <a:cxn ang="0">
                    <a:pos x="0" y="55"/>
                  </a:cxn>
                  <a:cxn ang="0">
                    <a:pos x="1" y="46"/>
                  </a:cxn>
                  <a:cxn ang="0">
                    <a:pos x="6" y="45"/>
                  </a:cxn>
                </a:cxnLst>
                <a:rect l="0" t="0" r="r" b="b"/>
                <a:pathLst>
                  <a:path w="103" h="65">
                    <a:moveTo>
                      <a:pt x="6" y="45"/>
                    </a:moveTo>
                    <a:lnTo>
                      <a:pt x="10" y="41"/>
                    </a:lnTo>
                    <a:lnTo>
                      <a:pt x="12" y="38"/>
                    </a:lnTo>
                    <a:lnTo>
                      <a:pt x="12" y="32"/>
                    </a:lnTo>
                    <a:lnTo>
                      <a:pt x="12" y="31"/>
                    </a:lnTo>
                    <a:lnTo>
                      <a:pt x="12" y="20"/>
                    </a:lnTo>
                    <a:lnTo>
                      <a:pt x="13" y="12"/>
                    </a:lnTo>
                    <a:lnTo>
                      <a:pt x="18" y="3"/>
                    </a:lnTo>
                    <a:lnTo>
                      <a:pt x="29" y="0"/>
                    </a:lnTo>
                    <a:lnTo>
                      <a:pt x="32" y="7"/>
                    </a:lnTo>
                    <a:lnTo>
                      <a:pt x="36" y="14"/>
                    </a:lnTo>
                    <a:lnTo>
                      <a:pt x="37" y="12"/>
                    </a:lnTo>
                    <a:lnTo>
                      <a:pt x="41" y="10"/>
                    </a:lnTo>
                    <a:lnTo>
                      <a:pt x="48" y="15"/>
                    </a:lnTo>
                    <a:lnTo>
                      <a:pt x="58" y="20"/>
                    </a:lnTo>
                    <a:lnTo>
                      <a:pt x="67" y="22"/>
                    </a:lnTo>
                    <a:lnTo>
                      <a:pt x="77" y="31"/>
                    </a:lnTo>
                    <a:lnTo>
                      <a:pt x="77" y="34"/>
                    </a:lnTo>
                    <a:lnTo>
                      <a:pt x="80" y="39"/>
                    </a:lnTo>
                    <a:lnTo>
                      <a:pt x="92" y="45"/>
                    </a:lnTo>
                    <a:lnTo>
                      <a:pt x="103" y="50"/>
                    </a:lnTo>
                    <a:lnTo>
                      <a:pt x="94" y="53"/>
                    </a:lnTo>
                    <a:lnTo>
                      <a:pt x="86" y="55"/>
                    </a:lnTo>
                    <a:lnTo>
                      <a:pt x="77" y="55"/>
                    </a:lnTo>
                    <a:lnTo>
                      <a:pt x="72" y="55"/>
                    </a:lnTo>
                    <a:lnTo>
                      <a:pt x="68" y="51"/>
                    </a:lnTo>
                    <a:lnTo>
                      <a:pt x="61" y="48"/>
                    </a:lnTo>
                    <a:lnTo>
                      <a:pt x="55" y="43"/>
                    </a:lnTo>
                    <a:lnTo>
                      <a:pt x="53" y="43"/>
                    </a:lnTo>
                    <a:lnTo>
                      <a:pt x="49" y="50"/>
                    </a:lnTo>
                    <a:lnTo>
                      <a:pt x="43" y="57"/>
                    </a:lnTo>
                    <a:lnTo>
                      <a:pt x="34" y="60"/>
                    </a:lnTo>
                    <a:lnTo>
                      <a:pt x="29" y="60"/>
                    </a:lnTo>
                    <a:lnTo>
                      <a:pt x="25" y="63"/>
                    </a:lnTo>
                    <a:lnTo>
                      <a:pt x="24" y="65"/>
                    </a:lnTo>
                    <a:lnTo>
                      <a:pt x="18" y="62"/>
                    </a:lnTo>
                    <a:lnTo>
                      <a:pt x="20" y="55"/>
                    </a:lnTo>
                    <a:lnTo>
                      <a:pt x="8" y="53"/>
                    </a:lnTo>
                    <a:lnTo>
                      <a:pt x="0" y="55"/>
                    </a:lnTo>
                    <a:lnTo>
                      <a:pt x="1" y="46"/>
                    </a:lnTo>
                    <a:lnTo>
                      <a:pt x="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81" name="Freeform 326"/>
              <p:cNvSpPr>
                <a:spLocks/>
              </p:cNvSpPr>
              <p:nvPr/>
            </p:nvSpPr>
            <p:spPr bwMode="auto">
              <a:xfrm>
                <a:off x="2543969" y="2139950"/>
                <a:ext cx="49213" cy="41275"/>
              </a:xfrm>
              <a:custGeom>
                <a:avLst/>
                <a:gdLst/>
                <a:ahLst/>
                <a:cxnLst>
                  <a:cxn ang="0">
                    <a:pos x="31" y="14"/>
                  </a:cxn>
                  <a:cxn ang="0">
                    <a:pos x="24" y="23"/>
                  </a:cxn>
                  <a:cxn ang="0">
                    <a:pos x="12" y="26"/>
                  </a:cxn>
                  <a:cxn ang="0">
                    <a:pos x="3" y="23"/>
                  </a:cxn>
                  <a:cxn ang="0">
                    <a:pos x="0" y="14"/>
                  </a:cxn>
                  <a:cxn ang="0">
                    <a:pos x="3" y="2"/>
                  </a:cxn>
                  <a:cxn ang="0">
                    <a:pos x="15" y="0"/>
                  </a:cxn>
                  <a:cxn ang="0">
                    <a:pos x="26" y="4"/>
                  </a:cxn>
                  <a:cxn ang="0">
                    <a:pos x="31" y="14"/>
                  </a:cxn>
                </a:cxnLst>
                <a:rect l="0" t="0" r="r" b="b"/>
                <a:pathLst>
                  <a:path w="31" h="26">
                    <a:moveTo>
                      <a:pt x="31" y="14"/>
                    </a:moveTo>
                    <a:lnTo>
                      <a:pt x="24" y="23"/>
                    </a:lnTo>
                    <a:lnTo>
                      <a:pt x="12" y="26"/>
                    </a:lnTo>
                    <a:lnTo>
                      <a:pt x="3" y="23"/>
                    </a:lnTo>
                    <a:lnTo>
                      <a:pt x="0" y="14"/>
                    </a:lnTo>
                    <a:lnTo>
                      <a:pt x="3" y="2"/>
                    </a:lnTo>
                    <a:lnTo>
                      <a:pt x="15" y="0"/>
                    </a:lnTo>
                    <a:lnTo>
                      <a:pt x="26" y="4"/>
                    </a:lnTo>
                    <a:lnTo>
                      <a:pt x="31"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82" name="Freeform 327"/>
              <p:cNvSpPr>
                <a:spLocks/>
              </p:cNvSpPr>
              <p:nvPr/>
            </p:nvSpPr>
            <p:spPr bwMode="auto">
              <a:xfrm>
                <a:off x="2393157" y="2339975"/>
                <a:ext cx="41275" cy="31750"/>
              </a:xfrm>
              <a:custGeom>
                <a:avLst/>
                <a:gdLst/>
                <a:ahLst/>
                <a:cxnLst>
                  <a:cxn ang="0">
                    <a:pos x="10" y="2"/>
                  </a:cxn>
                  <a:cxn ang="0">
                    <a:pos x="19" y="0"/>
                  </a:cxn>
                  <a:cxn ang="0">
                    <a:pos x="26" y="3"/>
                  </a:cxn>
                  <a:cxn ang="0">
                    <a:pos x="14" y="14"/>
                  </a:cxn>
                  <a:cxn ang="0">
                    <a:pos x="0" y="20"/>
                  </a:cxn>
                  <a:cxn ang="0">
                    <a:pos x="0" y="14"/>
                  </a:cxn>
                  <a:cxn ang="0">
                    <a:pos x="5" y="7"/>
                  </a:cxn>
                  <a:cxn ang="0">
                    <a:pos x="10" y="2"/>
                  </a:cxn>
                </a:cxnLst>
                <a:rect l="0" t="0" r="r" b="b"/>
                <a:pathLst>
                  <a:path w="26" h="20">
                    <a:moveTo>
                      <a:pt x="10" y="2"/>
                    </a:moveTo>
                    <a:lnTo>
                      <a:pt x="19" y="0"/>
                    </a:lnTo>
                    <a:lnTo>
                      <a:pt x="26" y="3"/>
                    </a:lnTo>
                    <a:lnTo>
                      <a:pt x="14" y="14"/>
                    </a:lnTo>
                    <a:lnTo>
                      <a:pt x="0" y="20"/>
                    </a:lnTo>
                    <a:lnTo>
                      <a:pt x="0" y="14"/>
                    </a:lnTo>
                    <a:lnTo>
                      <a:pt x="5" y="7"/>
                    </a:lnTo>
                    <a:lnTo>
                      <a:pt x="1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83" name="Freeform 328"/>
              <p:cNvSpPr>
                <a:spLocks/>
              </p:cNvSpPr>
              <p:nvPr/>
            </p:nvSpPr>
            <p:spPr bwMode="auto">
              <a:xfrm>
                <a:off x="2458244" y="1908175"/>
                <a:ext cx="107950" cy="46037"/>
              </a:xfrm>
              <a:custGeom>
                <a:avLst/>
                <a:gdLst/>
                <a:ahLst/>
                <a:cxnLst>
                  <a:cxn ang="0">
                    <a:pos x="25" y="29"/>
                  </a:cxn>
                  <a:cxn ang="0">
                    <a:pos x="11" y="26"/>
                  </a:cxn>
                  <a:cxn ang="0">
                    <a:pos x="11" y="17"/>
                  </a:cxn>
                  <a:cxn ang="0">
                    <a:pos x="2" y="12"/>
                  </a:cxn>
                  <a:cxn ang="0">
                    <a:pos x="0" y="7"/>
                  </a:cxn>
                  <a:cxn ang="0">
                    <a:pos x="2" y="0"/>
                  </a:cxn>
                  <a:cxn ang="0">
                    <a:pos x="9" y="0"/>
                  </a:cxn>
                  <a:cxn ang="0">
                    <a:pos x="21" y="2"/>
                  </a:cxn>
                  <a:cxn ang="0">
                    <a:pos x="33" y="4"/>
                  </a:cxn>
                  <a:cxn ang="0">
                    <a:pos x="42" y="4"/>
                  </a:cxn>
                  <a:cxn ang="0">
                    <a:pos x="52" y="9"/>
                  </a:cxn>
                  <a:cxn ang="0">
                    <a:pos x="59" y="14"/>
                  </a:cxn>
                  <a:cxn ang="0">
                    <a:pos x="68" y="19"/>
                  </a:cxn>
                  <a:cxn ang="0">
                    <a:pos x="64" y="24"/>
                  </a:cxn>
                  <a:cxn ang="0">
                    <a:pos x="59" y="28"/>
                  </a:cxn>
                  <a:cxn ang="0">
                    <a:pos x="50" y="26"/>
                  </a:cxn>
                  <a:cxn ang="0">
                    <a:pos x="43" y="24"/>
                  </a:cxn>
                  <a:cxn ang="0">
                    <a:pos x="35" y="26"/>
                  </a:cxn>
                  <a:cxn ang="0">
                    <a:pos x="25" y="29"/>
                  </a:cxn>
                </a:cxnLst>
                <a:rect l="0" t="0" r="r" b="b"/>
                <a:pathLst>
                  <a:path w="68" h="29">
                    <a:moveTo>
                      <a:pt x="25" y="29"/>
                    </a:moveTo>
                    <a:lnTo>
                      <a:pt x="11" y="26"/>
                    </a:lnTo>
                    <a:lnTo>
                      <a:pt x="11" y="17"/>
                    </a:lnTo>
                    <a:lnTo>
                      <a:pt x="2" y="12"/>
                    </a:lnTo>
                    <a:lnTo>
                      <a:pt x="0" y="7"/>
                    </a:lnTo>
                    <a:lnTo>
                      <a:pt x="2" y="0"/>
                    </a:lnTo>
                    <a:lnTo>
                      <a:pt x="9" y="0"/>
                    </a:lnTo>
                    <a:lnTo>
                      <a:pt x="21" y="2"/>
                    </a:lnTo>
                    <a:lnTo>
                      <a:pt x="33" y="4"/>
                    </a:lnTo>
                    <a:lnTo>
                      <a:pt x="42" y="4"/>
                    </a:lnTo>
                    <a:lnTo>
                      <a:pt x="52" y="9"/>
                    </a:lnTo>
                    <a:lnTo>
                      <a:pt x="59" y="14"/>
                    </a:lnTo>
                    <a:lnTo>
                      <a:pt x="68" y="19"/>
                    </a:lnTo>
                    <a:lnTo>
                      <a:pt x="64" y="24"/>
                    </a:lnTo>
                    <a:lnTo>
                      <a:pt x="59" y="28"/>
                    </a:lnTo>
                    <a:lnTo>
                      <a:pt x="50" y="26"/>
                    </a:lnTo>
                    <a:lnTo>
                      <a:pt x="43" y="24"/>
                    </a:lnTo>
                    <a:lnTo>
                      <a:pt x="35" y="26"/>
                    </a:lnTo>
                    <a:lnTo>
                      <a:pt x="25"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84" name="Freeform 329"/>
              <p:cNvSpPr>
                <a:spLocks/>
              </p:cNvSpPr>
              <p:nvPr/>
            </p:nvSpPr>
            <p:spPr bwMode="auto">
              <a:xfrm>
                <a:off x="2467769" y="2363788"/>
                <a:ext cx="26988" cy="25400"/>
              </a:xfrm>
              <a:custGeom>
                <a:avLst/>
                <a:gdLst/>
                <a:ahLst/>
                <a:cxnLst>
                  <a:cxn ang="0">
                    <a:pos x="17" y="4"/>
                  </a:cxn>
                  <a:cxn ang="0">
                    <a:pos x="12" y="11"/>
                  </a:cxn>
                  <a:cxn ang="0">
                    <a:pos x="8" y="16"/>
                  </a:cxn>
                  <a:cxn ang="0">
                    <a:pos x="3" y="12"/>
                  </a:cxn>
                  <a:cxn ang="0">
                    <a:pos x="0" y="9"/>
                  </a:cxn>
                  <a:cxn ang="0">
                    <a:pos x="5" y="0"/>
                  </a:cxn>
                  <a:cxn ang="0">
                    <a:pos x="17" y="4"/>
                  </a:cxn>
                </a:cxnLst>
                <a:rect l="0" t="0" r="r" b="b"/>
                <a:pathLst>
                  <a:path w="17" h="16">
                    <a:moveTo>
                      <a:pt x="17" y="4"/>
                    </a:moveTo>
                    <a:lnTo>
                      <a:pt x="12" y="11"/>
                    </a:lnTo>
                    <a:lnTo>
                      <a:pt x="8" y="16"/>
                    </a:lnTo>
                    <a:lnTo>
                      <a:pt x="3" y="12"/>
                    </a:lnTo>
                    <a:lnTo>
                      <a:pt x="0" y="9"/>
                    </a:lnTo>
                    <a:lnTo>
                      <a:pt x="5" y="0"/>
                    </a:lnTo>
                    <a:lnTo>
                      <a:pt x="17"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85" name="Freeform 330"/>
              <p:cNvSpPr>
                <a:spLocks/>
              </p:cNvSpPr>
              <p:nvPr/>
            </p:nvSpPr>
            <p:spPr bwMode="auto">
              <a:xfrm>
                <a:off x="2601119" y="2143125"/>
                <a:ext cx="26988" cy="15875"/>
              </a:xfrm>
              <a:custGeom>
                <a:avLst/>
                <a:gdLst/>
                <a:ahLst/>
                <a:cxnLst>
                  <a:cxn ang="0">
                    <a:pos x="7" y="10"/>
                  </a:cxn>
                  <a:cxn ang="0">
                    <a:pos x="2" y="9"/>
                  </a:cxn>
                  <a:cxn ang="0">
                    <a:pos x="0" y="7"/>
                  </a:cxn>
                  <a:cxn ang="0">
                    <a:pos x="2" y="2"/>
                  </a:cxn>
                  <a:cxn ang="0">
                    <a:pos x="7" y="0"/>
                  </a:cxn>
                  <a:cxn ang="0">
                    <a:pos x="12" y="3"/>
                  </a:cxn>
                  <a:cxn ang="0">
                    <a:pos x="17" y="9"/>
                  </a:cxn>
                  <a:cxn ang="0">
                    <a:pos x="10" y="9"/>
                  </a:cxn>
                  <a:cxn ang="0">
                    <a:pos x="7" y="10"/>
                  </a:cxn>
                </a:cxnLst>
                <a:rect l="0" t="0" r="r" b="b"/>
                <a:pathLst>
                  <a:path w="17" h="10">
                    <a:moveTo>
                      <a:pt x="7" y="10"/>
                    </a:moveTo>
                    <a:lnTo>
                      <a:pt x="2" y="9"/>
                    </a:lnTo>
                    <a:lnTo>
                      <a:pt x="0" y="7"/>
                    </a:lnTo>
                    <a:lnTo>
                      <a:pt x="2" y="2"/>
                    </a:lnTo>
                    <a:lnTo>
                      <a:pt x="7" y="0"/>
                    </a:lnTo>
                    <a:lnTo>
                      <a:pt x="12" y="3"/>
                    </a:lnTo>
                    <a:lnTo>
                      <a:pt x="17" y="9"/>
                    </a:lnTo>
                    <a:lnTo>
                      <a:pt x="10" y="9"/>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86" name="Freeform 331"/>
              <p:cNvSpPr>
                <a:spLocks/>
              </p:cNvSpPr>
              <p:nvPr/>
            </p:nvSpPr>
            <p:spPr bwMode="auto">
              <a:xfrm>
                <a:off x="2497932" y="2100263"/>
                <a:ext cx="15875" cy="15875"/>
              </a:xfrm>
              <a:custGeom>
                <a:avLst/>
                <a:gdLst/>
                <a:ahLst/>
                <a:cxnLst>
                  <a:cxn ang="0">
                    <a:pos x="0" y="10"/>
                  </a:cxn>
                  <a:cxn ang="0">
                    <a:pos x="0" y="5"/>
                  </a:cxn>
                  <a:cxn ang="0">
                    <a:pos x="10" y="0"/>
                  </a:cxn>
                  <a:cxn ang="0">
                    <a:pos x="5" y="6"/>
                  </a:cxn>
                  <a:cxn ang="0">
                    <a:pos x="0" y="10"/>
                  </a:cxn>
                </a:cxnLst>
                <a:rect l="0" t="0" r="r" b="b"/>
                <a:pathLst>
                  <a:path w="10" h="10">
                    <a:moveTo>
                      <a:pt x="0" y="10"/>
                    </a:moveTo>
                    <a:lnTo>
                      <a:pt x="0" y="5"/>
                    </a:lnTo>
                    <a:lnTo>
                      <a:pt x="10" y="0"/>
                    </a:lnTo>
                    <a:lnTo>
                      <a:pt x="5" y="6"/>
                    </a:lnTo>
                    <a:lnTo>
                      <a:pt x="0"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87" name="Freeform 332"/>
              <p:cNvSpPr>
                <a:spLocks/>
              </p:cNvSpPr>
              <p:nvPr/>
            </p:nvSpPr>
            <p:spPr bwMode="auto">
              <a:xfrm>
                <a:off x="2243932" y="1905000"/>
                <a:ext cx="663575" cy="477837"/>
              </a:xfrm>
              <a:custGeom>
                <a:avLst/>
                <a:gdLst/>
                <a:ahLst/>
                <a:cxnLst>
                  <a:cxn ang="0">
                    <a:pos x="375" y="222"/>
                  </a:cxn>
                  <a:cxn ang="0">
                    <a:pos x="347" y="196"/>
                  </a:cxn>
                  <a:cxn ang="0">
                    <a:pos x="328" y="198"/>
                  </a:cxn>
                  <a:cxn ang="0">
                    <a:pos x="326" y="205"/>
                  </a:cxn>
                  <a:cxn ang="0">
                    <a:pos x="344" y="231"/>
                  </a:cxn>
                  <a:cxn ang="0">
                    <a:pos x="366" y="238"/>
                  </a:cxn>
                  <a:cxn ang="0">
                    <a:pos x="376" y="258"/>
                  </a:cxn>
                  <a:cxn ang="0">
                    <a:pos x="342" y="270"/>
                  </a:cxn>
                  <a:cxn ang="0">
                    <a:pos x="321" y="265"/>
                  </a:cxn>
                  <a:cxn ang="0">
                    <a:pos x="347" y="298"/>
                  </a:cxn>
                  <a:cxn ang="0">
                    <a:pos x="328" y="289"/>
                  </a:cxn>
                  <a:cxn ang="0">
                    <a:pos x="290" y="277"/>
                  </a:cxn>
                  <a:cxn ang="0">
                    <a:pos x="258" y="253"/>
                  </a:cxn>
                  <a:cxn ang="0">
                    <a:pos x="225" y="239"/>
                  </a:cxn>
                  <a:cxn ang="0">
                    <a:pos x="203" y="243"/>
                  </a:cxn>
                  <a:cxn ang="0">
                    <a:pos x="175" y="236"/>
                  </a:cxn>
                  <a:cxn ang="0">
                    <a:pos x="187" y="219"/>
                  </a:cxn>
                  <a:cxn ang="0">
                    <a:pos x="227" y="215"/>
                  </a:cxn>
                  <a:cxn ang="0">
                    <a:pos x="233" y="195"/>
                  </a:cxn>
                  <a:cxn ang="0">
                    <a:pos x="251" y="159"/>
                  </a:cxn>
                  <a:cxn ang="0">
                    <a:pos x="206" y="135"/>
                  </a:cxn>
                  <a:cxn ang="0">
                    <a:pos x="197" y="126"/>
                  </a:cxn>
                  <a:cxn ang="0">
                    <a:pos x="175" y="100"/>
                  </a:cxn>
                  <a:cxn ang="0">
                    <a:pos x="151" y="114"/>
                  </a:cxn>
                  <a:cxn ang="0">
                    <a:pos x="132" y="104"/>
                  </a:cxn>
                  <a:cxn ang="0">
                    <a:pos x="92" y="104"/>
                  </a:cxn>
                  <a:cxn ang="0">
                    <a:pos x="55" y="100"/>
                  </a:cxn>
                  <a:cxn ang="0">
                    <a:pos x="13" y="80"/>
                  </a:cxn>
                  <a:cxn ang="0">
                    <a:pos x="27" y="71"/>
                  </a:cxn>
                  <a:cxn ang="0">
                    <a:pos x="3" y="64"/>
                  </a:cxn>
                  <a:cxn ang="0">
                    <a:pos x="5" y="35"/>
                  </a:cxn>
                  <a:cxn ang="0">
                    <a:pos x="20" y="11"/>
                  </a:cxn>
                  <a:cxn ang="0">
                    <a:pos x="56" y="0"/>
                  </a:cxn>
                  <a:cxn ang="0">
                    <a:pos x="65" y="11"/>
                  </a:cxn>
                  <a:cxn ang="0">
                    <a:pos x="49" y="35"/>
                  </a:cxn>
                  <a:cxn ang="0">
                    <a:pos x="53" y="50"/>
                  </a:cxn>
                  <a:cxn ang="0">
                    <a:pos x="65" y="38"/>
                  </a:cxn>
                  <a:cxn ang="0">
                    <a:pos x="91" y="7"/>
                  </a:cxn>
                  <a:cxn ang="0">
                    <a:pos x="127" y="7"/>
                  </a:cxn>
                  <a:cxn ang="0">
                    <a:pos x="137" y="40"/>
                  </a:cxn>
                  <a:cxn ang="0">
                    <a:pos x="154" y="42"/>
                  </a:cxn>
                  <a:cxn ang="0">
                    <a:pos x="173" y="33"/>
                  </a:cxn>
                  <a:cxn ang="0">
                    <a:pos x="209" y="35"/>
                  </a:cxn>
                  <a:cxn ang="0">
                    <a:pos x="237" y="61"/>
                  </a:cxn>
                  <a:cxn ang="0">
                    <a:pos x="266" y="64"/>
                  </a:cxn>
                  <a:cxn ang="0">
                    <a:pos x="289" y="78"/>
                  </a:cxn>
                  <a:cxn ang="0">
                    <a:pos x="314" y="98"/>
                  </a:cxn>
                  <a:cxn ang="0">
                    <a:pos x="338" y="111"/>
                  </a:cxn>
                  <a:cxn ang="0">
                    <a:pos x="335" y="117"/>
                  </a:cxn>
                  <a:cxn ang="0">
                    <a:pos x="326" y="135"/>
                  </a:cxn>
                  <a:cxn ang="0">
                    <a:pos x="349" y="150"/>
                  </a:cxn>
                  <a:cxn ang="0">
                    <a:pos x="376" y="174"/>
                  </a:cxn>
                  <a:cxn ang="0">
                    <a:pos x="404" y="179"/>
                  </a:cxn>
                  <a:cxn ang="0">
                    <a:pos x="402" y="198"/>
                  </a:cxn>
                  <a:cxn ang="0">
                    <a:pos x="392" y="212"/>
                  </a:cxn>
                </a:cxnLst>
                <a:rect l="0" t="0" r="r" b="b"/>
                <a:pathLst>
                  <a:path w="418" h="301">
                    <a:moveTo>
                      <a:pt x="392" y="212"/>
                    </a:moveTo>
                    <a:lnTo>
                      <a:pt x="390" y="221"/>
                    </a:lnTo>
                    <a:lnTo>
                      <a:pt x="385" y="226"/>
                    </a:lnTo>
                    <a:lnTo>
                      <a:pt x="375" y="222"/>
                    </a:lnTo>
                    <a:lnTo>
                      <a:pt x="368" y="219"/>
                    </a:lnTo>
                    <a:lnTo>
                      <a:pt x="362" y="214"/>
                    </a:lnTo>
                    <a:lnTo>
                      <a:pt x="357" y="209"/>
                    </a:lnTo>
                    <a:lnTo>
                      <a:pt x="347" y="196"/>
                    </a:lnTo>
                    <a:lnTo>
                      <a:pt x="333" y="191"/>
                    </a:lnTo>
                    <a:lnTo>
                      <a:pt x="328" y="193"/>
                    </a:lnTo>
                    <a:lnTo>
                      <a:pt x="323" y="196"/>
                    </a:lnTo>
                    <a:lnTo>
                      <a:pt x="328" y="198"/>
                    </a:lnTo>
                    <a:lnTo>
                      <a:pt x="333" y="198"/>
                    </a:lnTo>
                    <a:lnTo>
                      <a:pt x="333" y="205"/>
                    </a:lnTo>
                    <a:lnTo>
                      <a:pt x="330" y="205"/>
                    </a:lnTo>
                    <a:lnTo>
                      <a:pt x="326" y="205"/>
                    </a:lnTo>
                    <a:lnTo>
                      <a:pt x="326" y="212"/>
                    </a:lnTo>
                    <a:lnTo>
                      <a:pt x="333" y="212"/>
                    </a:lnTo>
                    <a:lnTo>
                      <a:pt x="337" y="222"/>
                    </a:lnTo>
                    <a:lnTo>
                      <a:pt x="344" y="231"/>
                    </a:lnTo>
                    <a:lnTo>
                      <a:pt x="354" y="231"/>
                    </a:lnTo>
                    <a:lnTo>
                      <a:pt x="357" y="238"/>
                    </a:lnTo>
                    <a:lnTo>
                      <a:pt x="361" y="238"/>
                    </a:lnTo>
                    <a:lnTo>
                      <a:pt x="366" y="238"/>
                    </a:lnTo>
                    <a:lnTo>
                      <a:pt x="366" y="243"/>
                    </a:lnTo>
                    <a:lnTo>
                      <a:pt x="366" y="248"/>
                    </a:lnTo>
                    <a:lnTo>
                      <a:pt x="371" y="252"/>
                    </a:lnTo>
                    <a:lnTo>
                      <a:pt x="376" y="258"/>
                    </a:lnTo>
                    <a:lnTo>
                      <a:pt x="371" y="269"/>
                    </a:lnTo>
                    <a:lnTo>
                      <a:pt x="368" y="279"/>
                    </a:lnTo>
                    <a:lnTo>
                      <a:pt x="356" y="276"/>
                    </a:lnTo>
                    <a:lnTo>
                      <a:pt x="342" y="270"/>
                    </a:lnTo>
                    <a:lnTo>
                      <a:pt x="328" y="264"/>
                    </a:lnTo>
                    <a:lnTo>
                      <a:pt x="321" y="258"/>
                    </a:lnTo>
                    <a:lnTo>
                      <a:pt x="313" y="258"/>
                    </a:lnTo>
                    <a:lnTo>
                      <a:pt x="321" y="265"/>
                    </a:lnTo>
                    <a:lnTo>
                      <a:pt x="333" y="276"/>
                    </a:lnTo>
                    <a:lnTo>
                      <a:pt x="344" y="284"/>
                    </a:lnTo>
                    <a:lnTo>
                      <a:pt x="350" y="294"/>
                    </a:lnTo>
                    <a:lnTo>
                      <a:pt x="347" y="298"/>
                    </a:lnTo>
                    <a:lnTo>
                      <a:pt x="345" y="301"/>
                    </a:lnTo>
                    <a:lnTo>
                      <a:pt x="342" y="298"/>
                    </a:lnTo>
                    <a:lnTo>
                      <a:pt x="340" y="294"/>
                    </a:lnTo>
                    <a:lnTo>
                      <a:pt x="328" y="289"/>
                    </a:lnTo>
                    <a:lnTo>
                      <a:pt x="319" y="288"/>
                    </a:lnTo>
                    <a:lnTo>
                      <a:pt x="311" y="286"/>
                    </a:lnTo>
                    <a:lnTo>
                      <a:pt x="304" y="282"/>
                    </a:lnTo>
                    <a:lnTo>
                      <a:pt x="290" y="277"/>
                    </a:lnTo>
                    <a:lnTo>
                      <a:pt x="278" y="274"/>
                    </a:lnTo>
                    <a:lnTo>
                      <a:pt x="268" y="267"/>
                    </a:lnTo>
                    <a:lnTo>
                      <a:pt x="270" y="260"/>
                    </a:lnTo>
                    <a:lnTo>
                      <a:pt x="258" y="253"/>
                    </a:lnTo>
                    <a:lnTo>
                      <a:pt x="247" y="246"/>
                    </a:lnTo>
                    <a:lnTo>
                      <a:pt x="239" y="239"/>
                    </a:lnTo>
                    <a:lnTo>
                      <a:pt x="230" y="234"/>
                    </a:lnTo>
                    <a:lnTo>
                      <a:pt x="225" y="239"/>
                    </a:lnTo>
                    <a:lnTo>
                      <a:pt x="220" y="243"/>
                    </a:lnTo>
                    <a:lnTo>
                      <a:pt x="215" y="241"/>
                    </a:lnTo>
                    <a:lnTo>
                      <a:pt x="211" y="239"/>
                    </a:lnTo>
                    <a:lnTo>
                      <a:pt x="203" y="243"/>
                    </a:lnTo>
                    <a:lnTo>
                      <a:pt x="196" y="246"/>
                    </a:lnTo>
                    <a:lnTo>
                      <a:pt x="189" y="245"/>
                    </a:lnTo>
                    <a:lnTo>
                      <a:pt x="182" y="241"/>
                    </a:lnTo>
                    <a:lnTo>
                      <a:pt x="175" y="236"/>
                    </a:lnTo>
                    <a:lnTo>
                      <a:pt x="173" y="233"/>
                    </a:lnTo>
                    <a:lnTo>
                      <a:pt x="175" y="227"/>
                    </a:lnTo>
                    <a:lnTo>
                      <a:pt x="180" y="222"/>
                    </a:lnTo>
                    <a:lnTo>
                      <a:pt x="187" y="219"/>
                    </a:lnTo>
                    <a:lnTo>
                      <a:pt x="194" y="219"/>
                    </a:lnTo>
                    <a:lnTo>
                      <a:pt x="206" y="219"/>
                    </a:lnTo>
                    <a:lnTo>
                      <a:pt x="216" y="219"/>
                    </a:lnTo>
                    <a:lnTo>
                      <a:pt x="227" y="215"/>
                    </a:lnTo>
                    <a:lnTo>
                      <a:pt x="239" y="212"/>
                    </a:lnTo>
                    <a:lnTo>
                      <a:pt x="233" y="207"/>
                    </a:lnTo>
                    <a:lnTo>
                      <a:pt x="230" y="202"/>
                    </a:lnTo>
                    <a:lnTo>
                      <a:pt x="233" y="195"/>
                    </a:lnTo>
                    <a:lnTo>
                      <a:pt x="242" y="193"/>
                    </a:lnTo>
                    <a:lnTo>
                      <a:pt x="251" y="181"/>
                    </a:lnTo>
                    <a:lnTo>
                      <a:pt x="258" y="171"/>
                    </a:lnTo>
                    <a:lnTo>
                      <a:pt x="251" y="159"/>
                    </a:lnTo>
                    <a:lnTo>
                      <a:pt x="239" y="147"/>
                    </a:lnTo>
                    <a:lnTo>
                      <a:pt x="225" y="136"/>
                    </a:lnTo>
                    <a:lnTo>
                      <a:pt x="215" y="133"/>
                    </a:lnTo>
                    <a:lnTo>
                      <a:pt x="206" y="135"/>
                    </a:lnTo>
                    <a:lnTo>
                      <a:pt x="197" y="138"/>
                    </a:lnTo>
                    <a:lnTo>
                      <a:pt x="194" y="135"/>
                    </a:lnTo>
                    <a:lnTo>
                      <a:pt x="194" y="133"/>
                    </a:lnTo>
                    <a:lnTo>
                      <a:pt x="197" y="126"/>
                    </a:lnTo>
                    <a:lnTo>
                      <a:pt x="206" y="126"/>
                    </a:lnTo>
                    <a:lnTo>
                      <a:pt x="197" y="117"/>
                    </a:lnTo>
                    <a:lnTo>
                      <a:pt x="187" y="109"/>
                    </a:lnTo>
                    <a:lnTo>
                      <a:pt x="175" y="100"/>
                    </a:lnTo>
                    <a:lnTo>
                      <a:pt x="168" y="98"/>
                    </a:lnTo>
                    <a:lnTo>
                      <a:pt x="163" y="100"/>
                    </a:lnTo>
                    <a:lnTo>
                      <a:pt x="158" y="107"/>
                    </a:lnTo>
                    <a:lnTo>
                      <a:pt x="151" y="114"/>
                    </a:lnTo>
                    <a:lnTo>
                      <a:pt x="146" y="117"/>
                    </a:lnTo>
                    <a:lnTo>
                      <a:pt x="141" y="112"/>
                    </a:lnTo>
                    <a:lnTo>
                      <a:pt x="141" y="105"/>
                    </a:lnTo>
                    <a:lnTo>
                      <a:pt x="132" y="104"/>
                    </a:lnTo>
                    <a:lnTo>
                      <a:pt x="123" y="104"/>
                    </a:lnTo>
                    <a:lnTo>
                      <a:pt x="113" y="104"/>
                    </a:lnTo>
                    <a:lnTo>
                      <a:pt x="104" y="104"/>
                    </a:lnTo>
                    <a:lnTo>
                      <a:pt x="92" y="104"/>
                    </a:lnTo>
                    <a:lnTo>
                      <a:pt x="82" y="104"/>
                    </a:lnTo>
                    <a:lnTo>
                      <a:pt x="72" y="104"/>
                    </a:lnTo>
                    <a:lnTo>
                      <a:pt x="63" y="105"/>
                    </a:lnTo>
                    <a:lnTo>
                      <a:pt x="55" y="100"/>
                    </a:lnTo>
                    <a:lnTo>
                      <a:pt x="48" y="95"/>
                    </a:lnTo>
                    <a:lnTo>
                      <a:pt x="24" y="95"/>
                    </a:lnTo>
                    <a:lnTo>
                      <a:pt x="17" y="86"/>
                    </a:lnTo>
                    <a:lnTo>
                      <a:pt x="13" y="80"/>
                    </a:lnTo>
                    <a:lnTo>
                      <a:pt x="24" y="80"/>
                    </a:lnTo>
                    <a:lnTo>
                      <a:pt x="36" y="81"/>
                    </a:lnTo>
                    <a:lnTo>
                      <a:pt x="36" y="74"/>
                    </a:lnTo>
                    <a:lnTo>
                      <a:pt x="27" y="71"/>
                    </a:lnTo>
                    <a:lnTo>
                      <a:pt x="18" y="71"/>
                    </a:lnTo>
                    <a:lnTo>
                      <a:pt x="10" y="69"/>
                    </a:lnTo>
                    <a:lnTo>
                      <a:pt x="8" y="69"/>
                    </a:lnTo>
                    <a:lnTo>
                      <a:pt x="3" y="64"/>
                    </a:lnTo>
                    <a:lnTo>
                      <a:pt x="0" y="55"/>
                    </a:lnTo>
                    <a:lnTo>
                      <a:pt x="0" y="45"/>
                    </a:lnTo>
                    <a:lnTo>
                      <a:pt x="1" y="40"/>
                    </a:lnTo>
                    <a:lnTo>
                      <a:pt x="5" y="35"/>
                    </a:lnTo>
                    <a:lnTo>
                      <a:pt x="10" y="33"/>
                    </a:lnTo>
                    <a:lnTo>
                      <a:pt x="12" y="25"/>
                    </a:lnTo>
                    <a:lnTo>
                      <a:pt x="13" y="19"/>
                    </a:lnTo>
                    <a:lnTo>
                      <a:pt x="20" y="11"/>
                    </a:lnTo>
                    <a:lnTo>
                      <a:pt x="31" y="6"/>
                    </a:lnTo>
                    <a:lnTo>
                      <a:pt x="41" y="0"/>
                    </a:lnTo>
                    <a:lnTo>
                      <a:pt x="55" y="0"/>
                    </a:lnTo>
                    <a:lnTo>
                      <a:pt x="56" y="0"/>
                    </a:lnTo>
                    <a:lnTo>
                      <a:pt x="61" y="2"/>
                    </a:lnTo>
                    <a:lnTo>
                      <a:pt x="67" y="4"/>
                    </a:lnTo>
                    <a:lnTo>
                      <a:pt x="72" y="6"/>
                    </a:lnTo>
                    <a:lnTo>
                      <a:pt x="65" y="11"/>
                    </a:lnTo>
                    <a:lnTo>
                      <a:pt x="58" y="16"/>
                    </a:lnTo>
                    <a:lnTo>
                      <a:pt x="51" y="21"/>
                    </a:lnTo>
                    <a:lnTo>
                      <a:pt x="49" y="31"/>
                    </a:lnTo>
                    <a:lnTo>
                      <a:pt x="49" y="35"/>
                    </a:lnTo>
                    <a:lnTo>
                      <a:pt x="53" y="37"/>
                    </a:lnTo>
                    <a:lnTo>
                      <a:pt x="53" y="42"/>
                    </a:lnTo>
                    <a:lnTo>
                      <a:pt x="53" y="47"/>
                    </a:lnTo>
                    <a:lnTo>
                      <a:pt x="53" y="50"/>
                    </a:lnTo>
                    <a:lnTo>
                      <a:pt x="58" y="54"/>
                    </a:lnTo>
                    <a:lnTo>
                      <a:pt x="63" y="50"/>
                    </a:lnTo>
                    <a:lnTo>
                      <a:pt x="68" y="45"/>
                    </a:lnTo>
                    <a:lnTo>
                      <a:pt x="65" y="38"/>
                    </a:lnTo>
                    <a:lnTo>
                      <a:pt x="63" y="31"/>
                    </a:lnTo>
                    <a:lnTo>
                      <a:pt x="68" y="18"/>
                    </a:lnTo>
                    <a:lnTo>
                      <a:pt x="82" y="11"/>
                    </a:lnTo>
                    <a:lnTo>
                      <a:pt x="91" y="7"/>
                    </a:lnTo>
                    <a:lnTo>
                      <a:pt x="99" y="6"/>
                    </a:lnTo>
                    <a:lnTo>
                      <a:pt x="108" y="6"/>
                    </a:lnTo>
                    <a:lnTo>
                      <a:pt x="118" y="6"/>
                    </a:lnTo>
                    <a:lnTo>
                      <a:pt x="127" y="7"/>
                    </a:lnTo>
                    <a:lnTo>
                      <a:pt x="134" y="14"/>
                    </a:lnTo>
                    <a:lnTo>
                      <a:pt x="137" y="25"/>
                    </a:lnTo>
                    <a:lnTo>
                      <a:pt x="139" y="35"/>
                    </a:lnTo>
                    <a:lnTo>
                      <a:pt x="137" y="40"/>
                    </a:lnTo>
                    <a:lnTo>
                      <a:pt x="139" y="45"/>
                    </a:lnTo>
                    <a:lnTo>
                      <a:pt x="142" y="42"/>
                    </a:lnTo>
                    <a:lnTo>
                      <a:pt x="149" y="40"/>
                    </a:lnTo>
                    <a:lnTo>
                      <a:pt x="154" y="42"/>
                    </a:lnTo>
                    <a:lnTo>
                      <a:pt x="160" y="45"/>
                    </a:lnTo>
                    <a:lnTo>
                      <a:pt x="165" y="42"/>
                    </a:lnTo>
                    <a:lnTo>
                      <a:pt x="170" y="38"/>
                    </a:lnTo>
                    <a:lnTo>
                      <a:pt x="173" y="33"/>
                    </a:lnTo>
                    <a:lnTo>
                      <a:pt x="180" y="31"/>
                    </a:lnTo>
                    <a:lnTo>
                      <a:pt x="189" y="31"/>
                    </a:lnTo>
                    <a:lnTo>
                      <a:pt x="199" y="33"/>
                    </a:lnTo>
                    <a:lnTo>
                      <a:pt x="209" y="35"/>
                    </a:lnTo>
                    <a:lnTo>
                      <a:pt x="218" y="40"/>
                    </a:lnTo>
                    <a:lnTo>
                      <a:pt x="225" y="45"/>
                    </a:lnTo>
                    <a:lnTo>
                      <a:pt x="232" y="54"/>
                    </a:lnTo>
                    <a:lnTo>
                      <a:pt x="237" y="61"/>
                    </a:lnTo>
                    <a:lnTo>
                      <a:pt x="249" y="64"/>
                    </a:lnTo>
                    <a:lnTo>
                      <a:pt x="258" y="64"/>
                    </a:lnTo>
                    <a:lnTo>
                      <a:pt x="263" y="64"/>
                    </a:lnTo>
                    <a:lnTo>
                      <a:pt x="266" y="64"/>
                    </a:lnTo>
                    <a:lnTo>
                      <a:pt x="273" y="66"/>
                    </a:lnTo>
                    <a:lnTo>
                      <a:pt x="276" y="68"/>
                    </a:lnTo>
                    <a:lnTo>
                      <a:pt x="280" y="74"/>
                    </a:lnTo>
                    <a:lnTo>
                      <a:pt x="289" y="78"/>
                    </a:lnTo>
                    <a:lnTo>
                      <a:pt x="297" y="83"/>
                    </a:lnTo>
                    <a:lnTo>
                      <a:pt x="304" y="86"/>
                    </a:lnTo>
                    <a:lnTo>
                      <a:pt x="314" y="90"/>
                    </a:lnTo>
                    <a:lnTo>
                      <a:pt x="314" y="98"/>
                    </a:lnTo>
                    <a:lnTo>
                      <a:pt x="319" y="98"/>
                    </a:lnTo>
                    <a:lnTo>
                      <a:pt x="323" y="98"/>
                    </a:lnTo>
                    <a:lnTo>
                      <a:pt x="332" y="100"/>
                    </a:lnTo>
                    <a:lnTo>
                      <a:pt x="338" y="111"/>
                    </a:lnTo>
                    <a:lnTo>
                      <a:pt x="328" y="111"/>
                    </a:lnTo>
                    <a:lnTo>
                      <a:pt x="319" y="117"/>
                    </a:lnTo>
                    <a:lnTo>
                      <a:pt x="328" y="117"/>
                    </a:lnTo>
                    <a:lnTo>
                      <a:pt x="335" y="117"/>
                    </a:lnTo>
                    <a:lnTo>
                      <a:pt x="338" y="117"/>
                    </a:lnTo>
                    <a:lnTo>
                      <a:pt x="344" y="123"/>
                    </a:lnTo>
                    <a:lnTo>
                      <a:pt x="333" y="126"/>
                    </a:lnTo>
                    <a:lnTo>
                      <a:pt x="326" y="135"/>
                    </a:lnTo>
                    <a:lnTo>
                      <a:pt x="332" y="136"/>
                    </a:lnTo>
                    <a:lnTo>
                      <a:pt x="340" y="138"/>
                    </a:lnTo>
                    <a:lnTo>
                      <a:pt x="342" y="145"/>
                    </a:lnTo>
                    <a:lnTo>
                      <a:pt x="349" y="150"/>
                    </a:lnTo>
                    <a:lnTo>
                      <a:pt x="357" y="153"/>
                    </a:lnTo>
                    <a:lnTo>
                      <a:pt x="366" y="157"/>
                    </a:lnTo>
                    <a:lnTo>
                      <a:pt x="368" y="167"/>
                    </a:lnTo>
                    <a:lnTo>
                      <a:pt x="376" y="174"/>
                    </a:lnTo>
                    <a:lnTo>
                      <a:pt x="388" y="171"/>
                    </a:lnTo>
                    <a:lnTo>
                      <a:pt x="395" y="176"/>
                    </a:lnTo>
                    <a:lnTo>
                      <a:pt x="399" y="178"/>
                    </a:lnTo>
                    <a:lnTo>
                      <a:pt x="404" y="179"/>
                    </a:lnTo>
                    <a:lnTo>
                      <a:pt x="414" y="181"/>
                    </a:lnTo>
                    <a:lnTo>
                      <a:pt x="418" y="191"/>
                    </a:lnTo>
                    <a:lnTo>
                      <a:pt x="412" y="196"/>
                    </a:lnTo>
                    <a:lnTo>
                      <a:pt x="402" y="198"/>
                    </a:lnTo>
                    <a:lnTo>
                      <a:pt x="402" y="203"/>
                    </a:lnTo>
                    <a:lnTo>
                      <a:pt x="402" y="205"/>
                    </a:lnTo>
                    <a:lnTo>
                      <a:pt x="399" y="209"/>
                    </a:lnTo>
                    <a:lnTo>
                      <a:pt x="392" y="2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88" name="Freeform 333"/>
              <p:cNvSpPr>
                <a:spLocks/>
              </p:cNvSpPr>
              <p:nvPr/>
            </p:nvSpPr>
            <p:spPr bwMode="auto">
              <a:xfrm>
                <a:off x="2516982" y="2320925"/>
                <a:ext cx="19050" cy="11112"/>
              </a:xfrm>
              <a:custGeom>
                <a:avLst/>
                <a:gdLst/>
                <a:ahLst/>
                <a:cxnLst>
                  <a:cxn ang="0">
                    <a:pos x="12" y="5"/>
                  </a:cxn>
                  <a:cxn ang="0">
                    <a:pos x="5" y="7"/>
                  </a:cxn>
                  <a:cxn ang="0">
                    <a:pos x="0" y="5"/>
                  </a:cxn>
                  <a:cxn ang="0">
                    <a:pos x="5" y="0"/>
                  </a:cxn>
                  <a:cxn ang="0">
                    <a:pos x="12" y="5"/>
                  </a:cxn>
                </a:cxnLst>
                <a:rect l="0" t="0" r="r" b="b"/>
                <a:pathLst>
                  <a:path w="12" h="7">
                    <a:moveTo>
                      <a:pt x="12" y="5"/>
                    </a:moveTo>
                    <a:lnTo>
                      <a:pt x="5" y="7"/>
                    </a:lnTo>
                    <a:lnTo>
                      <a:pt x="0" y="5"/>
                    </a:lnTo>
                    <a:lnTo>
                      <a:pt x="5" y="0"/>
                    </a:lnTo>
                    <a:lnTo>
                      <a:pt x="12"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89" name="Freeform 334"/>
              <p:cNvSpPr>
                <a:spLocks/>
              </p:cNvSpPr>
              <p:nvPr/>
            </p:nvSpPr>
            <p:spPr bwMode="auto">
              <a:xfrm>
                <a:off x="2382044" y="2230438"/>
                <a:ext cx="14288" cy="11112"/>
              </a:xfrm>
              <a:custGeom>
                <a:avLst/>
                <a:gdLst/>
                <a:ahLst/>
                <a:cxnLst>
                  <a:cxn ang="0">
                    <a:pos x="0" y="0"/>
                  </a:cxn>
                  <a:cxn ang="0">
                    <a:pos x="4" y="0"/>
                  </a:cxn>
                  <a:cxn ang="0">
                    <a:pos x="9" y="7"/>
                  </a:cxn>
                  <a:cxn ang="0">
                    <a:pos x="2" y="4"/>
                  </a:cxn>
                  <a:cxn ang="0">
                    <a:pos x="0" y="0"/>
                  </a:cxn>
                </a:cxnLst>
                <a:rect l="0" t="0" r="r" b="b"/>
                <a:pathLst>
                  <a:path w="9" h="7">
                    <a:moveTo>
                      <a:pt x="0" y="0"/>
                    </a:moveTo>
                    <a:lnTo>
                      <a:pt x="4" y="0"/>
                    </a:lnTo>
                    <a:lnTo>
                      <a:pt x="9" y="7"/>
                    </a:lnTo>
                    <a:lnTo>
                      <a:pt x="2" y="4"/>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90" name="Freeform 335"/>
              <p:cNvSpPr>
                <a:spLocks/>
              </p:cNvSpPr>
              <p:nvPr/>
            </p:nvSpPr>
            <p:spPr bwMode="auto">
              <a:xfrm>
                <a:off x="2204244" y="1428750"/>
                <a:ext cx="704850" cy="368300"/>
              </a:xfrm>
              <a:custGeom>
                <a:avLst/>
                <a:gdLst/>
                <a:ahLst/>
                <a:cxnLst>
                  <a:cxn ang="0">
                    <a:pos x="394" y="5"/>
                  </a:cxn>
                  <a:cxn ang="0">
                    <a:pos x="412" y="17"/>
                  </a:cxn>
                  <a:cxn ang="0">
                    <a:pos x="444" y="30"/>
                  </a:cxn>
                  <a:cxn ang="0">
                    <a:pos x="398" y="48"/>
                  </a:cxn>
                  <a:cxn ang="0">
                    <a:pos x="360" y="56"/>
                  </a:cxn>
                  <a:cxn ang="0">
                    <a:pos x="398" y="58"/>
                  </a:cxn>
                  <a:cxn ang="0">
                    <a:pos x="339" y="84"/>
                  </a:cxn>
                  <a:cxn ang="0">
                    <a:pos x="293" y="122"/>
                  </a:cxn>
                  <a:cxn ang="0">
                    <a:pos x="234" y="134"/>
                  </a:cxn>
                  <a:cxn ang="0">
                    <a:pos x="241" y="147"/>
                  </a:cxn>
                  <a:cxn ang="0">
                    <a:pos x="212" y="178"/>
                  </a:cxn>
                  <a:cxn ang="0">
                    <a:pos x="202" y="182"/>
                  </a:cxn>
                  <a:cxn ang="0">
                    <a:pos x="185" y="201"/>
                  </a:cxn>
                  <a:cxn ang="0">
                    <a:pos x="198" y="209"/>
                  </a:cxn>
                  <a:cxn ang="0">
                    <a:pos x="172" y="228"/>
                  </a:cxn>
                  <a:cxn ang="0">
                    <a:pos x="135" y="225"/>
                  </a:cxn>
                  <a:cxn ang="0">
                    <a:pos x="100" y="227"/>
                  </a:cxn>
                  <a:cxn ang="0">
                    <a:pos x="56" y="223"/>
                  </a:cxn>
                  <a:cxn ang="0">
                    <a:pos x="33" y="221"/>
                  </a:cxn>
                  <a:cxn ang="0">
                    <a:pos x="57" y="202"/>
                  </a:cxn>
                  <a:cxn ang="0">
                    <a:pos x="57" y="180"/>
                  </a:cxn>
                  <a:cxn ang="0">
                    <a:pos x="90" y="189"/>
                  </a:cxn>
                  <a:cxn ang="0">
                    <a:pos x="92" y="182"/>
                  </a:cxn>
                  <a:cxn ang="0">
                    <a:pos x="73" y="170"/>
                  </a:cxn>
                  <a:cxn ang="0">
                    <a:pos x="69" y="154"/>
                  </a:cxn>
                  <a:cxn ang="0">
                    <a:pos x="104" y="142"/>
                  </a:cxn>
                  <a:cxn ang="0">
                    <a:pos x="78" y="115"/>
                  </a:cxn>
                  <a:cxn ang="0">
                    <a:pos x="78" y="104"/>
                  </a:cxn>
                  <a:cxn ang="0">
                    <a:pos x="95" y="99"/>
                  </a:cxn>
                  <a:cxn ang="0">
                    <a:pos x="133" y="115"/>
                  </a:cxn>
                  <a:cxn ang="0">
                    <a:pos x="126" y="106"/>
                  </a:cxn>
                  <a:cxn ang="0">
                    <a:pos x="154" y="98"/>
                  </a:cxn>
                  <a:cxn ang="0">
                    <a:pos x="162" y="87"/>
                  </a:cxn>
                  <a:cxn ang="0">
                    <a:pos x="121" y="92"/>
                  </a:cxn>
                  <a:cxn ang="0">
                    <a:pos x="88" y="92"/>
                  </a:cxn>
                  <a:cxn ang="0">
                    <a:pos x="66" y="91"/>
                  </a:cxn>
                  <a:cxn ang="0">
                    <a:pos x="38" y="80"/>
                  </a:cxn>
                  <a:cxn ang="0">
                    <a:pos x="28" y="75"/>
                  </a:cxn>
                  <a:cxn ang="0">
                    <a:pos x="59" y="60"/>
                  </a:cxn>
                  <a:cxn ang="0">
                    <a:pos x="28" y="67"/>
                  </a:cxn>
                  <a:cxn ang="0">
                    <a:pos x="33" y="55"/>
                  </a:cxn>
                  <a:cxn ang="0">
                    <a:pos x="6" y="58"/>
                  </a:cxn>
                  <a:cxn ang="0">
                    <a:pos x="37" y="39"/>
                  </a:cxn>
                  <a:cxn ang="0">
                    <a:pos x="64" y="37"/>
                  </a:cxn>
                  <a:cxn ang="0">
                    <a:pos x="80" y="24"/>
                  </a:cxn>
                  <a:cxn ang="0">
                    <a:pos x="112" y="32"/>
                  </a:cxn>
                  <a:cxn ang="0">
                    <a:pos x="135" y="13"/>
                  </a:cxn>
                  <a:cxn ang="0">
                    <a:pos x="160" y="5"/>
                  </a:cxn>
                  <a:cxn ang="0">
                    <a:pos x="202" y="5"/>
                  </a:cxn>
                  <a:cxn ang="0">
                    <a:pos x="228" y="1"/>
                  </a:cxn>
                  <a:cxn ang="0">
                    <a:pos x="258" y="3"/>
                  </a:cxn>
                  <a:cxn ang="0">
                    <a:pos x="289" y="3"/>
                  </a:cxn>
                  <a:cxn ang="0">
                    <a:pos x="319" y="1"/>
                  </a:cxn>
                  <a:cxn ang="0">
                    <a:pos x="357" y="6"/>
                  </a:cxn>
                </a:cxnLst>
                <a:rect l="0" t="0" r="r" b="b"/>
                <a:pathLst>
                  <a:path w="444" h="232">
                    <a:moveTo>
                      <a:pt x="363" y="12"/>
                    </a:moveTo>
                    <a:lnTo>
                      <a:pt x="358" y="13"/>
                    </a:lnTo>
                    <a:lnTo>
                      <a:pt x="353" y="17"/>
                    </a:lnTo>
                    <a:lnTo>
                      <a:pt x="394" y="5"/>
                    </a:lnTo>
                    <a:lnTo>
                      <a:pt x="398" y="6"/>
                    </a:lnTo>
                    <a:lnTo>
                      <a:pt x="403" y="8"/>
                    </a:lnTo>
                    <a:lnTo>
                      <a:pt x="406" y="12"/>
                    </a:lnTo>
                    <a:lnTo>
                      <a:pt x="412" y="17"/>
                    </a:lnTo>
                    <a:lnTo>
                      <a:pt x="418" y="18"/>
                    </a:lnTo>
                    <a:lnTo>
                      <a:pt x="430" y="22"/>
                    </a:lnTo>
                    <a:lnTo>
                      <a:pt x="439" y="24"/>
                    </a:lnTo>
                    <a:lnTo>
                      <a:pt x="444" y="30"/>
                    </a:lnTo>
                    <a:lnTo>
                      <a:pt x="439" y="36"/>
                    </a:lnTo>
                    <a:lnTo>
                      <a:pt x="432" y="37"/>
                    </a:lnTo>
                    <a:lnTo>
                      <a:pt x="415" y="44"/>
                    </a:lnTo>
                    <a:lnTo>
                      <a:pt x="398" y="48"/>
                    </a:lnTo>
                    <a:lnTo>
                      <a:pt x="387" y="48"/>
                    </a:lnTo>
                    <a:lnTo>
                      <a:pt x="379" y="49"/>
                    </a:lnTo>
                    <a:lnTo>
                      <a:pt x="369" y="51"/>
                    </a:lnTo>
                    <a:lnTo>
                      <a:pt x="360" y="56"/>
                    </a:lnTo>
                    <a:lnTo>
                      <a:pt x="365" y="56"/>
                    </a:lnTo>
                    <a:lnTo>
                      <a:pt x="375" y="58"/>
                    </a:lnTo>
                    <a:lnTo>
                      <a:pt x="386" y="58"/>
                    </a:lnTo>
                    <a:lnTo>
                      <a:pt x="398" y="58"/>
                    </a:lnTo>
                    <a:lnTo>
                      <a:pt x="384" y="65"/>
                    </a:lnTo>
                    <a:lnTo>
                      <a:pt x="370" y="72"/>
                    </a:lnTo>
                    <a:lnTo>
                      <a:pt x="353" y="77"/>
                    </a:lnTo>
                    <a:lnTo>
                      <a:pt x="339" y="84"/>
                    </a:lnTo>
                    <a:lnTo>
                      <a:pt x="324" y="89"/>
                    </a:lnTo>
                    <a:lnTo>
                      <a:pt x="314" y="99"/>
                    </a:lnTo>
                    <a:lnTo>
                      <a:pt x="303" y="110"/>
                    </a:lnTo>
                    <a:lnTo>
                      <a:pt x="293" y="122"/>
                    </a:lnTo>
                    <a:lnTo>
                      <a:pt x="279" y="122"/>
                    </a:lnTo>
                    <a:lnTo>
                      <a:pt x="267" y="123"/>
                    </a:lnTo>
                    <a:lnTo>
                      <a:pt x="248" y="127"/>
                    </a:lnTo>
                    <a:lnTo>
                      <a:pt x="234" y="134"/>
                    </a:lnTo>
                    <a:lnTo>
                      <a:pt x="248" y="134"/>
                    </a:lnTo>
                    <a:lnTo>
                      <a:pt x="245" y="142"/>
                    </a:lnTo>
                    <a:lnTo>
                      <a:pt x="234" y="144"/>
                    </a:lnTo>
                    <a:lnTo>
                      <a:pt x="241" y="147"/>
                    </a:lnTo>
                    <a:lnTo>
                      <a:pt x="248" y="156"/>
                    </a:lnTo>
                    <a:lnTo>
                      <a:pt x="236" y="166"/>
                    </a:lnTo>
                    <a:lnTo>
                      <a:pt x="226" y="178"/>
                    </a:lnTo>
                    <a:lnTo>
                      <a:pt x="212" y="178"/>
                    </a:lnTo>
                    <a:lnTo>
                      <a:pt x="205" y="178"/>
                    </a:lnTo>
                    <a:lnTo>
                      <a:pt x="202" y="178"/>
                    </a:lnTo>
                    <a:lnTo>
                      <a:pt x="200" y="178"/>
                    </a:lnTo>
                    <a:lnTo>
                      <a:pt x="202" y="182"/>
                    </a:lnTo>
                    <a:lnTo>
                      <a:pt x="203" y="187"/>
                    </a:lnTo>
                    <a:lnTo>
                      <a:pt x="200" y="194"/>
                    </a:lnTo>
                    <a:lnTo>
                      <a:pt x="193" y="197"/>
                    </a:lnTo>
                    <a:lnTo>
                      <a:pt x="185" y="201"/>
                    </a:lnTo>
                    <a:lnTo>
                      <a:pt x="183" y="209"/>
                    </a:lnTo>
                    <a:lnTo>
                      <a:pt x="190" y="209"/>
                    </a:lnTo>
                    <a:lnTo>
                      <a:pt x="195" y="209"/>
                    </a:lnTo>
                    <a:lnTo>
                      <a:pt x="198" y="209"/>
                    </a:lnTo>
                    <a:lnTo>
                      <a:pt x="203" y="214"/>
                    </a:lnTo>
                    <a:lnTo>
                      <a:pt x="197" y="220"/>
                    </a:lnTo>
                    <a:lnTo>
                      <a:pt x="186" y="225"/>
                    </a:lnTo>
                    <a:lnTo>
                      <a:pt x="172" y="228"/>
                    </a:lnTo>
                    <a:lnTo>
                      <a:pt x="162" y="232"/>
                    </a:lnTo>
                    <a:lnTo>
                      <a:pt x="152" y="228"/>
                    </a:lnTo>
                    <a:lnTo>
                      <a:pt x="145" y="225"/>
                    </a:lnTo>
                    <a:lnTo>
                      <a:pt x="135" y="225"/>
                    </a:lnTo>
                    <a:lnTo>
                      <a:pt x="126" y="225"/>
                    </a:lnTo>
                    <a:lnTo>
                      <a:pt x="116" y="225"/>
                    </a:lnTo>
                    <a:lnTo>
                      <a:pt x="107" y="225"/>
                    </a:lnTo>
                    <a:lnTo>
                      <a:pt x="100" y="227"/>
                    </a:lnTo>
                    <a:lnTo>
                      <a:pt x="92" y="230"/>
                    </a:lnTo>
                    <a:lnTo>
                      <a:pt x="80" y="228"/>
                    </a:lnTo>
                    <a:lnTo>
                      <a:pt x="68" y="227"/>
                    </a:lnTo>
                    <a:lnTo>
                      <a:pt x="56" y="223"/>
                    </a:lnTo>
                    <a:lnTo>
                      <a:pt x="43" y="220"/>
                    </a:lnTo>
                    <a:lnTo>
                      <a:pt x="40" y="221"/>
                    </a:lnTo>
                    <a:lnTo>
                      <a:pt x="38" y="225"/>
                    </a:lnTo>
                    <a:lnTo>
                      <a:pt x="33" y="221"/>
                    </a:lnTo>
                    <a:lnTo>
                      <a:pt x="33" y="220"/>
                    </a:lnTo>
                    <a:lnTo>
                      <a:pt x="37" y="208"/>
                    </a:lnTo>
                    <a:lnTo>
                      <a:pt x="47" y="204"/>
                    </a:lnTo>
                    <a:lnTo>
                      <a:pt x="57" y="202"/>
                    </a:lnTo>
                    <a:lnTo>
                      <a:pt x="69" y="201"/>
                    </a:lnTo>
                    <a:lnTo>
                      <a:pt x="59" y="194"/>
                    </a:lnTo>
                    <a:lnTo>
                      <a:pt x="54" y="185"/>
                    </a:lnTo>
                    <a:lnTo>
                      <a:pt x="57" y="180"/>
                    </a:lnTo>
                    <a:lnTo>
                      <a:pt x="66" y="180"/>
                    </a:lnTo>
                    <a:lnTo>
                      <a:pt x="74" y="180"/>
                    </a:lnTo>
                    <a:lnTo>
                      <a:pt x="83" y="184"/>
                    </a:lnTo>
                    <a:lnTo>
                      <a:pt x="90" y="189"/>
                    </a:lnTo>
                    <a:lnTo>
                      <a:pt x="97" y="194"/>
                    </a:lnTo>
                    <a:lnTo>
                      <a:pt x="107" y="194"/>
                    </a:lnTo>
                    <a:lnTo>
                      <a:pt x="99" y="187"/>
                    </a:lnTo>
                    <a:lnTo>
                      <a:pt x="92" y="182"/>
                    </a:lnTo>
                    <a:lnTo>
                      <a:pt x="85" y="175"/>
                    </a:lnTo>
                    <a:lnTo>
                      <a:pt x="83" y="168"/>
                    </a:lnTo>
                    <a:lnTo>
                      <a:pt x="76" y="168"/>
                    </a:lnTo>
                    <a:lnTo>
                      <a:pt x="73" y="170"/>
                    </a:lnTo>
                    <a:lnTo>
                      <a:pt x="71" y="171"/>
                    </a:lnTo>
                    <a:lnTo>
                      <a:pt x="64" y="171"/>
                    </a:lnTo>
                    <a:lnTo>
                      <a:pt x="64" y="166"/>
                    </a:lnTo>
                    <a:lnTo>
                      <a:pt x="69" y="154"/>
                    </a:lnTo>
                    <a:lnTo>
                      <a:pt x="78" y="149"/>
                    </a:lnTo>
                    <a:lnTo>
                      <a:pt x="86" y="147"/>
                    </a:lnTo>
                    <a:lnTo>
                      <a:pt x="97" y="146"/>
                    </a:lnTo>
                    <a:lnTo>
                      <a:pt x="104" y="142"/>
                    </a:lnTo>
                    <a:lnTo>
                      <a:pt x="107" y="135"/>
                    </a:lnTo>
                    <a:lnTo>
                      <a:pt x="100" y="125"/>
                    </a:lnTo>
                    <a:lnTo>
                      <a:pt x="90" y="120"/>
                    </a:lnTo>
                    <a:lnTo>
                      <a:pt x="78" y="115"/>
                    </a:lnTo>
                    <a:lnTo>
                      <a:pt x="73" y="110"/>
                    </a:lnTo>
                    <a:lnTo>
                      <a:pt x="76" y="106"/>
                    </a:lnTo>
                    <a:lnTo>
                      <a:pt x="85" y="106"/>
                    </a:lnTo>
                    <a:lnTo>
                      <a:pt x="78" y="104"/>
                    </a:lnTo>
                    <a:lnTo>
                      <a:pt x="78" y="101"/>
                    </a:lnTo>
                    <a:lnTo>
                      <a:pt x="80" y="99"/>
                    </a:lnTo>
                    <a:lnTo>
                      <a:pt x="85" y="101"/>
                    </a:lnTo>
                    <a:lnTo>
                      <a:pt x="95" y="99"/>
                    </a:lnTo>
                    <a:lnTo>
                      <a:pt x="112" y="101"/>
                    </a:lnTo>
                    <a:lnTo>
                      <a:pt x="119" y="104"/>
                    </a:lnTo>
                    <a:lnTo>
                      <a:pt x="126" y="111"/>
                    </a:lnTo>
                    <a:lnTo>
                      <a:pt x="133" y="115"/>
                    </a:lnTo>
                    <a:lnTo>
                      <a:pt x="143" y="118"/>
                    </a:lnTo>
                    <a:lnTo>
                      <a:pt x="138" y="113"/>
                    </a:lnTo>
                    <a:lnTo>
                      <a:pt x="131" y="110"/>
                    </a:lnTo>
                    <a:lnTo>
                      <a:pt x="126" y="106"/>
                    </a:lnTo>
                    <a:lnTo>
                      <a:pt x="124" y="103"/>
                    </a:lnTo>
                    <a:lnTo>
                      <a:pt x="124" y="99"/>
                    </a:lnTo>
                    <a:lnTo>
                      <a:pt x="128" y="98"/>
                    </a:lnTo>
                    <a:lnTo>
                      <a:pt x="154" y="98"/>
                    </a:lnTo>
                    <a:lnTo>
                      <a:pt x="166" y="91"/>
                    </a:lnTo>
                    <a:lnTo>
                      <a:pt x="178" y="84"/>
                    </a:lnTo>
                    <a:lnTo>
                      <a:pt x="171" y="84"/>
                    </a:lnTo>
                    <a:lnTo>
                      <a:pt x="162" y="87"/>
                    </a:lnTo>
                    <a:lnTo>
                      <a:pt x="154" y="92"/>
                    </a:lnTo>
                    <a:lnTo>
                      <a:pt x="142" y="94"/>
                    </a:lnTo>
                    <a:lnTo>
                      <a:pt x="131" y="96"/>
                    </a:lnTo>
                    <a:lnTo>
                      <a:pt x="121" y="92"/>
                    </a:lnTo>
                    <a:lnTo>
                      <a:pt x="114" y="91"/>
                    </a:lnTo>
                    <a:lnTo>
                      <a:pt x="109" y="92"/>
                    </a:lnTo>
                    <a:lnTo>
                      <a:pt x="104" y="96"/>
                    </a:lnTo>
                    <a:lnTo>
                      <a:pt x="88" y="92"/>
                    </a:lnTo>
                    <a:lnTo>
                      <a:pt x="83" y="86"/>
                    </a:lnTo>
                    <a:lnTo>
                      <a:pt x="78" y="86"/>
                    </a:lnTo>
                    <a:lnTo>
                      <a:pt x="71" y="89"/>
                    </a:lnTo>
                    <a:lnTo>
                      <a:pt x="66" y="91"/>
                    </a:lnTo>
                    <a:lnTo>
                      <a:pt x="57" y="89"/>
                    </a:lnTo>
                    <a:lnTo>
                      <a:pt x="49" y="87"/>
                    </a:lnTo>
                    <a:lnTo>
                      <a:pt x="42" y="84"/>
                    </a:lnTo>
                    <a:lnTo>
                      <a:pt x="38" y="80"/>
                    </a:lnTo>
                    <a:lnTo>
                      <a:pt x="43" y="77"/>
                    </a:lnTo>
                    <a:lnTo>
                      <a:pt x="52" y="75"/>
                    </a:lnTo>
                    <a:lnTo>
                      <a:pt x="37" y="75"/>
                    </a:lnTo>
                    <a:lnTo>
                      <a:pt x="28" y="75"/>
                    </a:lnTo>
                    <a:lnTo>
                      <a:pt x="31" y="67"/>
                    </a:lnTo>
                    <a:lnTo>
                      <a:pt x="40" y="63"/>
                    </a:lnTo>
                    <a:lnTo>
                      <a:pt x="49" y="61"/>
                    </a:lnTo>
                    <a:lnTo>
                      <a:pt x="59" y="60"/>
                    </a:lnTo>
                    <a:lnTo>
                      <a:pt x="54" y="58"/>
                    </a:lnTo>
                    <a:lnTo>
                      <a:pt x="49" y="58"/>
                    </a:lnTo>
                    <a:lnTo>
                      <a:pt x="38" y="61"/>
                    </a:lnTo>
                    <a:lnTo>
                      <a:pt x="28" y="67"/>
                    </a:lnTo>
                    <a:lnTo>
                      <a:pt x="23" y="65"/>
                    </a:lnTo>
                    <a:lnTo>
                      <a:pt x="19" y="63"/>
                    </a:lnTo>
                    <a:lnTo>
                      <a:pt x="26" y="56"/>
                    </a:lnTo>
                    <a:lnTo>
                      <a:pt x="33" y="55"/>
                    </a:lnTo>
                    <a:lnTo>
                      <a:pt x="19" y="55"/>
                    </a:lnTo>
                    <a:lnTo>
                      <a:pt x="14" y="56"/>
                    </a:lnTo>
                    <a:lnTo>
                      <a:pt x="11" y="58"/>
                    </a:lnTo>
                    <a:lnTo>
                      <a:pt x="6" y="58"/>
                    </a:lnTo>
                    <a:lnTo>
                      <a:pt x="0" y="58"/>
                    </a:lnTo>
                    <a:lnTo>
                      <a:pt x="6" y="48"/>
                    </a:lnTo>
                    <a:lnTo>
                      <a:pt x="19" y="43"/>
                    </a:lnTo>
                    <a:lnTo>
                      <a:pt x="37" y="39"/>
                    </a:lnTo>
                    <a:lnTo>
                      <a:pt x="50" y="39"/>
                    </a:lnTo>
                    <a:lnTo>
                      <a:pt x="57" y="39"/>
                    </a:lnTo>
                    <a:lnTo>
                      <a:pt x="62" y="39"/>
                    </a:lnTo>
                    <a:lnTo>
                      <a:pt x="64" y="37"/>
                    </a:lnTo>
                    <a:lnTo>
                      <a:pt x="66" y="36"/>
                    </a:lnTo>
                    <a:lnTo>
                      <a:pt x="73" y="32"/>
                    </a:lnTo>
                    <a:lnTo>
                      <a:pt x="78" y="29"/>
                    </a:lnTo>
                    <a:lnTo>
                      <a:pt x="80" y="24"/>
                    </a:lnTo>
                    <a:lnTo>
                      <a:pt x="86" y="24"/>
                    </a:lnTo>
                    <a:lnTo>
                      <a:pt x="93" y="24"/>
                    </a:lnTo>
                    <a:lnTo>
                      <a:pt x="104" y="29"/>
                    </a:lnTo>
                    <a:lnTo>
                      <a:pt x="112" y="32"/>
                    </a:lnTo>
                    <a:lnTo>
                      <a:pt x="121" y="36"/>
                    </a:lnTo>
                    <a:lnTo>
                      <a:pt x="123" y="25"/>
                    </a:lnTo>
                    <a:lnTo>
                      <a:pt x="128" y="18"/>
                    </a:lnTo>
                    <a:lnTo>
                      <a:pt x="135" y="13"/>
                    </a:lnTo>
                    <a:lnTo>
                      <a:pt x="145" y="13"/>
                    </a:lnTo>
                    <a:lnTo>
                      <a:pt x="150" y="13"/>
                    </a:lnTo>
                    <a:lnTo>
                      <a:pt x="155" y="12"/>
                    </a:lnTo>
                    <a:lnTo>
                      <a:pt x="160" y="5"/>
                    </a:lnTo>
                    <a:lnTo>
                      <a:pt x="167" y="5"/>
                    </a:lnTo>
                    <a:lnTo>
                      <a:pt x="183" y="5"/>
                    </a:lnTo>
                    <a:lnTo>
                      <a:pt x="197" y="5"/>
                    </a:lnTo>
                    <a:lnTo>
                      <a:pt x="202" y="5"/>
                    </a:lnTo>
                    <a:lnTo>
                      <a:pt x="209" y="5"/>
                    </a:lnTo>
                    <a:lnTo>
                      <a:pt x="215" y="5"/>
                    </a:lnTo>
                    <a:lnTo>
                      <a:pt x="226" y="5"/>
                    </a:lnTo>
                    <a:lnTo>
                      <a:pt x="228" y="1"/>
                    </a:lnTo>
                    <a:lnTo>
                      <a:pt x="233" y="1"/>
                    </a:lnTo>
                    <a:lnTo>
                      <a:pt x="241" y="5"/>
                    </a:lnTo>
                    <a:lnTo>
                      <a:pt x="252" y="8"/>
                    </a:lnTo>
                    <a:lnTo>
                      <a:pt x="258" y="3"/>
                    </a:lnTo>
                    <a:lnTo>
                      <a:pt x="267" y="0"/>
                    </a:lnTo>
                    <a:lnTo>
                      <a:pt x="274" y="1"/>
                    </a:lnTo>
                    <a:lnTo>
                      <a:pt x="283" y="3"/>
                    </a:lnTo>
                    <a:lnTo>
                      <a:pt x="289" y="3"/>
                    </a:lnTo>
                    <a:lnTo>
                      <a:pt x="296" y="3"/>
                    </a:lnTo>
                    <a:lnTo>
                      <a:pt x="300" y="1"/>
                    </a:lnTo>
                    <a:lnTo>
                      <a:pt x="308" y="1"/>
                    </a:lnTo>
                    <a:lnTo>
                      <a:pt x="319" y="1"/>
                    </a:lnTo>
                    <a:lnTo>
                      <a:pt x="329" y="3"/>
                    </a:lnTo>
                    <a:lnTo>
                      <a:pt x="339" y="3"/>
                    </a:lnTo>
                    <a:lnTo>
                      <a:pt x="350" y="5"/>
                    </a:lnTo>
                    <a:lnTo>
                      <a:pt x="357" y="6"/>
                    </a:lnTo>
                    <a:lnTo>
                      <a:pt x="363"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91" name="Freeform 336"/>
              <p:cNvSpPr>
                <a:spLocks/>
              </p:cNvSpPr>
              <p:nvPr/>
            </p:nvSpPr>
            <p:spPr bwMode="auto">
              <a:xfrm>
                <a:off x="2647157" y="1392238"/>
                <a:ext cx="1381125" cy="1047750"/>
              </a:xfrm>
              <a:custGeom>
                <a:avLst/>
                <a:gdLst/>
                <a:ahLst/>
                <a:cxnLst>
                  <a:cxn ang="0">
                    <a:pos x="322" y="427"/>
                  </a:cxn>
                  <a:cxn ang="0">
                    <a:pos x="291" y="409"/>
                  </a:cxn>
                  <a:cxn ang="0">
                    <a:pos x="275" y="377"/>
                  </a:cxn>
                  <a:cxn ang="0">
                    <a:pos x="255" y="348"/>
                  </a:cxn>
                  <a:cxn ang="0">
                    <a:pos x="193" y="265"/>
                  </a:cxn>
                  <a:cxn ang="0">
                    <a:pos x="108" y="258"/>
                  </a:cxn>
                  <a:cxn ang="0">
                    <a:pos x="86" y="262"/>
                  </a:cxn>
                  <a:cxn ang="0">
                    <a:pos x="59" y="241"/>
                  </a:cxn>
                  <a:cxn ang="0">
                    <a:pos x="43" y="222"/>
                  </a:cxn>
                  <a:cxn ang="0">
                    <a:pos x="74" y="207"/>
                  </a:cxn>
                  <a:cxn ang="0">
                    <a:pos x="7" y="194"/>
                  </a:cxn>
                  <a:cxn ang="0">
                    <a:pos x="53" y="165"/>
                  </a:cxn>
                  <a:cxn ang="0">
                    <a:pos x="100" y="133"/>
                  </a:cxn>
                  <a:cxn ang="0">
                    <a:pos x="110" y="103"/>
                  </a:cxn>
                  <a:cxn ang="0">
                    <a:pos x="157" y="71"/>
                  </a:cxn>
                  <a:cxn ang="0">
                    <a:pos x="232" y="52"/>
                  </a:cxn>
                  <a:cxn ang="0">
                    <a:pos x="270" y="59"/>
                  </a:cxn>
                  <a:cxn ang="0">
                    <a:pos x="305" y="55"/>
                  </a:cxn>
                  <a:cxn ang="0">
                    <a:pos x="361" y="60"/>
                  </a:cxn>
                  <a:cxn ang="0">
                    <a:pos x="363" y="35"/>
                  </a:cxn>
                  <a:cxn ang="0">
                    <a:pos x="396" y="17"/>
                  </a:cxn>
                  <a:cxn ang="0">
                    <a:pos x="470" y="14"/>
                  </a:cxn>
                  <a:cxn ang="0">
                    <a:pos x="549" y="0"/>
                  </a:cxn>
                  <a:cxn ang="0">
                    <a:pos x="614" y="0"/>
                  </a:cxn>
                  <a:cxn ang="0">
                    <a:pos x="700" y="29"/>
                  </a:cxn>
                  <a:cxn ang="0">
                    <a:pos x="683" y="55"/>
                  </a:cxn>
                  <a:cxn ang="0">
                    <a:pos x="655" y="59"/>
                  </a:cxn>
                  <a:cxn ang="0">
                    <a:pos x="666" y="81"/>
                  </a:cxn>
                  <a:cxn ang="0">
                    <a:pos x="710" y="95"/>
                  </a:cxn>
                  <a:cxn ang="0">
                    <a:pos x="750" y="74"/>
                  </a:cxn>
                  <a:cxn ang="0">
                    <a:pos x="805" y="66"/>
                  </a:cxn>
                  <a:cxn ang="0">
                    <a:pos x="870" y="76"/>
                  </a:cxn>
                  <a:cxn ang="0">
                    <a:pos x="812" y="109"/>
                  </a:cxn>
                  <a:cxn ang="0">
                    <a:pos x="795" y="131"/>
                  </a:cxn>
                  <a:cxn ang="0">
                    <a:pos x="747" y="182"/>
                  </a:cxn>
                  <a:cxn ang="0">
                    <a:pos x="769" y="207"/>
                  </a:cxn>
                  <a:cxn ang="0">
                    <a:pos x="764" y="232"/>
                  </a:cxn>
                  <a:cxn ang="0">
                    <a:pos x="769" y="270"/>
                  </a:cxn>
                  <a:cxn ang="0">
                    <a:pos x="767" y="296"/>
                  </a:cxn>
                  <a:cxn ang="0">
                    <a:pos x="741" y="330"/>
                  </a:cxn>
                  <a:cxn ang="0">
                    <a:pos x="721" y="337"/>
                  </a:cxn>
                  <a:cxn ang="0">
                    <a:pos x="700" y="348"/>
                  </a:cxn>
                  <a:cxn ang="0">
                    <a:pos x="735" y="385"/>
                  </a:cxn>
                  <a:cxn ang="0">
                    <a:pos x="698" y="389"/>
                  </a:cxn>
                  <a:cxn ang="0">
                    <a:pos x="674" y="404"/>
                  </a:cxn>
                  <a:cxn ang="0">
                    <a:pos x="724" y="420"/>
                  </a:cxn>
                  <a:cxn ang="0">
                    <a:pos x="673" y="456"/>
                  </a:cxn>
                  <a:cxn ang="0">
                    <a:pos x="587" y="476"/>
                  </a:cxn>
                  <a:cxn ang="0">
                    <a:pos x="518" y="526"/>
                  </a:cxn>
                  <a:cxn ang="0">
                    <a:pos x="464" y="542"/>
                  </a:cxn>
                  <a:cxn ang="0">
                    <a:pos x="464" y="575"/>
                  </a:cxn>
                  <a:cxn ang="0">
                    <a:pos x="434" y="635"/>
                  </a:cxn>
                  <a:cxn ang="0">
                    <a:pos x="406" y="659"/>
                  </a:cxn>
                  <a:cxn ang="0">
                    <a:pos x="353" y="633"/>
                  </a:cxn>
                  <a:cxn ang="0">
                    <a:pos x="310" y="573"/>
                  </a:cxn>
                  <a:cxn ang="0">
                    <a:pos x="289" y="537"/>
                  </a:cxn>
                  <a:cxn ang="0">
                    <a:pos x="272" y="504"/>
                  </a:cxn>
                </a:cxnLst>
                <a:rect l="0" t="0" r="r" b="b"/>
                <a:pathLst>
                  <a:path w="870" h="660">
                    <a:moveTo>
                      <a:pt x="292" y="463"/>
                    </a:moveTo>
                    <a:lnTo>
                      <a:pt x="299" y="459"/>
                    </a:lnTo>
                    <a:lnTo>
                      <a:pt x="306" y="463"/>
                    </a:lnTo>
                    <a:lnTo>
                      <a:pt x="308" y="451"/>
                    </a:lnTo>
                    <a:lnTo>
                      <a:pt x="313" y="444"/>
                    </a:lnTo>
                    <a:lnTo>
                      <a:pt x="317" y="435"/>
                    </a:lnTo>
                    <a:lnTo>
                      <a:pt x="322" y="427"/>
                    </a:lnTo>
                    <a:lnTo>
                      <a:pt x="306" y="421"/>
                    </a:lnTo>
                    <a:lnTo>
                      <a:pt x="289" y="418"/>
                    </a:lnTo>
                    <a:lnTo>
                      <a:pt x="274" y="413"/>
                    </a:lnTo>
                    <a:lnTo>
                      <a:pt x="267" y="406"/>
                    </a:lnTo>
                    <a:lnTo>
                      <a:pt x="272" y="404"/>
                    </a:lnTo>
                    <a:lnTo>
                      <a:pt x="277" y="406"/>
                    </a:lnTo>
                    <a:lnTo>
                      <a:pt x="291" y="409"/>
                    </a:lnTo>
                    <a:lnTo>
                      <a:pt x="306" y="413"/>
                    </a:lnTo>
                    <a:lnTo>
                      <a:pt x="310" y="409"/>
                    </a:lnTo>
                    <a:lnTo>
                      <a:pt x="311" y="406"/>
                    </a:lnTo>
                    <a:lnTo>
                      <a:pt x="299" y="397"/>
                    </a:lnTo>
                    <a:lnTo>
                      <a:pt x="292" y="389"/>
                    </a:lnTo>
                    <a:lnTo>
                      <a:pt x="286" y="380"/>
                    </a:lnTo>
                    <a:lnTo>
                      <a:pt x="275" y="377"/>
                    </a:lnTo>
                    <a:lnTo>
                      <a:pt x="268" y="380"/>
                    </a:lnTo>
                    <a:lnTo>
                      <a:pt x="262" y="385"/>
                    </a:lnTo>
                    <a:lnTo>
                      <a:pt x="251" y="384"/>
                    </a:lnTo>
                    <a:lnTo>
                      <a:pt x="248" y="377"/>
                    </a:lnTo>
                    <a:lnTo>
                      <a:pt x="253" y="365"/>
                    </a:lnTo>
                    <a:lnTo>
                      <a:pt x="260" y="354"/>
                    </a:lnTo>
                    <a:lnTo>
                      <a:pt x="255" y="348"/>
                    </a:lnTo>
                    <a:lnTo>
                      <a:pt x="248" y="346"/>
                    </a:lnTo>
                    <a:lnTo>
                      <a:pt x="248" y="339"/>
                    </a:lnTo>
                    <a:lnTo>
                      <a:pt x="239" y="322"/>
                    </a:lnTo>
                    <a:lnTo>
                      <a:pt x="231" y="305"/>
                    </a:lnTo>
                    <a:lnTo>
                      <a:pt x="220" y="289"/>
                    </a:lnTo>
                    <a:lnTo>
                      <a:pt x="210" y="277"/>
                    </a:lnTo>
                    <a:lnTo>
                      <a:pt x="193" y="265"/>
                    </a:lnTo>
                    <a:lnTo>
                      <a:pt x="177" y="258"/>
                    </a:lnTo>
                    <a:lnTo>
                      <a:pt x="160" y="251"/>
                    </a:lnTo>
                    <a:lnTo>
                      <a:pt x="141" y="251"/>
                    </a:lnTo>
                    <a:lnTo>
                      <a:pt x="131" y="251"/>
                    </a:lnTo>
                    <a:lnTo>
                      <a:pt x="126" y="251"/>
                    </a:lnTo>
                    <a:lnTo>
                      <a:pt x="117" y="255"/>
                    </a:lnTo>
                    <a:lnTo>
                      <a:pt x="108" y="258"/>
                    </a:lnTo>
                    <a:lnTo>
                      <a:pt x="102" y="255"/>
                    </a:lnTo>
                    <a:lnTo>
                      <a:pt x="95" y="253"/>
                    </a:lnTo>
                    <a:lnTo>
                      <a:pt x="86" y="253"/>
                    </a:lnTo>
                    <a:lnTo>
                      <a:pt x="84" y="256"/>
                    </a:lnTo>
                    <a:lnTo>
                      <a:pt x="86" y="258"/>
                    </a:lnTo>
                    <a:lnTo>
                      <a:pt x="90" y="260"/>
                    </a:lnTo>
                    <a:lnTo>
                      <a:pt x="86" y="262"/>
                    </a:lnTo>
                    <a:lnTo>
                      <a:pt x="83" y="262"/>
                    </a:lnTo>
                    <a:lnTo>
                      <a:pt x="72" y="260"/>
                    </a:lnTo>
                    <a:lnTo>
                      <a:pt x="64" y="258"/>
                    </a:lnTo>
                    <a:lnTo>
                      <a:pt x="53" y="253"/>
                    </a:lnTo>
                    <a:lnTo>
                      <a:pt x="50" y="250"/>
                    </a:lnTo>
                    <a:lnTo>
                      <a:pt x="53" y="244"/>
                    </a:lnTo>
                    <a:lnTo>
                      <a:pt x="59" y="241"/>
                    </a:lnTo>
                    <a:lnTo>
                      <a:pt x="48" y="234"/>
                    </a:lnTo>
                    <a:lnTo>
                      <a:pt x="40" y="232"/>
                    </a:lnTo>
                    <a:lnTo>
                      <a:pt x="29" y="232"/>
                    </a:lnTo>
                    <a:lnTo>
                      <a:pt x="21" y="232"/>
                    </a:lnTo>
                    <a:lnTo>
                      <a:pt x="28" y="224"/>
                    </a:lnTo>
                    <a:lnTo>
                      <a:pt x="36" y="222"/>
                    </a:lnTo>
                    <a:lnTo>
                      <a:pt x="43" y="222"/>
                    </a:lnTo>
                    <a:lnTo>
                      <a:pt x="50" y="222"/>
                    </a:lnTo>
                    <a:lnTo>
                      <a:pt x="53" y="220"/>
                    </a:lnTo>
                    <a:lnTo>
                      <a:pt x="59" y="219"/>
                    </a:lnTo>
                    <a:lnTo>
                      <a:pt x="88" y="219"/>
                    </a:lnTo>
                    <a:lnTo>
                      <a:pt x="91" y="212"/>
                    </a:lnTo>
                    <a:lnTo>
                      <a:pt x="95" y="207"/>
                    </a:lnTo>
                    <a:lnTo>
                      <a:pt x="74" y="207"/>
                    </a:lnTo>
                    <a:lnTo>
                      <a:pt x="71" y="210"/>
                    </a:lnTo>
                    <a:lnTo>
                      <a:pt x="69" y="212"/>
                    </a:lnTo>
                    <a:lnTo>
                      <a:pt x="59" y="212"/>
                    </a:lnTo>
                    <a:lnTo>
                      <a:pt x="50" y="212"/>
                    </a:lnTo>
                    <a:lnTo>
                      <a:pt x="40" y="208"/>
                    </a:lnTo>
                    <a:lnTo>
                      <a:pt x="24" y="203"/>
                    </a:lnTo>
                    <a:lnTo>
                      <a:pt x="7" y="194"/>
                    </a:lnTo>
                    <a:lnTo>
                      <a:pt x="0" y="189"/>
                    </a:lnTo>
                    <a:lnTo>
                      <a:pt x="2" y="181"/>
                    </a:lnTo>
                    <a:lnTo>
                      <a:pt x="9" y="177"/>
                    </a:lnTo>
                    <a:lnTo>
                      <a:pt x="19" y="177"/>
                    </a:lnTo>
                    <a:lnTo>
                      <a:pt x="29" y="177"/>
                    </a:lnTo>
                    <a:lnTo>
                      <a:pt x="40" y="170"/>
                    </a:lnTo>
                    <a:lnTo>
                      <a:pt x="53" y="165"/>
                    </a:lnTo>
                    <a:lnTo>
                      <a:pt x="64" y="162"/>
                    </a:lnTo>
                    <a:lnTo>
                      <a:pt x="74" y="164"/>
                    </a:lnTo>
                    <a:lnTo>
                      <a:pt x="84" y="162"/>
                    </a:lnTo>
                    <a:lnTo>
                      <a:pt x="96" y="162"/>
                    </a:lnTo>
                    <a:lnTo>
                      <a:pt x="105" y="150"/>
                    </a:lnTo>
                    <a:lnTo>
                      <a:pt x="110" y="134"/>
                    </a:lnTo>
                    <a:lnTo>
                      <a:pt x="100" y="133"/>
                    </a:lnTo>
                    <a:lnTo>
                      <a:pt x="88" y="131"/>
                    </a:lnTo>
                    <a:lnTo>
                      <a:pt x="76" y="129"/>
                    </a:lnTo>
                    <a:lnTo>
                      <a:pt x="72" y="124"/>
                    </a:lnTo>
                    <a:lnTo>
                      <a:pt x="76" y="117"/>
                    </a:lnTo>
                    <a:lnTo>
                      <a:pt x="83" y="117"/>
                    </a:lnTo>
                    <a:lnTo>
                      <a:pt x="95" y="110"/>
                    </a:lnTo>
                    <a:lnTo>
                      <a:pt x="110" y="103"/>
                    </a:lnTo>
                    <a:lnTo>
                      <a:pt x="122" y="95"/>
                    </a:lnTo>
                    <a:lnTo>
                      <a:pt x="133" y="88"/>
                    </a:lnTo>
                    <a:lnTo>
                      <a:pt x="138" y="91"/>
                    </a:lnTo>
                    <a:lnTo>
                      <a:pt x="146" y="93"/>
                    </a:lnTo>
                    <a:lnTo>
                      <a:pt x="153" y="88"/>
                    </a:lnTo>
                    <a:lnTo>
                      <a:pt x="155" y="79"/>
                    </a:lnTo>
                    <a:lnTo>
                      <a:pt x="157" y="71"/>
                    </a:lnTo>
                    <a:lnTo>
                      <a:pt x="165" y="67"/>
                    </a:lnTo>
                    <a:lnTo>
                      <a:pt x="177" y="64"/>
                    </a:lnTo>
                    <a:lnTo>
                      <a:pt x="189" y="62"/>
                    </a:lnTo>
                    <a:lnTo>
                      <a:pt x="200" y="60"/>
                    </a:lnTo>
                    <a:lnTo>
                      <a:pt x="213" y="60"/>
                    </a:lnTo>
                    <a:lnTo>
                      <a:pt x="222" y="55"/>
                    </a:lnTo>
                    <a:lnTo>
                      <a:pt x="232" y="52"/>
                    </a:lnTo>
                    <a:lnTo>
                      <a:pt x="241" y="48"/>
                    </a:lnTo>
                    <a:lnTo>
                      <a:pt x="251" y="48"/>
                    </a:lnTo>
                    <a:lnTo>
                      <a:pt x="256" y="50"/>
                    </a:lnTo>
                    <a:lnTo>
                      <a:pt x="262" y="55"/>
                    </a:lnTo>
                    <a:lnTo>
                      <a:pt x="265" y="60"/>
                    </a:lnTo>
                    <a:lnTo>
                      <a:pt x="272" y="64"/>
                    </a:lnTo>
                    <a:lnTo>
                      <a:pt x="270" y="59"/>
                    </a:lnTo>
                    <a:lnTo>
                      <a:pt x="270" y="53"/>
                    </a:lnTo>
                    <a:lnTo>
                      <a:pt x="275" y="48"/>
                    </a:lnTo>
                    <a:lnTo>
                      <a:pt x="284" y="55"/>
                    </a:lnTo>
                    <a:lnTo>
                      <a:pt x="299" y="60"/>
                    </a:lnTo>
                    <a:lnTo>
                      <a:pt x="303" y="60"/>
                    </a:lnTo>
                    <a:lnTo>
                      <a:pt x="306" y="60"/>
                    </a:lnTo>
                    <a:lnTo>
                      <a:pt x="305" y="55"/>
                    </a:lnTo>
                    <a:lnTo>
                      <a:pt x="303" y="50"/>
                    </a:lnTo>
                    <a:lnTo>
                      <a:pt x="306" y="43"/>
                    </a:lnTo>
                    <a:lnTo>
                      <a:pt x="315" y="43"/>
                    </a:lnTo>
                    <a:lnTo>
                      <a:pt x="329" y="43"/>
                    </a:lnTo>
                    <a:lnTo>
                      <a:pt x="341" y="48"/>
                    </a:lnTo>
                    <a:lnTo>
                      <a:pt x="351" y="53"/>
                    </a:lnTo>
                    <a:lnTo>
                      <a:pt x="361" y="60"/>
                    </a:lnTo>
                    <a:lnTo>
                      <a:pt x="384" y="60"/>
                    </a:lnTo>
                    <a:lnTo>
                      <a:pt x="373" y="55"/>
                    </a:lnTo>
                    <a:lnTo>
                      <a:pt x="365" y="52"/>
                    </a:lnTo>
                    <a:lnTo>
                      <a:pt x="356" y="45"/>
                    </a:lnTo>
                    <a:lnTo>
                      <a:pt x="354" y="40"/>
                    </a:lnTo>
                    <a:lnTo>
                      <a:pt x="356" y="35"/>
                    </a:lnTo>
                    <a:lnTo>
                      <a:pt x="363" y="35"/>
                    </a:lnTo>
                    <a:lnTo>
                      <a:pt x="370" y="35"/>
                    </a:lnTo>
                    <a:lnTo>
                      <a:pt x="375" y="35"/>
                    </a:lnTo>
                    <a:lnTo>
                      <a:pt x="370" y="31"/>
                    </a:lnTo>
                    <a:lnTo>
                      <a:pt x="365" y="28"/>
                    </a:lnTo>
                    <a:lnTo>
                      <a:pt x="375" y="23"/>
                    </a:lnTo>
                    <a:lnTo>
                      <a:pt x="385" y="19"/>
                    </a:lnTo>
                    <a:lnTo>
                      <a:pt x="396" y="17"/>
                    </a:lnTo>
                    <a:lnTo>
                      <a:pt x="408" y="17"/>
                    </a:lnTo>
                    <a:lnTo>
                      <a:pt x="423" y="16"/>
                    </a:lnTo>
                    <a:lnTo>
                      <a:pt x="440" y="21"/>
                    </a:lnTo>
                    <a:lnTo>
                      <a:pt x="451" y="21"/>
                    </a:lnTo>
                    <a:lnTo>
                      <a:pt x="451" y="14"/>
                    </a:lnTo>
                    <a:lnTo>
                      <a:pt x="459" y="14"/>
                    </a:lnTo>
                    <a:lnTo>
                      <a:pt x="470" y="14"/>
                    </a:lnTo>
                    <a:lnTo>
                      <a:pt x="487" y="11"/>
                    </a:lnTo>
                    <a:lnTo>
                      <a:pt x="504" y="7"/>
                    </a:lnTo>
                    <a:lnTo>
                      <a:pt x="511" y="4"/>
                    </a:lnTo>
                    <a:lnTo>
                      <a:pt x="521" y="2"/>
                    </a:lnTo>
                    <a:lnTo>
                      <a:pt x="530" y="0"/>
                    </a:lnTo>
                    <a:lnTo>
                      <a:pt x="540" y="0"/>
                    </a:lnTo>
                    <a:lnTo>
                      <a:pt x="549" y="0"/>
                    </a:lnTo>
                    <a:lnTo>
                      <a:pt x="559" y="0"/>
                    </a:lnTo>
                    <a:lnTo>
                      <a:pt x="568" y="0"/>
                    </a:lnTo>
                    <a:lnTo>
                      <a:pt x="578" y="0"/>
                    </a:lnTo>
                    <a:lnTo>
                      <a:pt x="585" y="0"/>
                    </a:lnTo>
                    <a:lnTo>
                      <a:pt x="595" y="0"/>
                    </a:lnTo>
                    <a:lnTo>
                      <a:pt x="604" y="0"/>
                    </a:lnTo>
                    <a:lnTo>
                      <a:pt x="614" y="0"/>
                    </a:lnTo>
                    <a:lnTo>
                      <a:pt x="623" y="0"/>
                    </a:lnTo>
                    <a:lnTo>
                      <a:pt x="633" y="2"/>
                    </a:lnTo>
                    <a:lnTo>
                      <a:pt x="643" y="5"/>
                    </a:lnTo>
                    <a:lnTo>
                      <a:pt x="654" y="11"/>
                    </a:lnTo>
                    <a:lnTo>
                      <a:pt x="671" y="19"/>
                    </a:lnTo>
                    <a:lnTo>
                      <a:pt x="690" y="29"/>
                    </a:lnTo>
                    <a:lnTo>
                      <a:pt x="700" y="29"/>
                    </a:lnTo>
                    <a:lnTo>
                      <a:pt x="712" y="31"/>
                    </a:lnTo>
                    <a:lnTo>
                      <a:pt x="722" y="33"/>
                    </a:lnTo>
                    <a:lnTo>
                      <a:pt x="735" y="35"/>
                    </a:lnTo>
                    <a:lnTo>
                      <a:pt x="726" y="43"/>
                    </a:lnTo>
                    <a:lnTo>
                      <a:pt x="712" y="48"/>
                    </a:lnTo>
                    <a:lnTo>
                      <a:pt x="695" y="52"/>
                    </a:lnTo>
                    <a:lnTo>
                      <a:pt x="683" y="55"/>
                    </a:lnTo>
                    <a:lnTo>
                      <a:pt x="571" y="60"/>
                    </a:lnTo>
                    <a:lnTo>
                      <a:pt x="576" y="60"/>
                    </a:lnTo>
                    <a:lnTo>
                      <a:pt x="588" y="62"/>
                    </a:lnTo>
                    <a:lnTo>
                      <a:pt x="604" y="60"/>
                    </a:lnTo>
                    <a:lnTo>
                      <a:pt x="623" y="60"/>
                    </a:lnTo>
                    <a:lnTo>
                      <a:pt x="638" y="59"/>
                    </a:lnTo>
                    <a:lnTo>
                      <a:pt x="655" y="59"/>
                    </a:lnTo>
                    <a:lnTo>
                      <a:pt x="666" y="59"/>
                    </a:lnTo>
                    <a:lnTo>
                      <a:pt x="674" y="60"/>
                    </a:lnTo>
                    <a:lnTo>
                      <a:pt x="669" y="66"/>
                    </a:lnTo>
                    <a:lnTo>
                      <a:pt x="662" y="74"/>
                    </a:lnTo>
                    <a:lnTo>
                      <a:pt x="655" y="83"/>
                    </a:lnTo>
                    <a:lnTo>
                      <a:pt x="655" y="86"/>
                    </a:lnTo>
                    <a:lnTo>
                      <a:pt x="666" y="81"/>
                    </a:lnTo>
                    <a:lnTo>
                      <a:pt x="683" y="71"/>
                    </a:lnTo>
                    <a:lnTo>
                      <a:pt x="700" y="60"/>
                    </a:lnTo>
                    <a:lnTo>
                      <a:pt x="716" y="57"/>
                    </a:lnTo>
                    <a:lnTo>
                      <a:pt x="724" y="62"/>
                    </a:lnTo>
                    <a:lnTo>
                      <a:pt x="728" y="72"/>
                    </a:lnTo>
                    <a:lnTo>
                      <a:pt x="721" y="79"/>
                    </a:lnTo>
                    <a:lnTo>
                      <a:pt x="710" y="95"/>
                    </a:lnTo>
                    <a:lnTo>
                      <a:pt x="698" y="107"/>
                    </a:lnTo>
                    <a:lnTo>
                      <a:pt x="693" y="117"/>
                    </a:lnTo>
                    <a:lnTo>
                      <a:pt x="704" y="109"/>
                    </a:lnTo>
                    <a:lnTo>
                      <a:pt x="719" y="95"/>
                    </a:lnTo>
                    <a:lnTo>
                      <a:pt x="731" y="81"/>
                    </a:lnTo>
                    <a:lnTo>
                      <a:pt x="741" y="74"/>
                    </a:lnTo>
                    <a:lnTo>
                      <a:pt x="750" y="74"/>
                    </a:lnTo>
                    <a:lnTo>
                      <a:pt x="762" y="74"/>
                    </a:lnTo>
                    <a:lnTo>
                      <a:pt x="771" y="74"/>
                    </a:lnTo>
                    <a:lnTo>
                      <a:pt x="774" y="74"/>
                    </a:lnTo>
                    <a:lnTo>
                      <a:pt x="779" y="74"/>
                    </a:lnTo>
                    <a:lnTo>
                      <a:pt x="786" y="76"/>
                    </a:lnTo>
                    <a:lnTo>
                      <a:pt x="795" y="69"/>
                    </a:lnTo>
                    <a:lnTo>
                      <a:pt x="805" y="66"/>
                    </a:lnTo>
                    <a:lnTo>
                      <a:pt x="829" y="66"/>
                    </a:lnTo>
                    <a:lnTo>
                      <a:pt x="833" y="59"/>
                    </a:lnTo>
                    <a:lnTo>
                      <a:pt x="839" y="59"/>
                    </a:lnTo>
                    <a:lnTo>
                      <a:pt x="846" y="59"/>
                    </a:lnTo>
                    <a:lnTo>
                      <a:pt x="857" y="64"/>
                    </a:lnTo>
                    <a:lnTo>
                      <a:pt x="865" y="69"/>
                    </a:lnTo>
                    <a:lnTo>
                      <a:pt x="870" y="76"/>
                    </a:lnTo>
                    <a:lnTo>
                      <a:pt x="864" y="83"/>
                    </a:lnTo>
                    <a:lnTo>
                      <a:pt x="858" y="88"/>
                    </a:lnTo>
                    <a:lnTo>
                      <a:pt x="846" y="91"/>
                    </a:lnTo>
                    <a:lnTo>
                      <a:pt x="834" y="100"/>
                    </a:lnTo>
                    <a:lnTo>
                      <a:pt x="822" y="105"/>
                    </a:lnTo>
                    <a:lnTo>
                      <a:pt x="807" y="109"/>
                    </a:lnTo>
                    <a:lnTo>
                      <a:pt x="812" y="109"/>
                    </a:lnTo>
                    <a:lnTo>
                      <a:pt x="817" y="109"/>
                    </a:lnTo>
                    <a:lnTo>
                      <a:pt x="814" y="115"/>
                    </a:lnTo>
                    <a:lnTo>
                      <a:pt x="808" y="121"/>
                    </a:lnTo>
                    <a:lnTo>
                      <a:pt x="800" y="122"/>
                    </a:lnTo>
                    <a:lnTo>
                      <a:pt x="795" y="124"/>
                    </a:lnTo>
                    <a:lnTo>
                      <a:pt x="795" y="127"/>
                    </a:lnTo>
                    <a:lnTo>
                      <a:pt x="795" y="131"/>
                    </a:lnTo>
                    <a:lnTo>
                      <a:pt x="786" y="139"/>
                    </a:lnTo>
                    <a:lnTo>
                      <a:pt x="772" y="143"/>
                    </a:lnTo>
                    <a:lnTo>
                      <a:pt x="772" y="148"/>
                    </a:lnTo>
                    <a:lnTo>
                      <a:pt x="772" y="152"/>
                    </a:lnTo>
                    <a:lnTo>
                      <a:pt x="765" y="162"/>
                    </a:lnTo>
                    <a:lnTo>
                      <a:pt x="752" y="172"/>
                    </a:lnTo>
                    <a:lnTo>
                      <a:pt x="747" y="182"/>
                    </a:lnTo>
                    <a:lnTo>
                      <a:pt x="743" y="194"/>
                    </a:lnTo>
                    <a:lnTo>
                      <a:pt x="750" y="194"/>
                    </a:lnTo>
                    <a:lnTo>
                      <a:pt x="759" y="194"/>
                    </a:lnTo>
                    <a:lnTo>
                      <a:pt x="769" y="196"/>
                    </a:lnTo>
                    <a:lnTo>
                      <a:pt x="779" y="203"/>
                    </a:lnTo>
                    <a:lnTo>
                      <a:pt x="774" y="205"/>
                    </a:lnTo>
                    <a:lnTo>
                      <a:pt x="769" y="207"/>
                    </a:lnTo>
                    <a:lnTo>
                      <a:pt x="772" y="210"/>
                    </a:lnTo>
                    <a:lnTo>
                      <a:pt x="781" y="213"/>
                    </a:lnTo>
                    <a:lnTo>
                      <a:pt x="788" y="217"/>
                    </a:lnTo>
                    <a:lnTo>
                      <a:pt x="791" y="225"/>
                    </a:lnTo>
                    <a:lnTo>
                      <a:pt x="786" y="231"/>
                    </a:lnTo>
                    <a:lnTo>
                      <a:pt x="776" y="232"/>
                    </a:lnTo>
                    <a:lnTo>
                      <a:pt x="764" y="232"/>
                    </a:lnTo>
                    <a:lnTo>
                      <a:pt x="755" y="232"/>
                    </a:lnTo>
                    <a:lnTo>
                      <a:pt x="748" y="234"/>
                    </a:lnTo>
                    <a:lnTo>
                      <a:pt x="747" y="239"/>
                    </a:lnTo>
                    <a:lnTo>
                      <a:pt x="752" y="246"/>
                    </a:lnTo>
                    <a:lnTo>
                      <a:pt x="762" y="248"/>
                    </a:lnTo>
                    <a:lnTo>
                      <a:pt x="765" y="260"/>
                    </a:lnTo>
                    <a:lnTo>
                      <a:pt x="769" y="270"/>
                    </a:lnTo>
                    <a:lnTo>
                      <a:pt x="767" y="275"/>
                    </a:lnTo>
                    <a:lnTo>
                      <a:pt x="769" y="280"/>
                    </a:lnTo>
                    <a:lnTo>
                      <a:pt x="759" y="280"/>
                    </a:lnTo>
                    <a:lnTo>
                      <a:pt x="753" y="287"/>
                    </a:lnTo>
                    <a:lnTo>
                      <a:pt x="755" y="291"/>
                    </a:lnTo>
                    <a:lnTo>
                      <a:pt x="760" y="294"/>
                    </a:lnTo>
                    <a:lnTo>
                      <a:pt x="767" y="296"/>
                    </a:lnTo>
                    <a:lnTo>
                      <a:pt x="774" y="298"/>
                    </a:lnTo>
                    <a:lnTo>
                      <a:pt x="764" y="306"/>
                    </a:lnTo>
                    <a:lnTo>
                      <a:pt x="752" y="311"/>
                    </a:lnTo>
                    <a:lnTo>
                      <a:pt x="752" y="315"/>
                    </a:lnTo>
                    <a:lnTo>
                      <a:pt x="755" y="320"/>
                    </a:lnTo>
                    <a:lnTo>
                      <a:pt x="748" y="327"/>
                    </a:lnTo>
                    <a:lnTo>
                      <a:pt x="741" y="330"/>
                    </a:lnTo>
                    <a:lnTo>
                      <a:pt x="733" y="332"/>
                    </a:lnTo>
                    <a:lnTo>
                      <a:pt x="728" y="339"/>
                    </a:lnTo>
                    <a:lnTo>
                      <a:pt x="719" y="332"/>
                    </a:lnTo>
                    <a:lnTo>
                      <a:pt x="712" y="327"/>
                    </a:lnTo>
                    <a:lnTo>
                      <a:pt x="705" y="327"/>
                    </a:lnTo>
                    <a:lnTo>
                      <a:pt x="710" y="334"/>
                    </a:lnTo>
                    <a:lnTo>
                      <a:pt x="721" y="337"/>
                    </a:lnTo>
                    <a:lnTo>
                      <a:pt x="728" y="341"/>
                    </a:lnTo>
                    <a:lnTo>
                      <a:pt x="733" y="349"/>
                    </a:lnTo>
                    <a:lnTo>
                      <a:pt x="731" y="360"/>
                    </a:lnTo>
                    <a:lnTo>
                      <a:pt x="726" y="365"/>
                    </a:lnTo>
                    <a:lnTo>
                      <a:pt x="717" y="361"/>
                    </a:lnTo>
                    <a:lnTo>
                      <a:pt x="709" y="356"/>
                    </a:lnTo>
                    <a:lnTo>
                      <a:pt x="700" y="348"/>
                    </a:lnTo>
                    <a:lnTo>
                      <a:pt x="697" y="341"/>
                    </a:lnTo>
                    <a:lnTo>
                      <a:pt x="692" y="341"/>
                    </a:lnTo>
                    <a:lnTo>
                      <a:pt x="692" y="349"/>
                    </a:lnTo>
                    <a:lnTo>
                      <a:pt x="705" y="360"/>
                    </a:lnTo>
                    <a:lnTo>
                      <a:pt x="722" y="372"/>
                    </a:lnTo>
                    <a:lnTo>
                      <a:pt x="728" y="377"/>
                    </a:lnTo>
                    <a:lnTo>
                      <a:pt x="735" y="385"/>
                    </a:lnTo>
                    <a:lnTo>
                      <a:pt x="738" y="392"/>
                    </a:lnTo>
                    <a:lnTo>
                      <a:pt x="741" y="404"/>
                    </a:lnTo>
                    <a:lnTo>
                      <a:pt x="736" y="409"/>
                    </a:lnTo>
                    <a:lnTo>
                      <a:pt x="728" y="411"/>
                    </a:lnTo>
                    <a:lnTo>
                      <a:pt x="714" y="406"/>
                    </a:lnTo>
                    <a:lnTo>
                      <a:pt x="705" y="397"/>
                    </a:lnTo>
                    <a:lnTo>
                      <a:pt x="698" y="389"/>
                    </a:lnTo>
                    <a:lnTo>
                      <a:pt x="688" y="385"/>
                    </a:lnTo>
                    <a:lnTo>
                      <a:pt x="685" y="385"/>
                    </a:lnTo>
                    <a:lnTo>
                      <a:pt x="681" y="385"/>
                    </a:lnTo>
                    <a:lnTo>
                      <a:pt x="683" y="392"/>
                    </a:lnTo>
                    <a:lnTo>
                      <a:pt x="686" y="397"/>
                    </a:lnTo>
                    <a:lnTo>
                      <a:pt x="681" y="403"/>
                    </a:lnTo>
                    <a:lnTo>
                      <a:pt x="674" y="404"/>
                    </a:lnTo>
                    <a:lnTo>
                      <a:pt x="674" y="408"/>
                    </a:lnTo>
                    <a:lnTo>
                      <a:pt x="681" y="411"/>
                    </a:lnTo>
                    <a:lnTo>
                      <a:pt x="688" y="413"/>
                    </a:lnTo>
                    <a:lnTo>
                      <a:pt x="698" y="416"/>
                    </a:lnTo>
                    <a:lnTo>
                      <a:pt x="707" y="416"/>
                    </a:lnTo>
                    <a:lnTo>
                      <a:pt x="717" y="418"/>
                    </a:lnTo>
                    <a:lnTo>
                      <a:pt x="724" y="420"/>
                    </a:lnTo>
                    <a:lnTo>
                      <a:pt x="731" y="421"/>
                    </a:lnTo>
                    <a:lnTo>
                      <a:pt x="719" y="427"/>
                    </a:lnTo>
                    <a:lnTo>
                      <a:pt x="709" y="432"/>
                    </a:lnTo>
                    <a:lnTo>
                      <a:pt x="697" y="435"/>
                    </a:lnTo>
                    <a:lnTo>
                      <a:pt x="688" y="444"/>
                    </a:lnTo>
                    <a:lnTo>
                      <a:pt x="679" y="449"/>
                    </a:lnTo>
                    <a:lnTo>
                      <a:pt x="673" y="456"/>
                    </a:lnTo>
                    <a:lnTo>
                      <a:pt x="657" y="458"/>
                    </a:lnTo>
                    <a:lnTo>
                      <a:pt x="645" y="459"/>
                    </a:lnTo>
                    <a:lnTo>
                      <a:pt x="633" y="461"/>
                    </a:lnTo>
                    <a:lnTo>
                      <a:pt x="619" y="468"/>
                    </a:lnTo>
                    <a:lnTo>
                      <a:pt x="597" y="468"/>
                    </a:lnTo>
                    <a:lnTo>
                      <a:pt x="588" y="471"/>
                    </a:lnTo>
                    <a:lnTo>
                      <a:pt x="587" y="476"/>
                    </a:lnTo>
                    <a:lnTo>
                      <a:pt x="573" y="485"/>
                    </a:lnTo>
                    <a:lnTo>
                      <a:pt x="563" y="497"/>
                    </a:lnTo>
                    <a:lnTo>
                      <a:pt x="556" y="511"/>
                    </a:lnTo>
                    <a:lnTo>
                      <a:pt x="545" y="516"/>
                    </a:lnTo>
                    <a:lnTo>
                      <a:pt x="537" y="518"/>
                    </a:lnTo>
                    <a:lnTo>
                      <a:pt x="526" y="519"/>
                    </a:lnTo>
                    <a:lnTo>
                      <a:pt x="518" y="526"/>
                    </a:lnTo>
                    <a:lnTo>
                      <a:pt x="509" y="526"/>
                    </a:lnTo>
                    <a:lnTo>
                      <a:pt x="509" y="516"/>
                    </a:lnTo>
                    <a:lnTo>
                      <a:pt x="502" y="521"/>
                    </a:lnTo>
                    <a:lnTo>
                      <a:pt x="499" y="528"/>
                    </a:lnTo>
                    <a:lnTo>
                      <a:pt x="487" y="533"/>
                    </a:lnTo>
                    <a:lnTo>
                      <a:pt x="475" y="537"/>
                    </a:lnTo>
                    <a:lnTo>
                      <a:pt x="464" y="542"/>
                    </a:lnTo>
                    <a:lnTo>
                      <a:pt x="461" y="552"/>
                    </a:lnTo>
                    <a:lnTo>
                      <a:pt x="461" y="554"/>
                    </a:lnTo>
                    <a:lnTo>
                      <a:pt x="463" y="557"/>
                    </a:lnTo>
                    <a:lnTo>
                      <a:pt x="459" y="559"/>
                    </a:lnTo>
                    <a:lnTo>
                      <a:pt x="459" y="562"/>
                    </a:lnTo>
                    <a:lnTo>
                      <a:pt x="461" y="568"/>
                    </a:lnTo>
                    <a:lnTo>
                      <a:pt x="464" y="575"/>
                    </a:lnTo>
                    <a:lnTo>
                      <a:pt x="459" y="583"/>
                    </a:lnTo>
                    <a:lnTo>
                      <a:pt x="452" y="588"/>
                    </a:lnTo>
                    <a:lnTo>
                      <a:pt x="444" y="592"/>
                    </a:lnTo>
                    <a:lnTo>
                      <a:pt x="442" y="600"/>
                    </a:lnTo>
                    <a:lnTo>
                      <a:pt x="440" y="616"/>
                    </a:lnTo>
                    <a:lnTo>
                      <a:pt x="442" y="628"/>
                    </a:lnTo>
                    <a:lnTo>
                      <a:pt x="434" y="635"/>
                    </a:lnTo>
                    <a:lnTo>
                      <a:pt x="432" y="647"/>
                    </a:lnTo>
                    <a:lnTo>
                      <a:pt x="428" y="655"/>
                    </a:lnTo>
                    <a:lnTo>
                      <a:pt x="421" y="660"/>
                    </a:lnTo>
                    <a:lnTo>
                      <a:pt x="416" y="659"/>
                    </a:lnTo>
                    <a:lnTo>
                      <a:pt x="416" y="655"/>
                    </a:lnTo>
                    <a:lnTo>
                      <a:pt x="409" y="657"/>
                    </a:lnTo>
                    <a:lnTo>
                      <a:pt x="406" y="659"/>
                    </a:lnTo>
                    <a:lnTo>
                      <a:pt x="397" y="654"/>
                    </a:lnTo>
                    <a:lnTo>
                      <a:pt x="392" y="647"/>
                    </a:lnTo>
                    <a:lnTo>
                      <a:pt x="387" y="638"/>
                    </a:lnTo>
                    <a:lnTo>
                      <a:pt x="382" y="636"/>
                    </a:lnTo>
                    <a:lnTo>
                      <a:pt x="370" y="638"/>
                    </a:lnTo>
                    <a:lnTo>
                      <a:pt x="360" y="643"/>
                    </a:lnTo>
                    <a:lnTo>
                      <a:pt x="353" y="633"/>
                    </a:lnTo>
                    <a:lnTo>
                      <a:pt x="344" y="628"/>
                    </a:lnTo>
                    <a:lnTo>
                      <a:pt x="341" y="623"/>
                    </a:lnTo>
                    <a:lnTo>
                      <a:pt x="341" y="619"/>
                    </a:lnTo>
                    <a:lnTo>
                      <a:pt x="330" y="609"/>
                    </a:lnTo>
                    <a:lnTo>
                      <a:pt x="320" y="599"/>
                    </a:lnTo>
                    <a:lnTo>
                      <a:pt x="311" y="585"/>
                    </a:lnTo>
                    <a:lnTo>
                      <a:pt x="310" y="573"/>
                    </a:lnTo>
                    <a:lnTo>
                      <a:pt x="311" y="566"/>
                    </a:lnTo>
                    <a:lnTo>
                      <a:pt x="318" y="562"/>
                    </a:lnTo>
                    <a:lnTo>
                      <a:pt x="308" y="559"/>
                    </a:lnTo>
                    <a:lnTo>
                      <a:pt x="299" y="562"/>
                    </a:lnTo>
                    <a:lnTo>
                      <a:pt x="296" y="554"/>
                    </a:lnTo>
                    <a:lnTo>
                      <a:pt x="294" y="545"/>
                    </a:lnTo>
                    <a:lnTo>
                      <a:pt x="289" y="537"/>
                    </a:lnTo>
                    <a:lnTo>
                      <a:pt x="284" y="532"/>
                    </a:lnTo>
                    <a:lnTo>
                      <a:pt x="279" y="523"/>
                    </a:lnTo>
                    <a:lnTo>
                      <a:pt x="277" y="516"/>
                    </a:lnTo>
                    <a:lnTo>
                      <a:pt x="279" y="509"/>
                    </a:lnTo>
                    <a:lnTo>
                      <a:pt x="282" y="504"/>
                    </a:lnTo>
                    <a:lnTo>
                      <a:pt x="277" y="501"/>
                    </a:lnTo>
                    <a:lnTo>
                      <a:pt x="272" y="504"/>
                    </a:lnTo>
                    <a:lnTo>
                      <a:pt x="272" y="492"/>
                    </a:lnTo>
                    <a:lnTo>
                      <a:pt x="280" y="476"/>
                    </a:lnTo>
                    <a:lnTo>
                      <a:pt x="292" y="464"/>
                    </a:lnTo>
                    <a:lnTo>
                      <a:pt x="292" y="46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92" name="Freeform 337"/>
              <p:cNvSpPr>
                <a:spLocks/>
              </p:cNvSpPr>
              <p:nvPr/>
            </p:nvSpPr>
            <p:spPr bwMode="auto">
              <a:xfrm>
                <a:off x="3056732" y="2052638"/>
                <a:ext cx="68263" cy="44450"/>
              </a:xfrm>
              <a:custGeom>
                <a:avLst/>
                <a:gdLst/>
                <a:ahLst/>
                <a:cxnLst>
                  <a:cxn ang="0">
                    <a:pos x="10" y="28"/>
                  </a:cxn>
                  <a:cxn ang="0">
                    <a:pos x="4" y="21"/>
                  </a:cxn>
                  <a:cxn ang="0">
                    <a:pos x="0" y="9"/>
                  </a:cxn>
                  <a:cxn ang="0">
                    <a:pos x="4" y="2"/>
                  </a:cxn>
                  <a:cxn ang="0">
                    <a:pos x="12" y="0"/>
                  </a:cxn>
                  <a:cxn ang="0">
                    <a:pos x="19" y="2"/>
                  </a:cxn>
                  <a:cxn ang="0">
                    <a:pos x="26" y="7"/>
                  </a:cxn>
                  <a:cxn ang="0">
                    <a:pos x="33" y="12"/>
                  </a:cxn>
                  <a:cxn ang="0">
                    <a:pos x="43" y="18"/>
                  </a:cxn>
                  <a:cxn ang="0">
                    <a:pos x="34" y="24"/>
                  </a:cxn>
                  <a:cxn ang="0">
                    <a:pos x="22" y="28"/>
                  </a:cxn>
                  <a:cxn ang="0">
                    <a:pos x="10" y="28"/>
                  </a:cxn>
                </a:cxnLst>
                <a:rect l="0" t="0" r="r" b="b"/>
                <a:pathLst>
                  <a:path w="43" h="28">
                    <a:moveTo>
                      <a:pt x="10" y="28"/>
                    </a:moveTo>
                    <a:lnTo>
                      <a:pt x="4" y="21"/>
                    </a:lnTo>
                    <a:lnTo>
                      <a:pt x="0" y="9"/>
                    </a:lnTo>
                    <a:lnTo>
                      <a:pt x="4" y="2"/>
                    </a:lnTo>
                    <a:lnTo>
                      <a:pt x="12" y="0"/>
                    </a:lnTo>
                    <a:lnTo>
                      <a:pt x="19" y="2"/>
                    </a:lnTo>
                    <a:lnTo>
                      <a:pt x="26" y="7"/>
                    </a:lnTo>
                    <a:lnTo>
                      <a:pt x="33" y="12"/>
                    </a:lnTo>
                    <a:lnTo>
                      <a:pt x="43" y="18"/>
                    </a:lnTo>
                    <a:lnTo>
                      <a:pt x="34" y="24"/>
                    </a:lnTo>
                    <a:lnTo>
                      <a:pt x="22" y="28"/>
                    </a:lnTo>
                    <a:lnTo>
                      <a:pt x="10"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93" name="Freeform 338"/>
              <p:cNvSpPr>
                <a:spLocks/>
              </p:cNvSpPr>
              <p:nvPr/>
            </p:nvSpPr>
            <p:spPr bwMode="auto">
              <a:xfrm>
                <a:off x="3882232" y="1827213"/>
                <a:ext cx="34925" cy="20637"/>
              </a:xfrm>
              <a:custGeom>
                <a:avLst/>
                <a:gdLst/>
                <a:ahLst/>
                <a:cxnLst>
                  <a:cxn ang="0">
                    <a:pos x="6" y="13"/>
                  </a:cxn>
                  <a:cxn ang="0">
                    <a:pos x="1" y="10"/>
                  </a:cxn>
                  <a:cxn ang="0">
                    <a:pos x="0" y="6"/>
                  </a:cxn>
                  <a:cxn ang="0">
                    <a:pos x="1" y="1"/>
                  </a:cxn>
                  <a:cxn ang="0">
                    <a:pos x="5" y="0"/>
                  </a:cxn>
                  <a:cxn ang="0">
                    <a:pos x="13" y="0"/>
                  </a:cxn>
                  <a:cxn ang="0">
                    <a:pos x="13" y="3"/>
                  </a:cxn>
                  <a:cxn ang="0">
                    <a:pos x="13" y="6"/>
                  </a:cxn>
                  <a:cxn ang="0">
                    <a:pos x="22" y="6"/>
                  </a:cxn>
                  <a:cxn ang="0">
                    <a:pos x="15" y="10"/>
                  </a:cxn>
                  <a:cxn ang="0">
                    <a:pos x="6" y="13"/>
                  </a:cxn>
                </a:cxnLst>
                <a:rect l="0" t="0" r="r" b="b"/>
                <a:pathLst>
                  <a:path w="22" h="13">
                    <a:moveTo>
                      <a:pt x="6" y="13"/>
                    </a:moveTo>
                    <a:lnTo>
                      <a:pt x="1" y="10"/>
                    </a:lnTo>
                    <a:lnTo>
                      <a:pt x="0" y="6"/>
                    </a:lnTo>
                    <a:lnTo>
                      <a:pt x="1" y="1"/>
                    </a:lnTo>
                    <a:lnTo>
                      <a:pt x="5" y="0"/>
                    </a:lnTo>
                    <a:lnTo>
                      <a:pt x="13" y="0"/>
                    </a:lnTo>
                    <a:lnTo>
                      <a:pt x="13" y="3"/>
                    </a:lnTo>
                    <a:lnTo>
                      <a:pt x="13" y="6"/>
                    </a:lnTo>
                    <a:lnTo>
                      <a:pt x="22" y="6"/>
                    </a:lnTo>
                    <a:lnTo>
                      <a:pt x="15" y="10"/>
                    </a:lnTo>
                    <a:lnTo>
                      <a:pt x="6"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94" name="Freeform 339"/>
              <p:cNvSpPr>
                <a:spLocks/>
              </p:cNvSpPr>
              <p:nvPr/>
            </p:nvSpPr>
            <p:spPr bwMode="auto">
              <a:xfrm>
                <a:off x="2958307" y="2716213"/>
                <a:ext cx="150813" cy="147637"/>
              </a:xfrm>
              <a:custGeom>
                <a:avLst/>
                <a:gdLst/>
                <a:ahLst/>
                <a:cxnLst>
                  <a:cxn ang="0">
                    <a:pos x="2" y="74"/>
                  </a:cxn>
                  <a:cxn ang="0">
                    <a:pos x="4" y="67"/>
                  </a:cxn>
                  <a:cxn ang="0">
                    <a:pos x="9" y="60"/>
                  </a:cxn>
                  <a:cxn ang="0">
                    <a:pos x="5" y="59"/>
                  </a:cxn>
                  <a:cxn ang="0">
                    <a:pos x="21" y="38"/>
                  </a:cxn>
                  <a:cxn ang="0">
                    <a:pos x="33" y="16"/>
                  </a:cxn>
                  <a:cxn ang="0">
                    <a:pos x="48" y="0"/>
                  </a:cxn>
                  <a:cxn ang="0">
                    <a:pos x="52" y="5"/>
                  </a:cxn>
                  <a:cxn ang="0">
                    <a:pos x="38" y="31"/>
                  </a:cxn>
                  <a:cxn ang="0">
                    <a:pos x="41" y="35"/>
                  </a:cxn>
                  <a:cxn ang="0">
                    <a:pos x="48" y="33"/>
                  </a:cxn>
                  <a:cxn ang="0">
                    <a:pos x="52" y="38"/>
                  </a:cxn>
                  <a:cxn ang="0">
                    <a:pos x="60" y="41"/>
                  </a:cxn>
                  <a:cxn ang="0">
                    <a:pos x="60" y="45"/>
                  </a:cxn>
                  <a:cxn ang="0">
                    <a:pos x="74" y="43"/>
                  </a:cxn>
                  <a:cxn ang="0">
                    <a:pos x="81" y="48"/>
                  </a:cxn>
                  <a:cxn ang="0">
                    <a:pos x="83" y="59"/>
                  </a:cxn>
                  <a:cxn ang="0">
                    <a:pos x="83" y="62"/>
                  </a:cxn>
                  <a:cxn ang="0">
                    <a:pos x="83" y="69"/>
                  </a:cxn>
                  <a:cxn ang="0">
                    <a:pos x="88" y="72"/>
                  </a:cxn>
                  <a:cxn ang="0">
                    <a:pos x="93" y="76"/>
                  </a:cxn>
                  <a:cxn ang="0">
                    <a:pos x="91" y="90"/>
                  </a:cxn>
                  <a:cxn ang="0">
                    <a:pos x="83" y="90"/>
                  </a:cxn>
                  <a:cxn ang="0">
                    <a:pos x="79" y="86"/>
                  </a:cxn>
                  <a:cxn ang="0">
                    <a:pos x="74" y="79"/>
                  </a:cxn>
                  <a:cxn ang="0">
                    <a:pos x="66" y="81"/>
                  </a:cxn>
                  <a:cxn ang="0">
                    <a:pos x="55" y="86"/>
                  </a:cxn>
                  <a:cxn ang="0">
                    <a:pos x="60" y="78"/>
                  </a:cxn>
                  <a:cxn ang="0">
                    <a:pos x="47" y="76"/>
                  </a:cxn>
                  <a:cxn ang="0">
                    <a:pos x="36" y="79"/>
                  </a:cxn>
                  <a:cxn ang="0">
                    <a:pos x="21" y="76"/>
                  </a:cxn>
                  <a:cxn ang="0">
                    <a:pos x="5" y="78"/>
                  </a:cxn>
                </a:cxnLst>
                <a:rect l="0" t="0" r="r" b="b"/>
                <a:pathLst>
                  <a:path w="95" h="93">
                    <a:moveTo>
                      <a:pt x="5" y="78"/>
                    </a:moveTo>
                    <a:lnTo>
                      <a:pt x="2" y="74"/>
                    </a:lnTo>
                    <a:lnTo>
                      <a:pt x="0" y="72"/>
                    </a:lnTo>
                    <a:lnTo>
                      <a:pt x="4" y="67"/>
                    </a:lnTo>
                    <a:lnTo>
                      <a:pt x="9" y="64"/>
                    </a:lnTo>
                    <a:lnTo>
                      <a:pt x="9" y="60"/>
                    </a:lnTo>
                    <a:lnTo>
                      <a:pt x="7" y="59"/>
                    </a:lnTo>
                    <a:lnTo>
                      <a:pt x="5" y="59"/>
                    </a:lnTo>
                    <a:lnTo>
                      <a:pt x="14" y="48"/>
                    </a:lnTo>
                    <a:lnTo>
                      <a:pt x="21" y="38"/>
                    </a:lnTo>
                    <a:lnTo>
                      <a:pt x="26" y="24"/>
                    </a:lnTo>
                    <a:lnTo>
                      <a:pt x="33" y="16"/>
                    </a:lnTo>
                    <a:lnTo>
                      <a:pt x="38" y="5"/>
                    </a:lnTo>
                    <a:lnTo>
                      <a:pt x="48" y="0"/>
                    </a:lnTo>
                    <a:lnTo>
                      <a:pt x="50" y="2"/>
                    </a:lnTo>
                    <a:lnTo>
                      <a:pt x="52" y="5"/>
                    </a:lnTo>
                    <a:lnTo>
                      <a:pt x="45" y="19"/>
                    </a:lnTo>
                    <a:lnTo>
                      <a:pt x="38" y="31"/>
                    </a:lnTo>
                    <a:lnTo>
                      <a:pt x="38" y="36"/>
                    </a:lnTo>
                    <a:lnTo>
                      <a:pt x="41" y="35"/>
                    </a:lnTo>
                    <a:lnTo>
                      <a:pt x="45" y="33"/>
                    </a:lnTo>
                    <a:lnTo>
                      <a:pt x="48" y="33"/>
                    </a:lnTo>
                    <a:lnTo>
                      <a:pt x="53" y="35"/>
                    </a:lnTo>
                    <a:lnTo>
                      <a:pt x="52" y="38"/>
                    </a:lnTo>
                    <a:lnTo>
                      <a:pt x="52" y="41"/>
                    </a:lnTo>
                    <a:lnTo>
                      <a:pt x="60" y="41"/>
                    </a:lnTo>
                    <a:lnTo>
                      <a:pt x="60" y="43"/>
                    </a:lnTo>
                    <a:lnTo>
                      <a:pt x="60" y="45"/>
                    </a:lnTo>
                    <a:lnTo>
                      <a:pt x="66" y="43"/>
                    </a:lnTo>
                    <a:lnTo>
                      <a:pt x="74" y="43"/>
                    </a:lnTo>
                    <a:lnTo>
                      <a:pt x="81" y="43"/>
                    </a:lnTo>
                    <a:lnTo>
                      <a:pt x="81" y="48"/>
                    </a:lnTo>
                    <a:lnTo>
                      <a:pt x="81" y="59"/>
                    </a:lnTo>
                    <a:lnTo>
                      <a:pt x="83" y="59"/>
                    </a:lnTo>
                    <a:lnTo>
                      <a:pt x="86" y="59"/>
                    </a:lnTo>
                    <a:lnTo>
                      <a:pt x="83" y="62"/>
                    </a:lnTo>
                    <a:lnTo>
                      <a:pt x="81" y="65"/>
                    </a:lnTo>
                    <a:lnTo>
                      <a:pt x="83" y="69"/>
                    </a:lnTo>
                    <a:lnTo>
                      <a:pt x="84" y="74"/>
                    </a:lnTo>
                    <a:lnTo>
                      <a:pt x="88" y="72"/>
                    </a:lnTo>
                    <a:lnTo>
                      <a:pt x="91" y="71"/>
                    </a:lnTo>
                    <a:lnTo>
                      <a:pt x="93" y="76"/>
                    </a:lnTo>
                    <a:lnTo>
                      <a:pt x="95" y="81"/>
                    </a:lnTo>
                    <a:lnTo>
                      <a:pt x="91" y="90"/>
                    </a:lnTo>
                    <a:lnTo>
                      <a:pt x="86" y="93"/>
                    </a:lnTo>
                    <a:lnTo>
                      <a:pt x="83" y="90"/>
                    </a:lnTo>
                    <a:lnTo>
                      <a:pt x="83" y="88"/>
                    </a:lnTo>
                    <a:lnTo>
                      <a:pt x="79" y="86"/>
                    </a:lnTo>
                    <a:lnTo>
                      <a:pt x="78" y="86"/>
                    </a:lnTo>
                    <a:lnTo>
                      <a:pt x="74" y="79"/>
                    </a:lnTo>
                    <a:lnTo>
                      <a:pt x="72" y="72"/>
                    </a:lnTo>
                    <a:lnTo>
                      <a:pt x="66" y="81"/>
                    </a:lnTo>
                    <a:lnTo>
                      <a:pt x="59" y="86"/>
                    </a:lnTo>
                    <a:lnTo>
                      <a:pt x="55" y="86"/>
                    </a:lnTo>
                    <a:lnTo>
                      <a:pt x="57" y="81"/>
                    </a:lnTo>
                    <a:lnTo>
                      <a:pt x="60" y="78"/>
                    </a:lnTo>
                    <a:lnTo>
                      <a:pt x="52" y="78"/>
                    </a:lnTo>
                    <a:lnTo>
                      <a:pt x="47" y="76"/>
                    </a:lnTo>
                    <a:lnTo>
                      <a:pt x="41" y="78"/>
                    </a:lnTo>
                    <a:lnTo>
                      <a:pt x="36" y="79"/>
                    </a:lnTo>
                    <a:lnTo>
                      <a:pt x="28" y="78"/>
                    </a:lnTo>
                    <a:lnTo>
                      <a:pt x="21" y="76"/>
                    </a:lnTo>
                    <a:lnTo>
                      <a:pt x="12" y="76"/>
                    </a:lnTo>
                    <a:lnTo>
                      <a:pt x="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95" name="Freeform 340"/>
              <p:cNvSpPr>
                <a:spLocks/>
              </p:cNvSpPr>
              <p:nvPr/>
            </p:nvSpPr>
            <p:spPr bwMode="auto">
              <a:xfrm>
                <a:off x="7455694" y="1779588"/>
                <a:ext cx="177800" cy="68262"/>
              </a:xfrm>
              <a:custGeom>
                <a:avLst/>
                <a:gdLst/>
                <a:ahLst/>
                <a:cxnLst>
                  <a:cxn ang="0">
                    <a:pos x="89" y="33"/>
                  </a:cxn>
                  <a:cxn ang="0">
                    <a:pos x="82" y="35"/>
                  </a:cxn>
                  <a:cxn ang="0">
                    <a:pos x="76" y="38"/>
                  </a:cxn>
                  <a:cxn ang="0">
                    <a:pos x="70" y="35"/>
                  </a:cxn>
                  <a:cxn ang="0">
                    <a:pos x="67" y="33"/>
                  </a:cxn>
                  <a:cxn ang="0">
                    <a:pos x="62" y="35"/>
                  </a:cxn>
                  <a:cxn ang="0">
                    <a:pos x="57" y="36"/>
                  </a:cxn>
                  <a:cxn ang="0">
                    <a:pos x="52" y="38"/>
                  </a:cxn>
                  <a:cxn ang="0">
                    <a:pos x="46" y="42"/>
                  </a:cxn>
                  <a:cxn ang="0">
                    <a:pos x="39" y="40"/>
                  </a:cxn>
                  <a:cxn ang="0">
                    <a:pos x="36" y="36"/>
                  </a:cxn>
                  <a:cxn ang="0">
                    <a:pos x="31" y="40"/>
                  </a:cxn>
                  <a:cxn ang="0">
                    <a:pos x="26" y="43"/>
                  </a:cxn>
                  <a:cxn ang="0">
                    <a:pos x="15" y="40"/>
                  </a:cxn>
                  <a:cxn ang="0">
                    <a:pos x="7" y="36"/>
                  </a:cxn>
                  <a:cxn ang="0">
                    <a:pos x="0" y="28"/>
                  </a:cxn>
                  <a:cxn ang="0">
                    <a:pos x="0" y="21"/>
                  </a:cxn>
                  <a:cxn ang="0">
                    <a:pos x="7" y="6"/>
                  </a:cxn>
                  <a:cxn ang="0">
                    <a:pos x="22" y="0"/>
                  </a:cxn>
                  <a:cxn ang="0">
                    <a:pos x="31" y="2"/>
                  </a:cxn>
                  <a:cxn ang="0">
                    <a:pos x="38" y="9"/>
                  </a:cxn>
                  <a:cxn ang="0">
                    <a:pos x="43" y="14"/>
                  </a:cxn>
                  <a:cxn ang="0">
                    <a:pos x="53" y="18"/>
                  </a:cxn>
                  <a:cxn ang="0">
                    <a:pos x="55" y="7"/>
                  </a:cxn>
                  <a:cxn ang="0">
                    <a:pos x="62" y="4"/>
                  </a:cxn>
                  <a:cxn ang="0">
                    <a:pos x="70" y="4"/>
                  </a:cxn>
                  <a:cxn ang="0">
                    <a:pos x="86" y="9"/>
                  </a:cxn>
                  <a:cxn ang="0">
                    <a:pos x="100" y="12"/>
                  </a:cxn>
                  <a:cxn ang="0">
                    <a:pos x="112" y="18"/>
                  </a:cxn>
                  <a:cxn ang="0">
                    <a:pos x="107" y="26"/>
                  </a:cxn>
                  <a:cxn ang="0">
                    <a:pos x="103" y="33"/>
                  </a:cxn>
                  <a:cxn ang="0">
                    <a:pos x="89" y="33"/>
                  </a:cxn>
                </a:cxnLst>
                <a:rect l="0" t="0" r="r" b="b"/>
                <a:pathLst>
                  <a:path w="112" h="43">
                    <a:moveTo>
                      <a:pt x="89" y="33"/>
                    </a:moveTo>
                    <a:lnTo>
                      <a:pt x="82" y="35"/>
                    </a:lnTo>
                    <a:lnTo>
                      <a:pt x="76" y="38"/>
                    </a:lnTo>
                    <a:lnTo>
                      <a:pt x="70" y="35"/>
                    </a:lnTo>
                    <a:lnTo>
                      <a:pt x="67" y="33"/>
                    </a:lnTo>
                    <a:lnTo>
                      <a:pt x="62" y="35"/>
                    </a:lnTo>
                    <a:lnTo>
                      <a:pt x="57" y="36"/>
                    </a:lnTo>
                    <a:lnTo>
                      <a:pt x="52" y="38"/>
                    </a:lnTo>
                    <a:lnTo>
                      <a:pt x="46" y="42"/>
                    </a:lnTo>
                    <a:lnTo>
                      <a:pt x="39" y="40"/>
                    </a:lnTo>
                    <a:lnTo>
                      <a:pt x="36" y="36"/>
                    </a:lnTo>
                    <a:lnTo>
                      <a:pt x="31" y="40"/>
                    </a:lnTo>
                    <a:lnTo>
                      <a:pt x="26" y="43"/>
                    </a:lnTo>
                    <a:lnTo>
                      <a:pt x="15" y="40"/>
                    </a:lnTo>
                    <a:lnTo>
                      <a:pt x="7" y="36"/>
                    </a:lnTo>
                    <a:lnTo>
                      <a:pt x="0" y="28"/>
                    </a:lnTo>
                    <a:lnTo>
                      <a:pt x="0" y="21"/>
                    </a:lnTo>
                    <a:lnTo>
                      <a:pt x="7" y="6"/>
                    </a:lnTo>
                    <a:lnTo>
                      <a:pt x="22" y="0"/>
                    </a:lnTo>
                    <a:lnTo>
                      <a:pt x="31" y="2"/>
                    </a:lnTo>
                    <a:lnTo>
                      <a:pt x="38" y="9"/>
                    </a:lnTo>
                    <a:lnTo>
                      <a:pt x="43" y="14"/>
                    </a:lnTo>
                    <a:lnTo>
                      <a:pt x="53" y="18"/>
                    </a:lnTo>
                    <a:lnTo>
                      <a:pt x="55" y="7"/>
                    </a:lnTo>
                    <a:lnTo>
                      <a:pt x="62" y="4"/>
                    </a:lnTo>
                    <a:lnTo>
                      <a:pt x="70" y="4"/>
                    </a:lnTo>
                    <a:lnTo>
                      <a:pt x="86" y="9"/>
                    </a:lnTo>
                    <a:lnTo>
                      <a:pt x="100" y="12"/>
                    </a:lnTo>
                    <a:lnTo>
                      <a:pt x="112" y="18"/>
                    </a:lnTo>
                    <a:lnTo>
                      <a:pt x="107" y="26"/>
                    </a:lnTo>
                    <a:lnTo>
                      <a:pt x="103" y="33"/>
                    </a:lnTo>
                    <a:lnTo>
                      <a:pt x="89"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96" name="Freeform 341"/>
              <p:cNvSpPr>
                <a:spLocks/>
              </p:cNvSpPr>
              <p:nvPr/>
            </p:nvSpPr>
            <p:spPr bwMode="auto">
              <a:xfrm>
                <a:off x="1629569" y="3248025"/>
                <a:ext cx="919163" cy="617537"/>
              </a:xfrm>
              <a:custGeom>
                <a:avLst/>
                <a:gdLst/>
                <a:ahLst/>
                <a:cxnLst>
                  <a:cxn ang="0">
                    <a:pos x="283" y="123"/>
                  </a:cxn>
                  <a:cxn ang="0">
                    <a:pos x="285" y="171"/>
                  </a:cxn>
                  <a:cxn ang="0">
                    <a:pos x="299" y="198"/>
                  </a:cxn>
                  <a:cxn ang="0">
                    <a:pos x="330" y="226"/>
                  </a:cxn>
                  <a:cxn ang="0">
                    <a:pos x="368" y="222"/>
                  </a:cxn>
                  <a:cxn ang="0">
                    <a:pos x="387" y="193"/>
                  </a:cxn>
                  <a:cxn ang="0">
                    <a:pos x="416" y="174"/>
                  </a:cxn>
                  <a:cxn ang="0">
                    <a:pos x="438" y="176"/>
                  </a:cxn>
                  <a:cxn ang="0">
                    <a:pos x="430" y="207"/>
                  </a:cxn>
                  <a:cxn ang="0">
                    <a:pos x="421" y="221"/>
                  </a:cxn>
                  <a:cxn ang="0">
                    <a:pos x="414" y="250"/>
                  </a:cxn>
                  <a:cxn ang="0">
                    <a:pos x="416" y="262"/>
                  </a:cxn>
                  <a:cxn ang="0">
                    <a:pos x="464" y="260"/>
                  </a:cxn>
                  <a:cxn ang="0">
                    <a:pos x="488" y="277"/>
                  </a:cxn>
                  <a:cxn ang="0">
                    <a:pos x="485" y="331"/>
                  </a:cxn>
                  <a:cxn ang="0">
                    <a:pos x="519" y="363"/>
                  </a:cxn>
                  <a:cxn ang="0">
                    <a:pos x="565" y="358"/>
                  </a:cxn>
                  <a:cxn ang="0">
                    <a:pos x="565" y="380"/>
                  </a:cxn>
                  <a:cxn ang="0">
                    <a:pos x="564" y="372"/>
                  </a:cxn>
                  <a:cxn ang="0">
                    <a:pos x="540" y="368"/>
                  </a:cxn>
                  <a:cxn ang="0">
                    <a:pos x="536" y="380"/>
                  </a:cxn>
                  <a:cxn ang="0">
                    <a:pos x="512" y="375"/>
                  </a:cxn>
                  <a:cxn ang="0">
                    <a:pos x="488" y="367"/>
                  </a:cxn>
                  <a:cxn ang="0">
                    <a:pos x="467" y="346"/>
                  </a:cxn>
                  <a:cxn ang="0">
                    <a:pos x="461" y="351"/>
                  </a:cxn>
                  <a:cxn ang="0">
                    <a:pos x="448" y="324"/>
                  </a:cxn>
                  <a:cxn ang="0">
                    <a:pos x="426" y="298"/>
                  </a:cxn>
                  <a:cxn ang="0">
                    <a:pos x="395" y="293"/>
                  </a:cxn>
                  <a:cxn ang="0">
                    <a:pos x="350" y="270"/>
                  </a:cxn>
                  <a:cxn ang="0">
                    <a:pos x="328" y="255"/>
                  </a:cxn>
                  <a:cxn ang="0">
                    <a:pos x="297" y="262"/>
                  </a:cxn>
                  <a:cxn ang="0">
                    <a:pos x="275" y="257"/>
                  </a:cxn>
                  <a:cxn ang="0">
                    <a:pos x="246" y="243"/>
                  </a:cxn>
                  <a:cxn ang="0">
                    <a:pos x="215" y="229"/>
                  </a:cxn>
                  <a:cxn ang="0">
                    <a:pos x="192" y="219"/>
                  </a:cxn>
                  <a:cxn ang="0">
                    <a:pos x="172" y="203"/>
                  </a:cxn>
                  <a:cxn ang="0">
                    <a:pos x="172" y="176"/>
                  </a:cxn>
                  <a:cxn ang="0">
                    <a:pos x="144" y="135"/>
                  </a:cxn>
                  <a:cxn ang="0">
                    <a:pos x="115" y="107"/>
                  </a:cxn>
                  <a:cxn ang="0">
                    <a:pos x="96" y="83"/>
                  </a:cxn>
                  <a:cxn ang="0">
                    <a:pos x="79" y="68"/>
                  </a:cxn>
                  <a:cxn ang="0">
                    <a:pos x="58" y="31"/>
                  </a:cxn>
                  <a:cxn ang="0">
                    <a:pos x="31" y="18"/>
                  </a:cxn>
                  <a:cxn ang="0">
                    <a:pos x="48" y="54"/>
                  </a:cxn>
                  <a:cxn ang="0">
                    <a:pos x="75" y="95"/>
                  </a:cxn>
                  <a:cxn ang="0">
                    <a:pos x="92" y="133"/>
                  </a:cxn>
                  <a:cxn ang="0">
                    <a:pos x="108" y="153"/>
                  </a:cxn>
                  <a:cxn ang="0">
                    <a:pos x="86" y="138"/>
                  </a:cxn>
                  <a:cxn ang="0">
                    <a:pos x="74" y="112"/>
                  </a:cxn>
                  <a:cxn ang="0">
                    <a:pos x="36" y="83"/>
                  </a:cxn>
                  <a:cxn ang="0">
                    <a:pos x="20" y="50"/>
                  </a:cxn>
                  <a:cxn ang="0">
                    <a:pos x="12" y="26"/>
                  </a:cxn>
                  <a:cxn ang="0">
                    <a:pos x="32" y="0"/>
                  </a:cxn>
                  <a:cxn ang="0">
                    <a:pos x="139" y="11"/>
                  </a:cxn>
                  <a:cxn ang="0">
                    <a:pos x="173" y="33"/>
                  </a:cxn>
                  <a:cxn ang="0">
                    <a:pos x="197" y="57"/>
                  </a:cxn>
                  <a:cxn ang="0">
                    <a:pos x="215" y="42"/>
                  </a:cxn>
                  <a:cxn ang="0">
                    <a:pos x="242" y="62"/>
                  </a:cxn>
                  <a:cxn ang="0">
                    <a:pos x="261" y="97"/>
                  </a:cxn>
                  <a:cxn ang="0">
                    <a:pos x="283" y="98"/>
                  </a:cxn>
                </a:cxnLst>
                <a:rect l="0" t="0" r="r" b="b"/>
                <a:pathLst>
                  <a:path w="579" h="389">
                    <a:moveTo>
                      <a:pt x="285" y="104"/>
                    </a:moveTo>
                    <a:lnTo>
                      <a:pt x="285" y="107"/>
                    </a:lnTo>
                    <a:lnTo>
                      <a:pt x="287" y="112"/>
                    </a:lnTo>
                    <a:lnTo>
                      <a:pt x="283" y="123"/>
                    </a:lnTo>
                    <a:lnTo>
                      <a:pt x="282" y="133"/>
                    </a:lnTo>
                    <a:lnTo>
                      <a:pt x="282" y="162"/>
                    </a:lnTo>
                    <a:lnTo>
                      <a:pt x="282" y="166"/>
                    </a:lnTo>
                    <a:lnTo>
                      <a:pt x="285" y="171"/>
                    </a:lnTo>
                    <a:lnTo>
                      <a:pt x="285" y="176"/>
                    </a:lnTo>
                    <a:lnTo>
                      <a:pt x="287" y="183"/>
                    </a:lnTo>
                    <a:lnTo>
                      <a:pt x="292" y="190"/>
                    </a:lnTo>
                    <a:lnTo>
                      <a:pt x="299" y="198"/>
                    </a:lnTo>
                    <a:lnTo>
                      <a:pt x="309" y="210"/>
                    </a:lnTo>
                    <a:lnTo>
                      <a:pt x="321" y="221"/>
                    </a:lnTo>
                    <a:lnTo>
                      <a:pt x="325" y="222"/>
                    </a:lnTo>
                    <a:lnTo>
                      <a:pt x="330" y="226"/>
                    </a:lnTo>
                    <a:lnTo>
                      <a:pt x="344" y="222"/>
                    </a:lnTo>
                    <a:lnTo>
                      <a:pt x="359" y="219"/>
                    </a:lnTo>
                    <a:lnTo>
                      <a:pt x="364" y="221"/>
                    </a:lnTo>
                    <a:lnTo>
                      <a:pt x="368" y="222"/>
                    </a:lnTo>
                    <a:lnTo>
                      <a:pt x="373" y="217"/>
                    </a:lnTo>
                    <a:lnTo>
                      <a:pt x="375" y="214"/>
                    </a:lnTo>
                    <a:lnTo>
                      <a:pt x="381" y="203"/>
                    </a:lnTo>
                    <a:lnTo>
                      <a:pt x="387" y="193"/>
                    </a:lnTo>
                    <a:lnTo>
                      <a:pt x="388" y="183"/>
                    </a:lnTo>
                    <a:lnTo>
                      <a:pt x="395" y="178"/>
                    </a:lnTo>
                    <a:lnTo>
                      <a:pt x="404" y="174"/>
                    </a:lnTo>
                    <a:lnTo>
                      <a:pt x="416" y="174"/>
                    </a:lnTo>
                    <a:lnTo>
                      <a:pt x="421" y="174"/>
                    </a:lnTo>
                    <a:lnTo>
                      <a:pt x="426" y="176"/>
                    </a:lnTo>
                    <a:lnTo>
                      <a:pt x="431" y="176"/>
                    </a:lnTo>
                    <a:lnTo>
                      <a:pt x="438" y="176"/>
                    </a:lnTo>
                    <a:lnTo>
                      <a:pt x="438" y="178"/>
                    </a:lnTo>
                    <a:lnTo>
                      <a:pt x="438" y="181"/>
                    </a:lnTo>
                    <a:lnTo>
                      <a:pt x="433" y="191"/>
                    </a:lnTo>
                    <a:lnTo>
                      <a:pt x="430" y="207"/>
                    </a:lnTo>
                    <a:lnTo>
                      <a:pt x="426" y="215"/>
                    </a:lnTo>
                    <a:lnTo>
                      <a:pt x="423" y="224"/>
                    </a:lnTo>
                    <a:lnTo>
                      <a:pt x="423" y="221"/>
                    </a:lnTo>
                    <a:lnTo>
                      <a:pt x="421" y="221"/>
                    </a:lnTo>
                    <a:lnTo>
                      <a:pt x="419" y="221"/>
                    </a:lnTo>
                    <a:lnTo>
                      <a:pt x="419" y="231"/>
                    </a:lnTo>
                    <a:lnTo>
                      <a:pt x="419" y="245"/>
                    </a:lnTo>
                    <a:lnTo>
                      <a:pt x="414" y="250"/>
                    </a:lnTo>
                    <a:lnTo>
                      <a:pt x="411" y="255"/>
                    </a:lnTo>
                    <a:lnTo>
                      <a:pt x="411" y="257"/>
                    </a:lnTo>
                    <a:lnTo>
                      <a:pt x="411" y="260"/>
                    </a:lnTo>
                    <a:lnTo>
                      <a:pt x="416" y="262"/>
                    </a:lnTo>
                    <a:lnTo>
                      <a:pt x="428" y="260"/>
                    </a:lnTo>
                    <a:lnTo>
                      <a:pt x="440" y="260"/>
                    </a:lnTo>
                    <a:lnTo>
                      <a:pt x="450" y="260"/>
                    </a:lnTo>
                    <a:lnTo>
                      <a:pt x="464" y="260"/>
                    </a:lnTo>
                    <a:lnTo>
                      <a:pt x="476" y="264"/>
                    </a:lnTo>
                    <a:lnTo>
                      <a:pt x="488" y="270"/>
                    </a:lnTo>
                    <a:lnTo>
                      <a:pt x="488" y="274"/>
                    </a:lnTo>
                    <a:lnTo>
                      <a:pt x="488" y="277"/>
                    </a:lnTo>
                    <a:lnTo>
                      <a:pt x="486" y="288"/>
                    </a:lnTo>
                    <a:lnTo>
                      <a:pt x="485" y="300"/>
                    </a:lnTo>
                    <a:lnTo>
                      <a:pt x="485" y="317"/>
                    </a:lnTo>
                    <a:lnTo>
                      <a:pt x="485" y="331"/>
                    </a:lnTo>
                    <a:lnTo>
                      <a:pt x="491" y="343"/>
                    </a:lnTo>
                    <a:lnTo>
                      <a:pt x="504" y="351"/>
                    </a:lnTo>
                    <a:lnTo>
                      <a:pt x="509" y="356"/>
                    </a:lnTo>
                    <a:lnTo>
                      <a:pt x="519" y="363"/>
                    </a:lnTo>
                    <a:lnTo>
                      <a:pt x="534" y="358"/>
                    </a:lnTo>
                    <a:lnTo>
                      <a:pt x="550" y="353"/>
                    </a:lnTo>
                    <a:lnTo>
                      <a:pt x="559" y="353"/>
                    </a:lnTo>
                    <a:lnTo>
                      <a:pt x="565" y="358"/>
                    </a:lnTo>
                    <a:lnTo>
                      <a:pt x="572" y="363"/>
                    </a:lnTo>
                    <a:lnTo>
                      <a:pt x="579" y="368"/>
                    </a:lnTo>
                    <a:lnTo>
                      <a:pt x="572" y="375"/>
                    </a:lnTo>
                    <a:lnTo>
                      <a:pt x="565" y="380"/>
                    </a:lnTo>
                    <a:lnTo>
                      <a:pt x="562" y="379"/>
                    </a:lnTo>
                    <a:lnTo>
                      <a:pt x="560" y="377"/>
                    </a:lnTo>
                    <a:lnTo>
                      <a:pt x="560" y="374"/>
                    </a:lnTo>
                    <a:lnTo>
                      <a:pt x="564" y="372"/>
                    </a:lnTo>
                    <a:lnTo>
                      <a:pt x="557" y="367"/>
                    </a:lnTo>
                    <a:lnTo>
                      <a:pt x="550" y="363"/>
                    </a:lnTo>
                    <a:lnTo>
                      <a:pt x="545" y="363"/>
                    </a:lnTo>
                    <a:lnTo>
                      <a:pt x="540" y="368"/>
                    </a:lnTo>
                    <a:lnTo>
                      <a:pt x="534" y="372"/>
                    </a:lnTo>
                    <a:lnTo>
                      <a:pt x="533" y="375"/>
                    </a:lnTo>
                    <a:lnTo>
                      <a:pt x="534" y="379"/>
                    </a:lnTo>
                    <a:lnTo>
                      <a:pt x="536" y="380"/>
                    </a:lnTo>
                    <a:lnTo>
                      <a:pt x="533" y="386"/>
                    </a:lnTo>
                    <a:lnTo>
                      <a:pt x="529" y="389"/>
                    </a:lnTo>
                    <a:lnTo>
                      <a:pt x="517" y="382"/>
                    </a:lnTo>
                    <a:lnTo>
                      <a:pt x="512" y="375"/>
                    </a:lnTo>
                    <a:lnTo>
                      <a:pt x="504" y="372"/>
                    </a:lnTo>
                    <a:lnTo>
                      <a:pt x="497" y="374"/>
                    </a:lnTo>
                    <a:lnTo>
                      <a:pt x="495" y="372"/>
                    </a:lnTo>
                    <a:lnTo>
                      <a:pt x="488" y="367"/>
                    </a:lnTo>
                    <a:lnTo>
                      <a:pt x="485" y="360"/>
                    </a:lnTo>
                    <a:lnTo>
                      <a:pt x="479" y="355"/>
                    </a:lnTo>
                    <a:lnTo>
                      <a:pt x="474" y="351"/>
                    </a:lnTo>
                    <a:lnTo>
                      <a:pt x="467" y="346"/>
                    </a:lnTo>
                    <a:lnTo>
                      <a:pt x="466" y="346"/>
                    </a:lnTo>
                    <a:lnTo>
                      <a:pt x="466" y="348"/>
                    </a:lnTo>
                    <a:lnTo>
                      <a:pt x="466" y="351"/>
                    </a:lnTo>
                    <a:lnTo>
                      <a:pt x="461" y="351"/>
                    </a:lnTo>
                    <a:lnTo>
                      <a:pt x="455" y="341"/>
                    </a:lnTo>
                    <a:lnTo>
                      <a:pt x="455" y="332"/>
                    </a:lnTo>
                    <a:lnTo>
                      <a:pt x="452" y="325"/>
                    </a:lnTo>
                    <a:lnTo>
                      <a:pt x="448" y="324"/>
                    </a:lnTo>
                    <a:lnTo>
                      <a:pt x="436" y="312"/>
                    </a:lnTo>
                    <a:lnTo>
                      <a:pt x="430" y="298"/>
                    </a:lnTo>
                    <a:lnTo>
                      <a:pt x="428" y="298"/>
                    </a:lnTo>
                    <a:lnTo>
                      <a:pt x="426" y="298"/>
                    </a:lnTo>
                    <a:lnTo>
                      <a:pt x="421" y="300"/>
                    </a:lnTo>
                    <a:lnTo>
                      <a:pt x="418" y="301"/>
                    </a:lnTo>
                    <a:lnTo>
                      <a:pt x="404" y="296"/>
                    </a:lnTo>
                    <a:lnTo>
                      <a:pt x="395" y="293"/>
                    </a:lnTo>
                    <a:lnTo>
                      <a:pt x="381" y="288"/>
                    </a:lnTo>
                    <a:lnTo>
                      <a:pt x="369" y="286"/>
                    </a:lnTo>
                    <a:lnTo>
                      <a:pt x="357" y="277"/>
                    </a:lnTo>
                    <a:lnTo>
                      <a:pt x="350" y="270"/>
                    </a:lnTo>
                    <a:lnTo>
                      <a:pt x="344" y="264"/>
                    </a:lnTo>
                    <a:lnTo>
                      <a:pt x="337" y="258"/>
                    </a:lnTo>
                    <a:lnTo>
                      <a:pt x="333" y="258"/>
                    </a:lnTo>
                    <a:lnTo>
                      <a:pt x="328" y="255"/>
                    </a:lnTo>
                    <a:lnTo>
                      <a:pt x="323" y="255"/>
                    </a:lnTo>
                    <a:lnTo>
                      <a:pt x="313" y="260"/>
                    </a:lnTo>
                    <a:lnTo>
                      <a:pt x="304" y="265"/>
                    </a:lnTo>
                    <a:lnTo>
                      <a:pt x="297" y="262"/>
                    </a:lnTo>
                    <a:lnTo>
                      <a:pt x="294" y="260"/>
                    </a:lnTo>
                    <a:lnTo>
                      <a:pt x="287" y="258"/>
                    </a:lnTo>
                    <a:lnTo>
                      <a:pt x="282" y="260"/>
                    </a:lnTo>
                    <a:lnTo>
                      <a:pt x="275" y="257"/>
                    </a:lnTo>
                    <a:lnTo>
                      <a:pt x="266" y="253"/>
                    </a:lnTo>
                    <a:lnTo>
                      <a:pt x="258" y="248"/>
                    </a:lnTo>
                    <a:lnTo>
                      <a:pt x="252" y="245"/>
                    </a:lnTo>
                    <a:lnTo>
                      <a:pt x="246" y="243"/>
                    </a:lnTo>
                    <a:lnTo>
                      <a:pt x="239" y="245"/>
                    </a:lnTo>
                    <a:lnTo>
                      <a:pt x="230" y="238"/>
                    </a:lnTo>
                    <a:lnTo>
                      <a:pt x="223" y="233"/>
                    </a:lnTo>
                    <a:lnTo>
                      <a:pt x="215" y="229"/>
                    </a:lnTo>
                    <a:lnTo>
                      <a:pt x="206" y="227"/>
                    </a:lnTo>
                    <a:lnTo>
                      <a:pt x="203" y="226"/>
                    </a:lnTo>
                    <a:lnTo>
                      <a:pt x="201" y="224"/>
                    </a:lnTo>
                    <a:lnTo>
                      <a:pt x="192" y="219"/>
                    </a:lnTo>
                    <a:lnTo>
                      <a:pt x="185" y="215"/>
                    </a:lnTo>
                    <a:lnTo>
                      <a:pt x="178" y="210"/>
                    </a:lnTo>
                    <a:lnTo>
                      <a:pt x="177" y="207"/>
                    </a:lnTo>
                    <a:lnTo>
                      <a:pt x="172" y="203"/>
                    </a:lnTo>
                    <a:lnTo>
                      <a:pt x="170" y="196"/>
                    </a:lnTo>
                    <a:lnTo>
                      <a:pt x="172" y="190"/>
                    </a:lnTo>
                    <a:lnTo>
                      <a:pt x="175" y="183"/>
                    </a:lnTo>
                    <a:lnTo>
                      <a:pt x="172" y="176"/>
                    </a:lnTo>
                    <a:lnTo>
                      <a:pt x="170" y="171"/>
                    </a:lnTo>
                    <a:lnTo>
                      <a:pt x="161" y="157"/>
                    </a:lnTo>
                    <a:lnTo>
                      <a:pt x="153" y="147"/>
                    </a:lnTo>
                    <a:lnTo>
                      <a:pt x="144" y="135"/>
                    </a:lnTo>
                    <a:lnTo>
                      <a:pt x="135" y="128"/>
                    </a:lnTo>
                    <a:lnTo>
                      <a:pt x="125" y="121"/>
                    </a:lnTo>
                    <a:lnTo>
                      <a:pt x="117" y="116"/>
                    </a:lnTo>
                    <a:lnTo>
                      <a:pt x="115" y="107"/>
                    </a:lnTo>
                    <a:lnTo>
                      <a:pt x="113" y="100"/>
                    </a:lnTo>
                    <a:lnTo>
                      <a:pt x="108" y="93"/>
                    </a:lnTo>
                    <a:lnTo>
                      <a:pt x="101" y="90"/>
                    </a:lnTo>
                    <a:lnTo>
                      <a:pt x="96" y="83"/>
                    </a:lnTo>
                    <a:lnTo>
                      <a:pt x="94" y="78"/>
                    </a:lnTo>
                    <a:lnTo>
                      <a:pt x="89" y="76"/>
                    </a:lnTo>
                    <a:lnTo>
                      <a:pt x="87" y="78"/>
                    </a:lnTo>
                    <a:lnTo>
                      <a:pt x="79" y="68"/>
                    </a:lnTo>
                    <a:lnTo>
                      <a:pt x="70" y="61"/>
                    </a:lnTo>
                    <a:lnTo>
                      <a:pt x="67" y="50"/>
                    </a:lnTo>
                    <a:lnTo>
                      <a:pt x="63" y="42"/>
                    </a:lnTo>
                    <a:lnTo>
                      <a:pt x="58" y="31"/>
                    </a:lnTo>
                    <a:lnTo>
                      <a:pt x="56" y="25"/>
                    </a:lnTo>
                    <a:lnTo>
                      <a:pt x="43" y="19"/>
                    </a:lnTo>
                    <a:lnTo>
                      <a:pt x="32" y="14"/>
                    </a:lnTo>
                    <a:lnTo>
                      <a:pt x="31" y="18"/>
                    </a:lnTo>
                    <a:lnTo>
                      <a:pt x="31" y="21"/>
                    </a:lnTo>
                    <a:lnTo>
                      <a:pt x="32" y="33"/>
                    </a:lnTo>
                    <a:lnTo>
                      <a:pt x="41" y="47"/>
                    </a:lnTo>
                    <a:lnTo>
                      <a:pt x="48" y="54"/>
                    </a:lnTo>
                    <a:lnTo>
                      <a:pt x="56" y="61"/>
                    </a:lnTo>
                    <a:lnTo>
                      <a:pt x="61" y="69"/>
                    </a:lnTo>
                    <a:lnTo>
                      <a:pt x="67" y="81"/>
                    </a:lnTo>
                    <a:lnTo>
                      <a:pt x="75" y="95"/>
                    </a:lnTo>
                    <a:lnTo>
                      <a:pt x="84" y="109"/>
                    </a:lnTo>
                    <a:lnTo>
                      <a:pt x="86" y="117"/>
                    </a:lnTo>
                    <a:lnTo>
                      <a:pt x="89" y="126"/>
                    </a:lnTo>
                    <a:lnTo>
                      <a:pt x="92" y="133"/>
                    </a:lnTo>
                    <a:lnTo>
                      <a:pt x="99" y="140"/>
                    </a:lnTo>
                    <a:lnTo>
                      <a:pt x="106" y="141"/>
                    </a:lnTo>
                    <a:lnTo>
                      <a:pt x="110" y="148"/>
                    </a:lnTo>
                    <a:lnTo>
                      <a:pt x="108" y="153"/>
                    </a:lnTo>
                    <a:lnTo>
                      <a:pt x="106" y="157"/>
                    </a:lnTo>
                    <a:lnTo>
                      <a:pt x="101" y="150"/>
                    </a:lnTo>
                    <a:lnTo>
                      <a:pt x="98" y="145"/>
                    </a:lnTo>
                    <a:lnTo>
                      <a:pt x="86" y="138"/>
                    </a:lnTo>
                    <a:lnTo>
                      <a:pt x="79" y="129"/>
                    </a:lnTo>
                    <a:lnTo>
                      <a:pt x="75" y="128"/>
                    </a:lnTo>
                    <a:lnTo>
                      <a:pt x="74" y="126"/>
                    </a:lnTo>
                    <a:lnTo>
                      <a:pt x="74" y="112"/>
                    </a:lnTo>
                    <a:lnTo>
                      <a:pt x="65" y="104"/>
                    </a:lnTo>
                    <a:lnTo>
                      <a:pt x="58" y="97"/>
                    </a:lnTo>
                    <a:lnTo>
                      <a:pt x="46" y="88"/>
                    </a:lnTo>
                    <a:lnTo>
                      <a:pt x="36" y="83"/>
                    </a:lnTo>
                    <a:lnTo>
                      <a:pt x="43" y="83"/>
                    </a:lnTo>
                    <a:lnTo>
                      <a:pt x="46" y="78"/>
                    </a:lnTo>
                    <a:lnTo>
                      <a:pt x="32" y="62"/>
                    </a:lnTo>
                    <a:lnTo>
                      <a:pt x="20" y="50"/>
                    </a:lnTo>
                    <a:lnTo>
                      <a:pt x="15" y="45"/>
                    </a:lnTo>
                    <a:lnTo>
                      <a:pt x="15" y="38"/>
                    </a:lnTo>
                    <a:lnTo>
                      <a:pt x="13" y="31"/>
                    </a:lnTo>
                    <a:lnTo>
                      <a:pt x="12" y="26"/>
                    </a:lnTo>
                    <a:lnTo>
                      <a:pt x="5" y="14"/>
                    </a:lnTo>
                    <a:lnTo>
                      <a:pt x="0" y="4"/>
                    </a:lnTo>
                    <a:lnTo>
                      <a:pt x="0" y="0"/>
                    </a:lnTo>
                    <a:lnTo>
                      <a:pt x="32" y="0"/>
                    </a:lnTo>
                    <a:lnTo>
                      <a:pt x="87" y="18"/>
                    </a:lnTo>
                    <a:lnTo>
                      <a:pt x="129" y="18"/>
                    </a:lnTo>
                    <a:lnTo>
                      <a:pt x="129" y="11"/>
                    </a:lnTo>
                    <a:lnTo>
                      <a:pt x="139" y="11"/>
                    </a:lnTo>
                    <a:lnTo>
                      <a:pt x="149" y="12"/>
                    </a:lnTo>
                    <a:lnTo>
                      <a:pt x="160" y="18"/>
                    </a:lnTo>
                    <a:lnTo>
                      <a:pt x="166" y="23"/>
                    </a:lnTo>
                    <a:lnTo>
                      <a:pt x="173" y="33"/>
                    </a:lnTo>
                    <a:lnTo>
                      <a:pt x="177" y="38"/>
                    </a:lnTo>
                    <a:lnTo>
                      <a:pt x="182" y="47"/>
                    </a:lnTo>
                    <a:lnTo>
                      <a:pt x="189" y="54"/>
                    </a:lnTo>
                    <a:lnTo>
                      <a:pt x="197" y="57"/>
                    </a:lnTo>
                    <a:lnTo>
                      <a:pt x="201" y="54"/>
                    </a:lnTo>
                    <a:lnTo>
                      <a:pt x="204" y="49"/>
                    </a:lnTo>
                    <a:lnTo>
                      <a:pt x="208" y="43"/>
                    </a:lnTo>
                    <a:lnTo>
                      <a:pt x="215" y="42"/>
                    </a:lnTo>
                    <a:lnTo>
                      <a:pt x="223" y="42"/>
                    </a:lnTo>
                    <a:lnTo>
                      <a:pt x="232" y="47"/>
                    </a:lnTo>
                    <a:lnTo>
                      <a:pt x="237" y="52"/>
                    </a:lnTo>
                    <a:lnTo>
                      <a:pt x="242" y="62"/>
                    </a:lnTo>
                    <a:lnTo>
                      <a:pt x="246" y="71"/>
                    </a:lnTo>
                    <a:lnTo>
                      <a:pt x="249" y="80"/>
                    </a:lnTo>
                    <a:lnTo>
                      <a:pt x="254" y="88"/>
                    </a:lnTo>
                    <a:lnTo>
                      <a:pt x="261" y="97"/>
                    </a:lnTo>
                    <a:lnTo>
                      <a:pt x="270" y="100"/>
                    </a:lnTo>
                    <a:lnTo>
                      <a:pt x="285" y="104"/>
                    </a:lnTo>
                    <a:lnTo>
                      <a:pt x="283" y="100"/>
                    </a:lnTo>
                    <a:lnTo>
                      <a:pt x="283" y="98"/>
                    </a:lnTo>
                    <a:lnTo>
                      <a:pt x="285" y="1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97" name="Freeform 342"/>
              <p:cNvSpPr>
                <a:spLocks/>
              </p:cNvSpPr>
              <p:nvPr/>
            </p:nvSpPr>
            <p:spPr bwMode="auto">
              <a:xfrm>
                <a:off x="2437607" y="2673350"/>
                <a:ext cx="26988" cy="12700"/>
              </a:xfrm>
              <a:custGeom>
                <a:avLst/>
                <a:gdLst/>
                <a:ahLst/>
                <a:cxnLst>
                  <a:cxn ang="0">
                    <a:pos x="0" y="0"/>
                  </a:cxn>
                  <a:cxn ang="0">
                    <a:pos x="10" y="1"/>
                  </a:cxn>
                  <a:cxn ang="0">
                    <a:pos x="17" y="8"/>
                  </a:cxn>
                  <a:cxn ang="0">
                    <a:pos x="15" y="8"/>
                  </a:cxn>
                  <a:cxn ang="0">
                    <a:pos x="13" y="8"/>
                  </a:cxn>
                  <a:cxn ang="0">
                    <a:pos x="5" y="7"/>
                  </a:cxn>
                  <a:cxn ang="0">
                    <a:pos x="0" y="3"/>
                  </a:cxn>
                  <a:cxn ang="0">
                    <a:pos x="0" y="0"/>
                  </a:cxn>
                </a:cxnLst>
                <a:rect l="0" t="0" r="r" b="b"/>
                <a:pathLst>
                  <a:path w="17" h="8">
                    <a:moveTo>
                      <a:pt x="0" y="0"/>
                    </a:moveTo>
                    <a:lnTo>
                      <a:pt x="10" y="1"/>
                    </a:lnTo>
                    <a:lnTo>
                      <a:pt x="17" y="8"/>
                    </a:lnTo>
                    <a:lnTo>
                      <a:pt x="15" y="8"/>
                    </a:lnTo>
                    <a:lnTo>
                      <a:pt x="13" y="8"/>
                    </a:lnTo>
                    <a:lnTo>
                      <a:pt x="5" y="7"/>
                    </a:lnTo>
                    <a:lnTo>
                      <a:pt x="0" y="3"/>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98" name="Freeform 343"/>
              <p:cNvSpPr>
                <a:spLocks/>
              </p:cNvSpPr>
              <p:nvPr/>
            </p:nvSpPr>
            <p:spPr bwMode="auto">
              <a:xfrm>
                <a:off x="1372394" y="2749550"/>
                <a:ext cx="109538" cy="68262"/>
              </a:xfrm>
              <a:custGeom>
                <a:avLst/>
                <a:gdLst/>
                <a:ahLst/>
                <a:cxnLst>
                  <a:cxn ang="0">
                    <a:pos x="0" y="2"/>
                  </a:cxn>
                  <a:cxn ang="0">
                    <a:pos x="3" y="0"/>
                  </a:cxn>
                  <a:cxn ang="0">
                    <a:pos x="7" y="0"/>
                  </a:cxn>
                  <a:cxn ang="0">
                    <a:pos x="14" y="2"/>
                  </a:cxn>
                  <a:cxn ang="0">
                    <a:pos x="21" y="7"/>
                  </a:cxn>
                  <a:cxn ang="0">
                    <a:pos x="34" y="12"/>
                  </a:cxn>
                  <a:cxn ang="0">
                    <a:pos x="46" y="20"/>
                  </a:cxn>
                  <a:cxn ang="0">
                    <a:pos x="57" y="29"/>
                  </a:cxn>
                  <a:cxn ang="0">
                    <a:pos x="69" y="39"/>
                  </a:cxn>
                  <a:cxn ang="0">
                    <a:pos x="69" y="43"/>
                  </a:cxn>
                  <a:cxn ang="0">
                    <a:pos x="65" y="43"/>
                  </a:cxn>
                  <a:cxn ang="0">
                    <a:pos x="64" y="43"/>
                  </a:cxn>
                  <a:cxn ang="0">
                    <a:pos x="53" y="39"/>
                  </a:cxn>
                  <a:cxn ang="0">
                    <a:pos x="43" y="34"/>
                  </a:cxn>
                  <a:cxn ang="0">
                    <a:pos x="33" y="27"/>
                  </a:cxn>
                  <a:cxn ang="0">
                    <a:pos x="26" y="24"/>
                  </a:cxn>
                  <a:cxn ang="0">
                    <a:pos x="27" y="20"/>
                  </a:cxn>
                  <a:cxn ang="0">
                    <a:pos x="31" y="19"/>
                  </a:cxn>
                  <a:cxn ang="0">
                    <a:pos x="22" y="17"/>
                  </a:cxn>
                  <a:cxn ang="0">
                    <a:pos x="14" y="15"/>
                  </a:cxn>
                  <a:cxn ang="0">
                    <a:pos x="7" y="12"/>
                  </a:cxn>
                  <a:cxn ang="0">
                    <a:pos x="5" y="8"/>
                  </a:cxn>
                  <a:cxn ang="0">
                    <a:pos x="7" y="5"/>
                  </a:cxn>
                  <a:cxn ang="0">
                    <a:pos x="10" y="3"/>
                  </a:cxn>
                  <a:cxn ang="0">
                    <a:pos x="3" y="2"/>
                  </a:cxn>
                  <a:cxn ang="0">
                    <a:pos x="2" y="2"/>
                  </a:cxn>
                  <a:cxn ang="0">
                    <a:pos x="0" y="2"/>
                  </a:cxn>
                </a:cxnLst>
                <a:rect l="0" t="0" r="r" b="b"/>
                <a:pathLst>
                  <a:path w="69" h="43">
                    <a:moveTo>
                      <a:pt x="0" y="2"/>
                    </a:moveTo>
                    <a:lnTo>
                      <a:pt x="3" y="0"/>
                    </a:lnTo>
                    <a:lnTo>
                      <a:pt x="7" y="0"/>
                    </a:lnTo>
                    <a:lnTo>
                      <a:pt x="14" y="2"/>
                    </a:lnTo>
                    <a:lnTo>
                      <a:pt x="21" y="7"/>
                    </a:lnTo>
                    <a:lnTo>
                      <a:pt x="34" y="12"/>
                    </a:lnTo>
                    <a:lnTo>
                      <a:pt x="46" y="20"/>
                    </a:lnTo>
                    <a:lnTo>
                      <a:pt x="57" y="29"/>
                    </a:lnTo>
                    <a:lnTo>
                      <a:pt x="69" y="39"/>
                    </a:lnTo>
                    <a:lnTo>
                      <a:pt x="69" y="43"/>
                    </a:lnTo>
                    <a:lnTo>
                      <a:pt x="65" y="43"/>
                    </a:lnTo>
                    <a:lnTo>
                      <a:pt x="64" y="43"/>
                    </a:lnTo>
                    <a:lnTo>
                      <a:pt x="53" y="39"/>
                    </a:lnTo>
                    <a:lnTo>
                      <a:pt x="43" y="34"/>
                    </a:lnTo>
                    <a:lnTo>
                      <a:pt x="33" y="27"/>
                    </a:lnTo>
                    <a:lnTo>
                      <a:pt x="26" y="24"/>
                    </a:lnTo>
                    <a:lnTo>
                      <a:pt x="27" y="20"/>
                    </a:lnTo>
                    <a:lnTo>
                      <a:pt x="31" y="19"/>
                    </a:lnTo>
                    <a:lnTo>
                      <a:pt x="22" y="17"/>
                    </a:lnTo>
                    <a:lnTo>
                      <a:pt x="14" y="15"/>
                    </a:lnTo>
                    <a:lnTo>
                      <a:pt x="7" y="12"/>
                    </a:lnTo>
                    <a:lnTo>
                      <a:pt x="5" y="8"/>
                    </a:lnTo>
                    <a:lnTo>
                      <a:pt x="7" y="5"/>
                    </a:lnTo>
                    <a:lnTo>
                      <a:pt x="10" y="3"/>
                    </a:lnTo>
                    <a:lnTo>
                      <a:pt x="3" y="2"/>
                    </a:lnTo>
                    <a:lnTo>
                      <a:pt x="2" y="2"/>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799" name="Freeform 344"/>
              <p:cNvSpPr>
                <a:spLocks/>
              </p:cNvSpPr>
              <p:nvPr/>
            </p:nvSpPr>
            <p:spPr bwMode="auto">
              <a:xfrm>
                <a:off x="1262857" y="2647950"/>
                <a:ext cx="33338" cy="55562"/>
              </a:xfrm>
              <a:custGeom>
                <a:avLst/>
                <a:gdLst/>
                <a:ahLst/>
                <a:cxnLst>
                  <a:cxn ang="0">
                    <a:pos x="7" y="12"/>
                  </a:cxn>
                  <a:cxn ang="0">
                    <a:pos x="4" y="9"/>
                  </a:cxn>
                  <a:cxn ang="0">
                    <a:pos x="0" y="4"/>
                  </a:cxn>
                  <a:cxn ang="0">
                    <a:pos x="0" y="0"/>
                  </a:cxn>
                  <a:cxn ang="0">
                    <a:pos x="5" y="0"/>
                  </a:cxn>
                  <a:cxn ang="0">
                    <a:pos x="12" y="4"/>
                  </a:cxn>
                  <a:cxn ang="0">
                    <a:pos x="9" y="5"/>
                  </a:cxn>
                  <a:cxn ang="0">
                    <a:pos x="9" y="9"/>
                  </a:cxn>
                  <a:cxn ang="0">
                    <a:pos x="14" y="5"/>
                  </a:cxn>
                  <a:cxn ang="0">
                    <a:pos x="16" y="2"/>
                  </a:cxn>
                  <a:cxn ang="0">
                    <a:pos x="16" y="7"/>
                  </a:cxn>
                  <a:cxn ang="0">
                    <a:pos x="16" y="14"/>
                  </a:cxn>
                  <a:cxn ang="0">
                    <a:pos x="17" y="16"/>
                  </a:cxn>
                  <a:cxn ang="0">
                    <a:pos x="19" y="19"/>
                  </a:cxn>
                  <a:cxn ang="0">
                    <a:pos x="17" y="21"/>
                  </a:cxn>
                  <a:cxn ang="0">
                    <a:pos x="16" y="24"/>
                  </a:cxn>
                  <a:cxn ang="0">
                    <a:pos x="19" y="29"/>
                  </a:cxn>
                  <a:cxn ang="0">
                    <a:pos x="21" y="35"/>
                  </a:cxn>
                  <a:cxn ang="0">
                    <a:pos x="14" y="31"/>
                  </a:cxn>
                  <a:cxn ang="0">
                    <a:pos x="14" y="24"/>
                  </a:cxn>
                  <a:cxn ang="0">
                    <a:pos x="14" y="21"/>
                  </a:cxn>
                  <a:cxn ang="0">
                    <a:pos x="16" y="19"/>
                  </a:cxn>
                  <a:cxn ang="0">
                    <a:pos x="10" y="14"/>
                  </a:cxn>
                  <a:cxn ang="0">
                    <a:pos x="7" y="12"/>
                  </a:cxn>
                </a:cxnLst>
                <a:rect l="0" t="0" r="r" b="b"/>
                <a:pathLst>
                  <a:path w="21" h="35">
                    <a:moveTo>
                      <a:pt x="7" y="12"/>
                    </a:moveTo>
                    <a:lnTo>
                      <a:pt x="4" y="9"/>
                    </a:lnTo>
                    <a:lnTo>
                      <a:pt x="0" y="4"/>
                    </a:lnTo>
                    <a:lnTo>
                      <a:pt x="0" y="0"/>
                    </a:lnTo>
                    <a:lnTo>
                      <a:pt x="5" y="0"/>
                    </a:lnTo>
                    <a:lnTo>
                      <a:pt x="12" y="4"/>
                    </a:lnTo>
                    <a:lnTo>
                      <a:pt x="9" y="5"/>
                    </a:lnTo>
                    <a:lnTo>
                      <a:pt x="9" y="9"/>
                    </a:lnTo>
                    <a:lnTo>
                      <a:pt x="14" y="5"/>
                    </a:lnTo>
                    <a:lnTo>
                      <a:pt x="16" y="2"/>
                    </a:lnTo>
                    <a:lnTo>
                      <a:pt x="16" y="7"/>
                    </a:lnTo>
                    <a:lnTo>
                      <a:pt x="16" y="14"/>
                    </a:lnTo>
                    <a:lnTo>
                      <a:pt x="17" y="16"/>
                    </a:lnTo>
                    <a:lnTo>
                      <a:pt x="19" y="19"/>
                    </a:lnTo>
                    <a:lnTo>
                      <a:pt x="17" y="21"/>
                    </a:lnTo>
                    <a:lnTo>
                      <a:pt x="16" y="24"/>
                    </a:lnTo>
                    <a:lnTo>
                      <a:pt x="19" y="29"/>
                    </a:lnTo>
                    <a:lnTo>
                      <a:pt x="21" y="35"/>
                    </a:lnTo>
                    <a:lnTo>
                      <a:pt x="14" y="31"/>
                    </a:lnTo>
                    <a:lnTo>
                      <a:pt x="14" y="24"/>
                    </a:lnTo>
                    <a:lnTo>
                      <a:pt x="14" y="21"/>
                    </a:lnTo>
                    <a:lnTo>
                      <a:pt x="16" y="19"/>
                    </a:lnTo>
                    <a:lnTo>
                      <a:pt x="10" y="14"/>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00" name="Freeform 345"/>
              <p:cNvSpPr>
                <a:spLocks/>
              </p:cNvSpPr>
              <p:nvPr/>
            </p:nvSpPr>
            <p:spPr bwMode="auto">
              <a:xfrm>
                <a:off x="772319" y="2525713"/>
                <a:ext cx="47625" cy="31750"/>
              </a:xfrm>
              <a:custGeom>
                <a:avLst/>
                <a:gdLst/>
                <a:ahLst/>
                <a:cxnLst>
                  <a:cxn ang="0">
                    <a:pos x="24" y="0"/>
                  </a:cxn>
                  <a:cxn ang="0">
                    <a:pos x="27" y="0"/>
                  </a:cxn>
                  <a:cxn ang="0">
                    <a:pos x="30" y="0"/>
                  </a:cxn>
                  <a:cxn ang="0">
                    <a:pos x="30" y="7"/>
                  </a:cxn>
                  <a:cxn ang="0">
                    <a:pos x="20" y="12"/>
                  </a:cxn>
                  <a:cxn ang="0">
                    <a:pos x="10" y="20"/>
                  </a:cxn>
                  <a:cxn ang="0">
                    <a:pos x="5" y="15"/>
                  </a:cxn>
                  <a:cxn ang="0">
                    <a:pos x="0" y="14"/>
                  </a:cxn>
                  <a:cxn ang="0">
                    <a:pos x="0" y="7"/>
                  </a:cxn>
                  <a:cxn ang="0">
                    <a:pos x="12" y="2"/>
                  </a:cxn>
                  <a:cxn ang="0">
                    <a:pos x="24" y="0"/>
                  </a:cxn>
                </a:cxnLst>
                <a:rect l="0" t="0" r="r" b="b"/>
                <a:pathLst>
                  <a:path w="30" h="20">
                    <a:moveTo>
                      <a:pt x="24" y="0"/>
                    </a:moveTo>
                    <a:lnTo>
                      <a:pt x="27" y="0"/>
                    </a:lnTo>
                    <a:lnTo>
                      <a:pt x="30" y="0"/>
                    </a:lnTo>
                    <a:lnTo>
                      <a:pt x="30" y="7"/>
                    </a:lnTo>
                    <a:lnTo>
                      <a:pt x="20" y="12"/>
                    </a:lnTo>
                    <a:lnTo>
                      <a:pt x="10" y="20"/>
                    </a:lnTo>
                    <a:lnTo>
                      <a:pt x="5" y="15"/>
                    </a:lnTo>
                    <a:lnTo>
                      <a:pt x="0" y="14"/>
                    </a:lnTo>
                    <a:lnTo>
                      <a:pt x="0" y="7"/>
                    </a:lnTo>
                    <a:lnTo>
                      <a:pt x="12" y="2"/>
                    </a:lnTo>
                    <a:lnTo>
                      <a:pt x="2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01" name="Freeform 346"/>
              <p:cNvSpPr>
                <a:spLocks/>
              </p:cNvSpPr>
              <p:nvPr/>
            </p:nvSpPr>
            <p:spPr bwMode="auto">
              <a:xfrm>
                <a:off x="4596607" y="3098800"/>
                <a:ext cx="63500" cy="38100"/>
              </a:xfrm>
              <a:custGeom>
                <a:avLst/>
                <a:gdLst/>
                <a:ahLst/>
                <a:cxnLst>
                  <a:cxn ang="0">
                    <a:pos x="0" y="2"/>
                  </a:cxn>
                  <a:cxn ang="0">
                    <a:pos x="0" y="5"/>
                  </a:cxn>
                  <a:cxn ang="0">
                    <a:pos x="4" y="7"/>
                  </a:cxn>
                  <a:cxn ang="0">
                    <a:pos x="9" y="8"/>
                  </a:cxn>
                  <a:cxn ang="0">
                    <a:pos x="19" y="14"/>
                  </a:cxn>
                  <a:cxn ang="0">
                    <a:pos x="31" y="22"/>
                  </a:cxn>
                  <a:cxn ang="0">
                    <a:pos x="33" y="22"/>
                  </a:cxn>
                  <a:cxn ang="0">
                    <a:pos x="35" y="24"/>
                  </a:cxn>
                  <a:cxn ang="0">
                    <a:pos x="36" y="22"/>
                  </a:cxn>
                  <a:cxn ang="0">
                    <a:pos x="38" y="21"/>
                  </a:cxn>
                  <a:cxn ang="0">
                    <a:pos x="36" y="15"/>
                  </a:cxn>
                  <a:cxn ang="0">
                    <a:pos x="36" y="12"/>
                  </a:cxn>
                  <a:cxn ang="0">
                    <a:pos x="36" y="8"/>
                  </a:cxn>
                  <a:cxn ang="0">
                    <a:pos x="38" y="7"/>
                  </a:cxn>
                  <a:cxn ang="0">
                    <a:pos x="40" y="0"/>
                  </a:cxn>
                  <a:cxn ang="0">
                    <a:pos x="31" y="2"/>
                  </a:cxn>
                  <a:cxn ang="0">
                    <a:pos x="22" y="3"/>
                  </a:cxn>
                  <a:cxn ang="0">
                    <a:pos x="12" y="0"/>
                  </a:cxn>
                  <a:cxn ang="0">
                    <a:pos x="0" y="2"/>
                  </a:cxn>
                </a:cxnLst>
                <a:rect l="0" t="0" r="r" b="b"/>
                <a:pathLst>
                  <a:path w="40" h="24">
                    <a:moveTo>
                      <a:pt x="0" y="2"/>
                    </a:moveTo>
                    <a:lnTo>
                      <a:pt x="0" y="5"/>
                    </a:lnTo>
                    <a:lnTo>
                      <a:pt x="4" y="7"/>
                    </a:lnTo>
                    <a:lnTo>
                      <a:pt x="9" y="8"/>
                    </a:lnTo>
                    <a:lnTo>
                      <a:pt x="19" y="14"/>
                    </a:lnTo>
                    <a:lnTo>
                      <a:pt x="31" y="22"/>
                    </a:lnTo>
                    <a:lnTo>
                      <a:pt x="33" y="22"/>
                    </a:lnTo>
                    <a:lnTo>
                      <a:pt x="35" y="24"/>
                    </a:lnTo>
                    <a:lnTo>
                      <a:pt x="36" y="22"/>
                    </a:lnTo>
                    <a:lnTo>
                      <a:pt x="38" y="21"/>
                    </a:lnTo>
                    <a:lnTo>
                      <a:pt x="36" y="15"/>
                    </a:lnTo>
                    <a:lnTo>
                      <a:pt x="36" y="12"/>
                    </a:lnTo>
                    <a:lnTo>
                      <a:pt x="36" y="8"/>
                    </a:lnTo>
                    <a:lnTo>
                      <a:pt x="38" y="7"/>
                    </a:lnTo>
                    <a:lnTo>
                      <a:pt x="40" y="0"/>
                    </a:lnTo>
                    <a:lnTo>
                      <a:pt x="31" y="2"/>
                    </a:lnTo>
                    <a:lnTo>
                      <a:pt x="22" y="3"/>
                    </a:lnTo>
                    <a:lnTo>
                      <a:pt x="12" y="0"/>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02" name="Freeform 347"/>
              <p:cNvSpPr>
                <a:spLocks/>
              </p:cNvSpPr>
              <p:nvPr/>
            </p:nvSpPr>
            <p:spPr bwMode="auto">
              <a:xfrm>
                <a:off x="4509294" y="2967038"/>
                <a:ext cx="22225" cy="41275"/>
              </a:xfrm>
              <a:custGeom>
                <a:avLst/>
                <a:gdLst/>
                <a:ahLst/>
                <a:cxnLst>
                  <a:cxn ang="0">
                    <a:pos x="4" y="6"/>
                  </a:cxn>
                  <a:cxn ang="0">
                    <a:pos x="7" y="2"/>
                  </a:cxn>
                  <a:cxn ang="0">
                    <a:pos x="12" y="0"/>
                  </a:cxn>
                  <a:cxn ang="0">
                    <a:pos x="12" y="4"/>
                  </a:cxn>
                  <a:cxn ang="0">
                    <a:pos x="14" y="7"/>
                  </a:cxn>
                  <a:cxn ang="0">
                    <a:pos x="10" y="18"/>
                  </a:cxn>
                  <a:cxn ang="0">
                    <a:pos x="10" y="26"/>
                  </a:cxn>
                  <a:cxn ang="0">
                    <a:pos x="5" y="23"/>
                  </a:cxn>
                  <a:cxn ang="0">
                    <a:pos x="4" y="18"/>
                  </a:cxn>
                  <a:cxn ang="0">
                    <a:pos x="2" y="11"/>
                  </a:cxn>
                  <a:cxn ang="0">
                    <a:pos x="0" y="7"/>
                  </a:cxn>
                  <a:cxn ang="0">
                    <a:pos x="2" y="6"/>
                  </a:cxn>
                  <a:cxn ang="0">
                    <a:pos x="4" y="6"/>
                  </a:cxn>
                </a:cxnLst>
                <a:rect l="0" t="0" r="r" b="b"/>
                <a:pathLst>
                  <a:path w="14" h="26">
                    <a:moveTo>
                      <a:pt x="4" y="6"/>
                    </a:moveTo>
                    <a:lnTo>
                      <a:pt x="7" y="2"/>
                    </a:lnTo>
                    <a:lnTo>
                      <a:pt x="12" y="0"/>
                    </a:lnTo>
                    <a:lnTo>
                      <a:pt x="12" y="4"/>
                    </a:lnTo>
                    <a:lnTo>
                      <a:pt x="14" y="7"/>
                    </a:lnTo>
                    <a:lnTo>
                      <a:pt x="10" y="18"/>
                    </a:lnTo>
                    <a:lnTo>
                      <a:pt x="10" y="26"/>
                    </a:lnTo>
                    <a:lnTo>
                      <a:pt x="5" y="23"/>
                    </a:lnTo>
                    <a:lnTo>
                      <a:pt x="4" y="18"/>
                    </a:lnTo>
                    <a:lnTo>
                      <a:pt x="2" y="11"/>
                    </a:lnTo>
                    <a:lnTo>
                      <a:pt x="0" y="7"/>
                    </a:lnTo>
                    <a:lnTo>
                      <a:pt x="2" y="6"/>
                    </a:lnTo>
                    <a:lnTo>
                      <a:pt x="4"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03" name="Freeform 348"/>
              <p:cNvSpPr>
                <a:spLocks/>
              </p:cNvSpPr>
              <p:nvPr/>
            </p:nvSpPr>
            <p:spPr bwMode="auto">
              <a:xfrm>
                <a:off x="4504532" y="3016250"/>
                <a:ext cx="31750" cy="60325"/>
              </a:xfrm>
              <a:custGeom>
                <a:avLst/>
                <a:gdLst/>
                <a:ahLst/>
                <a:cxnLst>
                  <a:cxn ang="0">
                    <a:pos x="5" y="17"/>
                  </a:cxn>
                  <a:cxn ang="0">
                    <a:pos x="1" y="11"/>
                  </a:cxn>
                  <a:cxn ang="0">
                    <a:pos x="0" y="5"/>
                  </a:cxn>
                  <a:cxn ang="0">
                    <a:pos x="5" y="2"/>
                  </a:cxn>
                  <a:cxn ang="0">
                    <a:pos x="10" y="0"/>
                  </a:cxn>
                  <a:cxn ang="0">
                    <a:pos x="13" y="0"/>
                  </a:cxn>
                  <a:cxn ang="0">
                    <a:pos x="17" y="2"/>
                  </a:cxn>
                  <a:cxn ang="0">
                    <a:pos x="20" y="12"/>
                  </a:cxn>
                  <a:cxn ang="0">
                    <a:pos x="20" y="23"/>
                  </a:cxn>
                  <a:cxn ang="0">
                    <a:pos x="15" y="33"/>
                  </a:cxn>
                  <a:cxn ang="0">
                    <a:pos x="7" y="38"/>
                  </a:cxn>
                  <a:cxn ang="0">
                    <a:pos x="1" y="33"/>
                  </a:cxn>
                  <a:cxn ang="0">
                    <a:pos x="1" y="26"/>
                  </a:cxn>
                  <a:cxn ang="0">
                    <a:pos x="3" y="21"/>
                  </a:cxn>
                  <a:cxn ang="0">
                    <a:pos x="5" y="17"/>
                  </a:cxn>
                </a:cxnLst>
                <a:rect l="0" t="0" r="r" b="b"/>
                <a:pathLst>
                  <a:path w="20" h="38">
                    <a:moveTo>
                      <a:pt x="5" y="17"/>
                    </a:moveTo>
                    <a:lnTo>
                      <a:pt x="1" y="11"/>
                    </a:lnTo>
                    <a:lnTo>
                      <a:pt x="0" y="5"/>
                    </a:lnTo>
                    <a:lnTo>
                      <a:pt x="5" y="2"/>
                    </a:lnTo>
                    <a:lnTo>
                      <a:pt x="10" y="0"/>
                    </a:lnTo>
                    <a:lnTo>
                      <a:pt x="13" y="0"/>
                    </a:lnTo>
                    <a:lnTo>
                      <a:pt x="17" y="2"/>
                    </a:lnTo>
                    <a:lnTo>
                      <a:pt x="20" y="12"/>
                    </a:lnTo>
                    <a:lnTo>
                      <a:pt x="20" y="23"/>
                    </a:lnTo>
                    <a:lnTo>
                      <a:pt x="15" y="33"/>
                    </a:lnTo>
                    <a:lnTo>
                      <a:pt x="7" y="38"/>
                    </a:lnTo>
                    <a:lnTo>
                      <a:pt x="1" y="33"/>
                    </a:lnTo>
                    <a:lnTo>
                      <a:pt x="1" y="26"/>
                    </a:lnTo>
                    <a:lnTo>
                      <a:pt x="3" y="21"/>
                    </a:lnTo>
                    <a:lnTo>
                      <a:pt x="5"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04" name="Freeform 349"/>
              <p:cNvSpPr>
                <a:spLocks/>
              </p:cNvSpPr>
              <p:nvPr/>
            </p:nvSpPr>
            <p:spPr bwMode="auto">
              <a:xfrm>
                <a:off x="4375944" y="3052763"/>
                <a:ext cx="15875" cy="12700"/>
              </a:xfrm>
              <a:custGeom>
                <a:avLst/>
                <a:gdLst/>
                <a:ahLst/>
                <a:cxnLst>
                  <a:cxn ang="0">
                    <a:pos x="10" y="5"/>
                  </a:cxn>
                  <a:cxn ang="0">
                    <a:pos x="7" y="7"/>
                  </a:cxn>
                  <a:cxn ang="0">
                    <a:pos x="5" y="8"/>
                  </a:cxn>
                  <a:cxn ang="0">
                    <a:pos x="2" y="5"/>
                  </a:cxn>
                  <a:cxn ang="0">
                    <a:pos x="0" y="3"/>
                  </a:cxn>
                  <a:cxn ang="0">
                    <a:pos x="3" y="0"/>
                  </a:cxn>
                  <a:cxn ang="0">
                    <a:pos x="7" y="0"/>
                  </a:cxn>
                  <a:cxn ang="0">
                    <a:pos x="8" y="1"/>
                  </a:cxn>
                  <a:cxn ang="0">
                    <a:pos x="10" y="5"/>
                  </a:cxn>
                </a:cxnLst>
                <a:rect l="0" t="0" r="r" b="b"/>
                <a:pathLst>
                  <a:path w="10" h="8">
                    <a:moveTo>
                      <a:pt x="10" y="5"/>
                    </a:moveTo>
                    <a:lnTo>
                      <a:pt x="7" y="7"/>
                    </a:lnTo>
                    <a:lnTo>
                      <a:pt x="5" y="8"/>
                    </a:lnTo>
                    <a:lnTo>
                      <a:pt x="2" y="5"/>
                    </a:lnTo>
                    <a:lnTo>
                      <a:pt x="0" y="3"/>
                    </a:lnTo>
                    <a:lnTo>
                      <a:pt x="3" y="0"/>
                    </a:lnTo>
                    <a:lnTo>
                      <a:pt x="7" y="0"/>
                    </a:lnTo>
                    <a:lnTo>
                      <a:pt x="8" y="1"/>
                    </a:lnTo>
                    <a:lnTo>
                      <a:pt x="1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05" name="Freeform 350"/>
              <p:cNvSpPr>
                <a:spLocks/>
              </p:cNvSpPr>
              <p:nvPr/>
            </p:nvSpPr>
            <p:spPr bwMode="auto">
              <a:xfrm>
                <a:off x="4542632" y="2587625"/>
                <a:ext cx="19050" cy="25400"/>
              </a:xfrm>
              <a:custGeom>
                <a:avLst/>
                <a:gdLst/>
                <a:ahLst/>
                <a:cxnLst>
                  <a:cxn ang="0">
                    <a:pos x="10" y="12"/>
                  </a:cxn>
                  <a:cxn ang="0">
                    <a:pos x="1" y="11"/>
                  </a:cxn>
                  <a:cxn ang="0">
                    <a:pos x="0" y="5"/>
                  </a:cxn>
                  <a:cxn ang="0">
                    <a:pos x="0" y="2"/>
                  </a:cxn>
                  <a:cxn ang="0">
                    <a:pos x="0" y="0"/>
                  </a:cxn>
                  <a:cxn ang="0">
                    <a:pos x="8" y="0"/>
                  </a:cxn>
                  <a:cxn ang="0">
                    <a:pos x="10" y="5"/>
                  </a:cxn>
                  <a:cxn ang="0">
                    <a:pos x="12" y="11"/>
                  </a:cxn>
                  <a:cxn ang="0">
                    <a:pos x="10" y="14"/>
                  </a:cxn>
                  <a:cxn ang="0">
                    <a:pos x="10" y="16"/>
                  </a:cxn>
                  <a:cxn ang="0">
                    <a:pos x="10" y="14"/>
                  </a:cxn>
                  <a:cxn ang="0">
                    <a:pos x="10" y="12"/>
                  </a:cxn>
                </a:cxnLst>
                <a:rect l="0" t="0" r="r" b="b"/>
                <a:pathLst>
                  <a:path w="12" h="16">
                    <a:moveTo>
                      <a:pt x="10" y="12"/>
                    </a:moveTo>
                    <a:lnTo>
                      <a:pt x="1" y="11"/>
                    </a:lnTo>
                    <a:lnTo>
                      <a:pt x="0" y="5"/>
                    </a:lnTo>
                    <a:lnTo>
                      <a:pt x="0" y="2"/>
                    </a:lnTo>
                    <a:lnTo>
                      <a:pt x="0" y="0"/>
                    </a:lnTo>
                    <a:lnTo>
                      <a:pt x="8" y="0"/>
                    </a:lnTo>
                    <a:lnTo>
                      <a:pt x="10" y="5"/>
                    </a:lnTo>
                    <a:lnTo>
                      <a:pt x="12" y="11"/>
                    </a:lnTo>
                    <a:lnTo>
                      <a:pt x="10" y="14"/>
                    </a:lnTo>
                    <a:lnTo>
                      <a:pt x="10" y="16"/>
                    </a:lnTo>
                    <a:lnTo>
                      <a:pt x="10" y="14"/>
                    </a:lnTo>
                    <a:lnTo>
                      <a:pt x="10"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06" name="Freeform 351"/>
              <p:cNvSpPr>
                <a:spLocks/>
              </p:cNvSpPr>
              <p:nvPr/>
            </p:nvSpPr>
            <p:spPr bwMode="auto">
              <a:xfrm>
                <a:off x="4566444" y="2566988"/>
                <a:ext cx="36513" cy="50800"/>
              </a:xfrm>
              <a:custGeom>
                <a:avLst/>
                <a:gdLst/>
                <a:ahLst/>
                <a:cxnLst>
                  <a:cxn ang="0">
                    <a:pos x="4" y="29"/>
                  </a:cxn>
                  <a:cxn ang="0">
                    <a:pos x="7" y="25"/>
                  </a:cxn>
                  <a:cxn ang="0">
                    <a:pos x="11" y="22"/>
                  </a:cxn>
                  <a:cxn ang="0">
                    <a:pos x="2" y="18"/>
                  </a:cxn>
                  <a:cxn ang="0">
                    <a:pos x="0" y="15"/>
                  </a:cxn>
                  <a:cxn ang="0">
                    <a:pos x="2" y="5"/>
                  </a:cxn>
                  <a:cxn ang="0">
                    <a:pos x="9" y="0"/>
                  </a:cxn>
                  <a:cxn ang="0">
                    <a:pos x="17" y="1"/>
                  </a:cxn>
                  <a:cxn ang="0">
                    <a:pos x="23" y="12"/>
                  </a:cxn>
                  <a:cxn ang="0">
                    <a:pos x="17" y="15"/>
                  </a:cxn>
                  <a:cxn ang="0">
                    <a:pos x="16" y="22"/>
                  </a:cxn>
                  <a:cxn ang="0">
                    <a:pos x="12" y="29"/>
                  </a:cxn>
                  <a:cxn ang="0">
                    <a:pos x="7" y="32"/>
                  </a:cxn>
                  <a:cxn ang="0">
                    <a:pos x="2" y="31"/>
                  </a:cxn>
                  <a:cxn ang="0">
                    <a:pos x="0" y="29"/>
                  </a:cxn>
                  <a:cxn ang="0">
                    <a:pos x="0" y="27"/>
                  </a:cxn>
                  <a:cxn ang="0">
                    <a:pos x="2" y="27"/>
                  </a:cxn>
                  <a:cxn ang="0">
                    <a:pos x="4" y="29"/>
                  </a:cxn>
                </a:cxnLst>
                <a:rect l="0" t="0" r="r" b="b"/>
                <a:pathLst>
                  <a:path w="23" h="32">
                    <a:moveTo>
                      <a:pt x="4" y="29"/>
                    </a:moveTo>
                    <a:lnTo>
                      <a:pt x="7" y="25"/>
                    </a:lnTo>
                    <a:lnTo>
                      <a:pt x="11" y="22"/>
                    </a:lnTo>
                    <a:lnTo>
                      <a:pt x="2" y="18"/>
                    </a:lnTo>
                    <a:lnTo>
                      <a:pt x="0" y="15"/>
                    </a:lnTo>
                    <a:lnTo>
                      <a:pt x="2" y="5"/>
                    </a:lnTo>
                    <a:lnTo>
                      <a:pt x="9" y="0"/>
                    </a:lnTo>
                    <a:lnTo>
                      <a:pt x="17" y="1"/>
                    </a:lnTo>
                    <a:lnTo>
                      <a:pt x="23" y="12"/>
                    </a:lnTo>
                    <a:lnTo>
                      <a:pt x="17" y="15"/>
                    </a:lnTo>
                    <a:lnTo>
                      <a:pt x="16" y="22"/>
                    </a:lnTo>
                    <a:lnTo>
                      <a:pt x="12" y="29"/>
                    </a:lnTo>
                    <a:lnTo>
                      <a:pt x="7" y="32"/>
                    </a:lnTo>
                    <a:lnTo>
                      <a:pt x="2" y="31"/>
                    </a:lnTo>
                    <a:lnTo>
                      <a:pt x="0" y="29"/>
                    </a:lnTo>
                    <a:lnTo>
                      <a:pt x="0" y="27"/>
                    </a:lnTo>
                    <a:lnTo>
                      <a:pt x="2" y="27"/>
                    </a:lnTo>
                    <a:lnTo>
                      <a:pt x="4"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07" name="Freeform 352"/>
              <p:cNvSpPr>
                <a:spLocks/>
              </p:cNvSpPr>
              <p:nvPr/>
            </p:nvSpPr>
            <p:spPr bwMode="auto">
              <a:xfrm>
                <a:off x="4725194" y="2506663"/>
                <a:ext cx="19050" cy="30162"/>
              </a:xfrm>
              <a:custGeom>
                <a:avLst/>
                <a:gdLst/>
                <a:ahLst/>
                <a:cxnLst>
                  <a:cxn ang="0">
                    <a:pos x="9" y="7"/>
                  </a:cxn>
                  <a:cxn ang="0">
                    <a:pos x="5" y="12"/>
                  </a:cxn>
                  <a:cxn ang="0">
                    <a:pos x="2" y="19"/>
                  </a:cxn>
                  <a:cxn ang="0">
                    <a:pos x="0" y="15"/>
                  </a:cxn>
                  <a:cxn ang="0">
                    <a:pos x="2" y="14"/>
                  </a:cxn>
                  <a:cxn ang="0">
                    <a:pos x="3" y="5"/>
                  </a:cxn>
                  <a:cxn ang="0">
                    <a:pos x="12" y="0"/>
                  </a:cxn>
                  <a:cxn ang="0">
                    <a:pos x="10" y="3"/>
                  </a:cxn>
                  <a:cxn ang="0">
                    <a:pos x="9" y="7"/>
                  </a:cxn>
                </a:cxnLst>
                <a:rect l="0" t="0" r="r" b="b"/>
                <a:pathLst>
                  <a:path w="12" h="19">
                    <a:moveTo>
                      <a:pt x="9" y="7"/>
                    </a:moveTo>
                    <a:lnTo>
                      <a:pt x="5" y="12"/>
                    </a:lnTo>
                    <a:lnTo>
                      <a:pt x="2" y="19"/>
                    </a:lnTo>
                    <a:lnTo>
                      <a:pt x="0" y="15"/>
                    </a:lnTo>
                    <a:lnTo>
                      <a:pt x="2" y="14"/>
                    </a:lnTo>
                    <a:lnTo>
                      <a:pt x="3" y="5"/>
                    </a:lnTo>
                    <a:lnTo>
                      <a:pt x="12" y="0"/>
                    </a:lnTo>
                    <a:lnTo>
                      <a:pt x="10" y="3"/>
                    </a:lnTo>
                    <a:lnTo>
                      <a:pt x="9"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08" name="Freeform 353"/>
              <p:cNvSpPr>
                <a:spLocks/>
              </p:cNvSpPr>
              <p:nvPr/>
            </p:nvSpPr>
            <p:spPr bwMode="auto">
              <a:xfrm>
                <a:off x="4809332" y="2465388"/>
                <a:ext cx="26988" cy="38100"/>
              </a:xfrm>
              <a:custGeom>
                <a:avLst/>
                <a:gdLst/>
                <a:ahLst/>
                <a:cxnLst>
                  <a:cxn ang="0">
                    <a:pos x="14" y="12"/>
                  </a:cxn>
                  <a:cxn ang="0">
                    <a:pos x="14" y="15"/>
                  </a:cxn>
                  <a:cxn ang="0">
                    <a:pos x="14" y="19"/>
                  </a:cxn>
                  <a:cxn ang="0">
                    <a:pos x="9" y="21"/>
                  </a:cxn>
                  <a:cxn ang="0">
                    <a:pos x="5" y="24"/>
                  </a:cxn>
                  <a:cxn ang="0">
                    <a:pos x="0" y="21"/>
                  </a:cxn>
                  <a:cxn ang="0">
                    <a:pos x="0" y="15"/>
                  </a:cxn>
                  <a:cxn ang="0">
                    <a:pos x="5" y="14"/>
                  </a:cxn>
                  <a:cxn ang="0">
                    <a:pos x="11" y="12"/>
                  </a:cxn>
                  <a:cxn ang="0">
                    <a:pos x="9" y="9"/>
                  </a:cxn>
                  <a:cxn ang="0">
                    <a:pos x="7" y="5"/>
                  </a:cxn>
                  <a:cxn ang="0">
                    <a:pos x="9" y="2"/>
                  </a:cxn>
                  <a:cxn ang="0">
                    <a:pos x="12" y="0"/>
                  </a:cxn>
                  <a:cxn ang="0">
                    <a:pos x="14" y="3"/>
                  </a:cxn>
                  <a:cxn ang="0">
                    <a:pos x="17" y="5"/>
                  </a:cxn>
                  <a:cxn ang="0">
                    <a:pos x="16" y="9"/>
                  </a:cxn>
                  <a:cxn ang="0">
                    <a:pos x="14" y="12"/>
                  </a:cxn>
                </a:cxnLst>
                <a:rect l="0" t="0" r="r" b="b"/>
                <a:pathLst>
                  <a:path w="17" h="24">
                    <a:moveTo>
                      <a:pt x="14" y="12"/>
                    </a:moveTo>
                    <a:lnTo>
                      <a:pt x="14" y="15"/>
                    </a:lnTo>
                    <a:lnTo>
                      <a:pt x="14" y="19"/>
                    </a:lnTo>
                    <a:lnTo>
                      <a:pt x="9" y="21"/>
                    </a:lnTo>
                    <a:lnTo>
                      <a:pt x="5" y="24"/>
                    </a:lnTo>
                    <a:lnTo>
                      <a:pt x="0" y="21"/>
                    </a:lnTo>
                    <a:lnTo>
                      <a:pt x="0" y="15"/>
                    </a:lnTo>
                    <a:lnTo>
                      <a:pt x="5" y="14"/>
                    </a:lnTo>
                    <a:lnTo>
                      <a:pt x="11" y="12"/>
                    </a:lnTo>
                    <a:lnTo>
                      <a:pt x="9" y="9"/>
                    </a:lnTo>
                    <a:lnTo>
                      <a:pt x="7" y="5"/>
                    </a:lnTo>
                    <a:lnTo>
                      <a:pt x="9" y="2"/>
                    </a:lnTo>
                    <a:lnTo>
                      <a:pt x="12" y="0"/>
                    </a:lnTo>
                    <a:lnTo>
                      <a:pt x="14" y="3"/>
                    </a:lnTo>
                    <a:lnTo>
                      <a:pt x="17" y="5"/>
                    </a:lnTo>
                    <a:lnTo>
                      <a:pt x="16" y="9"/>
                    </a:lnTo>
                    <a:lnTo>
                      <a:pt x="1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09" name="Freeform 354"/>
              <p:cNvSpPr>
                <a:spLocks/>
              </p:cNvSpPr>
              <p:nvPr/>
            </p:nvSpPr>
            <p:spPr bwMode="auto">
              <a:xfrm>
                <a:off x="4858544" y="3170238"/>
                <a:ext cx="52388" cy="7937"/>
              </a:xfrm>
              <a:custGeom>
                <a:avLst/>
                <a:gdLst/>
                <a:ahLst/>
                <a:cxnLst>
                  <a:cxn ang="0">
                    <a:pos x="33" y="5"/>
                  </a:cxn>
                  <a:cxn ang="0">
                    <a:pos x="24" y="5"/>
                  </a:cxn>
                  <a:cxn ang="0">
                    <a:pos x="19" y="5"/>
                  </a:cxn>
                  <a:cxn ang="0">
                    <a:pos x="11" y="3"/>
                  </a:cxn>
                  <a:cxn ang="0">
                    <a:pos x="0" y="1"/>
                  </a:cxn>
                  <a:cxn ang="0">
                    <a:pos x="17" y="0"/>
                  </a:cxn>
                  <a:cxn ang="0">
                    <a:pos x="33" y="5"/>
                  </a:cxn>
                </a:cxnLst>
                <a:rect l="0" t="0" r="r" b="b"/>
                <a:pathLst>
                  <a:path w="33" h="5">
                    <a:moveTo>
                      <a:pt x="33" y="5"/>
                    </a:moveTo>
                    <a:lnTo>
                      <a:pt x="24" y="5"/>
                    </a:lnTo>
                    <a:lnTo>
                      <a:pt x="19" y="5"/>
                    </a:lnTo>
                    <a:lnTo>
                      <a:pt x="11" y="3"/>
                    </a:lnTo>
                    <a:lnTo>
                      <a:pt x="0" y="1"/>
                    </a:lnTo>
                    <a:lnTo>
                      <a:pt x="17" y="0"/>
                    </a:lnTo>
                    <a:lnTo>
                      <a:pt x="3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10" name="Freeform 355"/>
              <p:cNvSpPr>
                <a:spLocks/>
              </p:cNvSpPr>
              <p:nvPr/>
            </p:nvSpPr>
            <p:spPr bwMode="auto">
              <a:xfrm>
                <a:off x="5052219" y="3160713"/>
                <a:ext cx="49213" cy="25400"/>
              </a:xfrm>
              <a:custGeom>
                <a:avLst/>
                <a:gdLst/>
                <a:ahLst/>
                <a:cxnLst>
                  <a:cxn ang="0">
                    <a:pos x="7" y="16"/>
                  </a:cxn>
                  <a:cxn ang="0">
                    <a:pos x="4" y="14"/>
                  </a:cxn>
                  <a:cxn ang="0">
                    <a:pos x="0" y="12"/>
                  </a:cxn>
                  <a:cxn ang="0">
                    <a:pos x="0" y="11"/>
                  </a:cxn>
                  <a:cxn ang="0">
                    <a:pos x="14" y="4"/>
                  </a:cxn>
                  <a:cxn ang="0">
                    <a:pos x="31" y="0"/>
                  </a:cxn>
                  <a:cxn ang="0">
                    <a:pos x="28" y="4"/>
                  </a:cxn>
                  <a:cxn ang="0">
                    <a:pos x="24" y="6"/>
                  </a:cxn>
                  <a:cxn ang="0">
                    <a:pos x="23" y="7"/>
                  </a:cxn>
                  <a:cxn ang="0">
                    <a:pos x="23" y="11"/>
                  </a:cxn>
                  <a:cxn ang="0">
                    <a:pos x="16" y="14"/>
                  </a:cxn>
                  <a:cxn ang="0">
                    <a:pos x="7" y="16"/>
                  </a:cxn>
                </a:cxnLst>
                <a:rect l="0" t="0" r="r" b="b"/>
                <a:pathLst>
                  <a:path w="31" h="16">
                    <a:moveTo>
                      <a:pt x="7" y="16"/>
                    </a:moveTo>
                    <a:lnTo>
                      <a:pt x="4" y="14"/>
                    </a:lnTo>
                    <a:lnTo>
                      <a:pt x="0" y="12"/>
                    </a:lnTo>
                    <a:lnTo>
                      <a:pt x="0" y="11"/>
                    </a:lnTo>
                    <a:lnTo>
                      <a:pt x="14" y="4"/>
                    </a:lnTo>
                    <a:lnTo>
                      <a:pt x="31" y="0"/>
                    </a:lnTo>
                    <a:lnTo>
                      <a:pt x="28" y="4"/>
                    </a:lnTo>
                    <a:lnTo>
                      <a:pt x="24" y="6"/>
                    </a:lnTo>
                    <a:lnTo>
                      <a:pt x="23" y="7"/>
                    </a:lnTo>
                    <a:lnTo>
                      <a:pt x="23" y="11"/>
                    </a:lnTo>
                    <a:lnTo>
                      <a:pt x="16" y="14"/>
                    </a:lnTo>
                    <a:lnTo>
                      <a:pt x="7"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11" name="Freeform 356"/>
              <p:cNvSpPr>
                <a:spLocks/>
              </p:cNvSpPr>
              <p:nvPr/>
            </p:nvSpPr>
            <p:spPr bwMode="auto">
              <a:xfrm>
                <a:off x="5530057" y="3729038"/>
                <a:ext cx="25400" cy="11112"/>
              </a:xfrm>
              <a:custGeom>
                <a:avLst/>
                <a:gdLst/>
                <a:ahLst/>
                <a:cxnLst>
                  <a:cxn ang="0">
                    <a:pos x="0" y="4"/>
                  </a:cxn>
                  <a:cxn ang="0">
                    <a:pos x="4" y="5"/>
                  </a:cxn>
                  <a:cxn ang="0">
                    <a:pos x="7" y="7"/>
                  </a:cxn>
                  <a:cxn ang="0">
                    <a:pos x="11" y="4"/>
                  </a:cxn>
                  <a:cxn ang="0">
                    <a:pos x="16" y="0"/>
                  </a:cxn>
                  <a:cxn ang="0">
                    <a:pos x="7" y="0"/>
                  </a:cxn>
                  <a:cxn ang="0">
                    <a:pos x="0" y="4"/>
                  </a:cxn>
                </a:cxnLst>
                <a:rect l="0" t="0" r="r" b="b"/>
                <a:pathLst>
                  <a:path w="16" h="7">
                    <a:moveTo>
                      <a:pt x="0" y="4"/>
                    </a:moveTo>
                    <a:lnTo>
                      <a:pt x="4" y="5"/>
                    </a:lnTo>
                    <a:lnTo>
                      <a:pt x="7" y="7"/>
                    </a:lnTo>
                    <a:lnTo>
                      <a:pt x="11" y="4"/>
                    </a:lnTo>
                    <a:lnTo>
                      <a:pt x="16" y="0"/>
                    </a:lnTo>
                    <a:lnTo>
                      <a:pt x="7" y="0"/>
                    </a:lnTo>
                    <a:lnTo>
                      <a:pt x="0"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12" name="Freeform 357"/>
              <p:cNvSpPr>
                <a:spLocks/>
              </p:cNvSpPr>
              <p:nvPr/>
            </p:nvSpPr>
            <p:spPr bwMode="auto">
              <a:xfrm>
                <a:off x="5407819" y="2081213"/>
                <a:ext cx="49213" cy="34925"/>
              </a:xfrm>
              <a:custGeom>
                <a:avLst/>
                <a:gdLst/>
                <a:ahLst/>
                <a:cxnLst>
                  <a:cxn ang="0">
                    <a:pos x="7" y="5"/>
                  </a:cxn>
                  <a:cxn ang="0">
                    <a:pos x="9" y="1"/>
                  </a:cxn>
                  <a:cxn ang="0">
                    <a:pos x="12" y="0"/>
                  </a:cxn>
                  <a:cxn ang="0">
                    <a:pos x="21" y="3"/>
                  </a:cxn>
                  <a:cxn ang="0">
                    <a:pos x="31" y="6"/>
                  </a:cxn>
                  <a:cxn ang="0">
                    <a:pos x="31" y="13"/>
                  </a:cxn>
                  <a:cxn ang="0">
                    <a:pos x="19" y="18"/>
                  </a:cxn>
                  <a:cxn ang="0">
                    <a:pos x="9" y="22"/>
                  </a:cxn>
                  <a:cxn ang="0">
                    <a:pos x="2" y="20"/>
                  </a:cxn>
                  <a:cxn ang="0">
                    <a:pos x="0" y="17"/>
                  </a:cxn>
                  <a:cxn ang="0">
                    <a:pos x="2" y="10"/>
                  </a:cxn>
                  <a:cxn ang="0">
                    <a:pos x="7" y="5"/>
                  </a:cxn>
                </a:cxnLst>
                <a:rect l="0" t="0" r="r" b="b"/>
                <a:pathLst>
                  <a:path w="31" h="22">
                    <a:moveTo>
                      <a:pt x="7" y="5"/>
                    </a:moveTo>
                    <a:lnTo>
                      <a:pt x="9" y="1"/>
                    </a:lnTo>
                    <a:lnTo>
                      <a:pt x="12" y="0"/>
                    </a:lnTo>
                    <a:lnTo>
                      <a:pt x="21" y="3"/>
                    </a:lnTo>
                    <a:lnTo>
                      <a:pt x="31" y="6"/>
                    </a:lnTo>
                    <a:lnTo>
                      <a:pt x="31" y="13"/>
                    </a:lnTo>
                    <a:lnTo>
                      <a:pt x="19" y="18"/>
                    </a:lnTo>
                    <a:lnTo>
                      <a:pt x="9" y="22"/>
                    </a:lnTo>
                    <a:lnTo>
                      <a:pt x="2" y="20"/>
                    </a:lnTo>
                    <a:lnTo>
                      <a:pt x="0" y="17"/>
                    </a:lnTo>
                    <a:lnTo>
                      <a:pt x="2"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13" name="Freeform 358"/>
              <p:cNvSpPr>
                <a:spLocks/>
              </p:cNvSpPr>
              <p:nvPr/>
            </p:nvSpPr>
            <p:spPr bwMode="auto">
              <a:xfrm>
                <a:off x="5647532" y="2047875"/>
                <a:ext cx="41275" cy="26987"/>
              </a:xfrm>
              <a:custGeom>
                <a:avLst/>
                <a:gdLst/>
                <a:ahLst/>
                <a:cxnLst>
                  <a:cxn ang="0">
                    <a:pos x="26" y="14"/>
                  </a:cxn>
                  <a:cxn ang="0">
                    <a:pos x="23" y="17"/>
                  </a:cxn>
                  <a:cxn ang="0">
                    <a:pos x="19" y="17"/>
                  </a:cxn>
                  <a:cxn ang="0">
                    <a:pos x="7" y="12"/>
                  </a:cxn>
                  <a:cxn ang="0">
                    <a:pos x="0" y="5"/>
                  </a:cxn>
                  <a:cxn ang="0">
                    <a:pos x="4" y="0"/>
                  </a:cxn>
                  <a:cxn ang="0">
                    <a:pos x="12" y="2"/>
                  </a:cxn>
                  <a:cxn ang="0">
                    <a:pos x="21" y="5"/>
                  </a:cxn>
                  <a:cxn ang="0">
                    <a:pos x="26" y="14"/>
                  </a:cxn>
                </a:cxnLst>
                <a:rect l="0" t="0" r="r" b="b"/>
                <a:pathLst>
                  <a:path w="26" h="17">
                    <a:moveTo>
                      <a:pt x="26" y="14"/>
                    </a:moveTo>
                    <a:lnTo>
                      <a:pt x="23" y="17"/>
                    </a:lnTo>
                    <a:lnTo>
                      <a:pt x="19" y="17"/>
                    </a:lnTo>
                    <a:lnTo>
                      <a:pt x="7" y="12"/>
                    </a:lnTo>
                    <a:lnTo>
                      <a:pt x="0" y="5"/>
                    </a:lnTo>
                    <a:lnTo>
                      <a:pt x="4" y="0"/>
                    </a:lnTo>
                    <a:lnTo>
                      <a:pt x="12" y="2"/>
                    </a:lnTo>
                    <a:lnTo>
                      <a:pt x="21" y="5"/>
                    </a:lnTo>
                    <a:lnTo>
                      <a:pt x="26"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14" name="Freeform 359"/>
              <p:cNvSpPr>
                <a:spLocks/>
              </p:cNvSpPr>
              <p:nvPr/>
            </p:nvSpPr>
            <p:spPr bwMode="auto">
              <a:xfrm>
                <a:off x="5909469" y="1908175"/>
                <a:ext cx="36513" cy="25400"/>
              </a:xfrm>
              <a:custGeom>
                <a:avLst/>
                <a:gdLst/>
                <a:ahLst/>
                <a:cxnLst>
                  <a:cxn ang="0">
                    <a:pos x="2" y="16"/>
                  </a:cxn>
                  <a:cxn ang="0">
                    <a:pos x="12" y="12"/>
                  </a:cxn>
                  <a:cxn ang="0">
                    <a:pos x="23" y="10"/>
                  </a:cxn>
                  <a:cxn ang="0">
                    <a:pos x="16" y="4"/>
                  </a:cxn>
                  <a:cxn ang="0">
                    <a:pos x="11" y="0"/>
                  </a:cxn>
                  <a:cxn ang="0">
                    <a:pos x="4" y="4"/>
                  </a:cxn>
                  <a:cxn ang="0">
                    <a:pos x="2" y="10"/>
                  </a:cxn>
                  <a:cxn ang="0">
                    <a:pos x="0" y="12"/>
                  </a:cxn>
                  <a:cxn ang="0">
                    <a:pos x="2" y="16"/>
                  </a:cxn>
                </a:cxnLst>
                <a:rect l="0" t="0" r="r" b="b"/>
                <a:pathLst>
                  <a:path w="23" h="16">
                    <a:moveTo>
                      <a:pt x="2" y="16"/>
                    </a:moveTo>
                    <a:lnTo>
                      <a:pt x="12" y="12"/>
                    </a:lnTo>
                    <a:lnTo>
                      <a:pt x="23" y="10"/>
                    </a:lnTo>
                    <a:lnTo>
                      <a:pt x="16" y="4"/>
                    </a:lnTo>
                    <a:lnTo>
                      <a:pt x="11" y="0"/>
                    </a:lnTo>
                    <a:lnTo>
                      <a:pt x="4" y="4"/>
                    </a:lnTo>
                    <a:lnTo>
                      <a:pt x="2" y="10"/>
                    </a:lnTo>
                    <a:lnTo>
                      <a:pt x="0" y="12"/>
                    </a:lnTo>
                    <a:lnTo>
                      <a:pt x="2"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15" name="Freeform 360"/>
              <p:cNvSpPr>
                <a:spLocks/>
              </p:cNvSpPr>
              <p:nvPr/>
            </p:nvSpPr>
            <p:spPr bwMode="auto">
              <a:xfrm>
                <a:off x="7527132" y="1885950"/>
                <a:ext cx="76200" cy="30162"/>
              </a:xfrm>
              <a:custGeom>
                <a:avLst/>
                <a:gdLst/>
                <a:ahLst/>
                <a:cxnLst>
                  <a:cxn ang="0">
                    <a:pos x="0" y="14"/>
                  </a:cxn>
                  <a:cxn ang="0">
                    <a:pos x="8" y="4"/>
                  </a:cxn>
                  <a:cxn ang="0">
                    <a:pos x="24" y="0"/>
                  </a:cxn>
                  <a:cxn ang="0">
                    <a:pos x="32" y="0"/>
                  </a:cxn>
                  <a:cxn ang="0">
                    <a:pos x="41" y="6"/>
                  </a:cxn>
                  <a:cxn ang="0">
                    <a:pos x="44" y="11"/>
                  </a:cxn>
                  <a:cxn ang="0">
                    <a:pos x="48" y="19"/>
                  </a:cxn>
                  <a:cxn ang="0">
                    <a:pos x="32" y="19"/>
                  </a:cxn>
                  <a:cxn ang="0">
                    <a:pos x="17" y="14"/>
                  </a:cxn>
                  <a:cxn ang="0">
                    <a:pos x="1" y="12"/>
                  </a:cxn>
                  <a:cxn ang="0">
                    <a:pos x="0" y="14"/>
                  </a:cxn>
                </a:cxnLst>
                <a:rect l="0" t="0" r="r" b="b"/>
                <a:pathLst>
                  <a:path w="48" h="19">
                    <a:moveTo>
                      <a:pt x="0" y="14"/>
                    </a:moveTo>
                    <a:lnTo>
                      <a:pt x="8" y="4"/>
                    </a:lnTo>
                    <a:lnTo>
                      <a:pt x="24" y="0"/>
                    </a:lnTo>
                    <a:lnTo>
                      <a:pt x="32" y="0"/>
                    </a:lnTo>
                    <a:lnTo>
                      <a:pt x="41" y="6"/>
                    </a:lnTo>
                    <a:lnTo>
                      <a:pt x="44" y="11"/>
                    </a:lnTo>
                    <a:lnTo>
                      <a:pt x="48" y="19"/>
                    </a:lnTo>
                    <a:lnTo>
                      <a:pt x="32" y="19"/>
                    </a:lnTo>
                    <a:lnTo>
                      <a:pt x="17" y="14"/>
                    </a:lnTo>
                    <a:lnTo>
                      <a:pt x="1" y="12"/>
                    </a:lnTo>
                    <a:lnTo>
                      <a:pt x="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16" name="Freeform 361"/>
              <p:cNvSpPr>
                <a:spLocks/>
              </p:cNvSpPr>
              <p:nvPr/>
            </p:nvSpPr>
            <p:spPr bwMode="auto">
              <a:xfrm>
                <a:off x="7671594" y="1809750"/>
                <a:ext cx="103188" cy="38100"/>
              </a:xfrm>
              <a:custGeom>
                <a:avLst/>
                <a:gdLst/>
                <a:ahLst/>
                <a:cxnLst>
                  <a:cxn ang="0">
                    <a:pos x="0" y="0"/>
                  </a:cxn>
                  <a:cxn ang="0">
                    <a:pos x="2" y="0"/>
                  </a:cxn>
                  <a:cxn ang="0">
                    <a:pos x="8" y="2"/>
                  </a:cxn>
                  <a:cxn ang="0">
                    <a:pos x="19" y="4"/>
                  </a:cxn>
                  <a:cxn ang="0">
                    <a:pos x="29" y="5"/>
                  </a:cxn>
                  <a:cxn ang="0">
                    <a:pos x="39" y="7"/>
                  </a:cxn>
                  <a:cxn ang="0">
                    <a:pos x="50" y="9"/>
                  </a:cxn>
                  <a:cxn ang="0">
                    <a:pos x="55" y="9"/>
                  </a:cxn>
                  <a:cxn ang="0">
                    <a:pos x="60" y="11"/>
                  </a:cxn>
                  <a:cxn ang="0">
                    <a:pos x="62" y="12"/>
                  </a:cxn>
                  <a:cxn ang="0">
                    <a:pos x="65" y="16"/>
                  </a:cxn>
                  <a:cxn ang="0">
                    <a:pos x="62" y="17"/>
                  </a:cxn>
                  <a:cxn ang="0">
                    <a:pos x="55" y="21"/>
                  </a:cxn>
                  <a:cxn ang="0">
                    <a:pos x="48" y="23"/>
                  </a:cxn>
                  <a:cxn ang="0">
                    <a:pos x="41" y="24"/>
                  </a:cxn>
                  <a:cxn ang="0">
                    <a:pos x="29" y="23"/>
                  </a:cxn>
                  <a:cxn ang="0">
                    <a:pos x="17" y="19"/>
                  </a:cxn>
                  <a:cxn ang="0">
                    <a:pos x="8" y="12"/>
                  </a:cxn>
                  <a:cxn ang="0">
                    <a:pos x="5" y="5"/>
                  </a:cxn>
                  <a:cxn ang="0">
                    <a:pos x="0" y="0"/>
                  </a:cxn>
                </a:cxnLst>
                <a:rect l="0" t="0" r="r" b="b"/>
                <a:pathLst>
                  <a:path w="65" h="24">
                    <a:moveTo>
                      <a:pt x="0" y="0"/>
                    </a:moveTo>
                    <a:lnTo>
                      <a:pt x="2" y="0"/>
                    </a:lnTo>
                    <a:lnTo>
                      <a:pt x="8" y="2"/>
                    </a:lnTo>
                    <a:lnTo>
                      <a:pt x="19" y="4"/>
                    </a:lnTo>
                    <a:lnTo>
                      <a:pt x="29" y="5"/>
                    </a:lnTo>
                    <a:lnTo>
                      <a:pt x="39" y="7"/>
                    </a:lnTo>
                    <a:lnTo>
                      <a:pt x="50" y="9"/>
                    </a:lnTo>
                    <a:lnTo>
                      <a:pt x="55" y="9"/>
                    </a:lnTo>
                    <a:lnTo>
                      <a:pt x="60" y="11"/>
                    </a:lnTo>
                    <a:lnTo>
                      <a:pt x="62" y="12"/>
                    </a:lnTo>
                    <a:lnTo>
                      <a:pt x="65" y="16"/>
                    </a:lnTo>
                    <a:lnTo>
                      <a:pt x="62" y="17"/>
                    </a:lnTo>
                    <a:lnTo>
                      <a:pt x="55" y="21"/>
                    </a:lnTo>
                    <a:lnTo>
                      <a:pt x="48" y="23"/>
                    </a:lnTo>
                    <a:lnTo>
                      <a:pt x="41" y="24"/>
                    </a:lnTo>
                    <a:lnTo>
                      <a:pt x="29" y="23"/>
                    </a:lnTo>
                    <a:lnTo>
                      <a:pt x="17" y="19"/>
                    </a:lnTo>
                    <a:lnTo>
                      <a:pt x="8" y="12"/>
                    </a:lnTo>
                    <a:lnTo>
                      <a:pt x="5" y="5"/>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17" name="Freeform 362"/>
              <p:cNvSpPr>
                <a:spLocks/>
              </p:cNvSpPr>
              <p:nvPr/>
            </p:nvSpPr>
            <p:spPr bwMode="auto">
              <a:xfrm>
                <a:off x="7523957" y="1865313"/>
                <a:ext cx="22225" cy="20637"/>
              </a:xfrm>
              <a:custGeom>
                <a:avLst/>
                <a:gdLst/>
                <a:ahLst/>
                <a:cxnLst>
                  <a:cxn ang="0">
                    <a:pos x="14" y="7"/>
                  </a:cxn>
                  <a:cxn ang="0">
                    <a:pos x="10" y="10"/>
                  </a:cxn>
                  <a:cxn ang="0">
                    <a:pos x="7" y="13"/>
                  </a:cxn>
                  <a:cxn ang="0">
                    <a:pos x="0" y="10"/>
                  </a:cxn>
                  <a:cxn ang="0">
                    <a:pos x="0" y="7"/>
                  </a:cxn>
                  <a:cxn ang="0">
                    <a:pos x="2" y="0"/>
                  </a:cxn>
                  <a:cxn ang="0">
                    <a:pos x="7" y="0"/>
                  </a:cxn>
                  <a:cxn ang="0">
                    <a:pos x="10" y="1"/>
                  </a:cxn>
                  <a:cxn ang="0">
                    <a:pos x="14" y="7"/>
                  </a:cxn>
                </a:cxnLst>
                <a:rect l="0" t="0" r="r" b="b"/>
                <a:pathLst>
                  <a:path w="14" h="13">
                    <a:moveTo>
                      <a:pt x="14" y="7"/>
                    </a:moveTo>
                    <a:lnTo>
                      <a:pt x="10" y="10"/>
                    </a:lnTo>
                    <a:lnTo>
                      <a:pt x="7" y="13"/>
                    </a:lnTo>
                    <a:lnTo>
                      <a:pt x="0" y="10"/>
                    </a:lnTo>
                    <a:lnTo>
                      <a:pt x="0" y="7"/>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18" name="Freeform 363"/>
              <p:cNvSpPr>
                <a:spLocks/>
              </p:cNvSpPr>
              <p:nvPr/>
            </p:nvSpPr>
            <p:spPr bwMode="auto">
              <a:xfrm>
                <a:off x="2840832" y="2768600"/>
                <a:ext cx="57150" cy="26987"/>
              </a:xfrm>
              <a:custGeom>
                <a:avLst/>
                <a:gdLst/>
                <a:ahLst/>
                <a:cxnLst>
                  <a:cxn ang="0">
                    <a:pos x="29" y="17"/>
                  </a:cxn>
                  <a:cxn ang="0">
                    <a:pos x="33" y="15"/>
                  </a:cxn>
                  <a:cxn ang="0">
                    <a:pos x="36" y="14"/>
                  </a:cxn>
                  <a:cxn ang="0">
                    <a:pos x="28" y="8"/>
                  </a:cxn>
                  <a:cxn ang="0">
                    <a:pos x="19" y="3"/>
                  </a:cxn>
                  <a:cxn ang="0">
                    <a:pos x="9" y="0"/>
                  </a:cxn>
                  <a:cxn ang="0">
                    <a:pos x="0" y="2"/>
                  </a:cxn>
                  <a:cxn ang="0">
                    <a:pos x="5" y="5"/>
                  </a:cxn>
                  <a:cxn ang="0">
                    <a:pos x="14" y="10"/>
                  </a:cxn>
                  <a:cxn ang="0">
                    <a:pos x="21" y="14"/>
                  </a:cxn>
                  <a:cxn ang="0">
                    <a:pos x="29" y="17"/>
                  </a:cxn>
                </a:cxnLst>
                <a:rect l="0" t="0" r="r" b="b"/>
                <a:pathLst>
                  <a:path w="36" h="17">
                    <a:moveTo>
                      <a:pt x="29" y="17"/>
                    </a:moveTo>
                    <a:lnTo>
                      <a:pt x="33" y="15"/>
                    </a:lnTo>
                    <a:lnTo>
                      <a:pt x="36" y="14"/>
                    </a:lnTo>
                    <a:lnTo>
                      <a:pt x="28" y="8"/>
                    </a:lnTo>
                    <a:lnTo>
                      <a:pt x="19" y="3"/>
                    </a:lnTo>
                    <a:lnTo>
                      <a:pt x="9" y="0"/>
                    </a:lnTo>
                    <a:lnTo>
                      <a:pt x="0" y="2"/>
                    </a:lnTo>
                    <a:lnTo>
                      <a:pt x="5" y="5"/>
                    </a:lnTo>
                    <a:lnTo>
                      <a:pt x="14" y="10"/>
                    </a:lnTo>
                    <a:lnTo>
                      <a:pt x="21" y="14"/>
                    </a:lnTo>
                    <a:lnTo>
                      <a:pt x="29"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19" name="Freeform 364"/>
              <p:cNvSpPr>
                <a:spLocks/>
              </p:cNvSpPr>
              <p:nvPr/>
            </p:nvSpPr>
            <p:spPr bwMode="auto">
              <a:xfrm>
                <a:off x="2847182" y="2859088"/>
                <a:ext cx="42863" cy="26987"/>
              </a:xfrm>
              <a:custGeom>
                <a:avLst/>
                <a:gdLst/>
                <a:ahLst/>
                <a:cxnLst>
                  <a:cxn ang="0">
                    <a:pos x="1" y="0"/>
                  </a:cxn>
                  <a:cxn ang="0">
                    <a:pos x="5" y="5"/>
                  </a:cxn>
                  <a:cxn ang="0">
                    <a:pos x="12" y="8"/>
                  </a:cxn>
                  <a:cxn ang="0">
                    <a:pos x="27" y="8"/>
                  </a:cxn>
                  <a:cxn ang="0">
                    <a:pos x="27" y="12"/>
                  </a:cxn>
                  <a:cxn ang="0">
                    <a:pos x="24" y="13"/>
                  </a:cxn>
                  <a:cxn ang="0">
                    <a:pos x="20" y="17"/>
                  </a:cxn>
                  <a:cxn ang="0">
                    <a:pos x="15" y="13"/>
                  </a:cxn>
                  <a:cxn ang="0">
                    <a:pos x="8" y="10"/>
                  </a:cxn>
                  <a:cxn ang="0">
                    <a:pos x="1" y="6"/>
                  </a:cxn>
                  <a:cxn ang="0">
                    <a:pos x="0" y="3"/>
                  </a:cxn>
                  <a:cxn ang="0">
                    <a:pos x="0" y="0"/>
                  </a:cxn>
                  <a:cxn ang="0">
                    <a:pos x="1" y="0"/>
                  </a:cxn>
                </a:cxnLst>
                <a:rect l="0" t="0" r="r" b="b"/>
                <a:pathLst>
                  <a:path w="27" h="17">
                    <a:moveTo>
                      <a:pt x="1" y="0"/>
                    </a:moveTo>
                    <a:lnTo>
                      <a:pt x="5" y="5"/>
                    </a:lnTo>
                    <a:lnTo>
                      <a:pt x="12" y="8"/>
                    </a:lnTo>
                    <a:lnTo>
                      <a:pt x="27" y="8"/>
                    </a:lnTo>
                    <a:lnTo>
                      <a:pt x="27" y="12"/>
                    </a:lnTo>
                    <a:lnTo>
                      <a:pt x="24" y="13"/>
                    </a:lnTo>
                    <a:lnTo>
                      <a:pt x="20" y="17"/>
                    </a:lnTo>
                    <a:lnTo>
                      <a:pt x="15" y="13"/>
                    </a:lnTo>
                    <a:lnTo>
                      <a:pt x="8" y="10"/>
                    </a:lnTo>
                    <a:lnTo>
                      <a:pt x="1" y="6"/>
                    </a:lnTo>
                    <a:lnTo>
                      <a:pt x="0" y="3"/>
                    </a:lnTo>
                    <a:lnTo>
                      <a:pt x="0" y="0"/>
                    </a:lnTo>
                    <a:lnTo>
                      <a:pt x="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20" name="Freeform 365"/>
              <p:cNvSpPr>
                <a:spLocks/>
              </p:cNvSpPr>
              <p:nvPr/>
            </p:nvSpPr>
            <p:spPr bwMode="auto">
              <a:xfrm>
                <a:off x="2909094" y="2859088"/>
                <a:ext cx="33338" cy="38100"/>
              </a:xfrm>
              <a:custGeom>
                <a:avLst/>
                <a:gdLst/>
                <a:ahLst/>
                <a:cxnLst>
                  <a:cxn ang="0">
                    <a:pos x="21" y="13"/>
                  </a:cxn>
                  <a:cxn ang="0">
                    <a:pos x="21" y="17"/>
                  </a:cxn>
                  <a:cxn ang="0">
                    <a:pos x="16" y="20"/>
                  </a:cxn>
                  <a:cxn ang="0">
                    <a:pos x="9" y="24"/>
                  </a:cxn>
                  <a:cxn ang="0">
                    <a:pos x="2" y="20"/>
                  </a:cxn>
                  <a:cxn ang="0">
                    <a:pos x="0" y="17"/>
                  </a:cxn>
                  <a:cxn ang="0">
                    <a:pos x="0" y="12"/>
                  </a:cxn>
                  <a:cxn ang="0">
                    <a:pos x="4" y="8"/>
                  </a:cxn>
                  <a:cxn ang="0">
                    <a:pos x="7" y="1"/>
                  </a:cxn>
                  <a:cxn ang="0">
                    <a:pos x="12" y="0"/>
                  </a:cxn>
                  <a:cxn ang="0">
                    <a:pos x="14" y="1"/>
                  </a:cxn>
                  <a:cxn ang="0">
                    <a:pos x="16" y="5"/>
                  </a:cxn>
                  <a:cxn ang="0">
                    <a:pos x="12" y="10"/>
                  </a:cxn>
                  <a:cxn ang="0">
                    <a:pos x="21" y="13"/>
                  </a:cxn>
                </a:cxnLst>
                <a:rect l="0" t="0" r="r" b="b"/>
                <a:pathLst>
                  <a:path w="21" h="24">
                    <a:moveTo>
                      <a:pt x="21" y="13"/>
                    </a:moveTo>
                    <a:lnTo>
                      <a:pt x="21" y="17"/>
                    </a:lnTo>
                    <a:lnTo>
                      <a:pt x="16" y="20"/>
                    </a:lnTo>
                    <a:lnTo>
                      <a:pt x="9" y="24"/>
                    </a:lnTo>
                    <a:lnTo>
                      <a:pt x="2" y="20"/>
                    </a:lnTo>
                    <a:lnTo>
                      <a:pt x="0" y="17"/>
                    </a:lnTo>
                    <a:lnTo>
                      <a:pt x="0" y="12"/>
                    </a:lnTo>
                    <a:lnTo>
                      <a:pt x="4" y="8"/>
                    </a:lnTo>
                    <a:lnTo>
                      <a:pt x="7" y="1"/>
                    </a:lnTo>
                    <a:lnTo>
                      <a:pt x="12" y="0"/>
                    </a:lnTo>
                    <a:lnTo>
                      <a:pt x="14" y="1"/>
                    </a:lnTo>
                    <a:lnTo>
                      <a:pt x="16" y="5"/>
                    </a:lnTo>
                    <a:lnTo>
                      <a:pt x="12" y="10"/>
                    </a:lnTo>
                    <a:lnTo>
                      <a:pt x="21"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21" name="Freeform 366"/>
              <p:cNvSpPr>
                <a:spLocks/>
              </p:cNvSpPr>
              <p:nvPr/>
            </p:nvSpPr>
            <p:spPr bwMode="auto">
              <a:xfrm>
                <a:off x="484982" y="2438400"/>
                <a:ext cx="34925" cy="15875"/>
              </a:xfrm>
              <a:custGeom>
                <a:avLst/>
                <a:gdLst/>
                <a:ahLst/>
                <a:cxnLst>
                  <a:cxn ang="0">
                    <a:pos x="7" y="5"/>
                  </a:cxn>
                  <a:cxn ang="0">
                    <a:pos x="9" y="0"/>
                  </a:cxn>
                  <a:cxn ang="0">
                    <a:pos x="15" y="1"/>
                  </a:cxn>
                  <a:cxn ang="0">
                    <a:pos x="21" y="3"/>
                  </a:cxn>
                  <a:cxn ang="0">
                    <a:pos x="22" y="10"/>
                  </a:cxn>
                  <a:cxn ang="0">
                    <a:pos x="5" y="10"/>
                  </a:cxn>
                  <a:cxn ang="0">
                    <a:pos x="2" y="7"/>
                  </a:cxn>
                  <a:cxn ang="0">
                    <a:pos x="0" y="5"/>
                  </a:cxn>
                  <a:cxn ang="0">
                    <a:pos x="7" y="5"/>
                  </a:cxn>
                </a:cxnLst>
                <a:rect l="0" t="0" r="r" b="b"/>
                <a:pathLst>
                  <a:path w="22" h="10">
                    <a:moveTo>
                      <a:pt x="7" y="5"/>
                    </a:moveTo>
                    <a:lnTo>
                      <a:pt x="9" y="0"/>
                    </a:lnTo>
                    <a:lnTo>
                      <a:pt x="15" y="1"/>
                    </a:lnTo>
                    <a:lnTo>
                      <a:pt x="21" y="3"/>
                    </a:lnTo>
                    <a:lnTo>
                      <a:pt x="22" y="10"/>
                    </a:lnTo>
                    <a:lnTo>
                      <a:pt x="5" y="10"/>
                    </a:lnTo>
                    <a:lnTo>
                      <a:pt x="2" y="7"/>
                    </a:lnTo>
                    <a:lnTo>
                      <a:pt x="0" y="5"/>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22" name="Freeform 367"/>
              <p:cNvSpPr>
                <a:spLocks/>
              </p:cNvSpPr>
              <p:nvPr/>
            </p:nvSpPr>
            <p:spPr bwMode="auto">
              <a:xfrm>
                <a:off x="751682" y="3579813"/>
                <a:ext cx="20638" cy="15875"/>
              </a:xfrm>
              <a:custGeom>
                <a:avLst/>
                <a:gdLst/>
                <a:ahLst/>
                <a:cxnLst>
                  <a:cxn ang="0">
                    <a:pos x="13" y="5"/>
                  </a:cxn>
                  <a:cxn ang="0">
                    <a:pos x="13" y="8"/>
                  </a:cxn>
                  <a:cxn ang="0">
                    <a:pos x="6" y="8"/>
                  </a:cxn>
                  <a:cxn ang="0">
                    <a:pos x="2" y="10"/>
                  </a:cxn>
                  <a:cxn ang="0">
                    <a:pos x="0" y="8"/>
                  </a:cxn>
                  <a:cxn ang="0">
                    <a:pos x="0" y="6"/>
                  </a:cxn>
                  <a:cxn ang="0">
                    <a:pos x="0" y="3"/>
                  </a:cxn>
                  <a:cxn ang="0">
                    <a:pos x="0" y="0"/>
                  </a:cxn>
                  <a:cxn ang="0">
                    <a:pos x="6" y="0"/>
                  </a:cxn>
                  <a:cxn ang="0">
                    <a:pos x="13" y="5"/>
                  </a:cxn>
                </a:cxnLst>
                <a:rect l="0" t="0" r="r" b="b"/>
                <a:pathLst>
                  <a:path w="13" h="10">
                    <a:moveTo>
                      <a:pt x="13" y="5"/>
                    </a:moveTo>
                    <a:lnTo>
                      <a:pt x="13" y="8"/>
                    </a:lnTo>
                    <a:lnTo>
                      <a:pt x="6" y="8"/>
                    </a:lnTo>
                    <a:lnTo>
                      <a:pt x="2" y="10"/>
                    </a:lnTo>
                    <a:lnTo>
                      <a:pt x="0" y="8"/>
                    </a:lnTo>
                    <a:lnTo>
                      <a:pt x="0" y="6"/>
                    </a:lnTo>
                    <a:lnTo>
                      <a:pt x="0" y="3"/>
                    </a:lnTo>
                    <a:lnTo>
                      <a:pt x="0" y="0"/>
                    </a:lnTo>
                    <a:lnTo>
                      <a:pt x="6" y="0"/>
                    </a:lnTo>
                    <a:lnTo>
                      <a:pt x="1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23" name="Freeform 368"/>
              <p:cNvSpPr>
                <a:spLocks/>
              </p:cNvSpPr>
              <p:nvPr/>
            </p:nvSpPr>
            <p:spPr bwMode="auto">
              <a:xfrm>
                <a:off x="735807" y="3551238"/>
                <a:ext cx="11113" cy="7937"/>
              </a:xfrm>
              <a:custGeom>
                <a:avLst/>
                <a:gdLst/>
                <a:ahLst/>
                <a:cxnLst>
                  <a:cxn ang="0">
                    <a:pos x="7" y="5"/>
                  </a:cxn>
                  <a:cxn ang="0">
                    <a:pos x="5" y="5"/>
                  </a:cxn>
                  <a:cxn ang="0">
                    <a:pos x="4" y="5"/>
                  </a:cxn>
                  <a:cxn ang="0">
                    <a:pos x="2" y="2"/>
                  </a:cxn>
                  <a:cxn ang="0">
                    <a:pos x="0" y="0"/>
                  </a:cxn>
                  <a:cxn ang="0">
                    <a:pos x="4" y="0"/>
                  </a:cxn>
                  <a:cxn ang="0">
                    <a:pos x="7" y="5"/>
                  </a:cxn>
                </a:cxnLst>
                <a:rect l="0" t="0" r="r" b="b"/>
                <a:pathLst>
                  <a:path w="7" h="5">
                    <a:moveTo>
                      <a:pt x="7" y="5"/>
                    </a:moveTo>
                    <a:lnTo>
                      <a:pt x="5" y="5"/>
                    </a:lnTo>
                    <a:lnTo>
                      <a:pt x="4" y="5"/>
                    </a:lnTo>
                    <a:lnTo>
                      <a:pt x="2" y="2"/>
                    </a:lnTo>
                    <a:lnTo>
                      <a:pt x="0" y="0"/>
                    </a:lnTo>
                    <a:lnTo>
                      <a:pt x="4" y="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24" name="Freeform 369"/>
              <p:cNvSpPr>
                <a:spLocks/>
              </p:cNvSpPr>
              <p:nvPr/>
            </p:nvSpPr>
            <p:spPr bwMode="auto">
              <a:xfrm>
                <a:off x="713582" y="3543300"/>
                <a:ext cx="17463" cy="7937"/>
              </a:xfrm>
              <a:custGeom>
                <a:avLst/>
                <a:gdLst/>
                <a:ahLst/>
                <a:cxnLst>
                  <a:cxn ang="0">
                    <a:pos x="11" y="0"/>
                  </a:cxn>
                  <a:cxn ang="0">
                    <a:pos x="7" y="4"/>
                  </a:cxn>
                  <a:cxn ang="0">
                    <a:pos x="4" y="5"/>
                  </a:cxn>
                  <a:cxn ang="0">
                    <a:pos x="0" y="2"/>
                  </a:cxn>
                  <a:cxn ang="0">
                    <a:pos x="0" y="0"/>
                  </a:cxn>
                  <a:cxn ang="0">
                    <a:pos x="11" y="0"/>
                  </a:cxn>
                </a:cxnLst>
                <a:rect l="0" t="0" r="r" b="b"/>
                <a:pathLst>
                  <a:path w="11" h="5">
                    <a:moveTo>
                      <a:pt x="11" y="0"/>
                    </a:moveTo>
                    <a:lnTo>
                      <a:pt x="7" y="4"/>
                    </a:lnTo>
                    <a:lnTo>
                      <a:pt x="4" y="5"/>
                    </a:lnTo>
                    <a:lnTo>
                      <a:pt x="0" y="2"/>
                    </a:lnTo>
                    <a:lnTo>
                      <a:pt x="0" y="0"/>
                    </a:lnTo>
                    <a:lnTo>
                      <a:pt x="1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25" name="Freeform 370"/>
              <p:cNvSpPr>
                <a:spLocks/>
              </p:cNvSpPr>
              <p:nvPr/>
            </p:nvSpPr>
            <p:spPr bwMode="auto">
              <a:xfrm>
                <a:off x="694532" y="3535363"/>
                <a:ext cx="14288" cy="7937"/>
              </a:xfrm>
              <a:custGeom>
                <a:avLst/>
                <a:gdLst/>
                <a:ahLst/>
                <a:cxnLst>
                  <a:cxn ang="0">
                    <a:pos x="4" y="0"/>
                  </a:cxn>
                  <a:cxn ang="0">
                    <a:pos x="6" y="0"/>
                  </a:cxn>
                  <a:cxn ang="0">
                    <a:pos x="9" y="0"/>
                  </a:cxn>
                  <a:cxn ang="0">
                    <a:pos x="9" y="2"/>
                  </a:cxn>
                  <a:cxn ang="0">
                    <a:pos x="7" y="3"/>
                  </a:cxn>
                  <a:cxn ang="0">
                    <a:pos x="6" y="5"/>
                  </a:cxn>
                  <a:cxn ang="0">
                    <a:pos x="2" y="3"/>
                  </a:cxn>
                  <a:cxn ang="0">
                    <a:pos x="0" y="2"/>
                  </a:cxn>
                  <a:cxn ang="0">
                    <a:pos x="2" y="0"/>
                  </a:cxn>
                  <a:cxn ang="0">
                    <a:pos x="6" y="0"/>
                  </a:cxn>
                  <a:cxn ang="0">
                    <a:pos x="4" y="0"/>
                  </a:cxn>
                </a:cxnLst>
                <a:rect l="0" t="0" r="r" b="b"/>
                <a:pathLst>
                  <a:path w="9" h="5">
                    <a:moveTo>
                      <a:pt x="4" y="0"/>
                    </a:moveTo>
                    <a:lnTo>
                      <a:pt x="6" y="0"/>
                    </a:lnTo>
                    <a:lnTo>
                      <a:pt x="9" y="0"/>
                    </a:lnTo>
                    <a:lnTo>
                      <a:pt x="9" y="2"/>
                    </a:lnTo>
                    <a:lnTo>
                      <a:pt x="7" y="3"/>
                    </a:lnTo>
                    <a:lnTo>
                      <a:pt x="6" y="5"/>
                    </a:lnTo>
                    <a:lnTo>
                      <a:pt x="2" y="3"/>
                    </a:lnTo>
                    <a:lnTo>
                      <a:pt x="0" y="2"/>
                    </a:lnTo>
                    <a:lnTo>
                      <a:pt x="2" y="0"/>
                    </a:lnTo>
                    <a:lnTo>
                      <a:pt x="6"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26" name="Freeform 371"/>
              <p:cNvSpPr>
                <a:spLocks/>
              </p:cNvSpPr>
              <p:nvPr/>
            </p:nvSpPr>
            <p:spPr bwMode="auto">
              <a:xfrm>
                <a:off x="662782" y="3516313"/>
                <a:ext cx="12700" cy="11112"/>
              </a:xfrm>
              <a:custGeom>
                <a:avLst/>
                <a:gdLst/>
                <a:ahLst/>
                <a:cxnLst>
                  <a:cxn ang="0">
                    <a:pos x="8" y="2"/>
                  </a:cxn>
                  <a:cxn ang="0">
                    <a:pos x="8" y="3"/>
                  </a:cxn>
                  <a:cxn ang="0">
                    <a:pos x="8" y="7"/>
                  </a:cxn>
                  <a:cxn ang="0">
                    <a:pos x="5" y="7"/>
                  </a:cxn>
                  <a:cxn ang="0">
                    <a:pos x="1" y="5"/>
                  </a:cxn>
                  <a:cxn ang="0">
                    <a:pos x="0" y="3"/>
                  </a:cxn>
                  <a:cxn ang="0">
                    <a:pos x="1" y="2"/>
                  </a:cxn>
                  <a:cxn ang="0">
                    <a:pos x="3" y="0"/>
                  </a:cxn>
                  <a:cxn ang="0">
                    <a:pos x="5" y="0"/>
                  </a:cxn>
                  <a:cxn ang="0">
                    <a:pos x="8" y="2"/>
                  </a:cxn>
                </a:cxnLst>
                <a:rect l="0" t="0" r="r" b="b"/>
                <a:pathLst>
                  <a:path w="8" h="7">
                    <a:moveTo>
                      <a:pt x="8" y="2"/>
                    </a:moveTo>
                    <a:lnTo>
                      <a:pt x="8" y="3"/>
                    </a:lnTo>
                    <a:lnTo>
                      <a:pt x="8" y="7"/>
                    </a:lnTo>
                    <a:lnTo>
                      <a:pt x="5" y="7"/>
                    </a:lnTo>
                    <a:lnTo>
                      <a:pt x="1" y="5"/>
                    </a:lnTo>
                    <a:lnTo>
                      <a:pt x="0" y="3"/>
                    </a:lnTo>
                    <a:lnTo>
                      <a:pt x="1" y="2"/>
                    </a:lnTo>
                    <a:lnTo>
                      <a:pt x="3" y="0"/>
                    </a:lnTo>
                    <a:lnTo>
                      <a:pt x="5" y="0"/>
                    </a:lnTo>
                    <a:lnTo>
                      <a:pt x="8"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grpSp>
        <p:cxnSp>
          <p:nvCxnSpPr>
            <p:cNvPr id="639" name="Straight Connector 638"/>
            <p:cNvCxnSpPr>
              <a:stCxn id="636" idx="1"/>
              <a:endCxn id="636" idx="3"/>
            </p:cNvCxnSpPr>
            <p:nvPr/>
          </p:nvCxnSpPr>
          <p:spPr>
            <a:xfrm>
              <a:off x="3542201" y="4851699"/>
              <a:ext cx="3684601"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pic>
          <p:nvPicPr>
            <p:cNvPr id="643" name="Picture 642"/>
            <p:cNvPicPr>
              <a:picLocks noChangeAspect="1"/>
            </p:cNvPicPr>
            <p:nvPr/>
          </p:nvPicPr>
          <p:blipFill rotWithShape="1">
            <a:blip r:embed="rId10">
              <a:extLst>
                <a:ext uri="{28A0092B-C50C-407E-A947-70E740481C1C}">
                  <a14:useLocalDpi xmlns:a14="http://schemas.microsoft.com/office/drawing/2010/main" val="0"/>
                </a:ext>
              </a:extLst>
            </a:blip>
            <a:srcRect t="32902" b="25103"/>
            <a:stretch/>
          </p:blipFill>
          <p:spPr>
            <a:xfrm>
              <a:off x="4754793" y="3578267"/>
              <a:ext cx="897288" cy="376814"/>
            </a:xfrm>
            <a:prstGeom prst="rect">
              <a:avLst/>
            </a:prstGeom>
          </p:spPr>
        </p:pic>
        <p:pic>
          <p:nvPicPr>
            <p:cNvPr id="645" name="Picture 644"/>
            <p:cNvPicPr>
              <a:picLocks noChangeAspect="1"/>
            </p:cNvPicPr>
            <p:nvPr/>
          </p:nvPicPr>
          <p:blipFill rotWithShape="1">
            <a:blip r:embed="rId11" cstate="print">
              <a:extLst>
                <a:ext uri="{28A0092B-C50C-407E-A947-70E740481C1C}">
                  <a14:useLocalDpi xmlns:a14="http://schemas.microsoft.com/office/drawing/2010/main" val="0"/>
                </a:ext>
              </a:extLst>
            </a:blip>
            <a:srcRect l="3544"/>
            <a:stretch/>
          </p:blipFill>
          <p:spPr>
            <a:xfrm>
              <a:off x="5168646" y="5635242"/>
              <a:ext cx="793898" cy="293329"/>
            </a:xfrm>
            <a:prstGeom prst="rect">
              <a:avLst/>
            </a:prstGeom>
          </p:spPr>
        </p:pic>
      </p:grpSp>
      <p:pic>
        <p:nvPicPr>
          <p:cNvPr id="827" name="Picture 18" descr="Related imag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1361920" y="3837379"/>
            <a:ext cx="529148" cy="589460"/>
          </a:xfrm>
          <a:prstGeom prst="rect">
            <a:avLst/>
          </a:prstGeom>
          <a:noFill/>
          <a:extLst>
            <a:ext uri="{909E8E84-426E-40DD-AFC4-6F175D3DCCD1}">
              <a14:hiddenFill xmlns:a14="http://schemas.microsoft.com/office/drawing/2010/main">
                <a:solidFill>
                  <a:srgbClr val="FFFFFF"/>
                </a:solidFill>
              </a14:hiddenFill>
            </a:ext>
          </a:extLst>
        </p:spPr>
      </p:pic>
      <p:pic>
        <p:nvPicPr>
          <p:cNvPr id="828" name="Picture 4" descr="Image result for jpmorgan logo"/>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35128" b="38205"/>
          <a:stretch/>
        </p:blipFill>
        <p:spPr bwMode="auto">
          <a:xfrm>
            <a:off x="4771408" y="5285558"/>
            <a:ext cx="751327" cy="20347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829" name="Picture 10" descr="Image result for morgan stanley logo"/>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532433" y="5280321"/>
            <a:ext cx="972281" cy="243070"/>
          </a:xfrm>
          <a:prstGeom prst="rect">
            <a:avLst/>
          </a:prstGeom>
          <a:solidFill>
            <a:srgbClr val="F4F9FD"/>
          </a:solidFill>
        </p:spPr>
      </p:pic>
      <p:pic>
        <p:nvPicPr>
          <p:cNvPr id="830" name="Picture 2" descr="Image result for axa mansard logo"/>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544224" y="4602113"/>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831" name="Picture 830"/>
          <p:cNvPicPr>
            <a:picLocks noChangeAspect="1"/>
          </p:cNvPicPr>
          <p:nvPr/>
        </p:nvPicPr>
        <p:blipFill>
          <a:blip r:embed="rId16"/>
          <a:stretch>
            <a:fillRect/>
          </a:stretch>
        </p:blipFill>
        <p:spPr>
          <a:xfrm>
            <a:off x="4701588" y="4694155"/>
            <a:ext cx="676995" cy="262022"/>
          </a:xfrm>
          <a:prstGeom prst="rect">
            <a:avLst/>
          </a:prstGeom>
        </p:spPr>
      </p:pic>
      <p:pic>
        <p:nvPicPr>
          <p:cNvPr id="832" name="Picture 831"/>
          <p:cNvPicPr>
            <a:picLocks noChangeAspect="1"/>
          </p:cNvPicPr>
          <p:nvPr/>
        </p:nvPicPr>
        <p:blipFill>
          <a:blip r:embed="rId17"/>
          <a:stretch>
            <a:fillRect/>
          </a:stretch>
        </p:blipFill>
        <p:spPr>
          <a:xfrm>
            <a:off x="5664210" y="4067454"/>
            <a:ext cx="627818" cy="399860"/>
          </a:xfrm>
          <a:prstGeom prst="rect">
            <a:avLst/>
          </a:prstGeom>
          <a:ln>
            <a:solidFill>
              <a:schemeClr val="bg1">
                <a:lumMod val="95000"/>
              </a:schemeClr>
            </a:solidFill>
          </a:ln>
        </p:spPr>
      </p:pic>
      <p:pic>
        <p:nvPicPr>
          <p:cNvPr id="833" name="Picture 832"/>
          <p:cNvPicPr>
            <a:picLocks noChangeAspect="1"/>
          </p:cNvPicPr>
          <p:nvPr/>
        </p:nvPicPr>
        <p:blipFill>
          <a:blip r:embed="rId18"/>
          <a:stretch>
            <a:fillRect/>
          </a:stretch>
        </p:blipFill>
        <p:spPr>
          <a:xfrm>
            <a:off x="5673543" y="5611151"/>
            <a:ext cx="779965" cy="222088"/>
          </a:xfrm>
          <a:prstGeom prst="rect">
            <a:avLst/>
          </a:prstGeom>
          <a:ln>
            <a:solidFill>
              <a:schemeClr val="bg1">
                <a:lumMod val="95000"/>
              </a:schemeClr>
            </a:solidFill>
          </a:ln>
        </p:spPr>
      </p:pic>
      <p:pic>
        <p:nvPicPr>
          <p:cNvPr id="834" name="Picture 833"/>
          <p:cNvPicPr>
            <a:picLocks noChangeAspect="1"/>
          </p:cNvPicPr>
          <p:nvPr/>
        </p:nvPicPr>
        <p:blipFill>
          <a:blip r:embed="rId19"/>
          <a:stretch>
            <a:fillRect/>
          </a:stretch>
        </p:blipFill>
        <p:spPr>
          <a:xfrm>
            <a:off x="4998418" y="5562124"/>
            <a:ext cx="488207" cy="207662"/>
          </a:xfrm>
          <a:prstGeom prst="rect">
            <a:avLst/>
          </a:prstGeom>
          <a:ln>
            <a:solidFill>
              <a:schemeClr val="bg1">
                <a:lumMod val="95000"/>
              </a:schemeClr>
            </a:solidFill>
          </a:ln>
        </p:spPr>
      </p:pic>
      <p:pic>
        <p:nvPicPr>
          <p:cNvPr id="835" name="Picture 14" descr="Related image"/>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903574" y="6093509"/>
            <a:ext cx="771356" cy="265259"/>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836" name="Picture 12" descr="Image result for charles schwab"/>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328285" y="5902981"/>
            <a:ext cx="388945" cy="388945"/>
          </a:xfrm>
          <a:prstGeom prst="rect">
            <a:avLst/>
          </a:prstGeom>
          <a:noFill/>
          <a:extLst>
            <a:ext uri="{909E8E84-426E-40DD-AFC4-6F175D3DCCD1}">
              <a14:hiddenFill xmlns:a14="http://schemas.microsoft.com/office/drawing/2010/main">
                <a:solidFill>
                  <a:srgbClr val="FFFFFF"/>
                </a:solidFill>
              </a14:hiddenFill>
            </a:ext>
          </a:extLst>
        </p:spPr>
      </p:pic>
      <p:pic>
        <p:nvPicPr>
          <p:cNvPr id="837" name="Picture 8" descr="Related image"/>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5837963" y="5921090"/>
            <a:ext cx="403800" cy="402814"/>
          </a:xfrm>
          <a:prstGeom prst="rect">
            <a:avLst/>
          </a:prstGeom>
          <a:solidFill>
            <a:schemeClr val="bg1"/>
          </a:solidFill>
        </p:spPr>
      </p:pic>
      <p:sp>
        <p:nvSpPr>
          <p:cNvPr id="263" name="Title 2"/>
          <p:cNvSpPr txBox="1">
            <a:spLocks/>
          </p:cNvSpPr>
          <p:nvPr/>
        </p:nvSpPr>
        <p:spPr>
          <a:xfrm>
            <a:off x="3379898" y="56206"/>
            <a:ext cx="338328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Key </a:t>
            </a:r>
            <a:r>
              <a:rPr lang="en-US" sz="4400" b="0" kern="1200" dirty="0" smtClean="0">
                <a:latin typeface="KPMG Extralight" panose="020B0303030202040204" pitchFamily="34" charset="0"/>
                <a:cs typeface="+mj-cs"/>
              </a:rPr>
              <a:t>Findings &amp; Initiatives</a:t>
            </a:r>
            <a:endParaRPr lang="en-US" sz="4400" b="0" kern="1200" baseline="30000" dirty="0">
              <a:latin typeface="KPMG Extralight" panose="020B0303030202040204" pitchFamily="34" charset="0"/>
              <a:ea typeface="+mj-ea"/>
              <a:cs typeface="+mj-cs"/>
            </a:endParaRPr>
          </a:p>
        </p:txBody>
      </p:sp>
    </p:spTree>
    <p:extLst>
      <p:ext uri="{BB962C8B-B14F-4D97-AF65-F5344CB8AC3E}">
        <p14:creationId xmlns:p14="http://schemas.microsoft.com/office/powerpoint/2010/main" val="334070773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982"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86" name="TextBox 85"/>
          <p:cNvSpPr txBox="1"/>
          <p:nvPr/>
        </p:nvSpPr>
        <p:spPr>
          <a:xfrm>
            <a:off x="-692" y="192630"/>
            <a:ext cx="3369163" cy="615553"/>
          </a:xfrm>
          <a:prstGeom prst="rect">
            <a:avLst/>
          </a:prstGeom>
          <a:noFill/>
        </p:spPr>
        <p:txBody>
          <a:bodyPr wrap="square" lIns="0" tIns="0" rIns="0" bIns="0" rtlCol="0">
            <a:spAutoFit/>
          </a:bodyPr>
          <a:lstStyle/>
          <a:p>
            <a:r>
              <a:rPr lang="en-US" sz="4000" b="1" dirty="0" smtClean="0">
                <a:solidFill>
                  <a:srgbClr val="FFFFFF"/>
                </a:solidFill>
                <a:latin typeface="KPMG Extralight" panose="020B0303030202040204" pitchFamily="34" charset="0"/>
                <a:cs typeface="Arial" pitchFamily="34" charset="0"/>
              </a:rPr>
              <a:t>Operating Model</a:t>
            </a:r>
            <a:endParaRPr lang="en-GB" sz="4000" b="1" dirty="0" smtClean="0">
              <a:solidFill>
                <a:srgbClr val="FFFFFF"/>
              </a:solidFill>
              <a:latin typeface="KPMG Extralight" panose="020B0303030202040204" pitchFamily="34" charset="0"/>
              <a:cs typeface="Arial" pitchFamily="34" charset="0"/>
            </a:endParaRPr>
          </a:p>
        </p:txBody>
      </p:sp>
      <p:sp>
        <p:nvSpPr>
          <p:cNvPr id="48" name="TextBox 47"/>
          <p:cNvSpPr txBox="1"/>
          <p:nvPr/>
        </p:nvSpPr>
        <p:spPr>
          <a:xfrm>
            <a:off x="70161" y="3031249"/>
            <a:ext cx="3017520" cy="553998"/>
          </a:xfrm>
          <a:prstGeom prst="rect">
            <a:avLst/>
          </a:prstGeom>
          <a:noFill/>
        </p:spPr>
        <p:txBody>
          <a:bodyPr wrap="square" lIns="0" tIns="0" rIns="0" bIns="0" rtlCol="0">
            <a:spAutoFit/>
          </a:bodyPr>
          <a:lstStyle>
            <a:defPPr>
              <a:defRPr lang="en-US"/>
            </a:defPPr>
            <a:lvl1pPr>
              <a:defRPr sz="1200" b="1">
                <a:solidFill>
                  <a:srgbClr val="FFFFFF"/>
                </a:solidFill>
                <a:cs typeface="Arial" pitchFamily="34" charset="0"/>
              </a:defRPr>
            </a:lvl1pPr>
          </a:lstStyle>
          <a:p>
            <a:r>
              <a:rPr lang="en-US" dirty="0" smtClean="0"/>
              <a:t>Establishment </a:t>
            </a:r>
            <a:r>
              <a:rPr lang="en-US" dirty="0"/>
              <a:t>of Robust Digital Governance Model</a:t>
            </a:r>
          </a:p>
          <a:p>
            <a:endParaRPr lang="en-US" dirty="0"/>
          </a:p>
        </p:txBody>
      </p:sp>
      <p:sp>
        <p:nvSpPr>
          <p:cNvPr id="49" name="TextBox 48"/>
          <p:cNvSpPr txBox="1"/>
          <p:nvPr/>
        </p:nvSpPr>
        <p:spPr>
          <a:xfrm>
            <a:off x="88888" y="3896145"/>
            <a:ext cx="3174580" cy="184666"/>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Digital workforce</a:t>
            </a:r>
            <a:endParaRPr lang="en-US" sz="1200" b="1" dirty="0">
              <a:solidFill>
                <a:srgbClr val="FFFFFF"/>
              </a:solidFill>
              <a:cs typeface="Arial" pitchFamily="34" charset="0"/>
            </a:endParaRPr>
          </a:p>
        </p:txBody>
      </p:sp>
      <p:graphicFrame>
        <p:nvGraphicFramePr>
          <p:cNvPr id="31" name="Table 30"/>
          <p:cNvGraphicFramePr>
            <a:graphicFrameLocks noGrp="1"/>
          </p:cNvGraphicFramePr>
          <p:nvPr>
            <p:extLst>
              <p:ext uri="{D42A27DB-BD31-4B8C-83A1-F6EECF244321}">
                <p14:modId xmlns:p14="http://schemas.microsoft.com/office/powerpoint/2010/main" val="2082145296"/>
              </p:ext>
            </p:extLst>
          </p:nvPr>
        </p:nvGraphicFramePr>
        <p:xfrm>
          <a:off x="112335" y="2495443"/>
          <a:ext cx="3053407" cy="320040"/>
        </p:xfrm>
        <a:graphic>
          <a:graphicData uri="http://schemas.openxmlformats.org/drawingml/2006/table">
            <a:tbl>
              <a:tblPr bandRow="1">
                <a:tableStyleId>{5C22544A-7EE6-4342-B048-85BDC9FD1C3A}</a:tableStyleId>
              </a:tblPr>
              <a:tblGrid>
                <a:gridCol w="3053407"/>
              </a:tblGrid>
              <a:tr h="230385">
                <a:tc>
                  <a:txBody>
                    <a:bodyPr/>
                    <a:lstStyle/>
                    <a:p>
                      <a:endParaRPr lang="en-US" sz="1500" b="1" dirty="0"/>
                    </a:p>
                  </a:txBody>
                  <a:tcPr anchor="ctr">
                    <a:solidFill>
                      <a:srgbClr val="DBCDDB"/>
                    </a:solidFill>
                  </a:tcPr>
                </a:tc>
              </a:tr>
            </a:tbl>
          </a:graphicData>
        </a:graphic>
      </p:graphicFrame>
      <p:sp>
        <p:nvSpPr>
          <p:cNvPr id="32" name="TextBox 31"/>
          <p:cNvSpPr txBox="1"/>
          <p:nvPr/>
        </p:nvSpPr>
        <p:spPr>
          <a:xfrm>
            <a:off x="2782797" y="2612407"/>
            <a:ext cx="382639" cy="116869"/>
          </a:xfrm>
          <a:prstGeom prst="rect">
            <a:avLst/>
          </a:prstGeom>
          <a:noFill/>
        </p:spPr>
        <p:txBody>
          <a:bodyPr wrap="none" lIns="21772" tIns="21772" rIns="21772" bIns="21772" rtlCol="0" anchor="ctr" anchorCtr="0">
            <a:noAutofit/>
          </a:bodyPr>
          <a:lstStyle/>
          <a:p>
            <a:pPr algn="r"/>
            <a:r>
              <a:rPr lang="en-AU" sz="800" b="1" dirty="0">
                <a:solidFill>
                  <a:srgbClr val="000000"/>
                </a:solidFill>
                <a:cs typeface="Arial" panose="020B0604020202020204" pitchFamily="34" charset="0"/>
              </a:rPr>
              <a:t>Innovating</a:t>
            </a:r>
          </a:p>
        </p:txBody>
      </p:sp>
      <p:sp>
        <p:nvSpPr>
          <p:cNvPr id="33" name="TextBox 32"/>
          <p:cNvSpPr txBox="1"/>
          <p:nvPr/>
        </p:nvSpPr>
        <p:spPr>
          <a:xfrm>
            <a:off x="711797" y="2612407"/>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Basic</a:t>
            </a:r>
          </a:p>
        </p:txBody>
      </p:sp>
      <p:sp>
        <p:nvSpPr>
          <p:cNvPr id="34" name="TextBox 33"/>
          <p:cNvSpPr txBox="1"/>
          <p:nvPr/>
        </p:nvSpPr>
        <p:spPr>
          <a:xfrm>
            <a:off x="1970881" y="2612407"/>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Leading</a:t>
            </a:r>
          </a:p>
        </p:txBody>
      </p:sp>
      <p:sp>
        <p:nvSpPr>
          <p:cNvPr id="35" name="TextBox 34"/>
          <p:cNvSpPr txBox="1"/>
          <p:nvPr/>
        </p:nvSpPr>
        <p:spPr>
          <a:xfrm>
            <a:off x="112641" y="2612407"/>
            <a:ext cx="382639" cy="116869"/>
          </a:xfrm>
          <a:prstGeom prst="rect">
            <a:avLst/>
          </a:prstGeom>
          <a:noFill/>
        </p:spPr>
        <p:txBody>
          <a:bodyPr wrap="none" lIns="21772" tIns="21772" rIns="21772" bIns="21772" rtlCol="0" anchor="ctr" anchorCtr="0">
            <a:noAutofit/>
          </a:bodyPr>
          <a:lstStyle/>
          <a:p>
            <a:r>
              <a:rPr lang="en-AU" sz="800" b="1" dirty="0">
                <a:solidFill>
                  <a:srgbClr val="000000"/>
                </a:solidFill>
                <a:cs typeface="Arial" panose="020B0604020202020204" pitchFamily="34" charset="0"/>
              </a:rPr>
              <a:t>Lagging</a:t>
            </a:r>
          </a:p>
        </p:txBody>
      </p:sp>
      <p:sp>
        <p:nvSpPr>
          <p:cNvPr id="36" name="TextBox 35"/>
          <p:cNvSpPr txBox="1"/>
          <p:nvPr/>
        </p:nvSpPr>
        <p:spPr>
          <a:xfrm>
            <a:off x="1322592" y="2612407"/>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Progressed</a:t>
            </a:r>
          </a:p>
        </p:txBody>
      </p:sp>
      <p:sp>
        <p:nvSpPr>
          <p:cNvPr id="37" name="Rectangle 36"/>
          <p:cNvSpPr/>
          <p:nvPr/>
        </p:nvSpPr>
        <p:spPr>
          <a:xfrm>
            <a:off x="101012" y="3409772"/>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38" name="Isosceles Triangle 37"/>
          <p:cNvSpPr/>
          <p:nvPr/>
        </p:nvSpPr>
        <p:spPr>
          <a:xfrm>
            <a:off x="970972" y="3510073"/>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39" name="Isosceles Triangle 38"/>
          <p:cNvSpPr/>
          <p:nvPr/>
        </p:nvSpPr>
        <p:spPr>
          <a:xfrm>
            <a:off x="691532" y="3510073"/>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 name="Rectangle 39"/>
          <p:cNvSpPr/>
          <p:nvPr/>
        </p:nvSpPr>
        <p:spPr>
          <a:xfrm>
            <a:off x="87900" y="4123469"/>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3" name="Rectangle 2"/>
          <p:cNvSpPr/>
          <p:nvPr/>
        </p:nvSpPr>
        <p:spPr>
          <a:xfrm>
            <a:off x="-58442" y="964056"/>
            <a:ext cx="3064378" cy="692497"/>
          </a:xfrm>
          <a:prstGeom prst="rect">
            <a:avLst/>
          </a:prstGeom>
        </p:spPr>
        <p:txBody>
          <a:bodyPr wrap="square">
            <a:spAutoFit/>
          </a:bodyPr>
          <a:lstStyle/>
          <a:p>
            <a:r>
              <a:rPr lang="en-US" sz="1300" dirty="0" smtClean="0">
                <a:solidFill>
                  <a:srgbClr val="FFFFFF"/>
                </a:solidFill>
              </a:rPr>
              <a:t>The </a:t>
            </a:r>
            <a:r>
              <a:rPr lang="en-US" sz="1300" dirty="0">
                <a:solidFill>
                  <a:srgbClr val="FFFFFF"/>
                </a:solidFill>
              </a:rPr>
              <a:t>extent to which an </a:t>
            </a:r>
            <a:r>
              <a:rPr lang="en-US" sz="1300" dirty="0" err="1">
                <a:solidFill>
                  <a:srgbClr val="FFFFFF"/>
                </a:solidFill>
              </a:rPr>
              <a:t>organisation</a:t>
            </a:r>
            <a:r>
              <a:rPr lang="en-US" sz="1300" dirty="0">
                <a:solidFill>
                  <a:srgbClr val="FFFFFF"/>
                </a:solidFill>
              </a:rPr>
              <a:t> is structured to deliver value to customers leveraging digital</a:t>
            </a:r>
            <a:r>
              <a:rPr lang="en-US" sz="1300" dirty="0" smtClean="0">
                <a:solidFill>
                  <a:srgbClr val="FFFFFF"/>
                </a:solidFill>
              </a:rPr>
              <a:t>.</a:t>
            </a:r>
            <a:endParaRPr lang="en-US" sz="1300" dirty="0">
              <a:solidFill>
                <a:srgbClr val="FFFFFF"/>
              </a:solidFill>
            </a:endParaRPr>
          </a:p>
        </p:txBody>
      </p:sp>
      <p:grpSp>
        <p:nvGrpSpPr>
          <p:cNvPr id="89" name="Group 88"/>
          <p:cNvGrpSpPr/>
          <p:nvPr/>
        </p:nvGrpSpPr>
        <p:grpSpPr>
          <a:xfrm>
            <a:off x="7347937" y="121697"/>
            <a:ext cx="4568864" cy="274320"/>
            <a:chOff x="7916790" y="356874"/>
            <a:chExt cx="4568864" cy="274320"/>
          </a:xfrm>
        </p:grpSpPr>
        <p:grpSp>
          <p:nvGrpSpPr>
            <p:cNvPr id="90" name="Group 89"/>
            <p:cNvGrpSpPr/>
            <p:nvPr/>
          </p:nvGrpSpPr>
          <p:grpSpPr>
            <a:xfrm>
              <a:off x="7916790" y="356874"/>
              <a:ext cx="2337497" cy="274320"/>
              <a:chOff x="3793151" y="6476333"/>
              <a:chExt cx="2337497" cy="274320"/>
            </a:xfrm>
          </p:grpSpPr>
          <p:sp>
            <p:nvSpPr>
              <p:cNvPr id="95" name="Isosceles Triangle 94"/>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96" name="TextBox 95"/>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97"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98"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99" name="Isosceles Triangle 98"/>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91" name="Isosceles Triangle 90"/>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92" name="TextBox 91"/>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93" name="Isosceles Triangle 92"/>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94" name="TextBox 93"/>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sp>
        <p:nvSpPr>
          <p:cNvPr id="100" name="Rectangle 99"/>
          <p:cNvSpPr/>
          <p:nvPr/>
        </p:nvSpPr>
        <p:spPr>
          <a:xfrm>
            <a:off x="102170" y="2179187"/>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cxnSp>
        <p:nvCxnSpPr>
          <p:cNvPr id="102" name="Straight Connector 101"/>
          <p:cNvCxnSpPr/>
          <p:nvPr/>
        </p:nvCxnSpPr>
        <p:spPr>
          <a:xfrm>
            <a:off x="605465" y="2517685"/>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193805" y="2510592"/>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1821118" y="2517685"/>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2483889" y="2510592"/>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6" name="Isosceles Triangle 105"/>
          <p:cNvSpPr/>
          <p:nvPr/>
        </p:nvSpPr>
        <p:spPr>
          <a:xfrm>
            <a:off x="3026358" y="3510073"/>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07" name="Isosceles Triangle 106"/>
          <p:cNvSpPr/>
          <p:nvPr/>
        </p:nvSpPr>
        <p:spPr>
          <a:xfrm>
            <a:off x="2920879" y="3510073"/>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0" name="Isosceles Triangle 109"/>
          <p:cNvSpPr/>
          <p:nvPr/>
        </p:nvSpPr>
        <p:spPr>
          <a:xfrm>
            <a:off x="920983" y="4221285"/>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1" name="Isosceles Triangle 110"/>
          <p:cNvSpPr/>
          <p:nvPr/>
        </p:nvSpPr>
        <p:spPr>
          <a:xfrm>
            <a:off x="2961904" y="4221285"/>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2" name="Isosceles Triangle 111"/>
          <p:cNvSpPr/>
          <p:nvPr/>
        </p:nvSpPr>
        <p:spPr>
          <a:xfrm>
            <a:off x="2827546" y="4221285"/>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5" name="Isosceles Triangle 114"/>
          <p:cNvSpPr/>
          <p:nvPr/>
        </p:nvSpPr>
        <p:spPr>
          <a:xfrm flipV="1">
            <a:off x="1048947" y="2021088"/>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6" name="Isosceles Triangle 115"/>
          <p:cNvSpPr/>
          <p:nvPr/>
        </p:nvSpPr>
        <p:spPr>
          <a:xfrm flipV="1">
            <a:off x="535461" y="2021088"/>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7" name="Isosceles Triangle 116"/>
          <p:cNvSpPr/>
          <p:nvPr/>
        </p:nvSpPr>
        <p:spPr>
          <a:xfrm flipV="1">
            <a:off x="3019659" y="2021088"/>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8" name="Isosceles Triangle 117"/>
          <p:cNvSpPr/>
          <p:nvPr/>
        </p:nvSpPr>
        <p:spPr>
          <a:xfrm flipV="1">
            <a:off x="2912659" y="2021088"/>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graphicFrame>
        <p:nvGraphicFramePr>
          <p:cNvPr id="416" name="Table 415"/>
          <p:cNvGraphicFramePr>
            <a:graphicFrameLocks noGrp="1"/>
          </p:cNvGraphicFramePr>
          <p:nvPr>
            <p:extLst>
              <p:ext uri="{D42A27DB-BD31-4B8C-83A1-F6EECF244321}">
                <p14:modId xmlns:p14="http://schemas.microsoft.com/office/powerpoint/2010/main" val="1912676063"/>
              </p:ext>
            </p:extLst>
          </p:nvPr>
        </p:nvGraphicFramePr>
        <p:xfrm>
          <a:off x="3793054" y="995656"/>
          <a:ext cx="8154904" cy="1981200"/>
        </p:xfrm>
        <a:graphic>
          <a:graphicData uri="http://schemas.openxmlformats.org/drawingml/2006/table">
            <a:tbl>
              <a:tblPr firstRow="1" bandRow="1">
                <a:tableStyleId>{00A15C55-8517-42AA-B614-E9B94910E393}</a:tableStyleId>
              </a:tblPr>
              <a:tblGrid>
                <a:gridCol w="1857375"/>
                <a:gridCol w="6297529"/>
              </a:tblGrid>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Digital Governance Structure</a:t>
                      </a:r>
                      <a:endParaRPr lang="en-US"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Establish a Centre of Excellence, led by the Chief Digital Officer, to overcome functional silos and ensure </a:t>
                      </a:r>
                      <a:r>
                        <a:rPr lang="en-US" sz="1400" b="0" kern="1200" dirty="0" err="1" smtClean="0">
                          <a:solidFill>
                            <a:srgbClr val="00338D"/>
                          </a:solidFill>
                          <a:latin typeface="+mn-lt"/>
                          <a:ea typeface="+mn-ea"/>
                          <a:cs typeface="+mn-cs"/>
                        </a:rPr>
                        <a:t>organisation</a:t>
                      </a:r>
                      <a:r>
                        <a:rPr lang="en-US" sz="1400" b="0" kern="1200" dirty="0" smtClean="0">
                          <a:solidFill>
                            <a:srgbClr val="00338D"/>
                          </a:solidFill>
                          <a:latin typeface="+mn-lt"/>
                          <a:ea typeface="+mn-ea"/>
                          <a:cs typeface="+mn-cs"/>
                        </a:rPr>
                        <a:t>-wide accountability for the digital agenda</a:t>
                      </a:r>
                      <a:endParaRPr lang="en-US" sz="1400" b="0" kern="1200" dirty="0">
                        <a:solidFill>
                          <a:srgbClr val="00338D"/>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Digital Workforce</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Establish a talent development and acquisition strategy that will equip existing talent with digital skill-sets and acquire new talents (data scientists, software engineers etc.) </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Process </a:t>
                      </a:r>
                      <a:r>
                        <a:rPr lang="en-US" sz="1400" b="0" kern="1200" spc="-10" dirty="0" err="1" smtClean="0">
                          <a:solidFill>
                            <a:schemeClr val="bg1"/>
                          </a:solidFill>
                          <a:latin typeface="+mn-lt"/>
                          <a:ea typeface="+mn-ea"/>
                          <a:cs typeface="+mn-cs"/>
                        </a:rPr>
                        <a:t>Digitisation</a:t>
                      </a:r>
                      <a:endParaRPr lang="en-US" sz="1400" b="0" kern="1200" spc="-10" dirty="0" smtClean="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Leverage Artificial Intelligence and Robotics Process Automation to continually </a:t>
                      </a:r>
                      <a:r>
                        <a:rPr lang="en-US" sz="1400" b="0" kern="1200" dirty="0" err="1" smtClean="0">
                          <a:solidFill>
                            <a:srgbClr val="00338D"/>
                          </a:solidFill>
                          <a:latin typeface="+mn-lt"/>
                          <a:ea typeface="+mn-ea"/>
                          <a:cs typeface="+mn-cs"/>
                        </a:rPr>
                        <a:t>optimise</a:t>
                      </a:r>
                      <a:r>
                        <a:rPr lang="en-US" sz="1400" b="0" kern="1200" dirty="0" smtClean="0">
                          <a:solidFill>
                            <a:srgbClr val="00338D"/>
                          </a:solidFill>
                          <a:latin typeface="+mn-lt"/>
                          <a:ea typeface="+mn-ea"/>
                          <a:cs typeface="+mn-cs"/>
                        </a:rPr>
                        <a:t> performance</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bl>
          </a:graphicData>
        </a:graphic>
      </p:graphicFrame>
      <p:pic>
        <p:nvPicPr>
          <p:cNvPr id="417" name="Picture 4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1004736"/>
            <a:ext cx="405670" cy="405670"/>
          </a:xfrm>
          <a:prstGeom prst="rect">
            <a:avLst/>
          </a:prstGeom>
        </p:spPr>
      </p:pic>
      <p:pic>
        <p:nvPicPr>
          <p:cNvPr id="418" name="Picture 4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1662981"/>
            <a:ext cx="405670" cy="405670"/>
          </a:xfrm>
          <a:prstGeom prst="rect">
            <a:avLst/>
          </a:prstGeom>
        </p:spPr>
      </p:pic>
      <p:pic>
        <p:nvPicPr>
          <p:cNvPr id="419" name="Picture 4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2330846"/>
            <a:ext cx="405670" cy="405670"/>
          </a:xfrm>
          <a:prstGeom prst="rect">
            <a:avLst/>
          </a:prstGeom>
        </p:spPr>
      </p:pic>
      <p:sp>
        <p:nvSpPr>
          <p:cNvPr id="421" name="Rectangle 420"/>
          <p:cNvSpPr/>
          <p:nvPr/>
        </p:nvSpPr>
        <p:spPr>
          <a:xfrm>
            <a:off x="3323435" y="595736"/>
            <a:ext cx="8595360" cy="307777"/>
          </a:xfrm>
          <a:prstGeom prst="rect">
            <a:avLst/>
          </a:prstGeom>
        </p:spPr>
        <p:txBody>
          <a:bodyPr wrap="square">
            <a:spAutoFit/>
          </a:bodyPr>
          <a:lstStyle/>
          <a:p>
            <a:pPr defTabSz="713603">
              <a:defRPr/>
            </a:pPr>
            <a:r>
              <a:rPr lang="en-US" sz="1400" dirty="0" smtClean="0">
                <a:solidFill>
                  <a:srgbClr val="00338D"/>
                </a:solidFill>
              </a:rPr>
              <a:t>The following key initiatives have been identified for </a:t>
            </a:r>
            <a:r>
              <a:rPr lang="en-US" sz="1400" dirty="0" err="1" smtClean="0">
                <a:solidFill>
                  <a:srgbClr val="00338D"/>
                </a:solidFill>
              </a:rPr>
              <a:t>FBNQuest</a:t>
            </a:r>
            <a:r>
              <a:rPr lang="en-US" sz="1400" dirty="0" smtClean="0">
                <a:solidFill>
                  <a:srgbClr val="00338D"/>
                </a:solidFill>
              </a:rPr>
              <a:t> with respect to Operating Model: </a:t>
            </a:r>
            <a:endParaRPr lang="en-US" sz="1400" dirty="0">
              <a:solidFill>
                <a:srgbClr val="00338D"/>
              </a:solidFill>
            </a:endParaRPr>
          </a:p>
        </p:txBody>
      </p:sp>
      <p:sp>
        <p:nvSpPr>
          <p:cNvPr id="424" name="Isosceles Triangle 423"/>
          <p:cNvSpPr/>
          <p:nvPr/>
        </p:nvSpPr>
        <p:spPr>
          <a:xfrm>
            <a:off x="584044" y="4221285"/>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6" name="TextBox 425"/>
          <p:cNvSpPr txBox="1"/>
          <p:nvPr/>
        </p:nvSpPr>
        <p:spPr>
          <a:xfrm>
            <a:off x="78188" y="4615861"/>
            <a:ext cx="3174580" cy="369332"/>
          </a:xfrm>
          <a:prstGeom prst="rect">
            <a:avLst/>
          </a:prstGeom>
          <a:noFill/>
        </p:spPr>
        <p:txBody>
          <a:bodyPr wrap="square" lIns="0" tIns="0" rIns="0" bIns="0" rtlCol="0">
            <a:spAutoFit/>
          </a:bodyPr>
          <a:lstStyle/>
          <a:p>
            <a:r>
              <a:rPr lang="en-US" sz="1200" b="1" dirty="0" err="1" smtClean="0">
                <a:solidFill>
                  <a:srgbClr val="FFFFFF"/>
                </a:solidFill>
                <a:cs typeface="Arial" pitchFamily="34" charset="0"/>
              </a:rPr>
              <a:t>Digitisation</a:t>
            </a:r>
            <a:r>
              <a:rPr lang="en-US" sz="1200" b="1" dirty="0" smtClean="0">
                <a:solidFill>
                  <a:srgbClr val="FFFFFF"/>
                </a:solidFill>
                <a:cs typeface="Arial" pitchFamily="34" charset="0"/>
              </a:rPr>
              <a:t> </a:t>
            </a:r>
            <a:r>
              <a:rPr lang="en-US" sz="1200" b="1" dirty="0">
                <a:solidFill>
                  <a:srgbClr val="FFFFFF"/>
                </a:solidFill>
                <a:cs typeface="Arial" pitchFamily="34" charset="0"/>
              </a:rPr>
              <a:t>of key operational processes</a:t>
            </a:r>
          </a:p>
          <a:p>
            <a:r>
              <a:rPr lang="en-US" sz="1200" b="1" dirty="0" smtClean="0">
                <a:solidFill>
                  <a:srgbClr val="FFFFFF"/>
                </a:solidFill>
                <a:cs typeface="Arial" pitchFamily="34" charset="0"/>
              </a:rPr>
              <a:t> </a:t>
            </a:r>
            <a:endParaRPr lang="en-US" sz="1200" b="1" dirty="0">
              <a:solidFill>
                <a:srgbClr val="FFFFFF"/>
              </a:solidFill>
              <a:cs typeface="Arial" pitchFamily="34" charset="0"/>
            </a:endParaRPr>
          </a:p>
        </p:txBody>
      </p:sp>
      <p:sp>
        <p:nvSpPr>
          <p:cNvPr id="427" name="Rectangle 426"/>
          <p:cNvSpPr/>
          <p:nvPr/>
        </p:nvSpPr>
        <p:spPr>
          <a:xfrm>
            <a:off x="77200" y="4881685"/>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28" name="Isosceles Triangle 427"/>
          <p:cNvSpPr/>
          <p:nvPr/>
        </p:nvSpPr>
        <p:spPr>
          <a:xfrm>
            <a:off x="1083534" y="4979501"/>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9" name="Isosceles Triangle 428"/>
          <p:cNvSpPr/>
          <p:nvPr/>
        </p:nvSpPr>
        <p:spPr>
          <a:xfrm>
            <a:off x="2989705" y="4979501"/>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0" name="Isosceles Triangle 429"/>
          <p:cNvSpPr/>
          <p:nvPr/>
        </p:nvSpPr>
        <p:spPr>
          <a:xfrm>
            <a:off x="2884224" y="4979501"/>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1" name="Isosceles Triangle 430"/>
          <p:cNvSpPr/>
          <p:nvPr/>
        </p:nvSpPr>
        <p:spPr>
          <a:xfrm>
            <a:off x="515591" y="4979501"/>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pic>
        <p:nvPicPr>
          <p:cNvPr id="433" name="Picture 4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53248" y="20474"/>
            <a:ext cx="548640" cy="155207"/>
          </a:xfrm>
          <a:prstGeom prst="rect">
            <a:avLst/>
          </a:prstGeom>
          <a:solidFill>
            <a:srgbClr val="BFBFBF"/>
          </a:solidFill>
        </p:spPr>
      </p:pic>
      <p:sp>
        <p:nvSpPr>
          <p:cNvPr id="403" name="Snip Diagonal Corner Rectangle 402"/>
          <p:cNvSpPr/>
          <p:nvPr/>
        </p:nvSpPr>
        <p:spPr>
          <a:xfrm>
            <a:off x="6810046" y="4016169"/>
            <a:ext cx="5106756" cy="2384631"/>
          </a:xfrm>
          <a:prstGeom prst="snip2Diag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defTabSz="890789">
              <a:buFont typeface="Arial" panose="020B0604020202020204" pitchFamily="34" charset="0"/>
              <a:buChar char="•"/>
              <a:defRPr/>
            </a:pPr>
            <a:r>
              <a:rPr lang="en-US" sz="1400" dirty="0">
                <a:solidFill>
                  <a:schemeClr val="bg1"/>
                </a:solidFill>
              </a:rPr>
              <a:t>Digital is </a:t>
            </a:r>
            <a:r>
              <a:rPr lang="en-US" sz="1400" dirty="0" err="1">
                <a:solidFill>
                  <a:schemeClr val="bg1"/>
                </a:solidFill>
              </a:rPr>
              <a:t>recognised</a:t>
            </a:r>
            <a:r>
              <a:rPr lang="en-US" sz="1400" dirty="0">
                <a:solidFill>
                  <a:schemeClr val="bg1"/>
                </a:solidFill>
              </a:rPr>
              <a:t> as a ‘standalone’ strategic business unit where a Chief Digital/Innovation Officer drives the digital agenda and reports to the CEO.</a:t>
            </a:r>
          </a:p>
          <a:p>
            <a:pPr marL="171450" indent="-171450" defTabSz="890789">
              <a:buFont typeface="Arial" panose="020B0604020202020204" pitchFamily="34" charset="0"/>
              <a:buChar char="•"/>
              <a:defRPr/>
            </a:pPr>
            <a:r>
              <a:rPr lang="en-US" sz="1400" dirty="0">
                <a:solidFill>
                  <a:schemeClr val="bg1"/>
                </a:solidFill>
              </a:rPr>
              <a:t>Automation, advanced robotics and artificial intelligence are used to improve employee productivity</a:t>
            </a:r>
            <a:r>
              <a:rPr lang="en-US" sz="1400" dirty="0" smtClean="0">
                <a:solidFill>
                  <a:schemeClr val="bg1"/>
                </a:solidFill>
              </a:rPr>
              <a:t>.</a:t>
            </a:r>
            <a:endParaRPr lang="en-US" sz="1400" dirty="0">
              <a:solidFill>
                <a:schemeClr val="bg1"/>
              </a:solidFill>
            </a:endParaRPr>
          </a:p>
          <a:p>
            <a:pPr marL="171450" indent="-171450" defTabSz="890789">
              <a:buFont typeface="Arial" panose="020B0604020202020204" pitchFamily="34" charset="0"/>
              <a:buChar char="•"/>
              <a:defRPr/>
            </a:pPr>
            <a:r>
              <a:rPr lang="en-US" sz="1400" i="1" dirty="0" smtClean="0">
                <a:solidFill>
                  <a:schemeClr val="bg1"/>
                </a:solidFill>
              </a:rPr>
              <a:t>Refer </a:t>
            </a:r>
            <a:r>
              <a:rPr lang="en-US" sz="1400" i="1" dirty="0">
                <a:solidFill>
                  <a:schemeClr val="bg1"/>
                </a:solidFill>
              </a:rPr>
              <a:t>to Detailed Assessment – </a:t>
            </a:r>
            <a:r>
              <a:rPr lang="en-US" sz="1400" i="1" dirty="0" smtClean="0">
                <a:solidFill>
                  <a:schemeClr val="bg1"/>
                </a:solidFill>
              </a:rPr>
              <a:t>Operating Model </a:t>
            </a:r>
            <a:r>
              <a:rPr lang="en-US" sz="1400" i="1" dirty="0">
                <a:solidFill>
                  <a:schemeClr val="bg1"/>
                </a:solidFill>
              </a:rPr>
              <a:t>for details</a:t>
            </a:r>
            <a:r>
              <a:rPr lang="en-US" sz="1400" i="1" dirty="0" smtClean="0">
                <a:solidFill>
                  <a:schemeClr val="bg1"/>
                </a:solidFill>
              </a:rPr>
              <a:t>.</a:t>
            </a:r>
            <a:endParaRPr lang="en-US" sz="1400" i="1" dirty="0">
              <a:solidFill>
                <a:schemeClr val="bg1"/>
              </a:solidFill>
            </a:endParaRPr>
          </a:p>
        </p:txBody>
      </p:sp>
      <p:grpSp>
        <p:nvGrpSpPr>
          <p:cNvPr id="404" name="Group 403"/>
          <p:cNvGrpSpPr/>
          <p:nvPr/>
        </p:nvGrpSpPr>
        <p:grpSpPr>
          <a:xfrm>
            <a:off x="3814470" y="4026391"/>
            <a:ext cx="2940035" cy="2373244"/>
            <a:chOff x="3542201" y="3302599"/>
            <a:chExt cx="3684601" cy="3098199"/>
          </a:xfrm>
        </p:grpSpPr>
        <p:sp>
          <p:nvSpPr>
            <p:cNvPr id="405" name="Rectangle 404"/>
            <p:cNvSpPr/>
            <p:nvPr/>
          </p:nvSpPr>
          <p:spPr>
            <a:xfrm>
              <a:off x="3542201" y="3302599"/>
              <a:ext cx="3684601" cy="3098199"/>
            </a:xfrm>
            <a:prstGeom prst="rect">
              <a:avLst/>
            </a:prstGeom>
            <a:noFill/>
            <a:ln w="190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406" name="Freeform 28"/>
            <p:cNvSpPr>
              <a:spLocks/>
            </p:cNvSpPr>
            <p:nvPr/>
          </p:nvSpPr>
          <p:spPr bwMode="auto">
            <a:xfrm>
              <a:off x="3636441" y="3702411"/>
              <a:ext cx="924879" cy="732677"/>
            </a:xfrm>
            <a:custGeom>
              <a:avLst/>
              <a:gdLst>
                <a:gd name="T0" fmla="*/ 27 w 14387"/>
                <a:gd name="T1" fmla="*/ 10280 h 13637"/>
                <a:gd name="T2" fmla="*/ 47 w 14387"/>
                <a:gd name="T3" fmla="*/ 9679 h 13637"/>
                <a:gd name="T4" fmla="*/ 46 w 14387"/>
                <a:gd name="T5" fmla="*/ 9104 h 13637"/>
                <a:gd name="T6" fmla="*/ 85 w 14387"/>
                <a:gd name="T7" fmla="*/ 8599 h 13637"/>
                <a:gd name="T8" fmla="*/ 145 w 14387"/>
                <a:gd name="T9" fmla="*/ 7943 h 13637"/>
                <a:gd name="T10" fmla="*/ 173 w 14387"/>
                <a:gd name="T11" fmla="*/ 7168 h 13637"/>
                <a:gd name="T12" fmla="*/ 735 w 14387"/>
                <a:gd name="T13" fmla="*/ 6372 h 13637"/>
                <a:gd name="T14" fmla="*/ 1085 w 14387"/>
                <a:gd name="T15" fmla="*/ 5576 h 13637"/>
                <a:gd name="T16" fmla="*/ 1306 w 14387"/>
                <a:gd name="T17" fmla="*/ 5168 h 13637"/>
                <a:gd name="T18" fmla="*/ 1420 w 14387"/>
                <a:gd name="T19" fmla="*/ 4292 h 13637"/>
                <a:gd name="T20" fmla="*/ 1138 w 14387"/>
                <a:gd name="T21" fmla="*/ 3442 h 13637"/>
                <a:gd name="T22" fmla="*/ 1262 w 14387"/>
                <a:gd name="T23" fmla="*/ 2953 h 13637"/>
                <a:gd name="T24" fmla="*/ 1245 w 14387"/>
                <a:gd name="T25" fmla="*/ 2311 h 13637"/>
                <a:gd name="T26" fmla="*/ 1486 w 14387"/>
                <a:gd name="T27" fmla="*/ 1710 h 13637"/>
                <a:gd name="T28" fmla="*/ 1959 w 14387"/>
                <a:gd name="T29" fmla="*/ 1064 h 13637"/>
                <a:gd name="T30" fmla="*/ 1975 w 14387"/>
                <a:gd name="T31" fmla="*/ 561 h 13637"/>
                <a:gd name="T32" fmla="*/ 3297 w 14387"/>
                <a:gd name="T33" fmla="*/ 55 h 13637"/>
                <a:gd name="T34" fmla="*/ 4430 w 14387"/>
                <a:gd name="T35" fmla="*/ 360 h 13637"/>
                <a:gd name="T36" fmla="*/ 5116 w 14387"/>
                <a:gd name="T37" fmla="*/ 1009 h 13637"/>
                <a:gd name="T38" fmla="*/ 5881 w 14387"/>
                <a:gd name="T39" fmla="*/ 1050 h 13637"/>
                <a:gd name="T40" fmla="*/ 6805 w 14387"/>
                <a:gd name="T41" fmla="*/ 1048 h 13637"/>
                <a:gd name="T42" fmla="*/ 7701 w 14387"/>
                <a:gd name="T43" fmla="*/ 1563 h 13637"/>
                <a:gd name="T44" fmla="*/ 8779 w 14387"/>
                <a:gd name="T45" fmla="*/ 1265 h 13637"/>
                <a:gd name="T46" fmla="*/ 9583 w 14387"/>
                <a:gd name="T47" fmla="*/ 794 h 13637"/>
                <a:gd name="T48" fmla="*/ 10879 w 14387"/>
                <a:gd name="T49" fmla="*/ 894 h 13637"/>
                <a:gd name="T50" fmla="*/ 11840 w 14387"/>
                <a:gd name="T51" fmla="*/ 1014 h 13637"/>
                <a:gd name="T52" fmla="*/ 12680 w 14387"/>
                <a:gd name="T53" fmla="*/ 357 h 13637"/>
                <a:gd name="T54" fmla="*/ 13485 w 14387"/>
                <a:gd name="T55" fmla="*/ 718 h 13637"/>
                <a:gd name="T56" fmla="*/ 13812 w 14387"/>
                <a:gd name="T57" fmla="*/ 2019 h 13637"/>
                <a:gd name="T58" fmla="*/ 14343 w 14387"/>
                <a:gd name="T59" fmla="*/ 2628 h 13637"/>
                <a:gd name="T60" fmla="*/ 14087 w 14387"/>
                <a:gd name="T61" fmla="*/ 3450 h 13637"/>
                <a:gd name="T62" fmla="*/ 13437 w 14387"/>
                <a:gd name="T63" fmla="*/ 3985 h 13637"/>
                <a:gd name="T64" fmla="*/ 13139 w 14387"/>
                <a:gd name="T65" fmla="*/ 4887 h 13637"/>
                <a:gd name="T66" fmla="*/ 12755 w 14387"/>
                <a:gd name="T67" fmla="*/ 5747 h 13637"/>
                <a:gd name="T68" fmla="*/ 12420 w 14387"/>
                <a:gd name="T69" fmla="*/ 6297 h 13637"/>
                <a:gd name="T70" fmla="*/ 12098 w 14387"/>
                <a:gd name="T71" fmla="*/ 7371 h 13637"/>
                <a:gd name="T72" fmla="*/ 11472 w 14387"/>
                <a:gd name="T73" fmla="*/ 8095 h 13637"/>
                <a:gd name="T74" fmla="*/ 11249 w 14387"/>
                <a:gd name="T75" fmla="*/ 8865 h 13637"/>
                <a:gd name="T76" fmla="*/ 10986 w 14387"/>
                <a:gd name="T77" fmla="*/ 9595 h 13637"/>
                <a:gd name="T78" fmla="*/ 10450 w 14387"/>
                <a:gd name="T79" fmla="*/ 10430 h 13637"/>
                <a:gd name="T80" fmla="*/ 9601 w 14387"/>
                <a:gd name="T81" fmla="*/ 9618 h 13637"/>
                <a:gd name="T82" fmla="*/ 8897 w 14387"/>
                <a:gd name="T83" fmla="*/ 9834 h 13637"/>
                <a:gd name="T84" fmla="*/ 8187 w 14387"/>
                <a:gd name="T85" fmla="*/ 10571 h 13637"/>
                <a:gd name="T86" fmla="*/ 7519 w 14387"/>
                <a:gd name="T87" fmla="*/ 11196 h 13637"/>
                <a:gd name="T88" fmla="*/ 7414 w 14387"/>
                <a:gd name="T89" fmla="*/ 11917 h 13637"/>
                <a:gd name="T90" fmla="*/ 7130 w 14387"/>
                <a:gd name="T91" fmla="*/ 12682 h 13637"/>
                <a:gd name="T92" fmla="*/ 7039 w 14387"/>
                <a:gd name="T93" fmla="*/ 13363 h 13637"/>
                <a:gd name="T94" fmla="*/ 6654 w 14387"/>
                <a:gd name="T95" fmla="*/ 12729 h 13637"/>
                <a:gd name="T96" fmla="*/ 6463 w 14387"/>
                <a:gd name="T97" fmla="*/ 13222 h 13637"/>
                <a:gd name="T98" fmla="*/ 5535 w 14387"/>
                <a:gd name="T99" fmla="*/ 13389 h 13637"/>
                <a:gd name="T100" fmla="*/ 5020 w 14387"/>
                <a:gd name="T101" fmla="*/ 13460 h 13637"/>
                <a:gd name="T102" fmla="*/ 4437 w 14387"/>
                <a:gd name="T103" fmla="*/ 13515 h 13637"/>
                <a:gd name="T104" fmla="*/ 3751 w 14387"/>
                <a:gd name="T105" fmla="*/ 13365 h 13637"/>
                <a:gd name="T106" fmla="*/ 3432 w 14387"/>
                <a:gd name="T107" fmla="*/ 12710 h 13637"/>
                <a:gd name="T108" fmla="*/ 2988 w 14387"/>
                <a:gd name="T109" fmla="*/ 11804 h 13637"/>
                <a:gd name="T110" fmla="*/ 2684 w 14387"/>
                <a:gd name="T111" fmla="*/ 11216 h 13637"/>
                <a:gd name="T112" fmla="*/ 1929 w 14387"/>
                <a:gd name="T113" fmla="*/ 10569 h 13637"/>
                <a:gd name="T114" fmla="*/ 890 w 14387"/>
                <a:gd name="T115" fmla="*/ 10343 h 13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7" h="13637">
                  <a:moveTo>
                    <a:pt x="659" y="10386"/>
                  </a:moveTo>
                  <a:lnTo>
                    <a:pt x="561" y="10435"/>
                  </a:lnTo>
                  <a:lnTo>
                    <a:pt x="294" y="10452"/>
                  </a:lnTo>
                  <a:lnTo>
                    <a:pt x="159" y="10419"/>
                  </a:lnTo>
                  <a:lnTo>
                    <a:pt x="50" y="10435"/>
                  </a:lnTo>
                  <a:lnTo>
                    <a:pt x="0" y="10367"/>
                  </a:lnTo>
                  <a:lnTo>
                    <a:pt x="27" y="10280"/>
                  </a:lnTo>
                  <a:lnTo>
                    <a:pt x="43" y="10181"/>
                  </a:lnTo>
                  <a:lnTo>
                    <a:pt x="43" y="9929"/>
                  </a:lnTo>
                  <a:lnTo>
                    <a:pt x="29" y="9877"/>
                  </a:lnTo>
                  <a:lnTo>
                    <a:pt x="60" y="9839"/>
                  </a:lnTo>
                  <a:lnTo>
                    <a:pt x="40" y="9780"/>
                  </a:lnTo>
                  <a:lnTo>
                    <a:pt x="65" y="9730"/>
                  </a:lnTo>
                  <a:lnTo>
                    <a:pt x="47" y="9679"/>
                  </a:lnTo>
                  <a:lnTo>
                    <a:pt x="32" y="9584"/>
                  </a:lnTo>
                  <a:lnTo>
                    <a:pt x="35" y="9475"/>
                  </a:lnTo>
                  <a:lnTo>
                    <a:pt x="58" y="9374"/>
                  </a:lnTo>
                  <a:lnTo>
                    <a:pt x="62" y="9292"/>
                  </a:lnTo>
                  <a:lnTo>
                    <a:pt x="46" y="9222"/>
                  </a:lnTo>
                  <a:lnTo>
                    <a:pt x="57" y="9146"/>
                  </a:lnTo>
                  <a:lnTo>
                    <a:pt x="46" y="9104"/>
                  </a:lnTo>
                  <a:lnTo>
                    <a:pt x="35" y="9044"/>
                  </a:lnTo>
                  <a:lnTo>
                    <a:pt x="39" y="8985"/>
                  </a:lnTo>
                  <a:lnTo>
                    <a:pt x="50" y="8938"/>
                  </a:lnTo>
                  <a:lnTo>
                    <a:pt x="40" y="8837"/>
                  </a:lnTo>
                  <a:lnTo>
                    <a:pt x="57" y="8745"/>
                  </a:lnTo>
                  <a:lnTo>
                    <a:pt x="85" y="8641"/>
                  </a:lnTo>
                  <a:lnTo>
                    <a:pt x="85" y="8599"/>
                  </a:lnTo>
                  <a:lnTo>
                    <a:pt x="101" y="8492"/>
                  </a:lnTo>
                  <a:lnTo>
                    <a:pt x="104" y="8421"/>
                  </a:lnTo>
                  <a:lnTo>
                    <a:pt x="116" y="8354"/>
                  </a:lnTo>
                  <a:lnTo>
                    <a:pt x="138" y="8302"/>
                  </a:lnTo>
                  <a:lnTo>
                    <a:pt x="148" y="8190"/>
                  </a:lnTo>
                  <a:lnTo>
                    <a:pt x="132" y="8109"/>
                  </a:lnTo>
                  <a:lnTo>
                    <a:pt x="145" y="7943"/>
                  </a:lnTo>
                  <a:lnTo>
                    <a:pt x="140" y="7804"/>
                  </a:lnTo>
                  <a:lnTo>
                    <a:pt x="119" y="7704"/>
                  </a:lnTo>
                  <a:lnTo>
                    <a:pt x="140" y="7603"/>
                  </a:lnTo>
                  <a:lnTo>
                    <a:pt x="141" y="7413"/>
                  </a:lnTo>
                  <a:lnTo>
                    <a:pt x="181" y="7360"/>
                  </a:lnTo>
                  <a:lnTo>
                    <a:pt x="218" y="7214"/>
                  </a:lnTo>
                  <a:lnTo>
                    <a:pt x="173" y="7168"/>
                  </a:lnTo>
                  <a:lnTo>
                    <a:pt x="174" y="7018"/>
                  </a:lnTo>
                  <a:lnTo>
                    <a:pt x="217" y="6870"/>
                  </a:lnTo>
                  <a:lnTo>
                    <a:pt x="267" y="6797"/>
                  </a:lnTo>
                  <a:lnTo>
                    <a:pt x="333" y="6773"/>
                  </a:lnTo>
                  <a:lnTo>
                    <a:pt x="433" y="6772"/>
                  </a:lnTo>
                  <a:lnTo>
                    <a:pt x="688" y="6473"/>
                  </a:lnTo>
                  <a:lnTo>
                    <a:pt x="735" y="6372"/>
                  </a:lnTo>
                  <a:lnTo>
                    <a:pt x="730" y="6175"/>
                  </a:lnTo>
                  <a:lnTo>
                    <a:pt x="777" y="6078"/>
                  </a:lnTo>
                  <a:lnTo>
                    <a:pt x="804" y="5968"/>
                  </a:lnTo>
                  <a:lnTo>
                    <a:pt x="865" y="5927"/>
                  </a:lnTo>
                  <a:lnTo>
                    <a:pt x="912" y="5818"/>
                  </a:lnTo>
                  <a:lnTo>
                    <a:pt x="997" y="5681"/>
                  </a:lnTo>
                  <a:lnTo>
                    <a:pt x="1085" y="5576"/>
                  </a:lnTo>
                  <a:lnTo>
                    <a:pt x="1154" y="5538"/>
                  </a:lnTo>
                  <a:lnTo>
                    <a:pt x="1207" y="5488"/>
                  </a:lnTo>
                  <a:lnTo>
                    <a:pt x="1253" y="5436"/>
                  </a:lnTo>
                  <a:lnTo>
                    <a:pt x="1253" y="5338"/>
                  </a:lnTo>
                  <a:lnTo>
                    <a:pt x="1292" y="5240"/>
                  </a:lnTo>
                  <a:lnTo>
                    <a:pt x="1328" y="5211"/>
                  </a:lnTo>
                  <a:lnTo>
                    <a:pt x="1306" y="5168"/>
                  </a:lnTo>
                  <a:lnTo>
                    <a:pt x="1344" y="5116"/>
                  </a:lnTo>
                  <a:lnTo>
                    <a:pt x="1260" y="5070"/>
                  </a:lnTo>
                  <a:lnTo>
                    <a:pt x="1259" y="4871"/>
                  </a:lnTo>
                  <a:lnTo>
                    <a:pt x="1348" y="4819"/>
                  </a:lnTo>
                  <a:lnTo>
                    <a:pt x="1408" y="4743"/>
                  </a:lnTo>
                  <a:lnTo>
                    <a:pt x="1432" y="4625"/>
                  </a:lnTo>
                  <a:lnTo>
                    <a:pt x="1420" y="4292"/>
                  </a:lnTo>
                  <a:lnTo>
                    <a:pt x="1431" y="4175"/>
                  </a:lnTo>
                  <a:lnTo>
                    <a:pt x="1430" y="4062"/>
                  </a:lnTo>
                  <a:lnTo>
                    <a:pt x="1441" y="3970"/>
                  </a:lnTo>
                  <a:lnTo>
                    <a:pt x="1356" y="3842"/>
                  </a:lnTo>
                  <a:lnTo>
                    <a:pt x="1308" y="3738"/>
                  </a:lnTo>
                  <a:lnTo>
                    <a:pt x="1138" y="3543"/>
                  </a:lnTo>
                  <a:lnTo>
                    <a:pt x="1138" y="3442"/>
                  </a:lnTo>
                  <a:lnTo>
                    <a:pt x="1183" y="3342"/>
                  </a:lnTo>
                  <a:lnTo>
                    <a:pt x="1138" y="3296"/>
                  </a:lnTo>
                  <a:lnTo>
                    <a:pt x="1135" y="3197"/>
                  </a:lnTo>
                  <a:lnTo>
                    <a:pt x="1182" y="3146"/>
                  </a:lnTo>
                  <a:lnTo>
                    <a:pt x="1224" y="3045"/>
                  </a:lnTo>
                  <a:lnTo>
                    <a:pt x="1228" y="2996"/>
                  </a:lnTo>
                  <a:lnTo>
                    <a:pt x="1262" y="2953"/>
                  </a:lnTo>
                  <a:lnTo>
                    <a:pt x="1237" y="2850"/>
                  </a:lnTo>
                  <a:lnTo>
                    <a:pt x="1270" y="2797"/>
                  </a:lnTo>
                  <a:lnTo>
                    <a:pt x="1231" y="2752"/>
                  </a:lnTo>
                  <a:lnTo>
                    <a:pt x="1240" y="2615"/>
                  </a:lnTo>
                  <a:lnTo>
                    <a:pt x="1207" y="2515"/>
                  </a:lnTo>
                  <a:lnTo>
                    <a:pt x="1232" y="2412"/>
                  </a:lnTo>
                  <a:lnTo>
                    <a:pt x="1245" y="2311"/>
                  </a:lnTo>
                  <a:lnTo>
                    <a:pt x="1276" y="2201"/>
                  </a:lnTo>
                  <a:lnTo>
                    <a:pt x="1315" y="2107"/>
                  </a:lnTo>
                  <a:lnTo>
                    <a:pt x="1330" y="2008"/>
                  </a:lnTo>
                  <a:lnTo>
                    <a:pt x="1351" y="1925"/>
                  </a:lnTo>
                  <a:lnTo>
                    <a:pt x="1447" y="1810"/>
                  </a:lnTo>
                  <a:lnTo>
                    <a:pt x="1450" y="1755"/>
                  </a:lnTo>
                  <a:lnTo>
                    <a:pt x="1486" y="1710"/>
                  </a:lnTo>
                  <a:lnTo>
                    <a:pt x="1523" y="1616"/>
                  </a:lnTo>
                  <a:lnTo>
                    <a:pt x="1788" y="1464"/>
                  </a:lnTo>
                  <a:lnTo>
                    <a:pt x="1830" y="1359"/>
                  </a:lnTo>
                  <a:lnTo>
                    <a:pt x="1916" y="1268"/>
                  </a:lnTo>
                  <a:lnTo>
                    <a:pt x="1960" y="1165"/>
                  </a:lnTo>
                  <a:lnTo>
                    <a:pt x="2000" y="1116"/>
                  </a:lnTo>
                  <a:lnTo>
                    <a:pt x="1959" y="1064"/>
                  </a:lnTo>
                  <a:lnTo>
                    <a:pt x="1960" y="868"/>
                  </a:lnTo>
                  <a:lnTo>
                    <a:pt x="1998" y="819"/>
                  </a:lnTo>
                  <a:lnTo>
                    <a:pt x="1934" y="760"/>
                  </a:lnTo>
                  <a:lnTo>
                    <a:pt x="1975" y="708"/>
                  </a:lnTo>
                  <a:lnTo>
                    <a:pt x="1938" y="664"/>
                  </a:lnTo>
                  <a:lnTo>
                    <a:pt x="1975" y="612"/>
                  </a:lnTo>
                  <a:lnTo>
                    <a:pt x="1975" y="561"/>
                  </a:lnTo>
                  <a:lnTo>
                    <a:pt x="2025" y="507"/>
                  </a:lnTo>
                  <a:lnTo>
                    <a:pt x="2189" y="365"/>
                  </a:lnTo>
                  <a:lnTo>
                    <a:pt x="2318" y="316"/>
                  </a:lnTo>
                  <a:lnTo>
                    <a:pt x="2665" y="117"/>
                  </a:lnTo>
                  <a:lnTo>
                    <a:pt x="3101" y="118"/>
                  </a:lnTo>
                  <a:lnTo>
                    <a:pt x="3177" y="63"/>
                  </a:lnTo>
                  <a:lnTo>
                    <a:pt x="3297" y="55"/>
                  </a:lnTo>
                  <a:lnTo>
                    <a:pt x="3406" y="16"/>
                  </a:lnTo>
                  <a:lnTo>
                    <a:pt x="3528" y="15"/>
                  </a:lnTo>
                  <a:lnTo>
                    <a:pt x="3641" y="0"/>
                  </a:lnTo>
                  <a:lnTo>
                    <a:pt x="3748" y="19"/>
                  </a:lnTo>
                  <a:lnTo>
                    <a:pt x="3832" y="118"/>
                  </a:lnTo>
                  <a:lnTo>
                    <a:pt x="3925" y="170"/>
                  </a:lnTo>
                  <a:lnTo>
                    <a:pt x="4430" y="360"/>
                  </a:lnTo>
                  <a:lnTo>
                    <a:pt x="4708" y="474"/>
                  </a:lnTo>
                  <a:lnTo>
                    <a:pt x="4809" y="583"/>
                  </a:lnTo>
                  <a:lnTo>
                    <a:pt x="4813" y="730"/>
                  </a:lnTo>
                  <a:lnTo>
                    <a:pt x="4782" y="835"/>
                  </a:lnTo>
                  <a:lnTo>
                    <a:pt x="4906" y="907"/>
                  </a:lnTo>
                  <a:lnTo>
                    <a:pt x="5041" y="944"/>
                  </a:lnTo>
                  <a:lnTo>
                    <a:pt x="5116" y="1009"/>
                  </a:lnTo>
                  <a:lnTo>
                    <a:pt x="5292" y="1394"/>
                  </a:lnTo>
                  <a:lnTo>
                    <a:pt x="5350" y="1329"/>
                  </a:lnTo>
                  <a:lnTo>
                    <a:pt x="5440" y="1279"/>
                  </a:lnTo>
                  <a:lnTo>
                    <a:pt x="5529" y="1181"/>
                  </a:lnTo>
                  <a:lnTo>
                    <a:pt x="5662" y="1129"/>
                  </a:lnTo>
                  <a:lnTo>
                    <a:pt x="5791" y="1127"/>
                  </a:lnTo>
                  <a:lnTo>
                    <a:pt x="5881" y="1050"/>
                  </a:lnTo>
                  <a:lnTo>
                    <a:pt x="6001" y="933"/>
                  </a:lnTo>
                  <a:lnTo>
                    <a:pt x="6132" y="933"/>
                  </a:lnTo>
                  <a:lnTo>
                    <a:pt x="6394" y="833"/>
                  </a:lnTo>
                  <a:lnTo>
                    <a:pt x="6526" y="833"/>
                  </a:lnTo>
                  <a:lnTo>
                    <a:pt x="6698" y="885"/>
                  </a:lnTo>
                  <a:lnTo>
                    <a:pt x="6740" y="983"/>
                  </a:lnTo>
                  <a:lnTo>
                    <a:pt x="6805" y="1048"/>
                  </a:lnTo>
                  <a:lnTo>
                    <a:pt x="6866" y="1078"/>
                  </a:lnTo>
                  <a:lnTo>
                    <a:pt x="6974" y="1081"/>
                  </a:lnTo>
                  <a:lnTo>
                    <a:pt x="7142" y="1216"/>
                  </a:lnTo>
                  <a:lnTo>
                    <a:pt x="7431" y="1428"/>
                  </a:lnTo>
                  <a:lnTo>
                    <a:pt x="7560" y="1477"/>
                  </a:lnTo>
                  <a:lnTo>
                    <a:pt x="7646" y="1525"/>
                  </a:lnTo>
                  <a:lnTo>
                    <a:pt x="7701" y="1563"/>
                  </a:lnTo>
                  <a:lnTo>
                    <a:pt x="7880" y="1519"/>
                  </a:lnTo>
                  <a:lnTo>
                    <a:pt x="8012" y="1467"/>
                  </a:lnTo>
                  <a:lnTo>
                    <a:pt x="8147" y="1516"/>
                  </a:lnTo>
                  <a:lnTo>
                    <a:pt x="8322" y="1570"/>
                  </a:lnTo>
                  <a:lnTo>
                    <a:pt x="8577" y="1567"/>
                  </a:lnTo>
                  <a:lnTo>
                    <a:pt x="8631" y="1371"/>
                  </a:lnTo>
                  <a:lnTo>
                    <a:pt x="8779" y="1265"/>
                  </a:lnTo>
                  <a:lnTo>
                    <a:pt x="8818" y="1119"/>
                  </a:lnTo>
                  <a:lnTo>
                    <a:pt x="8908" y="1016"/>
                  </a:lnTo>
                  <a:lnTo>
                    <a:pt x="9083" y="915"/>
                  </a:lnTo>
                  <a:lnTo>
                    <a:pt x="9226" y="879"/>
                  </a:lnTo>
                  <a:lnTo>
                    <a:pt x="9346" y="838"/>
                  </a:lnTo>
                  <a:lnTo>
                    <a:pt x="9477" y="853"/>
                  </a:lnTo>
                  <a:lnTo>
                    <a:pt x="9583" y="794"/>
                  </a:lnTo>
                  <a:lnTo>
                    <a:pt x="9677" y="845"/>
                  </a:lnTo>
                  <a:lnTo>
                    <a:pt x="9901" y="791"/>
                  </a:lnTo>
                  <a:lnTo>
                    <a:pt x="10199" y="769"/>
                  </a:lnTo>
                  <a:lnTo>
                    <a:pt x="10370" y="740"/>
                  </a:lnTo>
                  <a:lnTo>
                    <a:pt x="10532" y="778"/>
                  </a:lnTo>
                  <a:lnTo>
                    <a:pt x="10693" y="827"/>
                  </a:lnTo>
                  <a:lnTo>
                    <a:pt x="10879" y="894"/>
                  </a:lnTo>
                  <a:lnTo>
                    <a:pt x="11030" y="996"/>
                  </a:lnTo>
                  <a:lnTo>
                    <a:pt x="11197" y="1065"/>
                  </a:lnTo>
                  <a:lnTo>
                    <a:pt x="11327" y="1165"/>
                  </a:lnTo>
                  <a:lnTo>
                    <a:pt x="11500" y="1117"/>
                  </a:lnTo>
                  <a:lnTo>
                    <a:pt x="11619" y="1092"/>
                  </a:lnTo>
                  <a:lnTo>
                    <a:pt x="11702" y="1108"/>
                  </a:lnTo>
                  <a:lnTo>
                    <a:pt x="11840" y="1014"/>
                  </a:lnTo>
                  <a:lnTo>
                    <a:pt x="11928" y="914"/>
                  </a:lnTo>
                  <a:lnTo>
                    <a:pt x="12061" y="863"/>
                  </a:lnTo>
                  <a:lnTo>
                    <a:pt x="12143" y="762"/>
                  </a:lnTo>
                  <a:lnTo>
                    <a:pt x="12224" y="613"/>
                  </a:lnTo>
                  <a:lnTo>
                    <a:pt x="12378" y="528"/>
                  </a:lnTo>
                  <a:lnTo>
                    <a:pt x="12621" y="473"/>
                  </a:lnTo>
                  <a:lnTo>
                    <a:pt x="12680" y="357"/>
                  </a:lnTo>
                  <a:lnTo>
                    <a:pt x="12755" y="252"/>
                  </a:lnTo>
                  <a:lnTo>
                    <a:pt x="12902" y="225"/>
                  </a:lnTo>
                  <a:lnTo>
                    <a:pt x="13121" y="223"/>
                  </a:lnTo>
                  <a:lnTo>
                    <a:pt x="13227" y="412"/>
                  </a:lnTo>
                  <a:lnTo>
                    <a:pt x="13351" y="568"/>
                  </a:lnTo>
                  <a:lnTo>
                    <a:pt x="13371" y="673"/>
                  </a:lnTo>
                  <a:lnTo>
                    <a:pt x="13485" y="718"/>
                  </a:lnTo>
                  <a:lnTo>
                    <a:pt x="13525" y="865"/>
                  </a:lnTo>
                  <a:lnTo>
                    <a:pt x="13602" y="980"/>
                  </a:lnTo>
                  <a:lnTo>
                    <a:pt x="13646" y="1077"/>
                  </a:lnTo>
                  <a:lnTo>
                    <a:pt x="13736" y="1482"/>
                  </a:lnTo>
                  <a:lnTo>
                    <a:pt x="13781" y="1631"/>
                  </a:lnTo>
                  <a:lnTo>
                    <a:pt x="13817" y="1888"/>
                  </a:lnTo>
                  <a:lnTo>
                    <a:pt x="13812" y="2019"/>
                  </a:lnTo>
                  <a:lnTo>
                    <a:pt x="13871" y="2102"/>
                  </a:lnTo>
                  <a:lnTo>
                    <a:pt x="14089" y="2106"/>
                  </a:lnTo>
                  <a:lnTo>
                    <a:pt x="14209" y="2171"/>
                  </a:lnTo>
                  <a:lnTo>
                    <a:pt x="14326" y="2291"/>
                  </a:lnTo>
                  <a:lnTo>
                    <a:pt x="14359" y="2360"/>
                  </a:lnTo>
                  <a:lnTo>
                    <a:pt x="14387" y="2500"/>
                  </a:lnTo>
                  <a:lnTo>
                    <a:pt x="14343" y="2628"/>
                  </a:lnTo>
                  <a:lnTo>
                    <a:pt x="14343" y="2752"/>
                  </a:lnTo>
                  <a:lnTo>
                    <a:pt x="14290" y="2893"/>
                  </a:lnTo>
                  <a:lnTo>
                    <a:pt x="14313" y="2984"/>
                  </a:lnTo>
                  <a:lnTo>
                    <a:pt x="14370" y="3096"/>
                  </a:lnTo>
                  <a:lnTo>
                    <a:pt x="14343" y="3247"/>
                  </a:lnTo>
                  <a:lnTo>
                    <a:pt x="14189" y="3388"/>
                  </a:lnTo>
                  <a:lnTo>
                    <a:pt x="14087" y="3450"/>
                  </a:lnTo>
                  <a:lnTo>
                    <a:pt x="14012" y="3519"/>
                  </a:lnTo>
                  <a:lnTo>
                    <a:pt x="13856" y="3633"/>
                  </a:lnTo>
                  <a:lnTo>
                    <a:pt x="13735" y="3631"/>
                  </a:lnTo>
                  <a:lnTo>
                    <a:pt x="13623" y="3579"/>
                  </a:lnTo>
                  <a:lnTo>
                    <a:pt x="13510" y="3757"/>
                  </a:lnTo>
                  <a:lnTo>
                    <a:pt x="13452" y="3885"/>
                  </a:lnTo>
                  <a:lnTo>
                    <a:pt x="13437" y="3985"/>
                  </a:lnTo>
                  <a:lnTo>
                    <a:pt x="13287" y="4113"/>
                  </a:lnTo>
                  <a:lnTo>
                    <a:pt x="13362" y="4161"/>
                  </a:lnTo>
                  <a:lnTo>
                    <a:pt x="13317" y="4321"/>
                  </a:lnTo>
                  <a:lnTo>
                    <a:pt x="13308" y="4425"/>
                  </a:lnTo>
                  <a:lnTo>
                    <a:pt x="13146" y="4608"/>
                  </a:lnTo>
                  <a:lnTo>
                    <a:pt x="13104" y="4756"/>
                  </a:lnTo>
                  <a:lnTo>
                    <a:pt x="13139" y="4887"/>
                  </a:lnTo>
                  <a:lnTo>
                    <a:pt x="13146" y="5052"/>
                  </a:lnTo>
                  <a:lnTo>
                    <a:pt x="13076" y="5127"/>
                  </a:lnTo>
                  <a:lnTo>
                    <a:pt x="12999" y="5311"/>
                  </a:lnTo>
                  <a:lnTo>
                    <a:pt x="12885" y="5403"/>
                  </a:lnTo>
                  <a:lnTo>
                    <a:pt x="12810" y="5484"/>
                  </a:lnTo>
                  <a:lnTo>
                    <a:pt x="12797" y="5607"/>
                  </a:lnTo>
                  <a:lnTo>
                    <a:pt x="12755" y="5747"/>
                  </a:lnTo>
                  <a:lnTo>
                    <a:pt x="12807" y="5857"/>
                  </a:lnTo>
                  <a:lnTo>
                    <a:pt x="12807" y="5997"/>
                  </a:lnTo>
                  <a:lnTo>
                    <a:pt x="12819" y="6076"/>
                  </a:lnTo>
                  <a:lnTo>
                    <a:pt x="12756" y="6181"/>
                  </a:lnTo>
                  <a:lnTo>
                    <a:pt x="12627" y="6193"/>
                  </a:lnTo>
                  <a:lnTo>
                    <a:pt x="12507" y="6219"/>
                  </a:lnTo>
                  <a:lnTo>
                    <a:pt x="12420" y="6297"/>
                  </a:lnTo>
                  <a:lnTo>
                    <a:pt x="12363" y="6444"/>
                  </a:lnTo>
                  <a:lnTo>
                    <a:pt x="12365" y="6585"/>
                  </a:lnTo>
                  <a:lnTo>
                    <a:pt x="12323" y="6789"/>
                  </a:lnTo>
                  <a:lnTo>
                    <a:pt x="12323" y="6931"/>
                  </a:lnTo>
                  <a:lnTo>
                    <a:pt x="12299" y="7071"/>
                  </a:lnTo>
                  <a:lnTo>
                    <a:pt x="12153" y="7335"/>
                  </a:lnTo>
                  <a:lnTo>
                    <a:pt x="12098" y="7371"/>
                  </a:lnTo>
                  <a:lnTo>
                    <a:pt x="12018" y="7378"/>
                  </a:lnTo>
                  <a:lnTo>
                    <a:pt x="11879" y="7480"/>
                  </a:lnTo>
                  <a:lnTo>
                    <a:pt x="11750" y="7585"/>
                  </a:lnTo>
                  <a:lnTo>
                    <a:pt x="11630" y="7627"/>
                  </a:lnTo>
                  <a:lnTo>
                    <a:pt x="11541" y="7777"/>
                  </a:lnTo>
                  <a:lnTo>
                    <a:pt x="11529" y="7917"/>
                  </a:lnTo>
                  <a:lnTo>
                    <a:pt x="11472" y="8095"/>
                  </a:lnTo>
                  <a:lnTo>
                    <a:pt x="11429" y="8245"/>
                  </a:lnTo>
                  <a:lnTo>
                    <a:pt x="11414" y="8362"/>
                  </a:lnTo>
                  <a:lnTo>
                    <a:pt x="11411" y="8467"/>
                  </a:lnTo>
                  <a:lnTo>
                    <a:pt x="11357" y="8575"/>
                  </a:lnTo>
                  <a:lnTo>
                    <a:pt x="11363" y="8709"/>
                  </a:lnTo>
                  <a:lnTo>
                    <a:pt x="11357" y="8824"/>
                  </a:lnTo>
                  <a:lnTo>
                    <a:pt x="11249" y="8865"/>
                  </a:lnTo>
                  <a:lnTo>
                    <a:pt x="11155" y="8947"/>
                  </a:lnTo>
                  <a:lnTo>
                    <a:pt x="10984" y="8990"/>
                  </a:lnTo>
                  <a:lnTo>
                    <a:pt x="10984" y="9132"/>
                  </a:lnTo>
                  <a:lnTo>
                    <a:pt x="10974" y="9253"/>
                  </a:lnTo>
                  <a:lnTo>
                    <a:pt x="10944" y="9391"/>
                  </a:lnTo>
                  <a:lnTo>
                    <a:pt x="10989" y="9532"/>
                  </a:lnTo>
                  <a:lnTo>
                    <a:pt x="10986" y="9595"/>
                  </a:lnTo>
                  <a:lnTo>
                    <a:pt x="10896" y="9788"/>
                  </a:lnTo>
                  <a:lnTo>
                    <a:pt x="10725" y="9983"/>
                  </a:lnTo>
                  <a:lnTo>
                    <a:pt x="10680" y="10078"/>
                  </a:lnTo>
                  <a:lnTo>
                    <a:pt x="10681" y="10128"/>
                  </a:lnTo>
                  <a:lnTo>
                    <a:pt x="10593" y="10226"/>
                  </a:lnTo>
                  <a:lnTo>
                    <a:pt x="10555" y="10324"/>
                  </a:lnTo>
                  <a:lnTo>
                    <a:pt x="10450" y="10430"/>
                  </a:lnTo>
                  <a:lnTo>
                    <a:pt x="10340" y="10475"/>
                  </a:lnTo>
                  <a:lnTo>
                    <a:pt x="10259" y="10452"/>
                  </a:lnTo>
                  <a:lnTo>
                    <a:pt x="10201" y="10419"/>
                  </a:lnTo>
                  <a:lnTo>
                    <a:pt x="10119" y="10176"/>
                  </a:lnTo>
                  <a:lnTo>
                    <a:pt x="9987" y="10016"/>
                  </a:lnTo>
                  <a:lnTo>
                    <a:pt x="9819" y="9787"/>
                  </a:lnTo>
                  <a:lnTo>
                    <a:pt x="9601" y="9618"/>
                  </a:lnTo>
                  <a:lnTo>
                    <a:pt x="9502" y="9627"/>
                  </a:lnTo>
                  <a:lnTo>
                    <a:pt x="9357" y="9744"/>
                  </a:lnTo>
                  <a:lnTo>
                    <a:pt x="9305" y="9833"/>
                  </a:lnTo>
                  <a:lnTo>
                    <a:pt x="9211" y="9883"/>
                  </a:lnTo>
                  <a:lnTo>
                    <a:pt x="9043" y="9869"/>
                  </a:lnTo>
                  <a:lnTo>
                    <a:pt x="8982" y="9834"/>
                  </a:lnTo>
                  <a:lnTo>
                    <a:pt x="8897" y="9834"/>
                  </a:lnTo>
                  <a:lnTo>
                    <a:pt x="8796" y="9891"/>
                  </a:lnTo>
                  <a:lnTo>
                    <a:pt x="8740" y="9967"/>
                  </a:lnTo>
                  <a:lnTo>
                    <a:pt x="8653" y="10030"/>
                  </a:lnTo>
                  <a:lnTo>
                    <a:pt x="8569" y="10131"/>
                  </a:lnTo>
                  <a:lnTo>
                    <a:pt x="8429" y="10141"/>
                  </a:lnTo>
                  <a:lnTo>
                    <a:pt x="8325" y="10337"/>
                  </a:lnTo>
                  <a:lnTo>
                    <a:pt x="8187" y="10571"/>
                  </a:lnTo>
                  <a:lnTo>
                    <a:pt x="8117" y="10571"/>
                  </a:lnTo>
                  <a:lnTo>
                    <a:pt x="8004" y="10610"/>
                  </a:lnTo>
                  <a:lnTo>
                    <a:pt x="7929" y="10721"/>
                  </a:lnTo>
                  <a:lnTo>
                    <a:pt x="7908" y="10901"/>
                  </a:lnTo>
                  <a:lnTo>
                    <a:pt x="7720" y="11112"/>
                  </a:lnTo>
                  <a:lnTo>
                    <a:pt x="7624" y="11205"/>
                  </a:lnTo>
                  <a:lnTo>
                    <a:pt x="7519" y="11196"/>
                  </a:lnTo>
                  <a:lnTo>
                    <a:pt x="7439" y="11221"/>
                  </a:lnTo>
                  <a:lnTo>
                    <a:pt x="7434" y="11289"/>
                  </a:lnTo>
                  <a:lnTo>
                    <a:pt x="7389" y="11490"/>
                  </a:lnTo>
                  <a:lnTo>
                    <a:pt x="7334" y="11562"/>
                  </a:lnTo>
                  <a:lnTo>
                    <a:pt x="7304" y="11641"/>
                  </a:lnTo>
                  <a:lnTo>
                    <a:pt x="7473" y="11842"/>
                  </a:lnTo>
                  <a:lnTo>
                    <a:pt x="7414" y="11917"/>
                  </a:lnTo>
                  <a:lnTo>
                    <a:pt x="7345" y="11988"/>
                  </a:lnTo>
                  <a:lnTo>
                    <a:pt x="7334" y="12075"/>
                  </a:lnTo>
                  <a:lnTo>
                    <a:pt x="7387" y="12211"/>
                  </a:lnTo>
                  <a:lnTo>
                    <a:pt x="7384" y="12321"/>
                  </a:lnTo>
                  <a:lnTo>
                    <a:pt x="7318" y="12473"/>
                  </a:lnTo>
                  <a:lnTo>
                    <a:pt x="7261" y="12581"/>
                  </a:lnTo>
                  <a:lnTo>
                    <a:pt x="7130" y="12682"/>
                  </a:lnTo>
                  <a:lnTo>
                    <a:pt x="7136" y="12785"/>
                  </a:lnTo>
                  <a:lnTo>
                    <a:pt x="7087" y="12878"/>
                  </a:lnTo>
                  <a:lnTo>
                    <a:pt x="7043" y="12989"/>
                  </a:lnTo>
                  <a:lnTo>
                    <a:pt x="7086" y="13093"/>
                  </a:lnTo>
                  <a:lnTo>
                    <a:pt x="7130" y="13218"/>
                  </a:lnTo>
                  <a:lnTo>
                    <a:pt x="7131" y="13321"/>
                  </a:lnTo>
                  <a:lnTo>
                    <a:pt x="7039" y="13363"/>
                  </a:lnTo>
                  <a:lnTo>
                    <a:pt x="6911" y="13143"/>
                  </a:lnTo>
                  <a:lnTo>
                    <a:pt x="6880" y="13039"/>
                  </a:lnTo>
                  <a:lnTo>
                    <a:pt x="6842" y="12954"/>
                  </a:lnTo>
                  <a:lnTo>
                    <a:pt x="6797" y="12878"/>
                  </a:lnTo>
                  <a:lnTo>
                    <a:pt x="6740" y="12830"/>
                  </a:lnTo>
                  <a:lnTo>
                    <a:pt x="6712" y="12773"/>
                  </a:lnTo>
                  <a:lnTo>
                    <a:pt x="6654" y="12729"/>
                  </a:lnTo>
                  <a:lnTo>
                    <a:pt x="6599" y="12625"/>
                  </a:lnTo>
                  <a:lnTo>
                    <a:pt x="6483" y="12579"/>
                  </a:lnTo>
                  <a:lnTo>
                    <a:pt x="6507" y="12664"/>
                  </a:lnTo>
                  <a:lnTo>
                    <a:pt x="6577" y="12829"/>
                  </a:lnTo>
                  <a:lnTo>
                    <a:pt x="6646" y="13026"/>
                  </a:lnTo>
                  <a:lnTo>
                    <a:pt x="6615" y="13148"/>
                  </a:lnTo>
                  <a:lnTo>
                    <a:pt x="6463" y="13222"/>
                  </a:lnTo>
                  <a:lnTo>
                    <a:pt x="6243" y="13222"/>
                  </a:lnTo>
                  <a:lnTo>
                    <a:pt x="6154" y="13273"/>
                  </a:lnTo>
                  <a:lnTo>
                    <a:pt x="6072" y="13370"/>
                  </a:lnTo>
                  <a:lnTo>
                    <a:pt x="5852" y="13371"/>
                  </a:lnTo>
                  <a:lnTo>
                    <a:pt x="5716" y="13281"/>
                  </a:lnTo>
                  <a:lnTo>
                    <a:pt x="5629" y="13330"/>
                  </a:lnTo>
                  <a:lnTo>
                    <a:pt x="5535" y="13389"/>
                  </a:lnTo>
                  <a:lnTo>
                    <a:pt x="5480" y="13521"/>
                  </a:lnTo>
                  <a:lnTo>
                    <a:pt x="5422" y="13605"/>
                  </a:lnTo>
                  <a:lnTo>
                    <a:pt x="5317" y="13575"/>
                  </a:lnTo>
                  <a:lnTo>
                    <a:pt x="5253" y="13510"/>
                  </a:lnTo>
                  <a:lnTo>
                    <a:pt x="5163" y="13457"/>
                  </a:lnTo>
                  <a:lnTo>
                    <a:pt x="5079" y="13433"/>
                  </a:lnTo>
                  <a:lnTo>
                    <a:pt x="5020" y="13460"/>
                  </a:lnTo>
                  <a:lnTo>
                    <a:pt x="4918" y="13499"/>
                  </a:lnTo>
                  <a:lnTo>
                    <a:pt x="4834" y="13515"/>
                  </a:lnTo>
                  <a:lnTo>
                    <a:pt x="4771" y="13507"/>
                  </a:lnTo>
                  <a:lnTo>
                    <a:pt x="4647" y="13556"/>
                  </a:lnTo>
                  <a:lnTo>
                    <a:pt x="4609" y="13543"/>
                  </a:lnTo>
                  <a:lnTo>
                    <a:pt x="4536" y="13447"/>
                  </a:lnTo>
                  <a:lnTo>
                    <a:pt x="4437" y="13515"/>
                  </a:lnTo>
                  <a:lnTo>
                    <a:pt x="4281" y="13578"/>
                  </a:lnTo>
                  <a:lnTo>
                    <a:pt x="4211" y="13637"/>
                  </a:lnTo>
                  <a:lnTo>
                    <a:pt x="4107" y="13630"/>
                  </a:lnTo>
                  <a:lnTo>
                    <a:pt x="4004" y="13562"/>
                  </a:lnTo>
                  <a:lnTo>
                    <a:pt x="3880" y="13564"/>
                  </a:lnTo>
                  <a:lnTo>
                    <a:pt x="3806" y="13496"/>
                  </a:lnTo>
                  <a:lnTo>
                    <a:pt x="3751" y="13365"/>
                  </a:lnTo>
                  <a:lnTo>
                    <a:pt x="3665" y="13414"/>
                  </a:lnTo>
                  <a:lnTo>
                    <a:pt x="3577" y="13368"/>
                  </a:lnTo>
                  <a:lnTo>
                    <a:pt x="3548" y="13308"/>
                  </a:lnTo>
                  <a:lnTo>
                    <a:pt x="3542" y="13192"/>
                  </a:lnTo>
                  <a:lnTo>
                    <a:pt x="3505" y="13067"/>
                  </a:lnTo>
                  <a:lnTo>
                    <a:pt x="3506" y="12968"/>
                  </a:lnTo>
                  <a:lnTo>
                    <a:pt x="3432" y="12710"/>
                  </a:lnTo>
                  <a:lnTo>
                    <a:pt x="3300" y="12451"/>
                  </a:lnTo>
                  <a:lnTo>
                    <a:pt x="3250" y="12402"/>
                  </a:lnTo>
                  <a:lnTo>
                    <a:pt x="3155" y="12249"/>
                  </a:lnTo>
                  <a:lnTo>
                    <a:pt x="3115" y="12141"/>
                  </a:lnTo>
                  <a:lnTo>
                    <a:pt x="3051" y="12035"/>
                  </a:lnTo>
                  <a:lnTo>
                    <a:pt x="3045" y="11939"/>
                  </a:lnTo>
                  <a:lnTo>
                    <a:pt x="2988" y="11804"/>
                  </a:lnTo>
                  <a:lnTo>
                    <a:pt x="2922" y="11692"/>
                  </a:lnTo>
                  <a:lnTo>
                    <a:pt x="2883" y="11545"/>
                  </a:lnTo>
                  <a:lnTo>
                    <a:pt x="2824" y="11482"/>
                  </a:lnTo>
                  <a:lnTo>
                    <a:pt x="2778" y="11392"/>
                  </a:lnTo>
                  <a:lnTo>
                    <a:pt x="2780" y="11302"/>
                  </a:lnTo>
                  <a:lnTo>
                    <a:pt x="2735" y="11290"/>
                  </a:lnTo>
                  <a:lnTo>
                    <a:pt x="2684" y="11216"/>
                  </a:lnTo>
                  <a:lnTo>
                    <a:pt x="2630" y="11136"/>
                  </a:lnTo>
                  <a:lnTo>
                    <a:pt x="2594" y="11063"/>
                  </a:lnTo>
                  <a:lnTo>
                    <a:pt x="2403" y="10864"/>
                  </a:lnTo>
                  <a:lnTo>
                    <a:pt x="2337" y="10769"/>
                  </a:lnTo>
                  <a:lnTo>
                    <a:pt x="2226" y="10656"/>
                  </a:lnTo>
                  <a:lnTo>
                    <a:pt x="2088" y="10588"/>
                  </a:lnTo>
                  <a:lnTo>
                    <a:pt x="1929" y="10569"/>
                  </a:lnTo>
                  <a:lnTo>
                    <a:pt x="1808" y="10516"/>
                  </a:lnTo>
                  <a:lnTo>
                    <a:pt x="1767" y="10467"/>
                  </a:lnTo>
                  <a:lnTo>
                    <a:pt x="1579" y="10444"/>
                  </a:lnTo>
                  <a:lnTo>
                    <a:pt x="1322" y="10444"/>
                  </a:lnTo>
                  <a:lnTo>
                    <a:pt x="1246" y="10388"/>
                  </a:lnTo>
                  <a:lnTo>
                    <a:pt x="1152" y="10394"/>
                  </a:lnTo>
                  <a:lnTo>
                    <a:pt x="890" y="10343"/>
                  </a:lnTo>
                  <a:lnTo>
                    <a:pt x="769" y="10395"/>
                  </a:lnTo>
                  <a:lnTo>
                    <a:pt x="659" y="10386"/>
                  </a:lnTo>
                  <a:close/>
                </a:path>
              </a:pathLst>
            </a:custGeom>
            <a:solidFill>
              <a:srgbClr val="B2D4EF"/>
            </a:solidFill>
            <a:ln w="19050" cmpd="sng">
              <a:noFill/>
              <a:prstDash val="solid"/>
              <a:round/>
              <a:headEnd/>
              <a:tailEnd/>
            </a:ln>
            <a:effectLst/>
          </p:spPr>
          <p:txBody>
            <a:bodyPr/>
            <a:lstStyle/>
            <a:p>
              <a:endParaRPr lang="zh-CN" altLang="en-US" kern="0">
                <a:solidFill>
                  <a:sysClr val="windowText" lastClr="000000"/>
                </a:solidFill>
              </a:endParaRPr>
            </a:p>
          </p:txBody>
        </p:sp>
        <p:grpSp>
          <p:nvGrpSpPr>
            <p:cNvPr id="407" name="Group 406"/>
            <p:cNvGrpSpPr/>
            <p:nvPr/>
          </p:nvGrpSpPr>
          <p:grpSpPr>
            <a:xfrm>
              <a:off x="3595082" y="5149682"/>
              <a:ext cx="1220199" cy="995340"/>
              <a:chOff x="473869" y="1392238"/>
              <a:chExt cx="8196263" cy="4073524"/>
            </a:xfrm>
            <a:solidFill>
              <a:srgbClr val="B2D4EF"/>
            </a:solidFill>
          </p:grpSpPr>
          <p:sp>
            <p:nvSpPr>
              <p:cNvPr id="412" name="Freeform 191"/>
              <p:cNvSpPr>
                <a:spLocks/>
              </p:cNvSpPr>
              <p:nvPr/>
            </p:nvSpPr>
            <p:spPr bwMode="auto">
              <a:xfrm>
                <a:off x="5295107" y="4305300"/>
                <a:ext cx="169863" cy="319087"/>
              </a:xfrm>
              <a:custGeom>
                <a:avLst/>
                <a:gdLst/>
                <a:ahLst/>
                <a:cxnLst>
                  <a:cxn ang="0">
                    <a:pos x="11" y="129"/>
                  </a:cxn>
                  <a:cxn ang="0">
                    <a:pos x="11" y="125"/>
                  </a:cxn>
                  <a:cxn ang="0">
                    <a:pos x="16" y="117"/>
                  </a:cxn>
                  <a:cxn ang="0">
                    <a:pos x="18" y="108"/>
                  </a:cxn>
                  <a:cxn ang="0">
                    <a:pos x="21" y="107"/>
                  </a:cxn>
                  <a:cxn ang="0">
                    <a:pos x="19" y="100"/>
                  </a:cxn>
                  <a:cxn ang="0">
                    <a:pos x="18" y="93"/>
                  </a:cxn>
                  <a:cxn ang="0">
                    <a:pos x="14" y="86"/>
                  </a:cxn>
                  <a:cxn ang="0">
                    <a:pos x="14" y="81"/>
                  </a:cxn>
                  <a:cxn ang="0">
                    <a:pos x="14" y="70"/>
                  </a:cxn>
                  <a:cxn ang="0">
                    <a:pos x="16" y="65"/>
                  </a:cxn>
                  <a:cxn ang="0">
                    <a:pos x="19" y="60"/>
                  </a:cxn>
                  <a:cxn ang="0">
                    <a:pos x="25" y="57"/>
                  </a:cxn>
                  <a:cxn ang="0">
                    <a:pos x="33" y="51"/>
                  </a:cxn>
                  <a:cxn ang="0">
                    <a:pos x="47" y="48"/>
                  </a:cxn>
                  <a:cxn ang="0">
                    <a:pos x="55" y="39"/>
                  </a:cxn>
                  <a:cxn ang="0">
                    <a:pos x="66" y="31"/>
                  </a:cxn>
                  <a:cxn ang="0">
                    <a:pos x="74" y="21"/>
                  </a:cxn>
                  <a:cxn ang="0">
                    <a:pos x="83" y="14"/>
                  </a:cxn>
                  <a:cxn ang="0">
                    <a:pos x="83" y="7"/>
                  </a:cxn>
                  <a:cxn ang="0">
                    <a:pos x="85" y="0"/>
                  </a:cxn>
                  <a:cxn ang="0">
                    <a:pos x="93" y="5"/>
                  </a:cxn>
                  <a:cxn ang="0">
                    <a:pos x="100" y="19"/>
                  </a:cxn>
                  <a:cxn ang="0">
                    <a:pos x="102" y="34"/>
                  </a:cxn>
                  <a:cxn ang="0">
                    <a:pos x="107" y="48"/>
                  </a:cxn>
                  <a:cxn ang="0">
                    <a:pos x="107" y="55"/>
                  </a:cxn>
                  <a:cxn ang="0">
                    <a:pos x="100" y="53"/>
                  </a:cxn>
                  <a:cxn ang="0">
                    <a:pos x="98" y="53"/>
                  </a:cxn>
                  <a:cxn ang="0">
                    <a:pos x="97" y="65"/>
                  </a:cxn>
                  <a:cxn ang="0">
                    <a:pos x="95" y="77"/>
                  </a:cxn>
                  <a:cxn ang="0">
                    <a:pos x="92" y="89"/>
                  </a:cxn>
                  <a:cxn ang="0">
                    <a:pos x="90" y="101"/>
                  </a:cxn>
                  <a:cxn ang="0">
                    <a:pos x="85" y="112"/>
                  </a:cxn>
                  <a:cxn ang="0">
                    <a:pos x="81" y="122"/>
                  </a:cxn>
                  <a:cxn ang="0">
                    <a:pos x="78" y="132"/>
                  </a:cxn>
                  <a:cxn ang="0">
                    <a:pos x="74" y="144"/>
                  </a:cxn>
                  <a:cxn ang="0">
                    <a:pos x="69" y="151"/>
                  </a:cxn>
                  <a:cxn ang="0">
                    <a:pos x="66" y="162"/>
                  </a:cxn>
                  <a:cxn ang="0">
                    <a:pos x="62" y="170"/>
                  </a:cxn>
                  <a:cxn ang="0">
                    <a:pos x="59" y="180"/>
                  </a:cxn>
                  <a:cxn ang="0">
                    <a:pos x="52" y="187"/>
                  </a:cxn>
                  <a:cxn ang="0">
                    <a:pos x="47" y="194"/>
                  </a:cxn>
                  <a:cxn ang="0">
                    <a:pos x="38" y="198"/>
                  </a:cxn>
                  <a:cxn ang="0">
                    <a:pos x="30" y="201"/>
                  </a:cxn>
                  <a:cxn ang="0">
                    <a:pos x="19" y="198"/>
                  </a:cxn>
                  <a:cxn ang="0">
                    <a:pos x="12" y="191"/>
                  </a:cxn>
                  <a:cxn ang="0">
                    <a:pos x="6" y="180"/>
                  </a:cxn>
                  <a:cxn ang="0">
                    <a:pos x="6" y="172"/>
                  </a:cxn>
                  <a:cxn ang="0">
                    <a:pos x="6" y="165"/>
                  </a:cxn>
                  <a:cxn ang="0">
                    <a:pos x="7" y="160"/>
                  </a:cxn>
                  <a:cxn ang="0">
                    <a:pos x="0" y="150"/>
                  </a:cxn>
                  <a:cxn ang="0">
                    <a:pos x="0" y="139"/>
                  </a:cxn>
                  <a:cxn ang="0">
                    <a:pos x="6" y="132"/>
                  </a:cxn>
                  <a:cxn ang="0">
                    <a:pos x="11" y="129"/>
                  </a:cxn>
                </a:cxnLst>
                <a:rect l="0" t="0" r="r" b="b"/>
                <a:pathLst>
                  <a:path w="107" h="201">
                    <a:moveTo>
                      <a:pt x="11" y="129"/>
                    </a:moveTo>
                    <a:lnTo>
                      <a:pt x="11" y="125"/>
                    </a:lnTo>
                    <a:lnTo>
                      <a:pt x="16" y="117"/>
                    </a:lnTo>
                    <a:lnTo>
                      <a:pt x="18" y="108"/>
                    </a:lnTo>
                    <a:lnTo>
                      <a:pt x="21" y="107"/>
                    </a:lnTo>
                    <a:lnTo>
                      <a:pt x="19" y="100"/>
                    </a:lnTo>
                    <a:lnTo>
                      <a:pt x="18" y="93"/>
                    </a:lnTo>
                    <a:lnTo>
                      <a:pt x="14" y="86"/>
                    </a:lnTo>
                    <a:lnTo>
                      <a:pt x="14" y="81"/>
                    </a:lnTo>
                    <a:lnTo>
                      <a:pt x="14" y="70"/>
                    </a:lnTo>
                    <a:lnTo>
                      <a:pt x="16" y="65"/>
                    </a:lnTo>
                    <a:lnTo>
                      <a:pt x="19" y="60"/>
                    </a:lnTo>
                    <a:lnTo>
                      <a:pt x="25" y="57"/>
                    </a:lnTo>
                    <a:lnTo>
                      <a:pt x="33" y="51"/>
                    </a:lnTo>
                    <a:lnTo>
                      <a:pt x="47" y="48"/>
                    </a:lnTo>
                    <a:lnTo>
                      <a:pt x="55" y="39"/>
                    </a:lnTo>
                    <a:lnTo>
                      <a:pt x="66" y="31"/>
                    </a:lnTo>
                    <a:lnTo>
                      <a:pt x="74" y="21"/>
                    </a:lnTo>
                    <a:lnTo>
                      <a:pt x="83" y="14"/>
                    </a:lnTo>
                    <a:lnTo>
                      <a:pt x="83" y="7"/>
                    </a:lnTo>
                    <a:lnTo>
                      <a:pt x="85" y="0"/>
                    </a:lnTo>
                    <a:lnTo>
                      <a:pt x="93" y="5"/>
                    </a:lnTo>
                    <a:lnTo>
                      <a:pt x="100" y="19"/>
                    </a:lnTo>
                    <a:lnTo>
                      <a:pt x="102" y="34"/>
                    </a:lnTo>
                    <a:lnTo>
                      <a:pt x="107" y="48"/>
                    </a:lnTo>
                    <a:lnTo>
                      <a:pt x="107" y="55"/>
                    </a:lnTo>
                    <a:lnTo>
                      <a:pt x="100" y="53"/>
                    </a:lnTo>
                    <a:lnTo>
                      <a:pt x="98" y="53"/>
                    </a:lnTo>
                    <a:lnTo>
                      <a:pt x="97" y="65"/>
                    </a:lnTo>
                    <a:lnTo>
                      <a:pt x="95" y="77"/>
                    </a:lnTo>
                    <a:lnTo>
                      <a:pt x="92" y="89"/>
                    </a:lnTo>
                    <a:lnTo>
                      <a:pt x="90" y="101"/>
                    </a:lnTo>
                    <a:lnTo>
                      <a:pt x="85" y="112"/>
                    </a:lnTo>
                    <a:lnTo>
                      <a:pt x="81" y="122"/>
                    </a:lnTo>
                    <a:lnTo>
                      <a:pt x="78" y="132"/>
                    </a:lnTo>
                    <a:lnTo>
                      <a:pt x="74" y="144"/>
                    </a:lnTo>
                    <a:lnTo>
                      <a:pt x="69" y="151"/>
                    </a:lnTo>
                    <a:lnTo>
                      <a:pt x="66" y="162"/>
                    </a:lnTo>
                    <a:lnTo>
                      <a:pt x="62" y="170"/>
                    </a:lnTo>
                    <a:lnTo>
                      <a:pt x="59" y="180"/>
                    </a:lnTo>
                    <a:lnTo>
                      <a:pt x="52" y="187"/>
                    </a:lnTo>
                    <a:lnTo>
                      <a:pt x="47" y="194"/>
                    </a:lnTo>
                    <a:lnTo>
                      <a:pt x="38" y="198"/>
                    </a:lnTo>
                    <a:lnTo>
                      <a:pt x="30" y="201"/>
                    </a:lnTo>
                    <a:lnTo>
                      <a:pt x="19" y="198"/>
                    </a:lnTo>
                    <a:lnTo>
                      <a:pt x="12" y="191"/>
                    </a:lnTo>
                    <a:lnTo>
                      <a:pt x="6" y="180"/>
                    </a:lnTo>
                    <a:lnTo>
                      <a:pt x="6" y="172"/>
                    </a:lnTo>
                    <a:lnTo>
                      <a:pt x="6" y="165"/>
                    </a:lnTo>
                    <a:lnTo>
                      <a:pt x="7" y="160"/>
                    </a:lnTo>
                    <a:lnTo>
                      <a:pt x="0" y="150"/>
                    </a:lnTo>
                    <a:lnTo>
                      <a:pt x="0" y="139"/>
                    </a:lnTo>
                    <a:lnTo>
                      <a:pt x="6" y="132"/>
                    </a:lnTo>
                    <a:lnTo>
                      <a:pt x="11" y="1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13" name="Freeform 192"/>
              <p:cNvSpPr>
                <a:spLocks/>
              </p:cNvSpPr>
              <p:nvPr/>
            </p:nvSpPr>
            <p:spPr bwMode="auto">
              <a:xfrm>
                <a:off x="3920332" y="3114675"/>
                <a:ext cx="1563688" cy="1747837"/>
              </a:xfrm>
              <a:custGeom>
                <a:avLst/>
                <a:gdLst/>
                <a:ahLst/>
                <a:cxnLst>
                  <a:cxn ang="0">
                    <a:pos x="607" y="93"/>
                  </a:cxn>
                  <a:cxn ang="0">
                    <a:pos x="681" y="102"/>
                  </a:cxn>
                  <a:cxn ang="0">
                    <a:pos x="741" y="102"/>
                  </a:cxn>
                  <a:cxn ang="0">
                    <a:pos x="741" y="157"/>
                  </a:cxn>
                  <a:cxn ang="0">
                    <a:pos x="762" y="217"/>
                  </a:cxn>
                  <a:cxn ang="0">
                    <a:pos x="784" y="289"/>
                  </a:cxn>
                  <a:cxn ang="0">
                    <a:pos x="811" y="332"/>
                  </a:cxn>
                  <a:cxn ang="0">
                    <a:pos x="856" y="380"/>
                  </a:cxn>
                  <a:cxn ang="0">
                    <a:pos x="884" y="418"/>
                  </a:cxn>
                  <a:cxn ang="0">
                    <a:pos x="939" y="408"/>
                  </a:cxn>
                  <a:cxn ang="0">
                    <a:pos x="983" y="415"/>
                  </a:cxn>
                  <a:cxn ang="0">
                    <a:pos x="954" y="480"/>
                  </a:cxn>
                  <a:cxn ang="0">
                    <a:pos x="896" y="549"/>
                  </a:cxn>
                  <a:cxn ang="0">
                    <a:pos x="830" y="604"/>
                  </a:cxn>
                  <a:cxn ang="0">
                    <a:pos x="810" y="660"/>
                  </a:cxn>
                  <a:cxn ang="0">
                    <a:pos x="829" y="716"/>
                  </a:cxn>
                  <a:cxn ang="0">
                    <a:pos x="827" y="759"/>
                  </a:cxn>
                  <a:cxn ang="0">
                    <a:pos x="820" y="808"/>
                  </a:cxn>
                  <a:cxn ang="0">
                    <a:pos x="760" y="857"/>
                  </a:cxn>
                  <a:cxn ang="0">
                    <a:pos x="758" y="905"/>
                  </a:cxn>
                  <a:cxn ang="0">
                    <a:pos x="739" y="937"/>
                  </a:cxn>
                  <a:cxn ang="0">
                    <a:pos x="712" y="991"/>
                  </a:cxn>
                  <a:cxn ang="0">
                    <a:pos x="663" y="1058"/>
                  </a:cxn>
                  <a:cxn ang="0">
                    <a:pos x="603" y="1090"/>
                  </a:cxn>
                  <a:cxn ang="0">
                    <a:pos x="536" y="1101"/>
                  </a:cxn>
                  <a:cxn ang="0">
                    <a:pos x="505" y="1066"/>
                  </a:cxn>
                  <a:cxn ang="0">
                    <a:pos x="495" y="1025"/>
                  </a:cxn>
                  <a:cxn ang="0">
                    <a:pos x="457" y="949"/>
                  </a:cxn>
                  <a:cxn ang="0">
                    <a:pos x="443" y="889"/>
                  </a:cxn>
                  <a:cxn ang="0">
                    <a:pos x="414" y="814"/>
                  </a:cxn>
                  <a:cxn ang="0">
                    <a:pos x="447" y="743"/>
                  </a:cxn>
                  <a:cxn ang="0">
                    <a:pos x="433" y="688"/>
                  </a:cxn>
                  <a:cxn ang="0">
                    <a:pos x="392" y="614"/>
                  </a:cxn>
                  <a:cxn ang="0">
                    <a:pos x="388" y="562"/>
                  </a:cxn>
                  <a:cxn ang="0">
                    <a:pos x="393" y="530"/>
                  </a:cxn>
                  <a:cxn ang="0">
                    <a:pos x="340" y="507"/>
                  </a:cxn>
                  <a:cxn ang="0">
                    <a:pos x="282" y="478"/>
                  </a:cxn>
                  <a:cxn ang="0">
                    <a:pos x="218" y="506"/>
                  </a:cxn>
                  <a:cxn ang="0">
                    <a:pos x="141" y="507"/>
                  </a:cxn>
                  <a:cxn ang="0">
                    <a:pos x="70" y="459"/>
                  </a:cxn>
                  <a:cxn ang="0">
                    <a:pos x="29" y="408"/>
                  </a:cxn>
                  <a:cxn ang="0">
                    <a:pos x="8" y="378"/>
                  </a:cxn>
                  <a:cxn ang="0">
                    <a:pos x="17" y="320"/>
                  </a:cxn>
                  <a:cxn ang="0">
                    <a:pos x="17" y="239"/>
                  </a:cxn>
                  <a:cxn ang="0">
                    <a:pos x="72" y="155"/>
                  </a:cxn>
                  <a:cxn ang="0">
                    <a:pos x="113" y="96"/>
                  </a:cxn>
                  <a:cxn ang="0">
                    <a:pos x="161" y="40"/>
                  </a:cxn>
                  <a:cxn ang="0">
                    <a:pos x="215" y="40"/>
                  </a:cxn>
                  <a:cxn ang="0">
                    <a:pos x="273" y="14"/>
                  </a:cxn>
                  <a:cxn ang="0">
                    <a:pos x="332" y="12"/>
                  </a:cxn>
                  <a:cxn ang="0">
                    <a:pos x="388" y="0"/>
                  </a:cxn>
                  <a:cxn ang="0">
                    <a:pos x="404" y="19"/>
                  </a:cxn>
                  <a:cxn ang="0">
                    <a:pos x="411" y="66"/>
                  </a:cxn>
                  <a:cxn ang="0">
                    <a:pos x="462" y="79"/>
                  </a:cxn>
                  <a:cxn ang="0">
                    <a:pos x="522" y="114"/>
                  </a:cxn>
                  <a:cxn ang="0">
                    <a:pos x="540" y="79"/>
                  </a:cxn>
                </a:cxnLst>
                <a:rect l="0" t="0" r="r" b="b"/>
                <a:pathLst>
                  <a:path w="985" h="1101">
                    <a:moveTo>
                      <a:pt x="562" y="76"/>
                    </a:moveTo>
                    <a:lnTo>
                      <a:pt x="574" y="76"/>
                    </a:lnTo>
                    <a:lnTo>
                      <a:pt x="576" y="83"/>
                    </a:lnTo>
                    <a:lnTo>
                      <a:pt x="581" y="88"/>
                    </a:lnTo>
                    <a:lnTo>
                      <a:pt x="591" y="90"/>
                    </a:lnTo>
                    <a:lnTo>
                      <a:pt x="607" y="93"/>
                    </a:lnTo>
                    <a:lnTo>
                      <a:pt x="619" y="96"/>
                    </a:lnTo>
                    <a:lnTo>
                      <a:pt x="633" y="102"/>
                    </a:lnTo>
                    <a:lnTo>
                      <a:pt x="648" y="103"/>
                    </a:lnTo>
                    <a:lnTo>
                      <a:pt x="663" y="107"/>
                    </a:lnTo>
                    <a:lnTo>
                      <a:pt x="672" y="103"/>
                    </a:lnTo>
                    <a:lnTo>
                      <a:pt x="681" y="102"/>
                    </a:lnTo>
                    <a:lnTo>
                      <a:pt x="688" y="98"/>
                    </a:lnTo>
                    <a:lnTo>
                      <a:pt x="700" y="98"/>
                    </a:lnTo>
                    <a:lnTo>
                      <a:pt x="712" y="102"/>
                    </a:lnTo>
                    <a:lnTo>
                      <a:pt x="727" y="105"/>
                    </a:lnTo>
                    <a:lnTo>
                      <a:pt x="734" y="103"/>
                    </a:lnTo>
                    <a:lnTo>
                      <a:pt x="741" y="102"/>
                    </a:lnTo>
                    <a:lnTo>
                      <a:pt x="746" y="114"/>
                    </a:lnTo>
                    <a:lnTo>
                      <a:pt x="751" y="126"/>
                    </a:lnTo>
                    <a:lnTo>
                      <a:pt x="748" y="131"/>
                    </a:lnTo>
                    <a:lnTo>
                      <a:pt x="746" y="139"/>
                    </a:lnTo>
                    <a:lnTo>
                      <a:pt x="743" y="148"/>
                    </a:lnTo>
                    <a:lnTo>
                      <a:pt x="741" y="157"/>
                    </a:lnTo>
                    <a:lnTo>
                      <a:pt x="732" y="152"/>
                    </a:lnTo>
                    <a:lnTo>
                      <a:pt x="725" y="141"/>
                    </a:lnTo>
                    <a:lnTo>
                      <a:pt x="719" y="131"/>
                    </a:lnTo>
                    <a:lnTo>
                      <a:pt x="713" y="122"/>
                    </a:lnTo>
                    <a:lnTo>
                      <a:pt x="713" y="133"/>
                    </a:lnTo>
                    <a:lnTo>
                      <a:pt x="762" y="217"/>
                    </a:lnTo>
                    <a:lnTo>
                      <a:pt x="762" y="225"/>
                    </a:lnTo>
                    <a:lnTo>
                      <a:pt x="767" y="237"/>
                    </a:lnTo>
                    <a:lnTo>
                      <a:pt x="774" y="248"/>
                    </a:lnTo>
                    <a:lnTo>
                      <a:pt x="780" y="256"/>
                    </a:lnTo>
                    <a:lnTo>
                      <a:pt x="780" y="282"/>
                    </a:lnTo>
                    <a:lnTo>
                      <a:pt x="784" y="289"/>
                    </a:lnTo>
                    <a:lnTo>
                      <a:pt x="791" y="294"/>
                    </a:lnTo>
                    <a:lnTo>
                      <a:pt x="796" y="299"/>
                    </a:lnTo>
                    <a:lnTo>
                      <a:pt x="805" y="306"/>
                    </a:lnTo>
                    <a:lnTo>
                      <a:pt x="808" y="315"/>
                    </a:lnTo>
                    <a:lnTo>
                      <a:pt x="810" y="323"/>
                    </a:lnTo>
                    <a:lnTo>
                      <a:pt x="811" y="332"/>
                    </a:lnTo>
                    <a:lnTo>
                      <a:pt x="817" y="341"/>
                    </a:lnTo>
                    <a:lnTo>
                      <a:pt x="827" y="348"/>
                    </a:lnTo>
                    <a:lnTo>
                      <a:pt x="839" y="356"/>
                    </a:lnTo>
                    <a:lnTo>
                      <a:pt x="844" y="363"/>
                    </a:lnTo>
                    <a:lnTo>
                      <a:pt x="851" y="372"/>
                    </a:lnTo>
                    <a:lnTo>
                      <a:pt x="856" y="380"/>
                    </a:lnTo>
                    <a:lnTo>
                      <a:pt x="868" y="384"/>
                    </a:lnTo>
                    <a:lnTo>
                      <a:pt x="870" y="392"/>
                    </a:lnTo>
                    <a:lnTo>
                      <a:pt x="868" y="399"/>
                    </a:lnTo>
                    <a:lnTo>
                      <a:pt x="873" y="403"/>
                    </a:lnTo>
                    <a:lnTo>
                      <a:pt x="878" y="411"/>
                    </a:lnTo>
                    <a:lnTo>
                      <a:pt x="884" y="418"/>
                    </a:lnTo>
                    <a:lnTo>
                      <a:pt x="891" y="421"/>
                    </a:lnTo>
                    <a:lnTo>
                      <a:pt x="897" y="416"/>
                    </a:lnTo>
                    <a:lnTo>
                      <a:pt x="906" y="411"/>
                    </a:lnTo>
                    <a:lnTo>
                      <a:pt x="915" y="411"/>
                    </a:lnTo>
                    <a:lnTo>
                      <a:pt x="925" y="411"/>
                    </a:lnTo>
                    <a:lnTo>
                      <a:pt x="939" y="408"/>
                    </a:lnTo>
                    <a:lnTo>
                      <a:pt x="952" y="404"/>
                    </a:lnTo>
                    <a:lnTo>
                      <a:pt x="966" y="399"/>
                    </a:lnTo>
                    <a:lnTo>
                      <a:pt x="982" y="397"/>
                    </a:lnTo>
                    <a:lnTo>
                      <a:pt x="983" y="401"/>
                    </a:lnTo>
                    <a:lnTo>
                      <a:pt x="985" y="404"/>
                    </a:lnTo>
                    <a:lnTo>
                      <a:pt x="983" y="415"/>
                    </a:lnTo>
                    <a:lnTo>
                      <a:pt x="980" y="427"/>
                    </a:lnTo>
                    <a:lnTo>
                      <a:pt x="975" y="437"/>
                    </a:lnTo>
                    <a:lnTo>
                      <a:pt x="971" y="451"/>
                    </a:lnTo>
                    <a:lnTo>
                      <a:pt x="964" y="461"/>
                    </a:lnTo>
                    <a:lnTo>
                      <a:pt x="959" y="471"/>
                    </a:lnTo>
                    <a:lnTo>
                      <a:pt x="954" y="480"/>
                    </a:lnTo>
                    <a:lnTo>
                      <a:pt x="949" y="489"/>
                    </a:lnTo>
                    <a:lnTo>
                      <a:pt x="937" y="502"/>
                    </a:lnTo>
                    <a:lnTo>
                      <a:pt x="930" y="516"/>
                    </a:lnTo>
                    <a:lnTo>
                      <a:pt x="920" y="528"/>
                    </a:lnTo>
                    <a:lnTo>
                      <a:pt x="909" y="542"/>
                    </a:lnTo>
                    <a:lnTo>
                      <a:pt x="896" y="549"/>
                    </a:lnTo>
                    <a:lnTo>
                      <a:pt x="882" y="557"/>
                    </a:lnTo>
                    <a:lnTo>
                      <a:pt x="870" y="564"/>
                    </a:lnTo>
                    <a:lnTo>
                      <a:pt x="860" y="573"/>
                    </a:lnTo>
                    <a:lnTo>
                      <a:pt x="848" y="581"/>
                    </a:lnTo>
                    <a:lnTo>
                      <a:pt x="839" y="592"/>
                    </a:lnTo>
                    <a:lnTo>
                      <a:pt x="830" y="604"/>
                    </a:lnTo>
                    <a:lnTo>
                      <a:pt x="827" y="621"/>
                    </a:lnTo>
                    <a:lnTo>
                      <a:pt x="822" y="628"/>
                    </a:lnTo>
                    <a:lnTo>
                      <a:pt x="817" y="635"/>
                    </a:lnTo>
                    <a:lnTo>
                      <a:pt x="811" y="640"/>
                    </a:lnTo>
                    <a:lnTo>
                      <a:pt x="810" y="652"/>
                    </a:lnTo>
                    <a:lnTo>
                      <a:pt x="810" y="660"/>
                    </a:lnTo>
                    <a:lnTo>
                      <a:pt x="811" y="671"/>
                    </a:lnTo>
                    <a:lnTo>
                      <a:pt x="811" y="678"/>
                    </a:lnTo>
                    <a:lnTo>
                      <a:pt x="813" y="690"/>
                    </a:lnTo>
                    <a:lnTo>
                      <a:pt x="815" y="700"/>
                    </a:lnTo>
                    <a:lnTo>
                      <a:pt x="822" y="709"/>
                    </a:lnTo>
                    <a:lnTo>
                      <a:pt x="829" y="716"/>
                    </a:lnTo>
                    <a:lnTo>
                      <a:pt x="832" y="724"/>
                    </a:lnTo>
                    <a:lnTo>
                      <a:pt x="830" y="728"/>
                    </a:lnTo>
                    <a:lnTo>
                      <a:pt x="829" y="733"/>
                    </a:lnTo>
                    <a:lnTo>
                      <a:pt x="829" y="745"/>
                    </a:lnTo>
                    <a:lnTo>
                      <a:pt x="827" y="750"/>
                    </a:lnTo>
                    <a:lnTo>
                      <a:pt x="827" y="759"/>
                    </a:lnTo>
                    <a:lnTo>
                      <a:pt x="827" y="767"/>
                    </a:lnTo>
                    <a:lnTo>
                      <a:pt x="827" y="777"/>
                    </a:lnTo>
                    <a:lnTo>
                      <a:pt x="830" y="781"/>
                    </a:lnTo>
                    <a:lnTo>
                      <a:pt x="832" y="788"/>
                    </a:lnTo>
                    <a:lnTo>
                      <a:pt x="829" y="798"/>
                    </a:lnTo>
                    <a:lnTo>
                      <a:pt x="820" y="808"/>
                    </a:lnTo>
                    <a:lnTo>
                      <a:pt x="810" y="815"/>
                    </a:lnTo>
                    <a:lnTo>
                      <a:pt x="798" y="824"/>
                    </a:lnTo>
                    <a:lnTo>
                      <a:pt x="784" y="829"/>
                    </a:lnTo>
                    <a:lnTo>
                      <a:pt x="772" y="836"/>
                    </a:lnTo>
                    <a:lnTo>
                      <a:pt x="763" y="844"/>
                    </a:lnTo>
                    <a:lnTo>
                      <a:pt x="760" y="857"/>
                    </a:lnTo>
                    <a:lnTo>
                      <a:pt x="748" y="860"/>
                    </a:lnTo>
                    <a:lnTo>
                      <a:pt x="744" y="870"/>
                    </a:lnTo>
                    <a:lnTo>
                      <a:pt x="746" y="877"/>
                    </a:lnTo>
                    <a:lnTo>
                      <a:pt x="751" y="886"/>
                    </a:lnTo>
                    <a:lnTo>
                      <a:pt x="755" y="893"/>
                    </a:lnTo>
                    <a:lnTo>
                      <a:pt x="758" y="905"/>
                    </a:lnTo>
                    <a:lnTo>
                      <a:pt x="756" y="912"/>
                    </a:lnTo>
                    <a:lnTo>
                      <a:pt x="756" y="920"/>
                    </a:lnTo>
                    <a:lnTo>
                      <a:pt x="755" y="929"/>
                    </a:lnTo>
                    <a:lnTo>
                      <a:pt x="755" y="934"/>
                    </a:lnTo>
                    <a:lnTo>
                      <a:pt x="746" y="936"/>
                    </a:lnTo>
                    <a:lnTo>
                      <a:pt x="739" y="937"/>
                    </a:lnTo>
                    <a:lnTo>
                      <a:pt x="724" y="946"/>
                    </a:lnTo>
                    <a:lnTo>
                      <a:pt x="713" y="961"/>
                    </a:lnTo>
                    <a:lnTo>
                      <a:pt x="719" y="967"/>
                    </a:lnTo>
                    <a:lnTo>
                      <a:pt x="720" y="972"/>
                    </a:lnTo>
                    <a:lnTo>
                      <a:pt x="717" y="980"/>
                    </a:lnTo>
                    <a:lnTo>
                      <a:pt x="712" y="991"/>
                    </a:lnTo>
                    <a:lnTo>
                      <a:pt x="705" y="998"/>
                    </a:lnTo>
                    <a:lnTo>
                      <a:pt x="701" y="1004"/>
                    </a:lnTo>
                    <a:lnTo>
                      <a:pt x="689" y="1020"/>
                    </a:lnTo>
                    <a:lnTo>
                      <a:pt x="681" y="1037"/>
                    </a:lnTo>
                    <a:lnTo>
                      <a:pt x="670" y="1047"/>
                    </a:lnTo>
                    <a:lnTo>
                      <a:pt x="663" y="1058"/>
                    </a:lnTo>
                    <a:lnTo>
                      <a:pt x="653" y="1066"/>
                    </a:lnTo>
                    <a:lnTo>
                      <a:pt x="641" y="1077"/>
                    </a:lnTo>
                    <a:lnTo>
                      <a:pt x="627" y="1078"/>
                    </a:lnTo>
                    <a:lnTo>
                      <a:pt x="619" y="1087"/>
                    </a:lnTo>
                    <a:lnTo>
                      <a:pt x="610" y="1089"/>
                    </a:lnTo>
                    <a:lnTo>
                      <a:pt x="603" y="1090"/>
                    </a:lnTo>
                    <a:lnTo>
                      <a:pt x="596" y="1087"/>
                    </a:lnTo>
                    <a:lnTo>
                      <a:pt x="590" y="1085"/>
                    </a:lnTo>
                    <a:lnTo>
                      <a:pt x="572" y="1087"/>
                    </a:lnTo>
                    <a:lnTo>
                      <a:pt x="560" y="1092"/>
                    </a:lnTo>
                    <a:lnTo>
                      <a:pt x="548" y="1097"/>
                    </a:lnTo>
                    <a:lnTo>
                      <a:pt x="536" y="1101"/>
                    </a:lnTo>
                    <a:lnTo>
                      <a:pt x="524" y="1097"/>
                    </a:lnTo>
                    <a:lnTo>
                      <a:pt x="519" y="1090"/>
                    </a:lnTo>
                    <a:lnTo>
                      <a:pt x="516" y="1090"/>
                    </a:lnTo>
                    <a:lnTo>
                      <a:pt x="514" y="1092"/>
                    </a:lnTo>
                    <a:lnTo>
                      <a:pt x="510" y="1077"/>
                    </a:lnTo>
                    <a:lnTo>
                      <a:pt x="505" y="1066"/>
                    </a:lnTo>
                    <a:lnTo>
                      <a:pt x="509" y="1059"/>
                    </a:lnTo>
                    <a:lnTo>
                      <a:pt x="512" y="1053"/>
                    </a:lnTo>
                    <a:lnTo>
                      <a:pt x="509" y="1044"/>
                    </a:lnTo>
                    <a:lnTo>
                      <a:pt x="504" y="1037"/>
                    </a:lnTo>
                    <a:lnTo>
                      <a:pt x="498" y="1028"/>
                    </a:lnTo>
                    <a:lnTo>
                      <a:pt x="495" y="1025"/>
                    </a:lnTo>
                    <a:lnTo>
                      <a:pt x="486" y="1013"/>
                    </a:lnTo>
                    <a:lnTo>
                      <a:pt x="481" y="1001"/>
                    </a:lnTo>
                    <a:lnTo>
                      <a:pt x="473" y="989"/>
                    </a:lnTo>
                    <a:lnTo>
                      <a:pt x="467" y="977"/>
                    </a:lnTo>
                    <a:lnTo>
                      <a:pt x="461" y="963"/>
                    </a:lnTo>
                    <a:lnTo>
                      <a:pt x="457" y="949"/>
                    </a:lnTo>
                    <a:lnTo>
                      <a:pt x="454" y="934"/>
                    </a:lnTo>
                    <a:lnTo>
                      <a:pt x="454" y="920"/>
                    </a:lnTo>
                    <a:lnTo>
                      <a:pt x="454" y="910"/>
                    </a:lnTo>
                    <a:lnTo>
                      <a:pt x="454" y="906"/>
                    </a:lnTo>
                    <a:lnTo>
                      <a:pt x="448" y="898"/>
                    </a:lnTo>
                    <a:lnTo>
                      <a:pt x="443" y="889"/>
                    </a:lnTo>
                    <a:lnTo>
                      <a:pt x="431" y="870"/>
                    </a:lnTo>
                    <a:lnTo>
                      <a:pt x="423" y="853"/>
                    </a:lnTo>
                    <a:lnTo>
                      <a:pt x="418" y="843"/>
                    </a:lnTo>
                    <a:lnTo>
                      <a:pt x="416" y="834"/>
                    </a:lnTo>
                    <a:lnTo>
                      <a:pt x="414" y="824"/>
                    </a:lnTo>
                    <a:lnTo>
                      <a:pt x="414" y="814"/>
                    </a:lnTo>
                    <a:lnTo>
                      <a:pt x="414" y="800"/>
                    </a:lnTo>
                    <a:lnTo>
                      <a:pt x="418" y="789"/>
                    </a:lnTo>
                    <a:lnTo>
                      <a:pt x="423" y="781"/>
                    </a:lnTo>
                    <a:lnTo>
                      <a:pt x="430" y="774"/>
                    </a:lnTo>
                    <a:lnTo>
                      <a:pt x="440" y="759"/>
                    </a:lnTo>
                    <a:lnTo>
                      <a:pt x="447" y="743"/>
                    </a:lnTo>
                    <a:lnTo>
                      <a:pt x="445" y="733"/>
                    </a:lnTo>
                    <a:lnTo>
                      <a:pt x="443" y="726"/>
                    </a:lnTo>
                    <a:lnTo>
                      <a:pt x="440" y="719"/>
                    </a:lnTo>
                    <a:lnTo>
                      <a:pt x="440" y="714"/>
                    </a:lnTo>
                    <a:lnTo>
                      <a:pt x="436" y="698"/>
                    </a:lnTo>
                    <a:lnTo>
                      <a:pt x="433" y="688"/>
                    </a:lnTo>
                    <a:lnTo>
                      <a:pt x="430" y="679"/>
                    </a:lnTo>
                    <a:lnTo>
                      <a:pt x="426" y="671"/>
                    </a:lnTo>
                    <a:lnTo>
                      <a:pt x="423" y="655"/>
                    </a:lnTo>
                    <a:lnTo>
                      <a:pt x="418" y="642"/>
                    </a:lnTo>
                    <a:lnTo>
                      <a:pt x="404" y="628"/>
                    </a:lnTo>
                    <a:lnTo>
                      <a:pt x="392" y="614"/>
                    </a:lnTo>
                    <a:lnTo>
                      <a:pt x="380" y="599"/>
                    </a:lnTo>
                    <a:lnTo>
                      <a:pt x="376" y="583"/>
                    </a:lnTo>
                    <a:lnTo>
                      <a:pt x="376" y="576"/>
                    </a:lnTo>
                    <a:lnTo>
                      <a:pt x="380" y="571"/>
                    </a:lnTo>
                    <a:lnTo>
                      <a:pt x="383" y="564"/>
                    </a:lnTo>
                    <a:lnTo>
                      <a:pt x="388" y="562"/>
                    </a:lnTo>
                    <a:lnTo>
                      <a:pt x="387" y="557"/>
                    </a:lnTo>
                    <a:lnTo>
                      <a:pt x="388" y="556"/>
                    </a:lnTo>
                    <a:lnTo>
                      <a:pt x="388" y="547"/>
                    </a:lnTo>
                    <a:lnTo>
                      <a:pt x="388" y="540"/>
                    </a:lnTo>
                    <a:lnTo>
                      <a:pt x="388" y="533"/>
                    </a:lnTo>
                    <a:lnTo>
                      <a:pt x="393" y="530"/>
                    </a:lnTo>
                    <a:lnTo>
                      <a:pt x="387" y="519"/>
                    </a:lnTo>
                    <a:lnTo>
                      <a:pt x="380" y="513"/>
                    </a:lnTo>
                    <a:lnTo>
                      <a:pt x="371" y="507"/>
                    </a:lnTo>
                    <a:lnTo>
                      <a:pt x="361" y="507"/>
                    </a:lnTo>
                    <a:lnTo>
                      <a:pt x="347" y="507"/>
                    </a:lnTo>
                    <a:lnTo>
                      <a:pt x="340" y="507"/>
                    </a:lnTo>
                    <a:lnTo>
                      <a:pt x="328" y="502"/>
                    </a:lnTo>
                    <a:lnTo>
                      <a:pt x="321" y="492"/>
                    </a:lnTo>
                    <a:lnTo>
                      <a:pt x="313" y="482"/>
                    </a:lnTo>
                    <a:lnTo>
                      <a:pt x="301" y="478"/>
                    </a:lnTo>
                    <a:lnTo>
                      <a:pt x="290" y="478"/>
                    </a:lnTo>
                    <a:lnTo>
                      <a:pt x="282" y="478"/>
                    </a:lnTo>
                    <a:lnTo>
                      <a:pt x="273" y="480"/>
                    </a:lnTo>
                    <a:lnTo>
                      <a:pt x="266" y="485"/>
                    </a:lnTo>
                    <a:lnTo>
                      <a:pt x="251" y="490"/>
                    </a:lnTo>
                    <a:lnTo>
                      <a:pt x="237" y="497"/>
                    </a:lnTo>
                    <a:lnTo>
                      <a:pt x="227" y="501"/>
                    </a:lnTo>
                    <a:lnTo>
                      <a:pt x="218" y="506"/>
                    </a:lnTo>
                    <a:lnTo>
                      <a:pt x="204" y="502"/>
                    </a:lnTo>
                    <a:lnTo>
                      <a:pt x="189" y="499"/>
                    </a:lnTo>
                    <a:lnTo>
                      <a:pt x="173" y="499"/>
                    </a:lnTo>
                    <a:lnTo>
                      <a:pt x="163" y="502"/>
                    </a:lnTo>
                    <a:lnTo>
                      <a:pt x="151" y="504"/>
                    </a:lnTo>
                    <a:lnTo>
                      <a:pt x="141" y="507"/>
                    </a:lnTo>
                    <a:lnTo>
                      <a:pt x="130" y="506"/>
                    </a:lnTo>
                    <a:lnTo>
                      <a:pt x="125" y="504"/>
                    </a:lnTo>
                    <a:lnTo>
                      <a:pt x="111" y="494"/>
                    </a:lnTo>
                    <a:lnTo>
                      <a:pt x="96" y="483"/>
                    </a:lnTo>
                    <a:lnTo>
                      <a:pt x="80" y="471"/>
                    </a:lnTo>
                    <a:lnTo>
                      <a:pt x="70" y="459"/>
                    </a:lnTo>
                    <a:lnTo>
                      <a:pt x="63" y="449"/>
                    </a:lnTo>
                    <a:lnTo>
                      <a:pt x="58" y="439"/>
                    </a:lnTo>
                    <a:lnTo>
                      <a:pt x="51" y="430"/>
                    </a:lnTo>
                    <a:lnTo>
                      <a:pt x="46" y="423"/>
                    </a:lnTo>
                    <a:lnTo>
                      <a:pt x="39" y="416"/>
                    </a:lnTo>
                    <a:lnTo>
                      <a:pt x="29" y="408"/>
                    </a:lnTo>
                    <a:lnTo>
                      <a:pt x="19" y="399"/>
                    </a:lnTo>
                    <a:lnTo>
                      <a:pt x="15" y="394"/>
                    </a:lnTo>
                    <a:lnTo>
                      <a:pt x="12" y="391"/>
                    </a:lnTo>
                    <a:lnTo>
                      <a:pt x="8" y="387"/>
                    </a:lnTo>
                    <a:lnTo>
                      <a:pt x="10" y="387"/>
                    </a:lnTo>
                    <a:lnTo>
                      <a:pt x="8" y="378"/>
                    </a:lnTo>
                    <a:lnTo>
                      <a:pt x="6" y="372"/>
                    </a:lnTo>
                    <a:lnTo>
                      <a:pt x="3" y="363"/>
                    </a:lnTo>
                    <a:lnTo>
                      <a:pt x="0" y="354"/>
                    </a:lnTo>
                    <a:lnTo>
                      <a:pt x="6" y="346"/>
                    </a:lnTo>
                    <a:lnTo>
                      <a:pt x="13" y="334"/>
                    </a:lnTo>
                    <a:lnTo>
                      <a:pt x="17" y="320"/>
                    </a:lnTo>
                    <a:lnTo>
                      <a:pt x="20" y="310"/>
                    </a:lnTo>
                    <a:lnTo>
                      <a:pt x="17" y="293"/>
                    </a:lnTo>
                    <a:lnTo>
                      <a:pt x="15" y="280"/>
                    </a:lnTo>
                    <a:lnTo>
                      <a:pt x="12" y="267"/>
                    </a:lnTo>
                    <a:lnTo>
                      <a:pt x="12" y="253"/>
                    </a:lnTo>
                    <a:lnTo>
                      <a:pt x="17" y="239"/>
                    </a:lnTo>
                    <a:lnTo>
                      <a:pt x="25" y="229"/>
                    </a:lnTo>
                    <a:lnTo>
                      <a:pt x="31" y="212"/>
                    </a:lnTo>
                    <a:lnTo>
                      <a:pt x="39" y="195"/>
                    </a:lnTo>
                    <a:lnTo>
                      <a:pt x="49" y="177"/>
                    </a:lnTo>
                    <a:lnTo>
                      <a:pt x="60" y="165"/>
                    </a:lnTo>
                    <a:lnTo>
                      <a:pt x="72" y="155"/>
                    </a:lnTo>
                    <a:lnTo>
                      <a:pt x="89" y="152"/>
                    </a:lnTo>
                    <a:lnTo>
                      <a:pt x="101" y="139"/>
                    </a:lnTo>
                    <a:lnTo>
                      <a:pt x="111" y="127"/>
                    </a:lnTo>
                    <a:lnTo>
                      <a:pt x="111" y="114"/>
                    </a:lnTo>
                    <a:lnTo>
                      <a:pt x="113" y="105"/>
                    </a:lnTo>
                    <a:lnTo>
                      <a:pt x="113" y="96"/>
                    </a:lnTo>
                    <a:lnTo>
                      <a:pt x="120" y="88"/>
                    </a:lnTo>
                    <a:lnTo>
                      <a:pt x="130" y="76"/>
                    </a:lnTo>
                    <a:lnTo>
                      <a:pt x="141" y="64"/>
                    </a:lnTo>
                    <a:lnTo>
                      <a:pt x="151" y="52"/>
                    </a:lnTo>
                    <a:lnTo>
                      <a:pt x="163" y="40"/>
                    </a:lnTo>
                    <a:lnTo>
                      <a:pt x="161" y="40"/>
                    </a:lnTo>
                    <a:lnTo>
                      <a:pt x="166" y="33"/>
                    </a:lnTo>
                    <a:lnTo>
                      <a:pt x="172" y="26"/>
                    </a:lnTo>
                    <a:lnTo>
                      <a:pt x="180" y="31"/>
                    </a:lnTo>
                    <a:lnTo>
                      <a:pt x="191" y="36"/>
                    </a:lnTo>
                    <a:lnTo>
                      <a:pt x="201" y="38"/>
                    </a:lnTo>
                    <a:lnTo>
                      <a:pt x="215" y="40"/>
                    </a:lnTo>
                    <a:lnTo>
                      <a:pt x="227" y="35"/>
                    </a:lnTo>
                    <a:lnTo>
                      <a:pt x="234" y="29"/>
                    </a:lnTo>
                    <a:lnTo>
                      <a:pt x="240" y="24"/>
                    </a:lnTo>
                    <a:lnTo>
                      <a:pt x="251" y="21"/>
                    </a:lnTo>
                    <a:lnTo>
                      <a:pt x="261" y="17"/>
                    </a:lnTo>
                    <a:lnTo>
                      <a:pt x="273" y="14"/>
                    </a:lnTo>
                    <a:lnTo>
                      <a:pt x="283" y="11"/>
                    </a:lnTo>
                    <a:lnTo>
                      <a:pt x="294" y="9"/>
                    </a:lnTo>
                    <a:lnTo>
                      <a:pt x="304" y="7"/>
                    </a:lnTo>
                    <a:lnTo>
                      <a:pt x="314" y="7"/>
                    </a:lnTo>
                    <a:lnTo>
                      <a:pt x="323" y="9"/>
                    </a:lnTo>
                    <a:lnTo>
                      <a:pt x="332" y="12"/>
                    </a:lnTo>
                    <a:lnTo>
                      <a:pt x="340" y="7"/>
                    </a:lnTo>
                    <a:lnTo>
                      <a:pt x="354" y="4"/>
                    </a:lnTo>
                    <a:lnTo>
                      <a:pt x="361" y="5"/>
                    </a:lnTo>
                    <a:lnTo>
                      <a:pt x="368" y="7"/>
                    </a:lnTo>
                    <a:lnTo>
                      <a:pt x="378" y="4"/>
                    </a:lnTo>
                    <a:lnTo>
                      <a:pt x="388" y="0"/>
                    </a:lnTo>
                    <a:lnTo>
                      <a:pt x="395" y="4"/>
                    </a:lnTo>
                    <a:lnTo>
                      <a:pt x="404" y="9"/>
                    </a:lnTo>
                    <a:lnTo>
                      <a:pt x="407" y="7"/>
                    </a:lnTo>
                    <a:lnTo>
                      <a:pt x="412" y="5"/>
                    </a:lnTo>
                    <a:lnTo>
                      <a:pt x="407" y="12"/>
                    </a:lnTo>
                    <a:lnTo>
                      <a:pt x="404" y="19"/>
                    </a:lnTo>
                    <a:lnTo>
                      <a:pt x="407" y="24"/>
                    </a:lnTo>
                    <a:lnTo>
                      <a:pt x="411" y="29"/>
                    </a:lnTo>
                    <a:lnTo>
                      <a:pt x="407" y="40"/>
                    </a:lnTo>
                    <a:lnTo>
                      <a:pt x="404" y="50"/>
                    </a:lnTo>
                    <a:lnTo>
                      <a:pt x="406" y="57"/>
                    </a:lnTo>
                    <a:lnTo>
                      <a:pt x="411" y="66"/>
                    </a:lnTo>
                    <a:lnTo>
                      <a:pt x="418" y="71"/>
                    </a:lnTo>
                    <a:lnTo>
                      <a:pt x="426" y="74"/>
                    </a:lnTo>
                    <a:lnTo>
                      <a:pt x="433" y="74"/>
                    </a:lnTo>
                    <a:lnTo>
                      <a:pt x="442" y="74"/>
                    </a:lnTo>
                    <a:lnTo>
                      <a:pt x="452" y="74"/>
                    </a:lnTo>
                    <a:lnTo>
                      <a:pt x="462" y="79"/>
                    </a:lnTo>
                    <a:lnTo>
                      <a:pt x="471" y="84"/>
                    </a:lnTo>
                    <a:lnTo>
                      <a:pt x="479" y="93"/>
                    </a:lnTo>
                    <a:lnTo>
                      <a:pt x="488" y="100"/>
                    </a:lnTo>
                    <a:lnTo>
                      <a:pt x="498" y="107"/>
                    </a:lnTo>
                    <a:lnTo>
                      <a:pt x="509" y="110"/>
                    </a:lnTo>
                    <a:lnTo>
                      <a:pt x="522" y="114"/>
                    </a:lnTo>
                    <a:lnTo>
                      <a:pt x="529" y="110"/>
                    </a:lnTo>
                    <a:lnTo>
                      <a:pt x="533" y="107"/>
                    </a:lnTo>
                    <a:lnTo>
                      <a:pt x="533" y="102"/>
                    </a:lnTo>
                    <a:lnTo>
                      <a:pt x="533" y="96"/>
                    </a:lnTo>
                    <a:lnTo>
                      <a:pt x="533" y="84"/>
                    </a:lnTo>
                    <a:lnTo>
                      <a:pt x="540" y="79"/>
                    </a:lnTo>
                    <a:lnTo>
                      <a:pt x="548" y="76"/>
                    </a:lnTo>
                    <a:lnTo>
                      <a:pt x="562" y="74"/>
                    </a:lnTo>
                    <a:lnTo>
                      <a:pt x="562" y="7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14" name="Freeform 193"/>
              <p:cNvSpPr>
                <a:spLocks/>
              </p:cNvSpPr>
              <p:nvPr/>
            </p:nvSpPr>
            <p:spPr bwMode="auto">
              <a:xfrm>
                <a:off x="4907757" y="2989263"/>
                <a:ext cx="852488" cy="739775"/>
              </a:xfrm>
              <a:custGeom>
                <a:avLst/>
                <a:gdLst/>
                <a:ahLst/>
                <a:cxnLst>
                  <a:cxn ang="0">
                    <a:pos x="126" y="157"/>
                  </a:cxn>
                  <a:cxn ang="0">
                    <a:pos x="140" y="98"/>
                  </a:cxn>
                  <a:cxn ang="0">
                    <a:pos x="134" y="93"/>
                  </a:cxn>
                  <a:cxn ang="0">
                    <a:pos x="107" y="100"/>
                  </a:cxn>
                  <a:cxn ang="0">
                    <a:pos x="55" y="102"/>
                  </a:cxn>
                  <a:cxn ang="0">
                    <a:pos x="26" y="91"/>
                  </a:cxn>
                  <a:cxn ang="0">
                    <a:pos x="16" y="76"/>
                  </a:cxn>
                  <a:cxn ang="0">
                    <a:pos x="11" y="50"/>
                  </a:cxn>
                  <a:cxn ang="0">
                    <a:pos x="7" y="31"/>
                  </a:cxn>
                  <a:cxn ang="0">
                    <a:pos x="43" y="17"/>
                  </a:cxn>
                  <a:cxn ang="0">
                    <a:pos x="81" y="10"/>
                  </a:cxn>
                  <a:cxn ang="0">
                    <a:pos x="122" y="0"/>
                  </a:cxn>
                  <a:cxn ang="0">
                    <a:pos x="148" y="10"/>
                  </a:cxn>
                  <a:cxn ang="0">
                    <a:pos x="189" y="17"/>
                  </a:cxn>
                  <a:cxn ang="0">
                    <a:pos x="224" y="5"/>
                  </a:cxn>
                  <a:cxn ang="0">
                    <a:pos x="256" y="24"/>
                  </a:cxn>
                  <a:cxn ang="0">
                    <a:pos x="284" y="48"/>
                  </a:cxn>
                  <a:cxn ang="0">
                    <a:pos x="320" y="38"/>
                  </a:cxn>
                  <a:cxn ang="0">
                    <a:pos x="325" y="53"/>
                  </a:cxn>
                  <a:cxn ang="0">
                    <a:pos x="346" y="79"/>
                  </a:cxn>
                  <a:cxn ang="0">
                    <a:pos x="391" y="90"/>
                  </a:cxn>
                  <a:cxn ang="0">
                    <a:pos x="413" y="72"/>
                  </a:cxn>
                  <a:cxn ang="0">
                    <a:pos x="459" y="64"/>
                  </a:cxn>
                  <a:cxn ang="0">
                    <a:pos x="506" y="84"/>
                  </a:cxn>
                  <a:cxn ang="0">
                    <a:pos x="506" y="114"/>
                  </a:cxn>
                  <a:cxn ang="0">
                    <a:pos x="499" y="138"/>
                  </a:cxn>
                  <a:cxn ang="0">
                    <a:pos x="504" y="170"/>
                  </a:cxn>
                  <a:cxn ang="0">
                    <a:pos x="508" y="201"/>
                  </a:cxn>
                  <a:cxn ang="0">
                    <a:pos x="537" y="248"/>
                  </a:cxn>
                  <a:cxn ang="0">
                    <a:pos x="516" y="272"/>
                  </a:cxn>
                  <a:cxn ang="0">
                    <a:pos x="494" y="274"/>
                  </a:cxn>
                  <a:cxn ang="0">
                    <a:pos x="453" y="265"/>
                  </a:cxn>
                  <a:cxn ang="0">
                    <a:pos x="435" y="246"/>
                  </a:cxn>
                  <a:cxn ang="0">
                    <a:pos x="382" y="239"/>
                  </a:cxn>
                  <a:cxn ang="0">
                    <a:pos x="353" y="212"/>
                  </a:cxn>
                  <a:cxn ang="0">
                    <a:pos x="320" y="210"/>
                  </a:cxn>
                  <a:cxn ang="0">
                    <a:pos x="339" y="253"/>
                  </a:cxn>
                  <a:cxn ang="0">
                    <a:pos x="363" y="261"/>
                  </a:cxn>
                  <a:cxn ang="0">
                    <a:pos x="361" y="286"/>
                  </a:cxn>
                  <a:cxn ang="0">
                    <a:pos x="399" y="291"/>
                  </a:cxn>
                  <a:cxn ang="0">
                    <a:pos x="435" y="277"/>
                  </a:cxn>
                  <a:cxn ang="0">
                    <a:pos x="471" y="304"/>
                  </a:cxn>
                  <a:cxn ang="0">
                    <a:pos x="484" y="325"/>
                  </a:cxn>
                  <a:cxn ang="0">
                    <a:pos x="458" y="356"/>
                  </a:cxn>
                  <a:cxn ang="0">
                    <a:pos x="437" y="382"/>
                  </a:cxn>
                  <a:cxn ang="0">
                    <a:pos x="392" y="406"/>
                  </a:cxn>
                  <a:cxn ang="0">
                    <a:pos x="367" y="425"/>
                  </a:cxn>
                  <a:cxn ang="0">
                    <a:pos x="320" y="444"/>
                  </a:cxn>
                  <a:cxn ang="0">
                    <a:pos x="269" y="464"/>
                  </a:cxn>
                  <a:cxn ang="0">
                    <a:pos x="250" y="454"/>
                  </a:cxn>
                  <a:cxn ang="0">
                    <a:pos x="236" y="399"/>
                  </a:cxn>
                  <a:cxn ang="0">
                    <a:pos x="208" y="356"/>
                  </a:cxn>
                  <a:cxn ang="0">
                    <a:pos x="181" y="310"/>
                  </a:cxn>
                  <a:cxn ang="0">
                    <a:pos x="160" y="289"/>
                  </a:cxn>
                  <a:cxn ang="0">
                    <a:pos x="141" y="249"/>
                  </a:cxn>
                  <a:cxn ang="0">
                    <a:pos x="129" y="201"/>
                  </a:cxn>
                </a:cxnLst>
                <a:rect l="0" t="0" r="r" b="b"/>
                <a:pathLst>
                  <a:path w="537" h="466">
                    <a:moveTo>
                      <a:pt x="129" y="205"/>
                    </a:moveTo>
                    <a:lnTo>
                      <a:pt x="117" y="177"/>
                    </a:lnTo>
                    <a:lnTo>
                      <a:pt x="119" y="174"/>
                    </a:lnTo>
                    <a:lnTo>
                      <a:pt x="122" y="172"/>
                    </a:lnTo>
                    <a:lnTo>
                      <a:pt x="126" y="157"/>
                    </a:lnTo>
                    <a:lnTo>
                      <a:pt x="129" y="145"/>
                    </a:lnTo>
                    <a:lnTo>
                      <a:pt x="136" y="133"/>
                    </a:lnTo>
                    <a:lnTo>
                      <a:pt x="143" y="120"/>
                    </a:lnTo>
                    <a:lnTo>
                      <a:pt x="141" y="108"/>
                    </a:lnTo>
                    <a:lnTo>
                      <a:pt x="140" y="98"/>
                    </a:lnTo>
                    <a:lnTo>
                      <a:pt x="141" y="95"/>
                    </a:lnTo>
                    <a:lnTo>
                      <a:pt x="143" y="93"/>
                    </a:lnTo>
                    <a:lnTo>
                      <a:pt x="143" y="88"/>
                    </a:lnTo>
                    <a:lnTo>
                      <a:pt x="138" y="90"/>
                    </a:lnTo>
                    <a:lnTo>
                      <a:pt x="134" y="93"/>
                    </a:lnTo>
                    <a:lnTo>
                      <a:pt x="127" y="91"/>
                    </a:lnTo>
                    <a:lnTo>
                      <a:pt x="124" y="90"/>
                    </a:lnTo>
                    <a:lnTo>
                      <a:pt x="117" y="93"/>
                    </a:lnTo>
                    <a:lnTo>
                      <a:pt x="114" y="96"/>
                    </a:lnTo>
                    <a:lnTo>
                      <a:pt x="107" y="100"/>
                    </a:lnTo>
                    <a:lnTo>
                      <a:pt x="98" y="102"/>
                    </a:lnTo>
                    <a:lnTo>
                      <a:pt x="86" y="95"/>
                    </a:lnTo>
                    <a:lnTo>
                      <a:pt x="74" y="90"/>
                    </a:lnTo>
                    <a:lnTo>
                      <a:pt x="62" y="95"/>
                    </a:lnTo>
                    <a:lnTo>
                      <a:pt x="55" y="102"/>
                    </a:lnTo>
                    <a:lnTo>
                      <a:pt x="48" y="98"/>
                    </a:lnTo>
                    <a:lnTo>
                      <a:pt x="43" y="95"/>
                    </a:lnTo>
                    <a:lnTo>
                      <a:pt x="36" y="90"/>
                    </a:lnTo>
                    <a:lnTo>
                      <a:pt x="31" y="91"/>
                    </a:lnTo>
                    <a:lnTo>
                      <a:pt x="26" y="91"/>
                    </a:lnTo>
                    <a:lnTo>
                      <a:pt x="28" y="90"/>
                    </a:lnTo>
                    <a:lnTo>
                      <a:pt x="29" y="88"/>
                    </a:lnTo>
                    <a:lnTo>
                      <a:pt x="24" y="84"/>
                    </a:lnTo>
                    <a:lnTo>
                      <a:pt x="19" y="81"/>
                    </a:lnTo>
                    <a:lnTo>
                      <a:pt x="16" y="76"/>
                    </a:lnTo>
                    <a:lnTo>
                      <a:pt x="17" y="72"/>
                    </a:lnTo>
                    <a:lnTo>
                      <a:pt x="9" y="65"/>
                    </a:lnTo>
                    <a:lnTo>
                      <a:pt x="0" y="64"/>
                    </a:lnTo>
                    <a:lnTo>
                      <a:pt x="7" y="57"/>
                    </a:lnTo>
                    <a:lnTo>
                      <a:pt x="11" y="50"/>
                    </a:lnTo>
                    <a:lnTo>
                      <a:pt x="9" y="47"/>
                    </a:lnTo>
                    <a:lnTo>
                      <a:pt x="11" y="43"/>
                    </a:lnTo>
                    <a:lnTo>
                      <a:pt x="4" y="41"/>
                    </a:lnTo>
                    <a:lnTo>
                      <a:pt x="2" y="41"/>
                    </a:lnTo>
                    <a:lnTo>
                      <a:pt x="7" y="31"/>
                    </a:lnTo>
                    <a:lnTo>
                      <a:pt x="21" y="28"/>
                    </a:lnTo>
                    <a:lnTo>
                      <a:pt x="35" y="26"/>
                    </a:lnTo>
                    <a:lnTo>
                      <a:pt x="47" y="24"/>
                    </a:lnTo>
                    <a:lnTo>
                      <a:pt x="45" y="19"/>
                    </a:lnTo>
                    <a:lnTo>
                      <a:pt x="43" y="17"/>
                    </a:lnTo>
                    <a:lnTo>
                      <a:pt x="48" y="14"/>
                    </a:lnTo>
                    <a:lnTo>
                      <a:pt x="55" y="16"/>
                    </a:lnTo>
                    <a:lnTo>
                      <a:pt x="66" y="16"/>
                    </a:lnTo>
                    <a:lnTo>
                      <a:pt x="71" y="16"/>
                    </a:lnTo>
                    <a:lnTo>
                      <a:pt x="81" y="10"/>
                    </a:lnTo>
                    <a:lnTo>
                      <a:pt x="91" y="5"/>
                    </a:lnTo>
                    <a:lnTo>
                      <a:pt x="97" y="0"/>
                    </a:lnTo>
                    <a:lnTo>
                      <a:pt x="105" y="0"/>
                    </a:lnTo>
                    <a:lnTo>
                      <a:pt x="114" y="0"/>
                    </a:lnTo>
                    <a:lnTo>
                      <a:pt x="122" y="0"/>
                    </a:lnTo>
                    <a:lnTo>
                      <a:pt x="129" y="0"/>
                    </a:lnTo>
                    <a:lnTo>
                      <a:pt x="134" y="4"/>
                    </a:lnTo>
                    <a:lnTo>
                      <a:pt x="138" y="5"/>
                    </a:lnTo>
                    <a:lnTo>
                      <a:pt x="146" y="9"/>
                    </a:lnTo>
                    <a:lnTo>
                      <a:pt x="148" y="10"/>
                    </a:lnTo>
                    <a:lnTo>
                      <a:pt x="157" y="14"/>
                    </a:lnTo>
                    <a:lnTo>
                      <a:pt x="164" y="16"/>
                    </a:lnTo>
                    <a:lnTo>
                      <a:pt x="172" y="17"/>
                    </a:lnTo>
                    <a:lnTo>
                      <a:pt x="181" y="17"/>
                    </a:lnTo>
                    <a:lnTo>
                      <a:pt x="189" y="17"/>
                    </a:lnTo>
                    <a:lnTo>
                      <a:pt x="195" y="17"/>
                    </a:lnTo>
                    <a:lnTo>
                      <a:pt x="201" y="17"/>
                    </a:lnTo>
                    <a:lnTo>
                      <a:pt x="208" y="14"/>
                    </a:lnTo>
                    <a:lnTo>
                      <a:pt x="217" y="10"/>
                    </a:lnTo>
                    <a:lnTo>
                      <a:pt x="224" y="5"/>
                    </a:lnTo>
                    <a:lnTo>
                      <a:pt x="236" y="4"/>
                    </a:lnTo>
                    <a:lnTo>
                      <a:pt x="244" y="4"/>
                    </a:lnTo>
                    <a:lnTo>
                      <a:pt x="250" y="9"/>
                    </a:lnTo>
                    <a:lnTo>
                      <a:pt x="253" y="16"/>
                    </a:lnTo>
                    <a:lnTo>
                      <a:pt x="256" y="24"/>
                    </a:lnTo>
                    <a:lnTo>
                      <a:pt x="262" y="28"/>
                    </a:lnTo>
                    <a:lnTo>
                      <a:pt x="269" y="33"/>
                    </a:lnTo>
                    <a:lnTo>
                      <a:pt x="274" y="36"/>
                    </a:lnTo>
                    <a:lnTo>
                      <a:pt x="279" y="43"/>
                    </a:lnTo>
                    <a:lnTo>
                      <a:pt x="284" y="48"/>
                    </a:lnTo>
                    <a:lnTo>
                      <a:pt x="294" y="52"/>
                    </a:lnTo>
                    <a:lnTo>
                      <a:pt x="303" y="45"/>
                    </a:lnTo>
                    <a:lnTo>
                      <a:pt x="312" y="40"/>
                    </a:lnTo>
                    <a:lnTo>
                      <a:pt x="315" y="38"/>
                    </a:lnTo>
                    <a:lnTo>
                      <a:pt x="320" y="38"/>
                    </a:lnTo>
                    <a:lnTo>
                      <a:pt x="320" y="41"/>
                    </a:lnTo>
                    <a:lnTo>
                      <a:pt x="324" y="47"/>
                    </a:lnTo>
                    <a:lnTo>
                      <a:pt x="322" y="48"/>
                    </a:lnTo>
                    <a:lnTo>
                      <a:pt x="324" y="50"/>
                    </a:lnTo>
                    <a:lnTo>
                      <a:pt x="325" y="53"/>
                    </a:lnTo>
                    <a:lnTo>
                      <a:pt x="329" y="59"/>
                    </a:lnTo>
                    <a:lnTo>
                      <a:pt x="330" y="65"/>
                    </a:lnTo>
                    <a:lnTo>
                      <a:pt x="332" y="74"/>
                    </a:lnTo>
                    <a:lnTo>
                      <a:pt x="337" y="77"/>
                    </a:lnTo>
                    <a:lnTo>
                      <a:pt x="346" y="79"/>
                    </a:lnTo>
                    <a:lnTo>
                      <a:pt x="351" y="81"/>
                    </a:lnTo>
                    <a:lnTo>
                      <a:pt x="355" y="88"/>
                    </a:lnTo>
                    <a:lnTo>
                      <a:pt x="365" y="90"/>
                    </a:lnTo>
                    <a:lnTo>
                      <a:pt x="379" y="91"/>
                    </a:lnTo>
                    <a:lnTo>
                      <a:pt x="391" y="90"/>
                    </a:lnTo>
                    <a:lnTo>
                      <a:pt x="403" y="88"/>
                    </a:lnTo>
                    <a:lnTo>
                      <a:pt x="403" y="83"/>
                    </a:lnTo>
                    <a:lnTo>
                      <a:pt x="403" y="79"/>
                    </a:lnTo>
                    <a:lnTo>
                      <a:pt x="404" y="74"/>
                    </a:lnTo>
                    <a:lnTo>
                      <a:pt x="413" y="72"/>
                    </a:lnTo>
                    <a:lnTo>
                      <a:pt x="418" y="69"/>
                    </a:lnTo>
                    <a:lnTo>
                      <a:pt x="423" y="65"/>
                    </a:lnTo>
                    <a:lnTo>
                      <a:pt x="434" y="62"/>
                    </a:lnTo>
                    <a:lnTo>
                      <a:pt x="446" y="59"/>
                    </a:lnTo>
                    <a:lnTo>
                      <a:pt x="459" y="64"/>
                    </a:lnTo>
                    <a:lnTo>
                      <a:pt x="475" y="71"/>
                    </a:lnTo>
                    <a:lnTo>
                      <a:pt x="482" y="74"/>
                    </a:lnTo>
                    <a:lnTo>
                      <a:pt x="489" y="77"/>
                    </a:lnTo>
                    <a:lnTo>
                      <a:pt x="494" y="81"/>
                    </a:lnTo>
                    <a:lnTo>
                      <a:pt x="506" y="84"/>
                    </a:lnTo>
                    <a:lnTo>
                      <a:pt x="508" y="88"/>
                    </a:lnTo>
                    <a:lnTo>
                      <a:pt x="509" y="91"/>
                    </a:lnTo>
                    <a:lnTo>
                      <a:pt x="509" y="102"/>
                    </a:lnTo>
                    <a:lnTo>
                      <a:pt x="511" y="110"/>
                    </a:lnTo>
                    <a:lnTo>
                      <a:pt x="506" y="114"/>
                    </a:lnTo>
                    <a:lnTo>
                      <a:pt x="502" y="120"/>
                    </a:lnTo>
                    <a:lnTo>
                      <a:pt x="499" y="127"/>
                    </a:lnTo>
                    <a:lnTo>
                      <a:pt x="499" y="133"/>
                    </a:lnTo>
                    <a:lnTo>
                      <a:pt x="499" y="134"/>
                    </a:lnTo>
                    <a:lnTo>
                      <a:pt x="499" y="138"/>
                    </a:lnTo>
                    <a:lnTo>
                      <a:pt x="501" y="139"/>
                    </a:lnTo>
                    <a:lnTo>
                      <a:pt x="502" y="143"/>
                    </a:lnTo>
                    <a:lnTo>
                      <a:pt x="502" y="158"/>
                    </a:lnTo>
                    <a:lnTo>
                      <a:pt x="502" y="163"/>
                    </a:lnTo>
                    <a:lnTo>
                      <a:pt x="504" y="170"/>
                    </a:lnTo>
                    <a:lnTo>
                      <a:pt x="509" y="172"/>
                    </a:lnTo>
                    <a:lnTo>
                      <a:pt x="516" y="181"/>
                    </a:lnTo>
                    <a:lnTo>
                      <a:pt x="511" y="189"/>
                    </a:lnTo>
                    <a:lnTo>
                      <a:pt x="506" y="198"/>
                    </a:lnTo>
                    <a:lnTo>
                      <a:pt x="508" y="201"/>
                    </a:lnTo>
                    <a:lnTo>
                      <a:pt x="511" y="206"/>
                    </a:lnTo>
                    <a:lnTo>
                      <a:pt x="518" y="215"/>
                    </a:lnTo>
                    <a:lnTo>
                      <a:pt x="527" y="224"/>
                    </a:lnTo>
                    <a:lnTo>
                      <a:pt x="533" y="232"/>
                    </a:lnTo>
                    <a:lnTo>
                      <a:pt x="537" y="248"/>
                    </a:lnTo>
                    <a:lnTo>
                      <a:pt x="527" y="249"/>
                    </a:lnTo>
                    <a:lnTo>
                      <a:pt x="521" y="253"/>
                    </a:lnTo>
                    <a:lnTo>
                      <a:pt x="516" y="256"/>
                    </a:lnTo>
                    <a:lnTo>
                      <a:pt x="516" y="267"/>
                    </a:lnTo>
                    <a:lnTo>
                      <a:pt x="516" y="272"/>
                    </a:lnTo>
                    <a:lnTo>
                      <a:pt x="518" y="277"/>
                    </a:lnTo>
                    <a:lnTo>
                      <a:pt x="516" y="277"/>
                    </a:lnTo>
                    <a:lnTo>
                      <a:pt x="514" y="277"/>
                    </a:lnTo>
                    <a:lnTo>
                      <a:pt x="504" y="275"/>
                    </a:lnTo>
                    <a:lnTo>
                      <a:pt x="494" y="274"/>
                    </a:lnTo>
                    <a:lnTo>
                      <a:pt x="480" y="270"/>
                    </a:lnTo>
                    <a:lnTo>
                      <a:pt x="470" y="270"/>
                    </a:lnTo>
                    <a:lnTo>
                      <a:pt x="465" y="268"/>
                    </a:lnTo>
                    <a:lnTo>
                      <a:pt x="459" y="267"/>
                    </a:lnTo>
                    <a:lnTo>
                      <a:pt x="453" y="265"/>
                    </a:lnTo>
                    <a:lnTo>
                      <a:pt x="451" y="265"/>
                    </a:lnTo>
                    <a:lnTo>
                      <a:pt x="447" y="258"/>
                    </a:lnTo>
                    <a:lnTo>
                      <a:pt x="446" y="253"/>
                    </a:lnTo>
                    <a:lnTo>
                      <a:pt x="441" y="248"/>
                    </a:lnTo>
                    <a:lnTo>
                      <a:pt x="435" y="246"/>
                    </a:lnTo>
                    <a:lnTo>
                      <a:pt x="428" y="248"/>
                    </a:lnTo>
                    <a:lnTo>
                      <a:pt x="425" y="253"/>
                    </a:lnTo>
                    <a:lnTo>
                      <a:pt x="399" y="253"/>
                    </a:lnTo>
                    <a:lnTo>
                      <a:pt x="389" y="246"/>
                    </a:lnTo>
                    <a:lnTo>
                      <a:pt x="382" y="239"/>
                    </a:lnTo>
                    <a:lnTo>
                      <a:pt x="372" y="234"/>
                    </a:lnTo>
                    <a:lnTo>
                      <a:pt x="363" y="231"/>
                    </a:lnTo>
                    <a:lnTo>
                      <a:pt x="360" y="225"/>
                    </a:lnTo>
                    <a:lnTo>
                      <a:pt x="360" y="220"/>
                    </a:lnTo>
                    <a:lnTo>
                      <a:pt x="353" y="212"/>
                    </a:lnTo>
                    <a:lnTo>
                      <a:pt x="348" y="203"/>
                    </a:lnTo>
                    <a:lnTo>
                      <a:pt x="337" y="196"/>
                    </a:lnTo>
                    <a:lnTo>
                      <a:pt x="329" y="194"/>
                    </a:lnTo>
                    <a:lnTo>
                      <a:pt x="322" y="200"/>
                    </a:lnTo>
                    <a:lnTo>
                      <a:pt x="320" y="210"/>
                    </a:lnTo>
                    <a:lnTo>
                      <a:pt x="320" y="215"/>
                    </a:lnTo>
                    <a:lnTo>
                      <a:pt x="320" y="222"/>
                    </a:lnTo>
                    <a:lnTo>
                      <a:pt x="324" y="231"/>
                    </a:lnTo>
                    <a:lnTo>
                      <a:pt x="330" y="243"/>
                    </a:lnTo>
                    <a:lnTo>
                      <a:pt x="339" y="253"/>
                    </a:lnTo>
                    <a:lnTo>
                      <a:pt x="349" y="258"/>
                    </a:lnTo>
                    <a:lnTo>
                      <a:pt x="351" y="263"/>
                    </a:lnTo>
                    <a:lnTo>
                      <a:pt x="353" y="270"/>
                    </a:lnTo>
                    <a:lnTo>
                      <a:pt x="358" y="265"/>
                    </a:lnTo>
                    <a:lnTo>
                      <a:pt x="363" y="261"/>
                    </a:lnTo>
                    <a:lnTo>
                      <a:pt x="363" y="263"/>
                    </a:lnTo>
                    <a:lnTo>
                      <a:pt x="363" y="267"/>
                    </a:lnTo>
                    <a:lnTo>
                      <a:pt x="361" y="274"/>
                    </a:lnTo>
                    <a:lnTo>
                      <a:pt x="360" y="282"/>
                    </a:lnTo>
                    <a:lnTo>
                      <a:pt x="361" y="286"/>
                    </a:lnTo>
                    <a:lnTo>
                      <a:pt x="367" y="291"/>
                    </a:lnTo>
                    <a:lnTo>
                      <a:pt x="373" y="292"/>
                    </a:lnTo>
                    <a:lnTo>
                      <a:pt x="380" y="294"/>
                    </a:lnTo>
                    <a:lnTo>
                      <a:pt x="391" y="292"/>
                    </a:lnTo>
                    <a:lnTo>
                      <a:pt x="399" y="291"/>
                    </a:lnTo>
                    <a:lnTo>
                      <a:pt x="406" y="286"/>
                    </a:lnTo>
                    <a:lnTo>
                      <a:pt x="413" y="282"/>
                    </a:lnTo>
                    <a:lnTo>
                      <a:pt x="422" y="270"/>
                    </a:lnTo>
                    <a:lnTo>
                      <a:pt x="435" y="260"/>
                    </a:lnTo>
                    <a:lnTo>
                      <a:pt x="435" y="277"/>
                    </a:lnTo>
                    <a:lnTo>
                      <a:pt x="441" y="286"/>
                    </a:lnTo>
                    <a:lnTo>
                      <a:pt x="447" y="291"/>
                    </a:lnTo>
                    <a:lnTo>
                      <a:pt x="456" y="294"/>
                    </a:lnTo>
                    <a:lnTo>
                      <a:pt x="466" y="299"/>
                    </a:lnTo>
                    <a:lnTo>
                      <a:pt x="471" y="304"/>
                    </a:lnTo>
                    <a:lnTo>
                      <a:pt x="477" y="311"/>
                    </a:lnTo>
                    <a:lnTo>
                      <a:pt x="477" y="311"/>
                    </a:lnTo>
                    <a:lnTo>
                      <a:pt x="482" y="315"/>
                    </a:lnTo>
                    <a:lnTo>
                      <a:pt x="487" y="320"/>
                    </a:lnTo>
                    <a:lnTo>
                      <a:pt x="484" y="325"/>
                    </a:lnTo>
                    <a:lnTo>
                      <a:pt x="478" y="332"/>
                    </a:lnTo>
                    <a:lnTo>
                      <a:pt x="473" y="339"/>
                    </a:lnTo>
                    <a:lnTo>
                      <a:pt x="471" y="347"/>
                    </a:lnTo>
                    <a:lnTo>
                      <a:pt x="461" y="349"/>
                    </a:lnTo>
                    <a:lnTo>
                      <a:pt x="458" y="356"/>
                    </a:lnTo>
                    <a:lnTo>
                      <a:pt x="454" y="365"/>
                    </a:lnTo>
                    <a:lnTo>
                      <a:pt x="449" y="370"/>
                    </a:lnTo>
                    <a:lnTo>
                      <a:pt x="444" y="372"/>
                    </a:lnTo>
                    <a:lnTo>
                      <a:pt x="441" y="377"/>
                    </a:lnTo>
                    <a:lnTo>
                      <a:pt x="437" y="382"/>
                    </a:lnTo>
                    <a:lnTo>
                      <a:pt x="434" y="385"/>
                    </a:lnTo>
                    <a:lnTo>
                      <a:pt x="425" y="389"/>
                    </a:lnTo>
                    <a:lnTo>
                      <a:pt x="420" y="399"/>
                    </a:lnTo>
                    <a:lnTo>
                      <a:pt x="406" y="401"/>
                    </a:lnTo>
                    <a:lnTo>
                      <a:pt x="392" y="406"/>
                    </a:lnTo>
                    <a:lnTo>
                      <a:pt x="379" y="409"/>
                    </a:lnTo>
                    <a:lnTo>
                      <a:pt x="375" y="418"/>
                    </a:lnTo>
                    <a:lnTo>
                      <a:pt x="375" y="420"/>
                    </a:lnTo>
                    <a:lnTo>
                      <a:pt x="377" y="423"/>
                    </a:lnTo>
                    <a:lnTo>
                      <a:pt x="367" y="425"/>
                    </a:lnTo>
                    <a:lnTo>
                      <a:pt x="358" y="428"/>
                    </a:lnTo>
                    <a:lnTo>
                      <a:pt x="348" y="432"/>
                    </a:lnTo>
                    <a:lnTo>
                      <a:pt x="337" y="435"/>
                    </a:lnTo>
                    <a:lnTo>
                      <a:pt x="329" y="437"/>
                    </a:lnTo>
                    <a:lnTo>
                      <a:pt x="320" y="444"/>
                    </a:lnTo>
                    <a:lnTo>
                      <a:pt x="312" y="449"/>
                    </a:lnTo>
                    <a:lnTo>
                      <a:pt x="305" y="454"/>
                    </a:lnTo>
                    <a:lnTo>
                      <a:pt x="289" y="454"/>
                    </a:lnTo>
                    <a:lnTo>
                      <a:pt x="279" y="461"/>
                    </a:lnTo>
                    <a:lnTo>
                      <a:pt x="269" y="464"/>
                    </a:lnTo>
                    <a:lnTo>
                      <a:pt x="265" y="466"/>
                    </a:lnTo>
                    <a:lnTo>
                      <a:pt x="256" y="463"/>
                    </a:lnTo>
                    <a:lnTo>
                      <a:pt x="250" y="459"/>
                    </a:lnTo>
                    <a:lnTo>
                      <a:pt x="250" y="457"/>
                    </a:lnTo>
                    <a:lnTo>
                      <a:pt x="250" y="454"/>
                    </a:lnTo>
                    <a:lnTo>
                      <a:pt x="241" y="440"/>
                    </a:lnTo>
                    <a:lnTo>
                      <a:pt x="239" y="428"/>
                    </a:lnTo>
                    <a:lnTo>
                      <a:pt x="236" y="421"/>
                    </a:lnTo>
                    <a:lnTo>
                      <a:pt x="239" y="413"/>
                    </a:lnTo>
                    <a:lnTo>
                      <a:pt x="236" y="399"/>
                    </a:lnTo>
                    <a:lnTo>
                      <a:pt x="227" y="392"/>
                    </a:lnTo>
                    <a:lnTo>
                      <a:pt x="220" y="384"/>
                    </a:lnTo>
                    <a:lnTo>
                      <a:pt x="215" y="375"/>
                    </a:lnTo>
                    <a:lnTo>
                      <a:pt x="210" y="365"/>
                    </a:lnTo>
                    <a:lnTo>
                      <a:pt x="208" y="356"/>
                    </a:lnTo>
                    <a:lnTo>
                      <a:pt x="196" y="351"/>
                    </a:lnTo>
                    <a:lnTo>
                      <a:pt x="189" y="344"/>
                    </a:lnTo>
                    <a:lnTo>
                      <a:pt x="186" y="334"/>
                    </a:lnTo>
                    <a:lnTo>
                      <a:pt x="186" y="322"/>
                    </a:lnTo>
                    <a:lnTo>
                      <a:pt x="181" y="310"/>
                    </a:lnTo>
                    <a:lnTo>
                      <a:pt x="177" y="298"/>
                    </a:lnTo>
                    <a:lnTo>
                      <a:pt x="172" y="294"/>
                    </a:lnTo>
                    <a:lnTo>
                      <a:pt x="170" y="292"/>
                    </a:lnTo>
                    <a:lnTo>
                      <a:pt x="165" y="291"/>
                    </a:lnTo>
                    <a:lnTo>
                      <a:pt x="160" y="289"/>
                    </a:lnTo>
                    <a:lnTo>
                      <a:pt x="157" y="282"/>
                    </a:lnTo>
                    <a:lnTo>
                      <a:pt x="157" y="275"/>
                    </a:lnTo>
                    <a:lnTo>
                      <a:pt x="153" y="268"/>
                    </a:lnTo>
                    <a:lnTo>
                      <a:pt x="150" y="263"/>
                    </a:lnTo>
                    <a:lnTo>
                      <a:pt x="141" y="249"/>
                    </a:lnTo>
                    <a:lnTo>
                      <a:pt x="134" y="237"/>
                    </a:lnTo>
                    <a:lnTo>
                      <a:pt x="129" y="231"/>
                    </a:lnTo>
                    <a:lnTo>
                      <a:pt x="126" y="225"/>
                    </a:lnTo>
                    <a:lnTo>
                      <a:pt x="127" y="213"/>
                    </a:lnTo>
                    <a:lnTo>
                      <a:pt x="129" y="201"/>
                    </a:lnTo>
                    <a:lnTo>
                      <a:pt x="129" y="20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15" name="Freeform 194"/>
              <p:cNvSpPr>
                <a:spLocks/>
              </p:cNvSpPr>
              <p:nvPr/>
            </p:nvSpPr>
            <p:spPr bwMode="auto">
              <a:xfrm>
                <a:off x="6136482" y="3794125"/>
                <a:ext cx="44450" cy="87312"/>
              </a:xfrm>
              <a:custGeom>
                <a:avLst/>
                <a:gdLst/>
                <a:ahLst/>
                <a:cxnLst>
                  <a:cxn ang="0">
                    <a:pos x="28" y="35"/>
                  </a:cxn>
                  <a:cxn ang="0">
                    <a:pos x="23" y="47"/>
                  </a:cxn>
                  <a:cxn ang="0">
                    <a:pos x="12" y="55"/>
                  </a:cxn>
                  <a:cxn ang="0">
                    <a:pos x="4" y="50"/>
                  </a:cxn>
                  <a:cxn ang="0">
                    <a:pos x="0" y="42"/>
                  </a:cxn>
                  <a:cxn ang="0">
                    <a:pos x="0" y="30"/>
                  </a:cxn>
                  <a:cxn ang="0">
                    <a:pos x="4" y="19"/>
                  </a:cxn>
                  <a:cxn ang="0">
                    <a:pos x="5" y="9"/>
                  </a:cxn>
                  <a:cxn ang="0">
                    <a:pos x="7" y="0"/>
                  </a:cxn>
                  <a:cxn ang="0">
                    <a:pos x="12" y="7"/>
                  </a:cxn>
                  <a:cxn ang="0">
                    <a:pos x="19" y="14"/>
                  </a:cxn>
                  <a:cxn ang="0">
                    <a:pos x="24" y="23"/>
                  </a:cxn>
                  <a:cxn ang="0">
                    <a:pos x="28" y="35"/>
                  </a:cxn>
                </a:cxnLst>
                <a:rect l="0" t="0" r="r" b="b"/>
                <a:pathLst>
                  <a:path w="28" h="55">
                    <a:moveTo>
                      <a:pt x="28" y="35"/>
                    </a:moveTo>
                    <a:lnTo>
                      <a:pt x="23" y="47"/>
                    </a:lnTo>
                    <a:lnTo>
                      <a:pt x="12" y="55"/>
                    </a:lnTo>
                    <a:lnTo>
                      <a:pt x="4" y="50"/>
                    </a:lnTo>
                    <a:lnTo>
                      <a:pt x="0" y="42"/>
                    </a:lnTo>
                    <a:lnTo>
                      <a:pt x="0" y="30"/>
                    </a:lnTo>
                    <a:lnTo>
                      <a:pt x="4" y="19"/>
                    </a:lnTo>
                    <a:lnTo>
                      <a:pt x="5" y="9"/>
                    </a:lnTo>
                    <a:lnTo>
                      <a:pt x="7" y="0"/>
                    </a:lnTo>
                    <a:lnTo>
                      <a:pt x="12" y="7"/>
                    </a:lnTo>
                    <a:lnTo>
                      <a:pt x="19" y="14"/>
                    </a:lnTo>
                    <a:lnTo>
                      <a:pt x="24" y="23"/>
                    </a:lnTo>
                    <a:lnTo>
                      <a:pt x="28" y="3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22" name="Freeform 195"/>
              <p:cNvSpPr>
                <a:spLocks/>
              </p:cNvSpPr>
              <p:nvPr/>
            </p:nvSpPr>
            <p:spPr bwMode="auto">
              <a:xfrm>
                <a:off x="5699919" y="3082925"/>
                <a:ext cx="930275" cy="747712"/>
              </a:xfrm>
              <a:custGeom>
                <a:avLst/>
                <a:gdLst/>
                <a:ahLst/>
                <a:cxnLst>
                  <a:cxn ang="0">
                    <a:pos x="174" y="325"/>
                  </a:cxn>
                  <a:cxn ang="0">
                    <a:pos x="196" y="374"/>
                  </a:cxn>
                  <a:cxn ang="0">
                    <a:pos x="212" y="417"/>
                  </a:cxn>
                  <a:cxn ang="0">
                    <a:pos x="236" y="466"/>
                  </a:cxn>
                  <a:cxn ang="0">
                    <a:pos x="253" y="457"/>
                  </a:cxn>
                  <a:cxn ang="0">
                    <a:pos x="270" y="438"/>
                  </a:cxn>
                  <a:cxn ang="0">
                    <a:pos x="277" y="407"/>
                  </a:cxn>
                  <a:cxn ang="0">
                    <a:pos x="298" y="354"/>
                  </a:cxn>
                  <a:cxn ang="0">
                    <a:pos x="344" y="306"/>
                  </a:cxn>
                  <a:cxn ang="0">
                    <a:pos x="377" y="276"/>
                  </a:cxn>
                  <a:cxn ang="0">
                    <a:pos x="413" y="266"/>
                  </a:cxn>
                  <a:cxn ang="0">
                    <a:pos x="451" y="263"/>
                  </a:cxn>
                  <a:cxn ang="0">
                    <a:pos x="480" y="309"/>
                  </a:cxn>
                  <a:cxn ang="0">
                    <a:pos x="487" y="347"/>
                  </a:cxn>
                  <a:cxn ang="0">
                    <a:pos x="516" y="342"/>
                  </a:cxn>
                  <a:cxn ang="0">
                    <a:pos x="533" y="347"/>
                  </a:cxn>
                  <a:cxn ang="0">
                    <a:pos x="537" y="380"/>
                  </a:cxn>
                  <a:cxn ang="0">
                    <a:pos x="549" y="441"/>
                  </a:cxn>
                  <a:cxn ang="0">
                    <a:pos x="562" y="404"/>
                  </a:cxn>
                  <a:cxn ang="0">
                    <a:pos x="543" y="368"/>
                  </a:cxn>
                  <a:cxn ang="0">
                    <a:pos x="549" y="354"/>
                  </a:cxn>
                  <a:cxn ang="0">
                    <a:pos x="537" y="304"/>
                  </a:cxn>
                  <a:cxn ang="0">
                    <a:pos x="571" y="280"/>
                  </a:cxn>
                  <a:cxn ang="0">
                    <a:pos x="566" y="257"/>
                  </a:cxn>
                  <a:cxn ang="0">
                    <a:pos x="552" y="230"/>
                  </a:cxn>
                  <a:cxn ang="0">
                    <a:pos x="540" y="213"/>
                  </a:cxn>
                  <a:cxn ang="0">
                    <a:pos x="540" y="165"/>
                  </a:cxn>
                  <a:cxn ang="0">
                    <a:pos x="509" y="144"/>
                  </a:cxn>
                  <a:cxn ang="0">
                    <a:pos x="483" y="156"/>
                  </a:cxn>
                  <a:cxn ang="0">
                    <a:pos x="444" y="168"/>
                  </a:cxn>
                  <a:cxn ang="0">
                    <a:pos x="404" y="166"/>
                  </a:cxn>
                  <a:cxn ang="0">
                    <a:pos x="358" y="165"/>
                  </a:cxn>
                  <a:cxn ang="0">
                    <a:pos x="335" y="146"/>
                  </a:cxn>
                  <a:cxn ang="0">
                    <a:pos x="282" y="127"/>
                  </a:cxn>
                  <a:cxn ang="0">
                    <a:pos x="261" y="103"/>
                  </a:cxn>
                  <a:cxn ang="0">
                    <a:pos x="265" y="79"/>
                  </a:cxn>
                  <a:cxn ang="0">
                    <a:pos x="277" y="44"/>
                  </a:cxn>
                  <a:cxn ang="0">
                    <a:pos x="224" y="39"/>
                  </a:cxn>
                  <a:cxn ang="0">
                    <a:pos x="198" y="17"/>
                  </a:cxn>
                  <a:cxn ang="0">
                    <a:pos x="157" y="12"/>
                  </a:cxn>
                  <a:cxn ang="0">
                    <a:pos x="132" y="12"/>
                  </a:cxn>
                  <a:cxn ang="0">
                    <a:pos x="91" y="20"/>
                  </a:cxn>
                  <a:cxn ang="0">
                    <a:pos x="62" y="22"/>
                  </a:cxn>
                  <a:cxn ang="0">
                    <a:pos x="34" y="49"/>
                  </a:cxn>
                  <a:cxn ang="0">
                    <a:pos x="12" y="51"/>
                  </a:cxn>
                  <a:cxn ang="0">
                    <a:pos x="0" y="75"/>
                  </a:cxn>
                  <a:cxn ang="0">
                    <a:pos x="3" y="104"/>
                  </a:cxn>
                  <a:cxn ang="0">
                    <a:pos x="7" y="139"/>
                  </a:cxn>
                  <a:cxn ang="0">
                    <a:pos x="34" y="173"/>
                  </a:cxn>
                  <a:cxn ang="0">
                    <a:pos x="17" y="208"/>
                  </a:cxn>
                  <a:cxn ang="0">
                    <a:pos x="41" y="213"/>
                  </a:cxn>
                  <a:cxn ang="0">
                    <a:pos x="83" y="213"/>
                  </a:cxn>
                  <a:cxn ang="0">
                    <a:pos x="115" y="247"/>
                  </a:cxn>
                  <a:cxn ang="0">
                    <a:pos x="131" y="259"/>
                  </a:cxn>
                  <a:cxn ang="0">
                    <a:pos x="136" y="282"/>
                  </a:cxn>
                  <a:cxn ang="0">
                    <a:pos x="167" y="261"/>
                  </a:cxn>
                  <a:cxn ang="0">
                    <a:pos x="174" y="288"/>
                  </a:cxn>
                </a:cxnLst>
                <a:rect l="0" t="0" r="r" b="b"/>
                <a:pathLst>
                  <a:path w="586" h="471">
                    <a:moveTo>
                      <a:pt x="174" y="304"/>
                    </a:moveTo>
                    <a:lnTo>
                      <a:pt x="170" y="302"/>
                    </a:lnTo>
                    <a:lnTo>
                      <a:pt x="170" y="306"/>
                    </a:lnTo>
                    <a:lnTo>
                      <a:pt x="172" y="311"/>
                    </a:lnTo>
                    <a:lnTo>
                      <a:pt x="174" y="325"/>
                    </a:lnTo>
                    <a:lnTo>
                      <a:pt x="181" y="338"/>
                    </a:lnTo>
                    <a:lnTo>
                      <a:pt x="182" y="347"/>
                    </a:lnTo>
                    <a:lnTo>
                      <a:pt x="187" y="357"/>
                    </a:lnTo>
                    <a:lnTo>
                      <a:pt x="191" y="366"/>
                    </a:lnTo>
                    <a:lnTo>
                      <a:pt x="196" y="374"/>
                    </a:lnTo>
                    <a:lnTo>
                      <a:pt x="198" y="383"/>
                    </a:lnTo>
                    <a:lnTo>
                      <a:pt x="201" y="392"/>
                    </a:lnTo>
                    <a:lnTo>
                      <a:pt x="203" y="400"/>
                    </a:lnTo>
                    <a:lnTo>
                      <a:pt x="206" y="412"/>
                    </a:lnTo>
                    <a:lnTo>
                      <a:pt x="212" y="417"/>
                    </a:lnTo>
                    <a:lnTo>
                      <a:pt x="218" y="428"/>
                    </a:lnTo>
                    <a:lnTo>
                      <a:pt x="224" y="443"/>
                    </a:lnTo>
                    <a:lnTo>
                      <a:pt x="232" y="460"/>
                    </a:lnTo>
                    <a:lnTo>
                      <a:pt x="232" y="462"/>
                    </a:lnTo>
                    <a:lnTo>
                      <a:pt x="236" y="466"/>
                    </a:lnTo>
                    <a:lnTo>
                      <a:pt x="237" y="469"/>
                    </a:lnTo>
                    <a:lnTo>
                      <a:pt x="244" y="471"/>
                    </a:lnTo>
                    <a:lnTo>
                      <a:pt x="246" y="467"/>
                    </a:lnTo>
                    <a:lnTo>
                      <a:pt x="249" y="460"/>
                    </a:lnTo>
                    <a:lnTo>
                      <a:pt x="253" y="457"/>
                    </a:lnTo>
                    <a:lnTo>
                      <a:pt x="260" y="455"/>
                    </a:lnTo>
                    <a:lnTo>
                      <a:pt x="261" y="450"/>
                    </a:lnTo>
                    <a:lnTo>
                      <a:pt x="263" y="447"/>
                    </a:lnTo>
                    <a:lnTo>
                      <a:pt x="265" y="440"/>
                    </a:lnTo>
                    <a:lnTo>
                      <a:pt x="270" y="438"/>
                    </a:lnTo>
                    <a:lnTo>
                      <a:pt x="272" y="436"/>
                    </a:lnTo>
                    <a:lnTo>
                      <a:pt x="275" y="436"/>
                    </a:lnTo>
                    <a:lnTo>
                      <a:pt x="277" y="435"/>
                    </a:lnTo>
                    <a:lnTo>
                      <a:pt x="275" y="423"/>
                    </a:lnTo>
                    <a:lnTo>
                      <a:pt x="277" y="407"/>
                    </a:lnTo>
                    <a:lnTo>
                      <a:pt x="280" y="392"/>
                    </a:lnTo>
                    <a:lnTo>
                      <a:pt x="279" y="380"/>
                    </a:lnTo>
                    <a:lnTo>
                      <a:pt x="277" y="369"/>
                    </a:lnTo>
                    <a:lnTo>
                      <a:pt x="282" y="359"/>
                    </a:lnTo>
                    <a:lnTo>
                      <a:pt x="298" y="354"/>
                    </a:lnTo>
                    <a:lnTo>
                      <a:pt x="303" y="349"/>
                    </a:lnTo>
                    <a:lnTo>
                      <a:pt x="310" y="343"/>
                    </a:lnTo>
                    <a:lnTo>
                      <a:pt x="323" y="328"/>
                    </a:lnTo>
                    <a:lnTo>
                      <a:pt x="339" y="313"/>
                    </a:lnTo>
                    <a:lnTo>
                      <a:pt x="344" y="306"/>
                    </a:lnTo>
                    <a:lnTo>
                      <a:pt x="354" y="302"/>
                    </a:lnTo>
                    <a:lnTo>
                      <a:pt x="363" y="297"/>
                    </a:lnTo>
                    <a:lnTo>
                      <a:pt x="371" y="294"/>
                    </a:lnTo>
                    <a:lnTo>
                      <a:pt x="373" y="285"/>
                    </a:lnTo>
                    <a:lnTo>
                      <a:pt x="377" y="276"/>
                    </a:lnTo>
                    <a:lnTo>
                      <a:pt x="384" y="270"/>
                    </a:lnTo>
                    <a:lnTo>
                      <a:pt x="392" y="263"/>
                    </a:lnTo>
                    <a:lnTo>
                      <a:pt x="397" y="266"/>
                    </a:lnTo>
                    <a:lnTo>
                      <a:pt x="404" y="268"/>
                    </a:lnTo>
                    <a:lnTo>
                      <a:pt x="413" y="266"/>
                    </a:lnTo>
                    <a:lnTo>
                      <a:pt x="423" y="264"/>
                    </a:lnTo>
                    <a:lnTo>
                      <a:pt x="428" y="259"/>
                    </a:lnTo>
                    <a:lnTo>
                      <a:pt x="432" y="251"/>
                    </a:lnTo>
                    <a:lnTo>
                      <a:pt x="444" y="254"/>
                    </a:lnTo>
                    <a:lnTo>
                      <a:pt x="451" y="263"/>
                    </a:lnTo>
                    <a:lnTo>
                      <a:pt x="452" y="271"/>
                    </a:lnTo>
                    <a:lnTo>
                      <a:pt x="456" y="282"/>
                    </a:lnTo>
                    <a:lnTo>
                      <a:pt x="463" y="290"/>
                    </a:lnTo>
                    <a:lnTo>
                      <a:pt x="473" y="299"/>
                    </a:lnTo>
                    <a:lnTo>
                      <a:pt x="480" y="309"/>
                    </a:lnTo>
                    <a:lnTo>
                      <a:pt x="487" y="325"/>
                    </a:lnTo>
                    <a:lnTo>
                      <a:pt x="488" y="328"/>
                    </a:lnTo>
                    <a:lnTo>
                      <a:pt x="490" y="331"/>
                    </a:lnTo>
                    <a:lnTo>
                      <a:pt x="488" y="338"/>
                    </a:lnTo>
                    <a:lnTo>
                      <a:pt x="487" y="347"/>
                    </a:lnTo>
                    <a:lnTo>
                      <a:pt x="488" y="356"/>
                    </a:lnTo>
                    <a:lnTo>
                      <a:pt x="495" y="359"/>
                    </a:lnTo>
                    <a:lnTo>
                      <a:pt x="502" y="356"/>
                    </a:lnTo>
                    <a:lnTo>
                      <a:pt x="511" y="350"/>
                    </a:lnTo>
                    <a:lnTo>
                      <a:pt x="516" y="342"/>
                    </a:lnTo>
                    <a:lnTo>
                      <a:pt x="521" y="337"/>
                    </a:lnTo>
                    <a:lnTo>
                      <a:pt x="523" y="340"/>
                    </a:lnTo>
                    <a:lnTo>
                      <a:pt x="526" y="345"/>
                    </a:lnTo>
                    <a:lnTo>
                      <a:pt x="530" y="345"/>
                    </a:lnTo>
                    <a:lnTo>
                      <a:pt x="533" y="347"/>
                    </a:lnTo>
                    <a:lnTo>
                      <a:pt x="533" y="352"/>
                    </a:lnTo>
                    <a:lnTo>
                      <a:pt x="533" y="361"/>
                    </a:lnTo>
                    <a:lnTo>
                      <a:pt x="533" y="366"/>
                    </a:lnTo>
                    <a:lnTo>
                      <a:pt x="537" y="369"/>
                    </a:lnTo>
                    <a:lnTo>
                      <a:pt x="537" y="380"/>
                    </a:lnTo>
                    <a:lnTo>
                      <a:pt x="542" y="392"/>
                    </a:lnTo>
                    <a:lnTo>
                      <a:pt x="545" y="404"/>
                    </a:lnTo>
                    <a:lnTo>
                      <a:pt x="549" y="421"/>
                    </a:lnTo>
                    <a:lnTo>
                      <a:pt x="547" y="431"/>
                    </a:lnTo>
                    <a:lnTo>
                      <a:pt x="549" y="441"/>
                    </a:lnTo>
                    <a:lnTo>
                      <a:pt x="554" y="428"/>
                    </a:lnTo>
                    <a:lnTo>
                      <a:pt x="559" y="417"/>
                    </a:lnTo>
                    <a:lnTo>
                      <a:pt x="561" y="414"/>
                    </a:lnTo>
                    <a:lnTo>
                      <a:pt x="564" y="411"/>
                    </a:lnTo>
                    <a:lnTo>
                      <a:pt x="562" y="404"/>
                    </a:lnTo>
                    <a:lnTo>
                      <a:pt x="559" y="395"/>
                    </a:lnTo>
                    <a:lnTo>
                      <a:pt x="556" y="385"/>
                    </a:lnTo>
                    <a:lnTo>
                      <a:pt x="554" y="380"/>
                    </a:lnTo>
                    <a:lnTo>
                      <a:pt x="545" y="374"/>
                    </a:lnTo>
                    <a:lnTo>
                      <a:pt x="543" y="368"/>
                    </a:lnTo>
                    <a:lnTo>
                      <a:pt x="543" y="366"/>
                    </a:lnTo>
                    <a:lnTo>
                      <a:pt x="545" y="364"/>
                    </a:lnTo>
                    <a:lnTo>
                      <a:pt x="545" y="364"/>
                    </a:lnTo>
                    <a:lnTo>
                      <a:pt x="547" y="359"/>
                    </a:lnTo>
                    <a:lnTo>
                      <a:pt x="549" y="354"/>
                    </a:lnTo>
                    <a:lnTo>
                      <a:pt x="547" y="342"/>
                    </a:lnTo>
                    <a:lnTo>
                      <a:pt x="545" y="331"/>
                    </a:lnTo>
                    <a:lnTo>
                      <a:pt x="538" y="325"/>
                    </a:lnTo>
                    <a:lnTo>
                      <a:pt x="535" y="318"/>
                    </a:lnTo>
                    <a:lnTo>
                      <a:pt x="537" y="304"/>
                    </a:lnTo>
                    <a:lnTo>
                      <a:pt x="543" y="297"/>
                    </a:lnTo>
                    <a:lnTo>
                      <a:pt x="549" y="294"/>
                    </a:lnTo>
                    <a:lnTo>
                      <a:pt x="557" y="292"/>
                    </a:lnTo>
                    <a:lnTo>
                      <a:pt x="564" y="285"/>
                    </a:lnTo>
                    <a:lnTo>
                      <a:pt x="571" y="280"/>
                    </a:lnTo>
                    <a:lnTo>
                      <a:pt x="578" y="273"/>
                    </a:lnTo>
                    <a:lnTo>
                      <a:pt x="586" y="264"/>
                    </a:lnTo>
                    <a:lnTo>
                      <a:pt x="581" y="264"/>
                    </a:lnTo>
                    <a:lnTo>
                      <a:pt x="578" y="266"/>
                    </a:lnTo>
                    <a:lnTo>
                      <a:pt x="566" y="257"/>
                    </a:lnTo>
                    <a:lnTo>
                      <a:pt x="562" y="244"/>
                    </a:lnTo>
                    <a:lnTo>
                      <a:pt x="557" y="240"/>
                    </a:lnTo>
                    <a:lnTo>
                      <a:pt x="556" y="237"/>
                    </a:lnTo>
                    <a:lnTo>
                      <a:pt x="554" y="232"/>
                    </a:lnTo>
                    <a:lnTo>
                      <a:pt x="552" y="230"/>
                    </a:lnTo>
                    <a:lnTo>
                      <a:pt x="545" y="230"/>
                    </a:lnTo>
                    <a:lnTo>
                      <a:pt x="540" y="232"/>
                    </a:lnTo>
                    <a:lnTo>
                      <a:pt x="538" y="228"/>
                    </a:lnTo>
                    <a:lnTo>
                      <a:pt x="538" y="227"/>
                    </a:lnTo>
                    <a:lnTo>
                      <a:pt x="540" y="213"/>
                    </a:lnTo>
                    <a:lnTo>
                      <a:pt x="545" y="206"/>
                    </a:lnTo>
                    <a:lnTo>
                      <a:pt x="549" y="199"/>
                    </a:lnTo>
                    <a:lnTo>
                      <a:pt x="552" y="187"/>
                    </a:lnTo>
                    <a:lnTo>
                      <a:pt x="547" y="175"/>
                    </a:lnTo>
                    <a:lnTo>
                      <a:pt x="540" y="165"/>
                    </a:lnTo>
                    <a:lnTo>
                      <a:pt x="530" y="159"/>
                    </a:lnTo>
                    <a:lnTo>
                      <a:pt x="523" y="158"/>
                    </a:lnTo>
                    <a:lnTo>
                      <a:pt x="516" y="151"/>
                    </a:lnTo>
                    <a:lnTo>
                      <a:pt x="513" y="144"/>
                    </a:lnTo>
                    <a:lnTo>
                      <a:pt x="509" y="144"/>
                    </a:lnTo>
                    <a:lnTo>
                      <a:pt x="506" y="149"/>
                    </a:lnTo>
                    <a:lnTo>
                      <a:pt x="495" y="147"/>
                    </a:lnTo>
                    <a:lnTo>
                      <a:pt x="488" y="149"/>
                    </a:lnTo>
                    <a:lnTo>
                      <a:pt x="485" y="151"/>
                    </a:lnTo>
                    <a:lnTo>
                      <a:pt x="483" y="156"/>
                    </a:lnTo>
                    <a:lnTo>
                      <a:pt x="476" y="158"/>
                    </a:lnTo>
                    <a:lnTo>
                      <a:pt x="470" y="163"/>
                    </a:lnTo>
                    <a:lnTo>
                      <a:pt x="461" y="168"/>
                    </a:lnTo>
                    <a:lnTo>
                      <a:pt x="456" y="172"/>
                    </a:lnTo>
                    <a:lnTo>
                      <a:pt x="444" y="168"/>
                    </a:lnTo>
                    <a:lnTo>
                      <a:pt x="430" y="165"/>
                    </a:lnTo>
                    <a:lnTo>
                      <a:pt x="416" y="170"/>
                    </a:lnTo>
                    <a:lnTo>
                      <a:pt x="408" y="178"/>
                    </a:lnTo>
                    <a:lnTo>
                      <a:pt x="406" y="170"/>
                    </a:lnTo>
                    <a:lnTo>
                      <a:pt x="404" y="166"/>
                    </a:lnTo>
                    <a:lnTo>
                      <a:pt x="399" y="168"/>
                    </a:lnTo>
                    <a:lnTo>
                      <a:pt x="394" y="170"/>
                    </a:lnTo>
                    <a:lnTo>
                      <a:pt x="384" y="170"/>
                    </a:lnTo>
                    <a:lnTo>
                      <a:pt x="373" y="170"/>
                    </a:lnTo>
                    <a:lnTo>
                      <a:pt x="358" y="165"/>
                    </a:lnTo>
                    <a:lnTo>
                      <a:pt x="349" y="156"/>
                    </a:lnTo>
                    <a:lnTo>
                      <a:pt x="344" y="156"/>
                    </a:lnTo>
                    <a:lnTo>
                      <a:pt x="341" y="156"/>
                    </a:lnTo>
                    <a:lnTo>
                      <a:pt x="337" y="149"/>
                    </a:lnTo>
                    <a:lnTo>
                      <a:pt x="335" y="146"/>
                    </a:lnTo>
                    <a:lnTo>
                      <a:pt x="323" y="142"/>
                    </a:lnTo>
                    <a:lnTo>
                      <a:pt x="316" y="139"/>
                    </a:lnTo>
                    <a:lnTo>
                      <a:pt x="306" y="134"/>
                    </a:lnTo>
                    <a:lnTo>
                      <a:pt x="294" y="134"/>
                    </a:lnTo>
                    <a:lnTo>
                      <a:pt x="282" y="127"/>
                    </a:lnTo>
                    <a:lnTo>
                      <a:pt x="272" y="122"/>
                    </a:lnTo>
                    <a:lnTo>
                      <a:pt x="267" y="120"/>
                    </a:lnTo>
                    <a:lnTo>
                      <a:pt x="265" y="118"/>
                    </a:lnTo>
                    <a:lnTo>
                      <a:pt x="263" y="110"/>
                    </a:lnTo>
                    <a:lnTo>
                      <a:pt x="261" y="103"/>
                    </a:lnTo>
                    <a:lnTo>
                      <a:pt x="261" y="98"/>
                    </a:lnTo>
                    <a:lnTo>
                      <a:pt x="268" y="96"/>
                    </a:lnTo>
                    <a:lnTo>
                      <a:pt x="273" y="92"/>
                    </a:lnTo>
                    <a:lnTo>
                      <a:pt x="268" y="86"/>
                    </a:lnTo>
                    <a:lnTo>
                      <a:pt x="265" y="79"/>
                    </a:lnTo>
                    <a:lnTo>
                      <a:pt x="267" y="70"/>
                    </a:lnTo>
                    <a:lnTo>
                      <a:pt x="273" y="67"/>
                    </a:lnTo>
                    <a:lnTo>
                      <a:pt x="280" y="61"/>
                    </a:lnTo>
                    <a:lnTo>
                      <a:pt x="284" y="55"/>
                    </a:lnTo>
                    <a:lnTo>
                      <a:pt x="277" y="44"/>
                    </a:lnTo>
                    <a:lnTo>
                      <a:pt x="268" y="41"/>
                    </a:lnTo>
                    <a:lnTo>
                      <a:pt x="258" y="44"/>
                    </a:lnTo>
                    <a:lnTo>
                      <a:pt x="248" y="49"/>
                    </a:lnTo>
                    <a:lnTo>
                      <a:pt x="234" y="44"/>
                    </a:lnTo>
                    <a:lnTo>
                      <a:pt x="224" y="39"/>
                    </a:lnTo>
                    <a:lnTo>
                      <a:pt x="222" y="32"/>
                    </a:lnTo>
                    <a:lnTo>
                      <a:pt x="218" y="27"/>
                    </a:lnTo>
                    <a:lnTo>
                      <a:pt x="208" y="25"/>
                    </a:lnTo>
                    <a:lnTo>
                      <a:pt x="206" y="18"/>
                    </a:lnTo>
                    <a:lnTo>
                      <a:pt x="198" y="17"/>
                    </a:lnTo>
                    <a:lnTo>
                      <a:pt x="189" y="17"/>
                    </a:lnTo>
                    <a:lnTo>
                      <a:pt x="175" y="20"/>
                    </a:lnTo>
                    <a:lnTo>
                      <a:pt x="163" y="25"/>
                    </a:lnTo>
                    <a:lnTo>
                      <a:pt x="157" y="20"/>
                    </a:lnTo>
                    <a:lnTo>
                      <a:pt x="157" y="12"/>
                    </a:lnTo>
                    <a:lnTo>
                      <a:pt x="155" y="3"/>
                    </a:lnTo>
                    <a:lnTo>
                      <a:pt x="151" y="0"/>
                    </a:lnTo>
                    <a:lnTo>
                      <a:pt x="139" y="5"/>
                    </a:lnTo>
                    <a:lnTo>
                      <a:pt x="134" y="12"/>
                    </a:lnTo>
                    <a:lnTo>
                      <a:pt x="132" y="12"/>
                    </a:lnTo>
                    <a:lnTo>
                      <a:pt x="122" y="20"/>
                    </a:lnTo>
                    <a:lnTo>
                      <a:pt x="110" y="24"/>
                    </a:lnTo>
                    <a:lnTo>
                      <a:pt x="105" y="20"/>
                    </a:lnTo>
                    <a:lnTo>
                      <a:pt x="100" y="18"/>
                    </a:lnTo>
                    <a:lnTo>
                      <a:pt x="91" y="20"/>
                    </a:lnTo>
                    <a:lnTo>
                      <a:pt x="84" y="17"/>
                    </a:lnTo>
                    <a:lnTo>
                      <a:pt x="79" y="15"/>
                    </a:lnTo>
                    <a:lnTo>
                      <a:pt x="76" y="15"/>
                    </a:lnTo>
                    <a:lnTo>
                      <a:pt x="67" y="17"/>
                    </a:lnTo>
                    <a:lnTo>
                      <a:pt x="62" y="22"/>
                    </a:lnTo>
                    <a:lnTo>
                      <a:pt x="57" y="29"/>
                    </a:lnTo>
                    <a:lnTo>
                      <a:pt x="53" y="37"/>
                    </a:lnTo>
                    <a:lnTo>
                      <a:pt x="46" y="41"/>
                    </a:lnTo>
                    <a:lnTo>
                      <a:pt x="40" y="44"/>
                    </a:lnTo>
                    <a:lnTo>
                      <a:pt x="34" y="49"/>
                    </a:lnTo>
                    <a:lnTo>
                      <a:pt x="28" y="53"/>
                    </a:lnTo>
                    <a:lnTo>
                      <a:pt x="21" y="51"/>
                    </a:lnTo>
                    <a:lnTo>
                      <a:pt x="15" y="49"/>
                    </a:lnTo>
                    <a:lnTo>
                      <a:pt x="14" y="49"/>
                    </a:lnTo>
                    <a:lnTo>
                      <a:pt x="12" y="51"/>
                    </a:lnTo>
                    <a:lnTo>
                      <a:pt x="7" y="55"/>
                    </a:lnTo>
                    <a:lnTo>
                      <a:pt x="3" y="61"/>
                    </a:lnTo>
                    <a:lnTo>
                      <a:pt x="0" y="68"/>
                    </a:lnTo>
                    <a:lnTo>
                      <a:pt x="0" y="74"/>
                    </a:lnTo>
                    <a:lnTo>
                      <a:pt x="0" y="75"/>
                    </a:lnTo>
                    <a:lnTo>
                      <a:pt x="0" y="79"/>
                    </a:lnTo>
                    <a:lnTo>
                      <a:pt x="2" y="80"/>
                    </a:lnTo>
                    <a:lnTo>
                      <a:pt x="3" y="84"/>
                    </a:lnTo>
                    <a:lnTo>
                      <a:pt x="3" y="99"/>
                    </a:lnTo>
                    <a:lnTo>
                      <a:pt x="3" y="104"/>
                    </a:lnTo>
                    <a:lnTo>
                      <a:pt x="5" y="111"/>
                    </a:lnTo>
                    <a:lnTo>
                      <a:pt x="10" y="113"/>
                    </a:lnTo>
                    <a:lnTo>
                      <a:pt x="17" y="122"/>
                    </a:lnTo>
                    <a:lnTo>
                      <a:pt x="12" y="130"/>
                    </a:lnTo>
                    <a:lnTo>
                      <a:pt x="7" y="139"/>
                    </a:lnTo>
                    <a:lnTo>
                      <a:pt x="9" y="142"/>
                    </a:lnTo>
                    <a:lnTo>
                      <a:pt x="12" y="147"/>
                    </a:lnTo>
                    <a:lnTo>
                      <a:pt x="19" y="156"/>
                    </a:lnTo>
                    <a:lnTo>
                      <a:pt x="28" y="165"/>
                    </a:lnTo>
                    <a:lnTo>
                      <a:pt x="34" y="173"/>
                    </a:lnTo>
                    <a:lnTo>
                      <a:pt x="38" y="189"/>
                    </a:lnTo>
                    <a:lnTo>
                      <a:pt x="28" y="190"/>
                    </a:lnTo>
                    <a:lnTo>
                      <a:pt x="22" y="194"/>
                    </a:lnTo>
                    <a:lnTo>
                      <a:pt x="17" y="197"/>
                    </a:lnTo>
                    <a:lnTo>
                      <a:pt x="17" y="208"/>
                    </a:lnTo>
                    <a:lnTo>
                      <a:pt x="17" y="213"/>
                    </a:lnTo>
                    <a:lnTo>
                      <a:pt x="19" y="218"/>
                    </a:lnTo>
                    <a:lnTo>
                      <a:pt x="36" y="216"/>
                    </a:lnTo>
                    <a:lnTo>
                      <a:pt x="38" y="215"/>
                    </a:lnTo>
                    <a:lnTo>
                      <a:pt x="41" y="213"/>
                    </a:lnTo>
                    <a:lnTo>
                      <a:pt x="55" y="216"/>
                    </a:lnTo>
                    <a:lnTo>
                      <a:pt x="58" y="215"/>
                    </a:lnTo>
                    <a:lnTo>
                      <a:pt x="67" y="213"/>
                    </a:lnTo>
                    <a:lnTo>
                      <a:pt x="74" y="211"/>
                    </a:lnTo>
                    <a:lnTo>
                      <a:pt x="83" y="213"/>
                    </a:lnTo>
                    <a:lnTo>
                      <a:pt x="88" y="220"/>
                    </a:lnTo>
                    <a:lnTo>
                      <a:pt x="95" y="233"/>
                    </a:lnTo>
                    <a:lnTo>
                      <a:pt x="98" y="239"/>
                    </a:lnTo>
                    <a:lnTo>
                      <a:pt x="107" y="244"/>
                    </a:lnTo>
                    <a:lnTo>
                      <a:pt x="115" y="247"/>
                    </a:lnTo>
                    <a:lnTo>
                      <a:pt x="126" y="251"/>
                    </a:lnTo>
                    <a:lnTo>
                      <a:pt x="131" y="251"/>
                    </a:lnTo>
                    <a:lnTo>
                      <a:pt x="138" y="252"/>
                    </a:lnTo>
                    <a:lnTo>
                      <a:pt x="134" y="256"/>
                    </a:lnTo>
                    <a:lnTo>
                      <a:pt x="131" y="259"/>
                    </a:lnTo>
                    <a:lnTo>
                      <a:pt x="124" y="259"/>
                    </a:lnTo>
                    <a:lnTo>
                      <a:pt x="117" y="261"/>
                    </a:lnTo>
                    <a:lnTo>
                      <a:pt x="122" y="268"/>
                    </a:lnTo>
                    <a:lnTo>
                      <a:pt x="129" y="275"/>
                    </a:lnTo>
                    <a:lnTo>
                      <a:pt x="136" y="282"/>
                    </a:lnTo>
                    <a:lnTo>
                      <a:pt x="148" y="285"/>
                    </a:lnTo>
                    <a:lnTo>
                      <a:pt x="153" y="282"/>
                    </a:lnTo>
                    <a:lnTo>
                      <a:pt x="158" y="275"/>
                    </a:lnTo>
                    <a:lnTo>
                      <a:pt x="162" y="266"/>
                    </a:lnTo>
                    <a:lnTo>
                      <a:pt x="167" y="261"/>
                    </a:lnTo>
                    <a:lnTo>
                      <a:pt x="172" y="261"/>
                    </a:lnTo>
                    <a:lnTo>
                      <a:pt x="170" y="264"/>
                    </a:lnTo>
                    <a:lnTo>
                      <a:pt x="169" y="268"/>
                    </a:lnTo>
                    <a:lnTo>
                      <a:pt x="170" y="276"/>
                    </a:lnTo>
                    <a:lnTo>
                      <a:pt x="174" y="288"/>
                    </a:lnTo>
                    <a:lnTo>
                      <a:pt x="172" y="295"/>
                    </a:lnTo>
                    <a:lnTo>
                      <a:pt x="170" y="304"/>
                    </a:lnTo>
                    <a:lnTo>
                      <a:pt x="174" y="3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23" name="Freeform 196"/>
              <p:cNvSpPr>
                <a:spLocks/>
              </p:cNvSpPr>
              <p:nvPr/>
            </p:nvSpPr>
            <p:spPr bwMode="auto">
              <a:xfrm>
                <a:off x="6493669" y="3887788"/>
                <a:ext cx="244475" cy="261937"/>
              </a:xfrm>
              <a:custGeom>
                <a:avLst/>
                <a:gdLst/>
                <a:ahLst/>
                <a:cxnLst>
                  <a:cxn ang="0">
                    <a:pos x="69" y="86"/>
                  </a:cxn>
                  <a:cxn ang="0">
                    <a:pos x="68" y="82"/>
                  </a:cxn>
                  <a:cxn ang="0">
                    <a:pos x="68" y="81"/>
                  </a:cxn>
                  <a:cxn ang="0">
                    <a:pos x="62" y="79"/>
                  </a:cxn>
                  <a:cxn ang="0">
                    <a:pos x="59" y="79"/>
                  </a:cxn>
                  <a:cxn ang="0">
                    <a:pos x="56" y="70"/>
                  </a:cxn>
                  <a:cxn ang="0">
                    <a:pos x="52" y="60"/>
                  </a:cxn>
                  <a:cxn ang="0">
                    <a:pos x="42" y="50"/>
                  </a:cxn>
                  <a:cxn ang="0">
                    <a:pos x="33" y="45"/>
                  </a:cxn>
                  <a:cxn ang="0">
                    <a:pos x="28" y="36"/>
                  </a:cxn>
                  <a:cxn ang="0">
                    <a:pos x="26" y="29"/>
                  </a:cxn>
                  <a:cxn ang="0">
                    <a:pos x="19" y="24"/>
                  </a:cxn>
                  <a:cxn ang="0">
                    <a:pos x="14" y="24"/>
                  </a:cxn>
                  <a:cxn ang="0">
                    <a:pos x="9" y="19"/>
                  </a:cxn>
                  <a:cxn ang="0">
                    <a:pos x="6" y="14"/>
                  </a:cxn>
                  <a:cxn ang="0">
                    <a:pos x="0" y="7"/>
                  </a:cxn>
                  <a:cxn ang="0">
                    <a:pos x="0" y="3"/>
                  </a:cxn>
                  <a:cxn ang="0">
                    <a:pos x="0" y="0"/>
                  </a:cxn>
                  <a:cxn ang="0">
                    <a:pos x="4" y="0"/>
                  </a:cxn>
                  <a:cxn ang="0">
                    <a:pos x="9" y="0"/>
                  </a:cxn>
                  <a:cxn ang="0">
                    <a:pos x="14" y="3"/>
                  </a:cxn>
                  <a:cxn ang="0">
                    <a:pos x="30" y="3"/>
                  </a:cxn>
                  <a:cxn ang="0">
                    <a:pos x="42" y="12"/>
                  </a:cxn>
                  <a:cxn ang="0">
                    <a:pos x="49" y="24"/>
                  </a:cxn>
                  <a:cxn ang="0">
                    <a:pos x="50" y="24"/>
                  </a:cxn>
                  <a:cxn ang="0">
                    <a:pos x="54" y="26"/>
                  </a:cxn>
                  <a:cxn ang="0">
                    <a:pos x="62" y="31"/>
                  </a:cxn>
                  <a:cxn ang="0">
                    <a:pos x="71" y="39"/>
                  </a:cxn>
                  <a:cxn ang="0">
                    <a:pos x="76" y="45"/>
                  </a:cxn>
                  <a:cxn ang="0">
                    <a:pos x="83" y="51"/>
                  </a:cxn>
                  <a:cxn ang="0">
                    <a:pos x="90" y="55"/>
                  </a:cxn>
                  <a:cxn ang="0">
                    <a:pos x="100" y="60"/>
                  </a:cxn>
                  <a:cxn ang="0">
                    <a:pos x="111" y="63"/>
                  </a:cxn>
                  <a:cxn ang="0">
                    <a:pos x="116" y="74"/>
                  </a:cxn>
                  <a:cxn ang="0">
                    <a:pos x="116" y="75"/>
                  </a:cxn>
                  <a:cxn ang="0">
                    <a:pos x="117" y="75"/>
                  </a:cxn>
                  <a:cxn ang="0">
                    <a:pos x="119" y="75"/>
                  </a:cxn>
                  <a:cxn ang="0">
                    <a:pos x="121" y="77"/>
                  </a:cxn>
                  <a:cxn ang="0">
                    <a:pos x="124" y="81"/>
                  </a:cxn>
                  <a:cxn ang="0">
                    <a:pos x="123" y="86"/>
                  </a:cxn>
                  <a:cxn ang="0">
                    <a:pos x="124" y="91"/>
                  </a:cxn>
                  <a:cxn ang="0">
                    <a:pos x="131" y="93"/>
                  </a:cxn>
                  <a:cxn ang="0">
                    <a:pos x="135" y="105"/>
                  </a:cxn>
                  <a:cxn ang="0">
                    <a:pos x="143" y="113"/>
                  </a:cxn>
                  <a:cxn ang="0">
                    <a:pos x="148" y="115"/>
                  </a:cxn>
                  <a:cxn ang="0">
                    <a:pos x="154" y="122"/>
                  </a:cxn>
                  <a:cxn ang="0">
                    <a:pos x="154" y="131"/>
                  </a:cxn>
                  <a:cxn ang="0">
                    <a:pos x="154" y="144"/>
                  </a:cxn>
                  <a:cxn ang="0">
                    <a:pos x="148" y="149"/>
                  </a:cxn>
                  <a:cxn ang="0">
                    <a:pos x="150" y="158"/>
                  </a:cxn>
                  <a:cxn ang="0">
                    <a:pos x="145" y="163"/>
                  </a:cxn>
                  <a:cxn ang="0">
                    <a:pos x="136" y="165"/>
                  </a:cxn>
                  <a:cxn ang="0">
                    <a:pos x="129" y="158"/>
                  </a:cxn>
                  <a:cxn ang="0">
                    <a:pos x="124" y="151"/>
                  </a:cxn>
                  <a:cxn ang="0">
                    <a:pos x="111" y="139"/>
                  </a:cxn>
                  <a:cxn ang="0">
                    <a:pos x="97" y="129"/>
                  </a:cxn>
                  <a:cxn ang="0">
                    <a:pos x="85" y="113"/>
                  </a:cxn>
                  <a:cxn ang="0">
                    <a:pos x="78" y="98"/>
                  </a:cxn>
                  <a:cxn ang="0">
                    <a:pos x="73" y="91"/>
                  </a:cxn>
                  <a:cxn ang="0">
                    <a:pos x="69" y="86"/>
                  </a:cxn>
                </a:cxnLst>
                <a:rect l="0" t="0" r="r" b="b"/>
                <a:pathLst>
                  <a:path w="154" h="165">
                    <a:moveTo>
                      <a:pt x="69" y="86"/>
                    </a:moveTo>
                    <a:lnTo>
                      <a:pt x="68" y="82"/>
                    </a:lnTo>
                    <a:lnTo>
                      <a:pt x="68" y="81"/>
                    </a:lnTo>
                    <a:lnTo>
                      <a:pt x="62" y="79"/>
                    </a:lnTo>
                    <a:lnTo>
                      <a:pt x="59" y="79"/>
                    </a:lnTo>
                    <a:lnTo>
                      <a:pt x="56" y="70"/>
                    </a:lnTo>
                    <a:lnTo>
                      <a:pt x="52" y="60"/>
                    </a:lnTo>
                    <a:lnTo>
                      <a:pt x="42" y="50"/>
                    </a:lnTo>
                    <a:lnTo>
                      <a:pt x="33" y="45"/>
                    </a:lnTo>
                    <a:lnTo>
                      <a:pt x="28" y="36"/>
                    </a:lnTo>
                    <a:lnTo>
                      <a:pt x="26" y="29"/>
                    </a:lnTo>
                    <a:lnTo>
                      <a:pt x="19" y="24"/>
                    </a:lnTo>
                    <a:lnTo>
                      <a:pt x="14" y="24"/>
                    </a:lnTo>
                    <a:lnTo>
                      <a:pt x="9" y="19"/>
                    </a:lnTo>
                    <a:lnTo>
                      <a:pt x="6" y="14"/>
                    </a:lnTo>
                    <a:lnTo>
                      <a:pt x="0" y="7"/>
                    </a:lnTo>
                    <a:lnTo>
                      <a:pt x="0" y="3"/>
                    </a:lnTo>
                    <a:lnTo>
                      <a:pt x="0" y="0"/>
                    </a:lnTo>
                    <a:lnTo>
                      <a:pt x="4" y="0"/>
                    </a:lnTo>
                    <a:lnTo>
                      <a:pt x="9" y="0"/>
                    </a:lnTo>
                    <a:lnTo>
                      <a:pt x="14" y="3"/>
                    </a:lnTo>
                    <a:lnTo>
                      <a:pt x="30" y="3"/>
                    </a:lnTo>
                    <a:lnTo>
                      <a:pt x="42" y="12"/>
                    </a:lnTo>
                    <a:lnTo>
                      <a:pt x="49" y="24"/>
                    </a:lnTo>
                    <a:lnTo>
                      <a:pt x="50" y="24"/>
                    </a:lnTo>
                    <a:lnTo>
                      <a:pt x="54" y="26"/>
                    </a:lnTo>
                    <a:lnTo>
                      <a:pt x="62" y="31"/>
                    </a:lnTo>
                    <a:lnTo>
                      <a:pt x="71" y="39"/>
                    </a:lnTo>
                    <a:lnTo>
                      <a:pt x="76" y="45"/>
                    </a:lnTo>
                    <a:lnTo>
                      <a:pt x="83" y="51"/>
                    </a:lnTo>
                    <a:lnTo>
                      <a:pt x="90" y="55"/>
                    </a:lnTo>
                    <a:lnTo>
                      <a:pt x="100" y="60"/>
                    </a:lnTo>
                    <a:lnTo>
                      <a:pt x="111" y="63"/>
                    </a:lnTo>
                    <a:lnTo>
                      <a:pt x="116" y="74"/>
                    </a:lnTo>
                    <a:lnTo>
                      <a:pt x="116" y="75"/>
                    </a:lnTo>
                    <a:lnTo>
                      <a:pt x="117" y="75"/>
                    </a:lnTo>
                    <a:lnTo>
                      <a:pt x="119" y="75"/>
                    </a:lnTo>
                    <a:lnTo>
                      <a:pt x="121" y="77"/>
                    </a:lnTo>
                    <a:lnTo>
                      <a:pt x="124" y="81"/>
                    </a:lnTo>
                    <a:lnTo>
                      <a:pt x="123" y="86"/>
                    </a:lnTo>
                    <a:lnTo>
                      <a:pt x="124" y="91"/>
                    </a:lnTo>
                    <a:lnTo>
                      <a:pt x="131" y="93"/>
                    </a:lnTo>
                    <a:lnTo>
                      <a:pt x="135" y="105"/>
                    </a:lnTo>
                    <a:lnTo>
                      <a:pt x="143" y="113"/>
                    </a:lnTo>
                    <a:lnTo>
                      <a:pt x="148" y="115"/>
                    </a:lnTo>
                    <a:lnTo>
                      <a:pt x="154" y="122"/>
                    </a:lnTo>
                    <a:lnTo>
                      <a:pt x="154" y="131"/>
                    </a:lnTo>
                    <a:lnTo>
                      <a:pt x="154" y="144"/>
                    </a:lnTo>
                    <a:lnTo>
                      <a:pt x="148" y="149"/>
                    </a:lnTo>
                    <a:lnTo>
                      <a:pt x="150" y="158"/>
                    </a:lnTo>
                    <a:lnTo>
                      <a:pt x="145" y="163"/>
                    </a:lnTo>
                    <a:lnTo>
                      <a:pt x="136" y="165"/>
                    </a:lnTo>
                    <a:lnTo>
                      <a:pt x="129" y="158"/>
                    </a:lnTo>
                    <a:lnTo>
                      <a:pt x="124" y="151"/>
                    </a:lnTo>
                    <a:lnTo>
                      <a:pt x="111" y="139"/>
                    </a:lnTo>
                    <a:lnTo>
                      <a:pt x="97" y="129"/>
                    </a:lnTo>
                    <a:lnTo>
                      <a:pt x="85" y="113"/>
                    </a:lnTo>
                    <a:lnTo>
                      <a:pt x="78" y="98"/>
                    </a:lnTo>
                    <a:lnTo>
                      <a:pt x="73" y="91"/>
                    </a:lnTo>
                    <a:lnTo>
                      <a:pt x="69" y="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25" name="Freeform 197"/>
              <p:cNvSpPr>
                <a:spLocks/>
              </p:cNvSpPr>
              <p:nvPr/>
            </p:nvSpPr>
            <p:spPr bwMode="auto">
              <a:xfrm>
                <a:off x="6807994" y="3854450"/>
                <a:ext cx="231775" cy="257175"/>
              </a:xfrm>
              <a:custGeom>
                <a:avLst/>
                <a:gdLst/>
                <a:ahLst/>
                <a:cxnLst>
                  <a:cxn ang="0">
                    <a:pos x="42" y="146"/>
                  </a:cxn>
                  <a:cxn ang="0">
                    <a:pos x="36" y="143"/>
                  </a:cxn>
                  <a:cxn ang="0">
                    <a:pos x="21" y="141"/>
                  </a:cxn>
                  <a:cxn ang="0">
                    <a:pos x="16" y="126"/>
                  </a:cxn>
                  <a:cxn ang="0">
                    <a:pos x="14" y="115"/>
                  </a:cxn>
                  <a:cxn ang="0">
                    <a:pos x="11" y="112"/>
                  </a:cxn>
                  <a:cxn ang="0">
                    <a:pos x="4" y="107"/>
                  </a:cxn>
                  <a:cxn ang="0">
                    <a:pos x="0" y="93"/>
                  </a:cxn>
                  <a:cxn ang="0">
                    <a:pos x="5" y="83"/>
                  </a:cxn>
                  <a:cxn ang="0">
                    <a:pos x="24" y="81"/>
                  </a:cxn>
                  <a:cxn ang="0">
                    <a:pos x="33" y="67"/>
                  </a:cxn>
                  <a:cxn ang="0">
                    <a:pos x="43" y="59"/>
                  </a:cxn>
                  <a:cxn ang="0">
                    <a:pos x="59" y="52"/>
                  </a:cxn>
                  <a:cxn ang="0">
                    <a:pos x="64" y="43"/>
                  </a:cxn>
                  <a:cxn ang="0">
                    <a:pos x="69" y="38"/>
                  </a:cxn>
                  <a:cxn ang="0">
                    <a:pos x="74" y="35"/>
                  </a:cxn>
                  <a:cxn ang="0">
                    <a:pos x="86" y="29"/>
                  </a:cxn>
                  <a:cxn ang="0">
                    <a:pos x="98" y="19"/>
                  </a:cxn>
                  <a:cxn ang="0">
                    <a:pos x="110" y="2"/>
                  </a:cxn>
                  <a:cxn ang="0">
                    <a:pos x="124" y="4"/>
                  </a:cxn>
                  <a:cxn ang="0">
                    <a:pos x="128" y="16"/>
                  </a:cxn>
                  <a:cxn ang="0">
                    <a:pos x="143" y="21"/>
                  </a:cxn>
                  <a:cxn ang="0">
                    <a:pos x="141" y="29"/>
                  </a:cxn>
                  <a:cxn ang="0">
                    <a:pos x="136" y="35"/>
                  </a:cxn>
                  <a:cxn ang="0">
                    <a:pos x="133" y="36"/>
                  </a:cxn>
                  <a:cxn ang="0">
                    <a:pos x="124" y="41"/>
                  </a:cxn>
                  <a:cxn ang="0">
                    <a:pos x="122" y="45"/>
                  </a:cxn>
                  <a:cxn ang="0">
                    <a:pos x="122" y="48"/>
                  </a:cxn>
                  <a:cxn ang="0">
                    <a:pos x="122" y="59"/>
                  </a:cxn>
                  <a:cxn ang="0">
                    <a:pos x="136" y="79"/>
                  </a:cxn>
                  <a:cxn ang="0">
                    <a:pos x="140" y="90"/>
                  </a:cxn>
                  <a:cxn ang="0">
                    <a:pos x="129" y="90"/>
                  </a:cxn>
                  <a:cxn ang="0">
                    <a:pos x="126" y="95"/>
                  </a:cxn>
                  <a:cxn ang="0">
                    <a:pos x="119" y="117"/>
                  </a:cxn>
                  <a:cxn ang="0">
                    <a:pos x="107" y="129"/>
                  </a:cxn>
                  <a:cxn ang="0">
                    <a:pos x="110" y="136"/>
                  </a:cxn>
                  <a:cxn ang="0">
                    <a:pos x="103" y="153"/>
                  </a:cxn>
                  <a:cxn ang="0">
                    <a:pos x="88" y="162"/>
                  </a:cxn>
                  <a:cxn ang="0">
                    <a:pos x="81" y="155"/>
                  </a:cxn>
                  <a:cxn ang="0">
                    <a:pos x="59" y="146"/>
                  </a:cxn>
                  <a:cxn ang="0">
                    <a:pos x="47" y="152"/>
                  </a:cxn>
                  <a:cxn ang="0">
                    <a:pos x="43" y="150"/>
                  </a:cxn>
                </a:cxnLst>
                <a:rect l="0" t="0" r="r" b="b"/>
                <a:pathLst>
                  <a:path w="146" h="162">
                    <a:moveTo>
                      <a:pt x="43" y="150"/>
                    </a:moveTo>
                    <a:lnTo>
                      <a:pt x="42" y="146"/>
                    </a:lnTo>
                    <a:lnTo>
                      <a:pt x="42" y="143"/>
                    </a:lnTo>
                    <a:lnTo>
                      <a:pt x="36" y="143"/>
                    </a:lnTo>
                    <a:lnTo>
                      <a:pt x="31" y="145"/>
                    </a:lnTo>
                    <a:lnTo>
                      <a:pt x="21" y="141"/>
                    </a:lnTo>
                    <a:lnTo>
                      <a:pt x="17" y="134"/>
                    </a:lnTo>
                    <a:lnTo>
                      <a:pt x="16" y="126"/>
                    </a:lnTo>
                    <a:lnTo>
                      <a:pt x="14" y="117"/>
                    </a:lnTo>
                    <a:lnTo>
                      <a:pt x="14" y="115"/>
                    </a:lnTo>
                    <a:lnTo>
                      <a:pt x="14" y="114"/>
                    </a:lnTo>
                    <a:lnTo>
                      <a:pt x="11" y="112"/>
                    </a:lnTo>
                    <a:lnTo>
                      <a:pt x="7" y="112"/>
                    </a:lnTo>
                    <a:lnTo>
                      <a:pt x="4" y="107"/>
                    </a:lnTo>
                    <a:lnTo>
                      <a:pt x="2" y="100"/>
                    </a:lnTo>
                    <a:lnTo>
                      <a:pt x="0" y="93"/>
                    </a:lnTo>
                    <a:lnTo>
                      <a:pt x="0" y="90"/>
                    </a:lnTo>
                    <a:lnTo>
                      <a:pt x="5" y="83"/>
                    </a:lnTo>
                    <a:lnTo>
                      <a:pt x="17" y="84"/>
                    </a:lnTo>
                    <a:lnTo>
                      <a:pt x="24" y="81"/>
                    </a:lnTo>
                    <a:lnTo>
                      <a:pt x="30" y="76"/>
                    </a:lnTo>
                    <a:lnTo>
                      <a:pt x="33" y="67"/>
                    </a:lnTo>
                    <a:lnTo>
                      <a:pt x="38" y="62"/>
                    </a:lnTo>
                    <a:lnTo>
                      <a:pt x="43" y="59"/>
                    </a:lnTo>
                    <a:lnTo>
                      <a:pt x="52" y="57"/>
                    </a:lnTo>
                    <a:lnTo>
                      <a:pt x="59" y="52"/>
                    </a:lnTo>
                    <a:lnTo>
                      <a:pt x="64" y="47"/>
                    </a:lnTo>
                    <a:lnTo>
                      <a:pt x="64" y="43"/>
                    </a:lnTo>
                    <a:lnTo>
                      <a:pt x="67" y="41"/>
                    </a:lnTo>
                    <a:lnTo>
                      <a:pt x="69" y="38"/>
                    </a:lnTo>
                    <a:lnTo>
                      <a:pt x="73" y="38"/>
                    </a:lnTo>
                    <a:lnTo>
                      <a:pt x="74" y="35"/>
                    </a:lnTo>
                    <a:lnTo>
                      <a:pt x="76" y="33"/>
                    </a:lnTo>
                    <a:lnTo>
                      <a:pt x="86" y="29"/>
                    </a:lnTo>
                    <a:lnTo>
                      <a:pt x="95" y="28"/>
                    </a:lnTo>
                    <a:lnTo>
                      <a:pt x="98" y="19"/>
                    </a:lnTo>
                    <a:lnTo>
                      <a:pt x="103" y="11"/>
                    </a:lnTo>
                    <a:lnTo>
                      <a:pt x="110" y="2"/>
                    </a:lnTo>
                    <a:lnTo>
                      <a:pt x="117" y="0"/>
                    </a:lnTo>
                    <a:lnTo>
                      <a:pt x="124" y="4"/>
                    </a:lnTo>
                    <a:lnTo>
                      <a:pt x="126" y="12"/>
                    </a:lnTo>
                    <a:lnTo>
                      <a:pt x="128" y="16"/>
                    </a:lnTo>
                    <a:lnTo>
                      <a:pt x="136" y="19"/>
                    </a:lnTo>
                    <a:lnTo>
                      <a:pt x="143" y="21"/>
                    </a:lnTo>
                    <a:lnTo>
                      <a:pt x="146" y="28"/>
                    </a:lnTo>
                    <a:lnTo>
                      <a:pt x="141" y="29"/>
                    </a:lnTo>
                    <a:lnTo>
                      <a:pt x="136" y="33"/>
                    </a:lnTo>
                    <a:lnTo>
                      <a:pt x="136" y="35"/>
                    </a:lnTo>
                    <a:lnTo>
                      <a:pt x="138" y="36"/>
                    </a:lnTo>
                    <a:lnTo>
                      <a:pt x="133" y="36"/>
                    </a:lnTo>
                    <a:lnTo>
                      <a:pt x="129" y="40"/>
                    </a:lnTo>
                    <a:lnTo>
                      <a:pt x="124" y="41"/>
                    </a:lnTo>
                    <a:lnTo>
                      <a:pt x="122" y="43"/>
                    </a:lnTo>
                    <a:lnTo>
                      <a:pt x="122" y="45"/>
                    </a:lnTo>
                    <a:lnTo>
                      <a:pt x="124" y="48"/>
                    </a:lnTo>
                    <a:lnTo>
                      <a:pt x="122" y="48"/>
                    </a:lnTo>
                    <a:lnTo>
                      <a:pt x="121" y="52"/>
                    </a:lnTo>
                    <a:lnTo>
                      <a:pt x="122" y="59"/>
                    </a:lnTo>
                    <a:lnTo>
                      <a:pt x="128" y="71"/>
                    </a:lnTo>
                    <a:lnTo>
                      <a:pt x="136" y="79"/>
                    </a:lnTo>
                    <a:lnTo>
                      <a:pt x="145" y="84"/>
                    </a:lnTo>
                    <a:lnTo>
                      <a:pt x="140" y="90"/>
                    </a:lnTo>
                    <a:lnTo>
                      <a:pt x="133" y="90"/>
                    </a:lnTo>
                    <a:lnTo>
                      <a:pt x="129" y="90"/>
                    </a:lnTo>
                    <a:lnTo>
                      <a:pt x="128" y="90"/>
                    </a:lnTo>
                    <a:lnTo>
                      <a:pt x="126" y="95"/>
                    </a:lnTo>
                    <a:lnTo>
                      <a:pt x="121" y="107"/>
                    </a:lnTo>
                    <a:lnTo>
                      <a:pt x="119" y="117"/>
                    </a:lnTo>
                    <a:lnTo>
                      <a:pt x="110" y="122"/>
                    </a:lnTo>
                    <a:lnTo>
                      <a:pt x="107" y="129"/>
                    </a:lnTo>
                    <a:lnTo>
                      <a:pt x="109" y="133"/>
                    </a:lnTo>
                    <a:lnTo>
                      <a:pt x="110" y="136"/>
                    </a:lnTo>
                    <a:lnTo>
                      <a:pt x="107" y="145"/>
                    </a:lnTo>
                    <a:lnTo>
                      <a:pt x="103" y="153"/>
                    </a:lnTo>
                    <a:lnTo>
                      <a:pt x="95" y="158"/>
                    </a:lnTo>
                    <a:lnTo>
                      <a:pt x="88" y="162"/>
                    </a:lnTo>
                    <a:lnTo>
                      <a:pt x="81" y="158"/>
                    </a:lnTo>
                    <a:lnTo>
                      <a:pt x="81" y="155"/>
                    </a:lnTo>
                    <a:lnTo>
                      <a:pt x="69" y="150"/>
                    </a:lnTo>
                    <a:lnTo>
                      <a:pt x="59" y="146"/>
                    </a:lnTo>
                    <a:lnTo>
                      <a:pt x="52" y="148"/>
                    </a:lnTo>
                    <a:lnTo>
                      <a:pt x="47" y="152"/>
                    </a:lnTo>
                    <a:lnTo>
                      <a:pt x="45" y="150"/>
                    </a:lnTo>
                    <a:lnTo>
                      <a:pt x="43" y="15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32" name="Freeform 198"/>
              <p:cNvSpPr>
                <a:spLocks/>
              </p:cNvSpPr>
              <p:nvPr/>
            </p:nvSpPr>
            <p:spPr bwMode="auto">
              <a:xfrm>
                <a:off x="7031832" y="3978275"/>
                <a:ext cx="147638" cy="168275"/>
              </a:xfrm>
              <a:custGeom>
                <a:avLst/>
                <a:gdLst/>
                <a:ahLst/>
                <a:cxnLst>
                  <a:cxn ang="0">
                    <a:pos x="33" y="41"/>
                  </a:cxn>
                  <a:cxn ang="0">
                    <a:pos x="23" y="36"/>
                  </a:cxn>
                  <a:cxn ang="0">
                    <a:pos x="26" y="18"/>
                  </a:cxn>
                  <a:cxn ang="0">
                    <a:pos x="47" y="17"/>
                  </a:cxn>
                  <a:cxn ang="0">
                    <a:pos x="66" y="18"/>
                  </a:cxn>
                  <a:cxn ang="0">
                    <a:pos x="85" y="13"/>
                  </a:cxn>
                  <a:cxn ang="0">
                    <a:pos x="91" y="1"/>
                  </a:cxn>
                  <a:cxn ang="0">
                    <a:pos x="90" y="0"/>
                  </a:cxn>
                  <a:cxn ang="0">
                    <a:pos x="73" y="12"/>
                  </a:cxn>
                  <a:cxn ang="0">
                    <a:pos x="33" y="5"/>
                  </a:cxn>
                  <a:cxn ang="0">
                    <a:pos x="18" y="13"/>
                  </a:cxn>
                  <a:cxn ang="0">
                    <a:pos x="14" y="34"/>
                  </a:cxn>
                  <a:cxn ang="0">
                    <a:pos x="11" y="41"/>
                  </a:cxn>
                  <a:cxn ang="0">
                    <a:pos x="0" y="68"/>
                  </a:cxn>
                  <a:cxn ang="0">
                    <a:pos x="11" y="75"/>
                  </a:cxn>
                  <a:cxn ang="0">
                    <a:pos x="11" y="99"/>
                  </a:cxn>
                  <a:cxn ang="0">
                    <a:pos x="19" y="106"/>
                  </a:cxn>
                  <a:cxn ang="0">
                    <a:pos x="24" y="96"/>
                  </a:cxn>
                  <a:cxn ang="0">
                    <a:pos x="26" y="86"/>
                  </a:cxn>
                  <a:cxn ang="0">
                    <a:pos x="23" y="70"/>
                  </a:cxn>
                  <a:cxn ang="0">
                    <a:pos x="30" y="63"/>
                  </a:cxn>
                  <a:cxn ang="0">
                    <a:pos x="33" y="63"/>
                  </a:cxn>
                  <a:cxn ang="0">
                    <a:pos x="35" y="80"/>
                  </a:cxn>
                  <a:cxn ang="0">
                    <a:pos x="40" y="91"/>
                  </a:cxn>
                  <a:cxn ang="0">
                    <a:pos x="47" y="94"/>
                  </a:cxn>
                  <a:cxn ang="0">
                    <a:pos x="57" y="84"/>
                  </a:cxn>
                  <a:cxn ang="0">
                    <a:pos x="50" y="74"/>
                  </a:cxn>
                  <a:cxn ang="0">
                    <a:pos x="52" y="72"/>
                  </a:cxn>
                  <a:cxn ang="0">
                    <a:pos x="43" y="60"/>
                  </a:cxn>
                  <a:cxn ang="0">
                    <a:pos x="40" y="49"/>
                  </a:cxn>
                  <a:cxn ang="0">
                    <a:pos x="54" y="43"/>
                  </a:cxn>
                  <a:cxn ang="0">
                    <a:pos x="67" y="36"/>
                  </a:cxn>
                  <a:cxn ang="0">
                    <a:pos x="61" y="31"/>
                  </a:cxn>
                  <a:cxn ang="0">
                    <a:pos x="40" y="37"/>
                  </a:cxn>
                  <a:cxn ang="0">
                    <a:pos x="36" y="39"/>
                  </a:cxn>
                </a:cxnLst>
                <a:rect l="0" t="0" r="r" b="b"/>
                <a:pathLst>
                  <a:path w="93" h="106">
                    <a:moveTo>
                      <a:pt x="36" y="39"/>
                    </a:moveTo>
                    <a:lnTo>
                      <a:pt x="33" y="41"/>
                    </a:lnTo>
                    <a:lnTo>
                      <a:pt x="31" y="43"/>
                    </a:lnTo>
                    <a:lnTo>
                      <a:pt x="23" y="36"/>
                    </a:lnTo>
                    <a:lnTo>
                      <a:pt x="21" y="25"/>
                    </a:lnTo>
                    <a:lnTo>
                      <a:pt x="26" y="18"/>
                    </a:lnTo>
                    <a:lnTo>
                      <a:pt x="38" y="18"/>
                    </a:lnTo>
                    <a:lnTo>
                      <a:pt x="47" y="17"/>
                    </a:lnTo>
                    <a:lnTo>
                      <a:pt x="57" y="17"/>
                    </a:lnTo>
                    <a:lnTo>
                      <a:pt x="66" y="18"/>
                    </a:lnTo>
                    <a:lnTo>
                      <a:pt x="74" y="20"/>
                    </a:lnTo>
                    <a:lnTo>
                      <a:pt x="85" y="13"/>
                    </a:lnTo>
                    <a:lnTo>
                      <a:pt x="90" y="3"/>
                    </a:lnTo>
                    <a:lnTo>
                      <a:pt x="91" y="1"/>
                    </a:lnTo>
                    <a:lnTo>
                      <a:pt x="93" y="0"/>
                    </a:lnTo>
                    <a:lnTo>
                      <a:pt x="90" y="0"/>
                    </a:lnTo>
                    <a:lnTo>
                      <a:pt x="79" y="5"/>
                    </a:lnTo>
                    <a:lnTo>
                      <a:pt x="73" y="12"/>
                    </a:lnTo>
                    <a:lnTo>
                      <a:pt x="69" y="12"/>
                    </a:lnTo>
                    <a:lnTo>
                      <a:pt x="33" y="5"/>
                    </a:lnTo>
                    <a:lnTo>
                      <a:pt x="23" y="6"/>
                    </a:lnTo>
                    <a:lnTo>
                      <a:pt x="18" y="13"/>
                    </a:lnTo>
                    <a:lnTo>
                      <a:pt x="14" y="24"/>
                    </a:lnTo>
                    <a:lnTo>
                      <a:pt x="14" y="34"/>
                    </a:lnTo>
                    <a:lnTo>
                      <a:pt x="12" y="37"/>
                    </a:lnTo>
                    <a:lnTo>
                      <a:pt x="11" y="41"/>
                    </a:lnTo>
                    <a:lnTo>
                      <a:pt x="2" y="55"/>
                    </a:lnTo>
                    <a:lnTo>
                      <a:pt x="0" y="68"/>
                    </a:lnTo>
                    <a:lnTo>
                      <a:pt x="4" y="74"/>
                    </a:lnTo>
                    <a:lnTo>
                      <a:pt x="11" y="75"/>
                    </a:lnTo>
                    <a:lnTo>
                      <a:pt x="11" y="87"/>
                    </a:lnTo>
                    <a:lnTo>
                      <a:pt x="11" y="99"/>
                    </a:lnTo>
                    <a:lnTo>
                      <a:pt x="12" y="103"/>
                    </a:lnTo>
                    <a:lnTo>
                      <a:pt x="19" y="106"/>
                    </a:lnTo>
                    <a:lnTo>
                      <a:pt x="21" y="103"/>
                    </a:lnTo>
                    <a:lnTo>
                      <a:pt x="24" y="96"/>
                    </a:lnTo>
                    <a:lnTo>
                      <a:pt x="24" y="89"/>
                    </a:lnTo>
                    <a:lnTo>
                      <a:pt x="26" y="86"/>
                    </a:lnTo>
                    <a:lnTo>
                      <a:pt x="24" y="77"/>
                    </a:lnTo>
                    <a:lnTo>
                      <a:pt x="23" y="70"/>
                    </a:lnTo>
                    <a:lnTo>
                      <a:pt x="24" y="65"/>
                    </a:lnTo>
                    <a:lnTo>
                      <a:pt x="30" y="63"/>
                    </a:lnTo>
                    <a:lnTo>
                      <a:pt x="31" y="63"/>
                    </a:lnTo>
                    <a:lnTo>
                      <a:pt x="33" y="63"/>
                    </a:lnTo>
                    <a:lnTo>
                      <a:pt x="31" y="74"/>
                    </a:lnTo>
                    <a:lnTo>
                      <a:pt x="35" y="80"/>
                    </a:lnTo>
                    <a:lnTo>
                      <a:pt x="40" y="89"/>
                    </a:lnTo>
                    <a:lnTo>
                      <a:pt x="40" y="91"/>
                    </a:lnTo>
                    <a:lnTo>
                      <a:pt x="40" y="94"/>
                    </a:lnTo>
                    <a:lnTo>
                      <a:pt x="47" y="94"/>
                    </a:lnTo>
                    <a:lnTo>
                      <a:pt x="52" y="89"/>
                    </a:lnTo>
                    <a:lnTo>
                      <a:pt x="57" y="84"/>
                    </a:lnTo>
                    <a:lnTo>
                      <a:pt x="52" y="79"/>
                    </a:lnTo>
                    <a:lnTo>
                      <a:pt x="50" y="74"/>
                    </a:lnTo>
                    <a:lnTo>
                      <a:pt x="50" y="72"/>
                    </a:lnTo>
                    <a:lnTo>
                      <a:pt x="52" y="72"/>
                    </a:lnTo>
                    <a:lnTo>
                      <a:pt x="47" y="67"/>
                    </a:lnTo>
                    <a:lnTo>
                      <a:pt x="43" y="60"/>
                    </a:lnTo>
                    <a:lnTo>
                      <a:pt x="40" y="51"/>
                    </a:lnTo>
                    <a:lnTo>
                      <a:pt x="40" y="49"/>
                    </a:lnTo>
                    <a:lnTo>
                      <a:pt x="47" y="46"/>
                    </a:lnTo>
                    <a:lnTo>
                      <a:pt x="54" y="43"/>
                    </a:lnTo>
                    <a:lnTo>
                      <a:pt x="59" y="39"/>
                    </a:lnTo>
                    <a:lnTo>
                      <a:pt x="67" y="36"/>
                    </a:lnTo>
                    <a:lnTo>
                      <a:pt x="67" y="31"/>
                    </a:lnTo>
                    <a:lnTo>
                      <a:pt x="61" y="31"/>
                    </a:lnTo>
                    <a:lnTo>
                      <a:pt x="50" y="34"/>
                    </a:lnTo>
                    <a:lnTo>
                      <a:pt x="40" y="37"/>
                    </a:lnTo>
                    <a:lnTo>
                      <a:pt x="36" y="41"/>
                    </a:lnTo>
                    <a:lnTo>
                      <a:pt x="36" y="3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0" name="Freeform 199"/>
              <p:cNvSpPr>
                <a:spLocks/>
              </p:cNvSpPr>
              <p:nvPr/>
            </p:nvSpPr>
            <p:spPr bwMode="auto">
              <a:xfrm>
                <a:off x="6728619" y="4149725"/>
                <a:ext cx="233363" cy="68262"/>
              </a:xfrm>
              <a:custGeom>
                <a:avLst/>
                <a:gdLst/>
                <a:ahLst/>
                <a:cxnLst>
                  <a:cxn ang="0">
                    <a:pos x="141" y="41"/>
                  </a:cxn>
                  <a:cxn ang="0">
                    <a:pos x="136" y="39"/>
                  </a:cxn>
                  <a:cxn ang="0">
                    <a:pos x="131" y="38"/>
                  </a:cxn>
                  <a:cxn ang="0">
                    <a:pos x="129" y="39"/>
                  </a:cxn>
                  <a:cxn ang="0">
                    <a:pos x="131" y="43"/>
                  </a:cxn>
                  <a:cxn ang="0">
                    <a:pos x="117" y="38"/>
                  </a:cxn>
                  <a:cxn ang="0">
                    <a:pos x="104" y="36"/>
                  </a:cxn>
                  <a:cxn ang="0">
                    <a:pos x="90" y="36"/>
                  </a:cxn>
                  <a:cxn ang="0">
                    <a:pos x="78" y="36"/>
                  </a:cxn>
                  <a:cxn ang="0">
                    <a:pos x="69" y="33"/>
                  </a:cxn>
                  <a:cxn ang="0">
                    <a:pos x="64" y="29"/>
                  </a:cxn>
                  <a:cxn ang="0">
                    <a:pos x="50" y="27"/>
                  </a:cxn>
                  <a:cxn ang="0">
                    <a:pos x="37" y="26"/>
                  </a:cxn>
                  <a:cxn ang="0">
                    <a:pos x="24" y="24"/>
                  </a:cxn>
                  <a:cxn ang="0">
                    <a:pos x="16" y="24"/>
                  </a:cxn>
                  <a:cxn ang="0">
                    <a:pos x="7" y="15"/>
                  </a:cxn>
                  <a:cxn ang="0">
                    <a:pos x="0" y="12"/>
                  </a:cxn>
                  <a:cxn ang="0">
                    <a:pos x="4" y="5"/>
                  </a:cxn>
                  <a:cxn ang="0">
                    <a:pos x="12" y="2"/>
                  </a:cxn>
                  <a:cxn ang="0">
                    <a:pos x="14" y="2"/>
                  </a:cxn>
                  <a:cxn ang="0">
                    <a:pos x="16" y="3"/>
                  </a:cxn>
                  <a:cxn ang="0">
                    <a:pos x="19" y="2"/>
                  </a:cxn>
                  <a:cxn ang="0">
                    <a:pos x="24" y="0"/>
                  </a:cxn>
                  <a:cxn ang="0">
                    <a:pos x="33" y="2"/>
                  </a:cxn>
                  <a:cxn ang="0">
                    <a:pos x="43" y="8"/>
                  </a:cxn>
                  <a:cxn ang="0">
                    <a:pos x="52" y="14"/>
                  </a:cxn>
                  <a:cxn ang="0">
                    <a:pos x="64" y="17"/>
                  </a:cxn>
                  <a:cxn ang="0">
                    <a:pos x="71" y="12"/>
                  </a:cxn>
                  <a:cxn ang="0">
                    <a:pos x="78" y="8"/>
                  </a:cxn>
                  <a:cxn ang="0">
                    <a:pos x="90" y="14"/>
                  </a:cxn>
                  <a:cxn ang="0">
                    <a:pos x="102" y="19"/>
                  </a:cxn>
                  <a:cxn ang="0">
                    <a:pos x="116" y="15"/>
                  </a:cxn>
                  <a:cxn ang="0">
                    <a:pos x="121" y="15"/>
                  </a:cxn>
                  <a:cxn ang="0">
                    <a:pos x="117" y="17"/>
                  </a:cxn>
                  <a:cxn ang="0">
                    <a:pos x="110" y="19"/>
                  </a:cxn>
                  <a:cxn ang="0">
                    <a:pos x="104" y="19"/>
                  </a:cxn>
                  <a:cxn ang="0">
                    <a:pos x="102" y="19"/>
                  </a:cxn>
                  <a:cxn ang="0">
                    <a:pos x="110" y="24"/>
                  </a:cxn>
                  <a:cxn ang="0">
                    <a:pos x="123" y="26"/>
                  </a:cxn>
                  <a:cxn ang="0">
                    <a:pos x="124" y="27"/>
                  </a:cxn>
                  <a:cxn ang="0">
                    <a:pos x="128" y="31"/>
                  </a:cxn>
                  <a:cxn ang="0">
                    <a:pos x="133" y="31"/>
                  </a:cxn>
                  <a:cxn ang="0">
                    <a:pos x="140" y="33"/>
                  </a:cxn>
                  <a:cxn ang="0">
                    <a:pos x="143" y="33"/>
                  </a:cxn>
                  <a:cxn ang="0">
                    <a:pos x="147" y="36"/>
                  </a:cxn>
                  <a:cxn ang="0">
                    <a:pos x="143" y="38"/>
                  </a:cxn>
                  <a:cxn ang="0">
                    <a:pos x="141" y="41"/>
                  </a:cxn>
                </a:cxnLst>
                <a:rect l="0" t="0" r="r" b="b"/>
                <a:pathLst>
                  <a:path w="147" h="43">
                    <a:moveTo>
                      <a:pt x="141" y="41"/>
                    </a:moveTo>
                    <a:lnTo>
                      <a:pt x="136" y="39"/>
                    </a:lnTo>
                    <a:lnTo>
                      <a:pt x="131" y="38"/>
                    </a:lnTo>
                    <a:lnTo>
                      <a:pt x="129" y="39"/>
                    </a:lnTo>
                    <a:lnTo>
                      <a:pt x="131" y="43"/>
                    </a:lnTo>
                    <a:lnTo>
                      <a:pt x="117" y="38"/>
                    </a:lnTo>
                    <a:lnTo>
                      <a:pt x="104" y="36"/>
                    </a:lnTo>
                    <a:lnTo>
                      <a:pt x="90" y="36"/>
                    </a:lnTo>
                    <a:lnTo>
                      <a:pt x="78" y="36"/>
                    </a:lnTo>
                    <a:lnTo>
                      <a:pt x="69" y="33"/>
                    </a:lnTo>
                    <a:lnTo>
                      <a:pt x="64" y="29"/>
                    </a:lnTo>
                    <a:lnTo>
                      <a:pt x="50" y="27"/>
                    </a:lnTo>
                    <a:lnTo>
                      <a:pt x="37" y="26"/>
                    </a:lnTo>
                    <a:lnTo>
                      <a:pt x="24" y="24"/>
                    </a:lnTo>
                    <a:lnTo>
                      <a:pt x="16" y="24"/>
                    </a:lnTo>
                    <a:lnTo>
                      <a:pt x="7" y="15"/>
                    </a:lnTo>
                    <a:lnTo>
                      <a:pt x="0" y="12"/>
                    </a:lnTo>
                    <a:lnTo>
                      <a:pt x="4" y="5"/>
                    </a:lnTo>
                    <a:lnTo>
                      <a:pt x="12" y="2"/>
                    </a:lnTo>
                    <a:lnTo>
                      <a:pt x="14" y="2"/>
                    </a:lnTo>
                    <a:lnTo>
                      <a:pt x="16" y="3"/>
                    </a:lnTo>
                    <a:lnTo>
                      <a:pt x="19" y="2"/>
                    </a:lnTo>
                    <a:lnTo>
                      <a:pt x="24" y="0"/>
                    </a:lnTo>
                    <a:lnTo>
                      <a:pt x="33" y="2"/>
                    </a:lnTo>
                    <a:lnTo>
                      <a:pt x="43" y="8"/>
                    </a:lnTo>
                    <a:lnTo>
                      <a:pt x="52" y="14"/>
                    </a:lnTo>
                    <a:lnTo>
                      <a:pt x="64" y="17"/>
                    </a:lnTo>
                    <a:lnTo>
                      <a:pt x="71" y="12"/>
                    </a:lnTo>
                    <a:lnTo>
                      <a:pt x="78" y="8"/>
                    </a:lnTo>
                    <a:lnTo>
                      <a:pt x="90" y="14"/>
                    </a:lnTo>
                    <a:lnTo>
                      <a:pt x="102" y="19"/>
                    </a:lnTo>
                    <a:lnTo>
                      <a:pt x="116" y="15"/>
                    </a:lnTo>
                    <a:lnTo>
                      <a:pt x="121" y="15"/>
                    </a:lnTo>
                    <a:lnTo>
                      <a:pt x="117" y="17"/>
                    </a:lnTo>
                    <a:lnTo>
                      <a:pt x="110" y="19"/>
                    </a:lnTo>
                    <a:lnTo>
                      <a:pt x="104" y="19"/>
                    </a:lnTo>
                    <a:lnTo>
                      <a:pt x="102" y="19"/>
                    </a:lnTo>
                    <a:lnTo>
                      <a:pt x="110" y="24"/>
                    </a:lnTo>
                    <a:lnTo>
                      <a:pt x="123" y="26"/>
                    </a:lnTo>
                    <a:lnTo>
                      <a:pt x="124" y="27"/>
                    </a:lnTo>
                    <a:lnTo>
                      <a:pt x="128" y="31"/>
                    </a:lnTo>
                    <a:lnTo>
                      <a:pt x="133" y="31"/>
                    </a:lnTo>
                    <a:lnTo>
                      <a:pt x="140" y="33"/>
                    </a:lnTo>
                    <a:lnTo>
                      <a:pt x="143" y="33"/>
                    </a:lnTo>
                    <a:lnTo>
                      <a:pt x="147" y="36"/>
                    </a:lnTo>
                    <a:lnTo>
                      <a:pt x="143" y="38"/>
                    </a:lnTo>
                    <a:lnTo>
                      <a:pt x="141"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1" name="Freeform 200"/>
              <p:cNvSpPr>
                <a:spLocks/>
              </p:cNvSpPr>
              <p:nvPr/>
            </p:nvSpPr>
            <p:spPr bwMode="auto">
              <a:xfrm>
                <a:off x="7060407" y="4203700"/>
                <a:ext cx="69850" cy="17462"/>
              </a:xfrm>
              <a:custGeom>
                <a:avLst/>
                <a:gdLst/>
                <a:ahLst/>
                <a:cxnLst>
                  <a:cxn ang="0">
                    <a:pos x="29" y="11"/>
                  </a:cxn>
                  <a:cxn ang="0">
                    <a:pos x="18" y="11"/>
                  </a:cxn>
                  <a:cxn ang="0">
                    <a:pos x="10" y="11"/>
                  </a:cxn>
                  <a:cxn ang="0">
                    <a:pos x="3" y="9"/>
                  </a:cxn>
                  <a:cxn ang="0">
                    <a:pos x="0" y="5"/>
                  </a:cxn>
                  <a:cxn ang="0">
                    <a:pos x="1" y="2"/>
                  </a:cxn>
                  <a:cxn ang="0">
                    <a:pos x="8" y="2"/>
                  </a:cxn>
                  <a:cxn ang="0">
                    <a:pos x="18" y="4"/>
                  </a:cxn>
                  <a:cxn ang="0">
                    <a:pos x="29" y="5"/>
                  </a:cxn>
                  <a:cxn ang="0">
                    <a:pos x="36" y="4"/>
                  </a:cxn>
                  <a:cxn ang="0">
                    <a:pos x="44" y="0"/>
                  </a:cxn>
                  <a:cxn ang="0">
                    <a:pos x="37" y="7"/>
                  </a:cxn>
                  <a:cxn ang="0">
                    <a:pos x="29" y="11"/>
                  </a:cxn>
                </a:cxnLst>
                <a:rect l="0" t="0" r="r" b="b"/>
                <a:pathLst>
                  <a:path w="44" h="11">
                    <a:moveTo>
                      <a:pt x="29" y="11"/>
                    </a:moveTo>
                    <a:lnTo>
                      <a:pt x="18" y="11"/>
                    </a:lnTo>
                    <a:lnTo>
                      <a:pt x="10" y="11"/>
                    </a:lnTo>
                    <a:lnTo>
                      <a:pt x="3" y="9"/>
                    </a:lnTo>
                    <a:lnTo>
                      <a:pt x="0" y="5"/>
                    </a:lnTo>
                    <a:lnTo>
                      <a:pt x="1" y="2"/>
                    </a:lnTo>
                    <a:lnTo>
                      <a:pt x="8" y="2"/>
                    </a:lnTo>
                    <a:lnTo>
                      <a:pt x="18" y="4"/>
                    </a:lnTo>
                    <a:lnTo>
                      <a:pt x="29" y="5"/>
                    </a:lnTo>
                    <a:lnTo>
                      <a:pt x="36" y="4"/>
                    </a:lnTo>
                    <a:lnTo>
                      <a:pt x="44" y="0"/>
                    </a:lnTo>
                    <a:lnTo>
                      <a:pt x="37" y="7"/>
                    </a:lnTo>
                    <a:lnTo>
                      <a:pt x="29"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2" name="Freeform 201"/>
              <p:cNvSpPr>
                <a:spLocks/>
              </p:cNvSpPr>
              <p:nvPr/>
            </p:nvSpPr>
            <p:spPr bwMode="auto">
              <a:xfrm>
                <a:off x="6988969" y="4210050"/>
                <a:ext cx="49213" cy="15875"/>
              </a:xfrm>
              <a:custGeom>
                <a:avLst/>
                <a:gdLst/>
                <a:ahLst/>
                <a:cxnLst>
                  <a:cxn ang="0">
                    <a:pos x="31" y="7"/>
                  </a:cxn>
                  <a:cxn ang="0">
                    <a:pos x="27" y="7"/>
                  </a:cxn>
                  <a:cxn ang="0">
                    <a:pos x="22" y="5"/>
                  </a:cxn>
                  <a:cxn ang="0">
                    <a:pos x="15" y="7"/>
                  </a:cxn>
                  <a:cxn ang="0">
                    <a:pos x="10" y="10"/>
                  </a:cxn>
                  <a:cxn ang="0">
                    <a:pos x="3" y="8"/>
                  </a:cxn>
                  <a:cxn ang="0">
                    <a:pos x="0" y="7"/>
                  </a:cxn>
                  <a:cxn ang="0">
                    <a:pos x="2" y="1"/>
                  </a:cxn>
                  <a:cxn ang="0">
                    <a:pos x="8" y="1"/>
                  </a:cxn>
                  <a:cxn ang="0">
                    <a:pos x="14" y="1"/>
                  </a:cxn>
                  <a:cxn ang="0">
                    <a:pos x="19" y="3"/>
                  </a:cxn>
                  <a:cxn ang="0">
                    <a:pos x="19" y="0"/>
                  </a:cxn>
                  <a:cxn ang="0">
                    <a:pos x="31" y="0"/>
                  </a:cxn>
                  <a:cxn ang="0">
                    <a:pos x="31" y="3"/>
                  </a:cxn>
                  <a:cxn ang="0">
                    <a:pos x="31" y="7"/>
                  </a:cxn>
                </a:cxnLst>
                <a:rect l="0" t="0" r="r" b="b"/>
                <a:pathLst>
                  <a:path w="31" h="10">
                    <a:moveTo>
                      <a:pt x="31" y="7"/>
                    </a:moveTo>
                    <a:lnTo>
                      <a:pt x="27" y="7"/>
                    </a:lnTo>
                    <a:lnTo>
                      <a:pt x="22" y="5"/>
                    </a:lnTo>
                    <a:lnTo>
                      <a:pt x="15" y="7"/>
                    </a:lnTo>
                    <a:lnTo>
                      <a:pt x="10" y="10"/>
                    </a:lnTo>
                    <a:lnTo>
                      <a:pt x="3" y="8"/>
                    </a:lnTo>
                    <a:lnTo>
                      <a:pt x="0" y="7"/>
                    </a:lnTo>
                    <a:lnTo>
                      <a:pt x="2" y="1"/>
                    </a:lnTo>
                    <a:lnTo>
                      <a:pt x="8" y="1"/>
                    </a:lnTo>
                    <a:lnTo>
                      <a:pt x="14" y="1"/>
                    </a:lnTo>
                    <a:lnTo>
                      <a:pt x="19" y="3"/>
                    </a:lnTo>
                    <a:lnTo>
                      <a:pt x="19" y="0"/>
                    </a:lnTo>
                    <a:lnTo>
                      <a:pt x="31" y="0"/>
                    </a:lnTo>
                    <a:lnTo>
                      <a:pt x="31" y="3"/>
                    </a:lnTo>
                    <a:lnTo>
                      <a:pt x="31"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3" name="Freeform 202"/>
              <p:cNvSpPr>
                <a:spLocks/>
              </p:cNvSpPr>
              <p:nvPr/>
            </p:nvSpPr>
            <p:spPr bwMode="auto">
              <a:xfrm>
                <a:off x="7039769" y="4229100"/>
                <a:ext cx="36513" cy="26987"/>
              </a:xfrm>
              <a:custGeom>
                <a:avLst/>
                <a:gdLst/>
                <a:ahLst/>
                <a:cxnLst>
                  <a:cxn ang="0">
                    <a:pos x="18" y="17"/>
                  </a:cxn>
                  <a:cxn ang="0">
                    <a:pos x="14" y="14"/>
                  </a:cxn>
                  <a:cxn ang="0">
                    <a:pos x="14" y="10"/>
                  </a:cxn>
                  <a:cxn ang="0">
                    <a:pos x="4" y="8"/>
                  </a:cxn>
                  <a:cxn ang="0">
                    <a:pos x="0" y="5"/>
                  </a:cxn>
                  <a:cxn ang="0">
                    <a:pos x="4" y="0"/>
                  </a:cxn>
                  <a:cxn ang="0">
                    <a:pos x="11" y="1"/>
                  </a:cxn>
                  <a:cxn ang="0">
                    <a:pos x="13" y="1"/>
                  </a:cxn>
                  <a:cxn ang="0">
                    <a:pos x="16" y="1"/>
                  </a:cxn>
                  <a:cxn ang="0">
                    <a:pos x="19" y="7"/>
                  </a:cxn>
                  <a:cxn ang="0">
                    <a:pos x="23" y="14"/>
                  </a:cxn>
                  <a:cxn ang="0">
                    <a:pos x="21" y="15"/>
                  </a:cxn>
                  <a:cxn ang="0">
                    <a:pos x="19" y="17"/>
                  </a:cxn>
                  <a:cxn ang="0">
                    <a:pos x="18" y="17"/>
                  </a:cxn>
                </a:cxnLst>
                <a:rect l="0" t="0" r="r" b="b"/>
                <a:pathLst>
                  <a:path w="23" h="17">
                    <a:moveTo>
                      <a:pt x="18" y="17"/>
                    </a:moveTo>
                    <a:lnTo>
                      <a:pt x="14" y="14"/>
                    </a:lnTo>
                    <a:lnTo>
                      <a:pt x="14" y="10"/>
                    </a:lnTo>
                    <a:lnTo>
                      <a:pt x="4" y="8"/>
                    </a:lnTo>
                    <a:lnTo>
                      <a:pt x="0" y="5"/>
                    </a:lnTo>
                    <a:lnTo>
                      <a:pt x="4" y="0"/>
                    </a:lnTo>
                    <a:lnTo>
                      <a:pt x="11" y="1"/>
                    </a:lnTo>
                    <a:lnTo>
                      <a:pt x="13" y="1"/>
                    </a:lnTo>
                    <a:lnTo>
                      <a:pt x="16" y="1"/>
                    </a:lnTo>
                    <a:lnTo>
                      <a:pt x="19" y="7"/>
                    </a:lnTo>
                    <a:lnTo>
                      <a:pt x="23" y="14"/>
                    </a:lnTo>
                    <a:lnTo>
                      <a:pt x="21" y="15"/>
                    </a:lnTo>
                    <a:lnTo>
                      <a:pt x="19" y="17"/>
                    </a:lnTo>
                    <a:lnTo>
                      <a:pt x="18"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4" name="Freeform 203"/>
              <p:cNvSpPr>
                <a:spLocks/>
              </p:cNvSpPr>
              <p:nvPr/>
            </p:nvSpPr>
            <p:spPr bwMode="auto">
              <a:xfrm>
                <a:off x="6971507" y="4206875"/>
                <a:ext cx="14288" cy="14287"/>
              </a:xfrm>
              <a:custGeom>
                <a:avLst/>
                <a:gdLst/>
                <a:ahLst/>
                <a:cxnLst>
                  <a:cxn ang="0">
                    <a:pos x="0" y="0"/>
                  </a:cxn>
                  <a:cxn ang="0">
                    <a:pos x="4" y="0"/>
                  </a:cxn>
                  <a:cxn ang="0">
                    <a:pos x="6" y="2"/>
                  </a:cxn>
                  <a:cxn ang="0">
                    <a:pos x="9" y="3"/>
                  </a:cxn>
                  <a:cxn ang="0">
                    <a:pos x="6" y="7"/>
                  </a:cxn>
                  <a:cxn ang="0">
                    <a:pos x="4" y="9"/>
                  </a:cxn>
                  <a:cxn ang="0">
                    <a:pos x="0" y="7"/>
                  </a:cxn>
                  <a:cxn ang="0">
                    <a:pos x="0" y="5"/>
                  </a:cxn>
                  <a:cxn ang="0">
                    <a:pos x="0" y="2"/>
                  </a:cxn>
                  <a:cxn ang="0">
                    <a:pos x="0" y="0"/>
                  </a:cxn>
                </a:cxnLst>
                <a:rect l="0" t="0" r="r" b="b"/>
                <a:pathLst>
                  <a:path w="9" h="9">
                    <a:moveTo>
                      <a:pt x="0" y="0"/>
                    </a:moveTo>
                    <a:lnTo>
                      <a:pt x="4" y="0"/>
                    </a:lnTo>
                    <a:lnTo>
                      <a:pt x="6" y="2"/>
                    </a:lnTo>
                    <a:lnTo>
                      <a:pt x="9" y="3"/>
                    </a:lnTo>
                    <a:lnTo>
                      <a:pt x="6" y="7"/>
                    </a:lnTo>
                    <a:lnTo>
                      <a:pt x="4" y="9"/>
                    </a:lnTo>
                    <a:lnTo>
                      <a:pt x="0" y="7"/>
                    </a:lnTo>
                    <a:lnTo>
                      <a:pt x="0" y="5"/>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5" name="Freeform 204"/>
              <p:cNvSpPr>
                <a:spLocks/>
              </p:cNvSpPr>
              <p:nvPr/>
            </p:nvSpPr>
            <p:spPr bwMode="auto">
              <a:xfrm>
                <a:off x="7141369" y="4210050"/>
                <a:ext cx="82550" cy="46037"/>
              </a:xfrm>
              <a:custGeom>
                <a:avLst/>
                <a:gdLst/>
                <a:ahLst/>
                <a:cxnLst>
                  <a:cxn ang="0">
                    <a:pos x="22" y="13"/>
                  </a:cxn>
                  <a:cxn ang="0">
                    <a:pos x="21" y="15"/>
                  </a:cxn>
                  <a:cxn ang="0">
                    <a:pos x="21" y="20"/>
                  </a:cxn>
                  <a:cxn ang="0">
                    <a:pos x="14" y="26"/>
                  </a:cxn>
                  <a:cxn ang="0">
                    <a:pos x="4" y="29"/>
                  </a:cxn>
                  <a:cxn ang="0">
                    <a:pos x="0" y="27"/>
                  </a:cxn>
                  <a:cxn ang="0">
                    <a:pos x="0" y="26"/>
                  </a:cxn>
                  <a:cxn ang="0">
                    <a:pos x="5" y="13"/>
                  </a:cxn>
                  <a:cxn ang="0">
                    <a:pos x="17" y="12"/>
                  </a:cxn>
                  <a:cxn ang="0">
                    <a:pos x="19" y="8"/>
                  </a:cxn>
                  <a:cxn ang="0">
                    <a:pos x="21" y="7"/>
                  </a:cxn>
                  <a:cxn ang="0">
                    <a:pos x="26" y="1"/>
                  </a:cxn>
                  <a:cxn ang="0">
                    <a:pos x="36" y="1"/>
                  </a:cxn>
                  <a:cxn ang="0">
                    <a:pos x="45" y="0"/>
                  </a:cxn>
                  <a:cxn ang="0">
                    <a:pos x="52" y="3"/>
                  </a:cxn>
                  <a:cxn ang="0">
                    <a:pos x="45" y="7"/>
                  </a:cxn>
                  <a:cxn ang="0">
                    <a:pos x="38" y="10"/>
                  </a:cxn>
                  <a:cxn ang="0">
                    <a:pos x="29" y="12"/>
                  </a:cxn>
                  <a:cxn ang="0">
                    <a:pos x="22" y="13"/>
                  </a:cxn>
                </a:cxnLst>
                <a:rect l="0" t="0" r="r" b="b"/>
                <a:pathLst>
                  <a:path w="52" h="29">
                    <a:moveTo>
                      <a:pt x="22" y="13"/>
                    </a:moveTo>
                    <a:lnTo>
                      <a:pt x="21" y="15"/>
                    </a:lnTo>
                    <a:lnTo>
                      <a:pt x="21" y="20"/>
                    </a:lnTo>
                    <a:lnTo>
                      <a:pt x="14" y="26"/>
                    </a:lnTo>
                    <a:lnTo>
                      <a:pt x="4" y="29"/>
                    </a:lnTo>
                    <a:lnTo>
                      <a:pt x="0" y="27"/>
                    </a:lnTo>
                    <a:lnTo>
                      <a:pt x="0" y="26"/>
                    </a:lnTo>
                    <a:lnTo>
                      <a:pt x="5" y="13"/>
                    </a:lnTo>
                    <a:lnTo>
                      <a:pt x="17" y="12"/>
                    </a:lnTo>
                    <a:lnTo>
                      <a:pt x="19" y="8"/>
                    </a:lnTo>
                    <a:lnTo>
                      <a:pt x="21" y="7"/>
                    </a:lnTo>
                    <a:lnTo>
                      <a:pt x="26" y="1"/>
                    </a:lnTo>
                    <a:lnTo>
                      <a:pt x="36" y="1"/>
                    </a:lnTo>
                    <a:lnTo>
                      <a:pt x="45" y="0"/>
                    </a:lnTo>
                    <a:lnTo>
                      <a:pt x="52" y="3"/>
                    </a:lnTo>
                    <a:lnTo>
                      <a:pt x="45" y="7"/>
                    </a:lnTo>
                    <a:lnTo>
                      <a:pt x="38" y="10"/>
                    </a:lnTo>
                    <a:lnTo>
                      <a:pt x="29" y="12"/>
                    </a:lnTo>
                    <a:lnTo>
                      <a:pt x="22"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6" name="Freeform 205"/>
              <p:cNvSpPr>
                <a:spLocks/>
              </p:cNvSpPr>
              <p:nvPr/>
            </p:nvSpPr>
            <p:spPr bwMode="auto">
              <a:xfrm>
                <a:off x="7384257" y="4143375"/>
                <a:ext cx="14288" cy="33337"/>
              </a:xfrm>
              <a:custGeom>
                <a:avLst/>
                <a:gdLst/>
                <a:ahLst/>
                <a:cxnLst>
                  <a:cxn ang="0">
                    <a:pos x="7" y="0"/>
                  </a:cxn>
                  <a:cxn ang="0">
                    <a:pos x="7" y="2"/>
                  </a:cxn>
                  <a:cxn ang="0">
                    <a:pos x="9" y="6"/>
                  </a:cxn>
                  <a:cxn ang="0">
                    <a:pos x="7" y="9"/>
                  </a:cxn>
                  <a:cxn ang="0">
                    <a:pos x="5" y="11"/>
                  </a:cxn>
                  <a:cxn ang="0">
                    <a:pos x="5" y="18"/>
                  </a:cxn>
                  <a:cxn ang="0">
                    <a:pos x="2" y="21"/>
                  </a:cxn>
                  <a:cxn ang="0">
                    <a:pos x="0" y="19"/>
                  </a:cxn>
                  <a:cxn ang="0">
                    <a:pos x="0" y="18"/>
                  </a:cxn>
                  <a:cxn ang="0">
                    <a:pos x="2" y="11"/>
                  </a:cxn>
                  <a:cxn ang="0">
                    <a:pos x="4" y="9"/>
                  </a:cxn>
                  <a:cxn ang="0">
                    <a:pos x="4" y="2"/>
                  </a:cxn>
                  <a:cxn ang="0">
                    <a:pos x="7" y="0"/>
                  </a:cxn>
                </a:cxnLst>
                <a:rect l="0" t="0" r="r" b="b"/>
                <a:pathLst>
                  <a:path w="9" h="21">
                    <a:moveTo>
                      <a:pt x="7" y="0"/>
                    </a:moveTo>
                    <a:lnTo>
                      <a:pt x="7" y="2"/>
                    </a:lnTo>
                    <a:lnTo>
                      <a:pt x="9" y="6"/>
                    </a:lnTo>
                    <a:lnTo>
                      <a:pt x="7" y="9"/>
                    </a:lnTo>
                    <a:lnTo>
                      <a:pt x="5" y="11"/>
                    </a:lnTo>
                    <a:lnTo>
                      <a:pt x="5" y="18"/>
                    </a:lnTo>
                    <a:lnTo>
                      <a:pt x="2" y="21"/>
                    </a:lnTo>
                    <a:lnTo>
                      <a:pt x="0" y="19"/>
                    </a:lnTo>
                    <a:lnTo>
                      <a:pt x="0" y="18"/>
                    </a:lnTo>
                    <a:lnTo>
                      <a:pt x="2" y="11"/>
                    </a:lnTo>
                    <a:lnTo>
                      <a:pt x="4" y="9"/>
                    </a:lnTo>
                    <a:lnTo>
                      <a:pt x="4" y="2"/>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7" name="Freeform 206"/>
              <p:cNvSpPr>
                <a:spLocks/>
              </p:cNvSpPr>
              <p:nvPr/>
            </p:nvSpPr>
            <p:spPr bwMode="auto">
              <a:xfrm>
                <a:off x="7201694" y="4084638"/>
                <a:ext cx="22225" cy="20637"/>
              </a:xfrm>
              <a:custGeom>
                <a:avLst/>
                <a:gdLst/>
                <a:ahLst/>
                <a:cxnLst>
                  <a:cxn ang="0">
                    <a:pos x="14" y="7"/>
                  </a:cxn>
                  <a:cxn ang="0">
                    <a:pos x="10" y="10"/>
                  </a:cxn>
                  <a:cxn ang="0">
                    <a:pos x="9" y="13"/>
                  </a:cxn>
                  <a:cxn ang="0">
                    <a:pos x="2" y="10"/>
                  </a:cxn>
                  <a:cxn ang="0">
                    <a:pos x="0" y="3"/>
                  </a:cxn>
                  <a:cxn ang="0">
                    <a:pos x="2" y="0"/>
                  </a:cxn>
                  <a:cxn ang="0">
                    <a:pos x="7" y="0"/>
                  </a:cxn>
                  <a:cxn ang="0">
                    <a:pos x="10" y="1"/>
                  </a:cxn>
                  <a:cxn ang="0">
                    <a:pos x="14" y="7"/>
                  </a:cxn>
                </a:cxnLst>
                <a:rect l="0" t="0" r="r" b="b"/>
                <a:pathLst>
                  <a:path w="14" h="13">
                    <a:moveTo>
                      <a:pt x="14" y="7"/>
                    </a:moveTo>
                    <a:lnTo>
                      <a:pt x="10" y="10"/>
                    </a:lnTo>
                    <a:lnTo>
                      <a:pt x="9" y="13"/>
                    </a:lnTo>
                    <a:lnTo>
                      <a:pt x="2" y="10"/>
                    </a:lnTo>
                    <a:lnTo>
                      <a:pt x="0" y="3"/>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8" name="Freeform 207"/>
              <p:cNvSpPr>
                <a:spLocks/>
              </p:cNvSpPr>
              <p:nvPr/>
            </p:nvSpPr>
            <p:spPr bwMode="auto">
              <a:xfrm>
                <a:off x="7242969" y="4084638"/>
                <a:ext cx="65088" cy="19050"/>
              </a:xfrm>
              <a:custGeom>
                <a:avLst/>
                <a:gdLst/>
                <a:ahLst/>
                <a:cxnLst>
                  <a:cxn ang="0">
                    <a:pos x="36" y="1"/>
                  </a:cxn>
                  <a:cxn ang="0">
                    <a:pos x="38" y="5"/>
                  </a:cxn>
                  <a:cxn ang="0">
                    <a:pos x="41" y="10"/>
                  </a:cxn>
                  <a:cxn ang="0">
                    <a:pos x="39" y="10"/>
                  </a:cxn>
                  <a:cxn ang="0">
                    <a:pos x="38" y="12"/>
                  </a:cxn>
                  <a:cxn ang="0">
                    <a:pos x="29" y="8"/>
                  </a:cxn>
                  <a:cxn ang="0">
                    <a:pos x="20" y="7"/>
                  </a:cxn>
                  <a:cxn ang="0">
                    <a:pos x="14" y="7"/>
                  </a:cxn>
                  <a:cxn ang="0">
                    <a:pos x="8" y="7"/>
                  </a:cxn>
                  <a:cxn ang="0">
                    <a:pos x="3" y="5"/>
                  </a:cxn>
                  <a:cxn ang="0">
                    <a:pos x="0" y="3"/>
                  </a:cxn>
                  <a:cxn ang="0">
                    <a:pos x="0" y="0"/>
                  </a:cxn>
                  <a:cxn ang="0">
                    <a:pos x="3" y="0"/>
                  </a:cxn>
                  <a:cxn ang="0">
                    <a:pos x="26" y="0"/>
                  </a:cxn>
                  <a:cxn ang="0">
                    <a:pos x="29" y="1"/>
                  </a:cxn>
                  <a:cxn ang="0">
                    <a:pos x="34" y="1"/>
                  </a:cxn>
                  <a:cxn ang="0">
                    <a:pos x="36" y="1"/>
                  </a:cxn>
                </a:cxnLst>
                <a:rect l="0" t="0" r="r" b="b"/>
                <a:pathLst>
                  <a:path w="41" h="12">
                    <a:moveTo>
                      <a:pt x="36" y="1"/>
                    </a:moveTo>
                    <a:lnTo>
                      <a:pt x="38" y="5"/>
                    </a:lnTo>
                    <a:lnTo>
                      <a:pt x="41" y="10"/>
                    </a:lnTo>
                    <a:lnTo>
                      <a:pt x="39" y="10"/>
                    </a:lnTo>
                    <a:lnTo>
                      <a:pt x="38" y="12"/>
                    </a:lnTo>
                    <a:lnTo>
                      <a:pt x="29" y="8"/>
                    </a:lnTo>
                    <a:lnTo>
                      <a:pt x="20" y="7"/>
                    </a:lnTo>
                    <a:lnTo>
                      <a:pt x="14" y="7"/>
                    </a:lnTo>
                    <a:lnTo>
                      <a:pt x="8" y="7"/>
                    </a:lnTo>
                    <a:lnTo>
                      <a:pt x="3" y="5"/>
                    </a:lnTo>
                    <a:lnTo>
                      <a:pt x="0" y="3"/>
                    </a:lnTo>
                    <a:lnTo>
                      <a:pt x="0" y="0"/>
                    </a:lnTo>
                    <a:lnTo>
                      <a:pt x="3" y="0"/>
                    </a:lnTo>
                    <a:lnTo>
                      <a:pt x="26" y="0"/>
                    </a:lnTo>
                    <a:lnTo>
                      <a:pt x="29" y="1"/>
                    </a:lnTo>
                    <a:lnTo>
                      <a:pt x="34" y="1"/>
                    </a:lnTo>
                    <a:lnTo>
                      <a:pt x="36"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9" name="Freeform 208"/>
              <p:cNvSpPr>
                <a:spLocks/>
              </p:cNvSpPr>
              <p:nvPr/>
            </p:nvSpPr>
            <p:spPr bwMode="auto">
              <a:xfrm>
                <a:off x="7231857" y="3963988"/>
                <a:ext cx="26988" cy="63500"/>
              </a:xfrm>
              <a:custGeom>
                <a:avLst/>
                <a:gdLst/>
                <a:ahLst/>
                <a:cxnLst>
                  <a:cxn ang="0">
                    <a:pos x="5" y="31"/>
                  </a:cxn>
                  <a:cxn ang="0">
                    <a:pos x="5" y="27"/>
                  </a:cxn>
                  <a:cxn ang="0">
                    <a:pos x="10" y="27"/>
                  </a:cxn>
                  <a:cxn ang="0">
                    <a:pos x="17" y="27"/>
                  </a:cxn>
                  <a:cxn ang="0">
                    <a:pos x="14" y="22"/>
                  </a:cxn>
                  <a:cxn ang="0">
                    <a:pos x="12" y="19"/>
                  </a:cxn>
                  <a:cxn ang="0">
                    <a:pos x="14" y="15"/>
                  </a:cxn>
                  <a:cxn ang="0">
                    <a:pos x="17" y="12"/>
                  </a:cxn>
                  <a:cxn ang="0">
                    <a:pos x="7" y="7"/>
                  </a:cxn>
                  <a:cxn ang="0">
                    <a:pos x="5" y="0"/>
                  </a:cxn>
                  <a:cxn ang="0">
                    <a:pos x="0" y="3"/>
                  </a:cxn>
                  <a:cxn ang="0">
                    <a:pos x="0" y="10"/>
                  </a:cxn>
                  <a:cxn ang="0">
                    <a:pos x="2" y="15"/>
                  </a:cxn>
                  <a:cxn ang="0">
                    <a:pos x="3" y="24"/>
                  </a:cxn>
                  <a:cxn ang="0">
                    <a:pos x="3" y="27"/>
                  </a:cxn>
                  <a:cxn ang="0">
                    <a:pos x="3" y="31"/>
                  </a:cxn>
                  <a:cxn ang="0">
                    <a:pos x="3" y="34"/>
                  </a:cxn>
                  <a:cxn ang="0">
                    <a:pos x="10" y="40"/>
                  </a:cxn>
                  <a:cxn ang="0">
                    <a:pos x="7" y="34"/>
                  </a:cxn>
                  <a:cxn ang="0">
                    <a:pos x="5" y="31"/>
                  </a:cxn>
                </a:cxnLst>
                <a:rect l="0" t="0" r="r" b="b"/>
                <a:pathLst>
                  <a:path w="17" h="40">
                    <a:moveTo>
                      <a:pt x="5" y="31"/>
                    </a:moveTo>
                    <a:lnTo>
                      <a:pt x="5" y="27"/>
                    </a:lnTo>
                    <a:lnTo>
                      <a:pt x="10" y="27"/>
                    </a:lnTo>
                    <a:lnTo>
                      <a:pt x="17" y="27"/>
                    </a:lnTo>
                    <a:lnTo>
                      <a:pt x="14" y="22"/>
                    </a:lnTo>
                    <a:lnTo>
                      <a:pt x="12" y="19"/>
                    </a:lnTo>
                    <a:lnTo>
                      <a:pt x="14" y="15"/>
                    </a:lnTo>
                    <a:lnTo>
                      <a:pt x="17" y="12"/>
                    </a:lnTo>
                    <a:lnTo>
                      <a:pt x="7" y="7"/>
                    </a:lnTo>
                    <a:lnTo>
                      <a:pt x="5" y="0"/>
                    </a:lnTo>
                    <a:lnTo>
                      <a:pt x="0" y="3"/>
                    </a:lnTo>
                    <a:lnTo>
                      <a:pt x="0" y="10"/>
                    </a:lnTo>
                    <a:lnTo>
                      <a:pt x="2" y="15"/>
                    </a:lnTo>
                    <a:lnTo>
                      <a:pt x="3" y="24"/>
                    </a:lnTo>
                    <a:lnTo>
                      <a:pt x="3" y="27"/>
                    </a:lnTo>
                    <a:lnTo>
                      <a:pt x="3" y="31"/>
                    </a:lnTo>
                    <a:lnTo>
                      <a:pt x="3" y="34"/>
                    </a:lnTo>
                    <a:lnTo>
                      <a:pt x="10" y="40"/>
                    </a:lnTo>
                    <a:lnTo>
                      <a:pt x="7" y="34"/>
                    </a:lnTo>
                    <a:lnTo>
                      <a:pt x="5"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50" name="Freeform 209"/>
              <p:cNvSpPr>
                <a:spLocks/>
              </p:cNvSpPr>
              <p:nvPr/>
            </p:nvSpPr>
            <p:spPr bwMode="auto">
              <a:xfrm>
                <a:off x="7717632" y="4111625"/>
                <a:ext cx="90488" cy="50800"/>
              </a:xfrm>
              <a:custGeom>
                <a:avLst/>
                <a:gdLst/>
                <a:ahLst/>
                <a:cxnLst>
                  <a:cxn ang="0">
                    <a:pos x="16" y="31"/>
                  </a:cxn>
                  <a:cxn ang="0">
                    <a:pos x="5" y="26"/>
                  </a:cxn>
                  <a:cxn ang="0">
                    <a:pos x="0" y="20"/>
                  </a:cxn>
                  <a:cxn ang="0">
                    <a:pos x="16" y="20"/>
                  </a:cxn>
                  <a:cxn ang="0">
                    <a:pos x="17" y="19"/>
                  </a:cxn>
                  <a:cxn ang="0">
                    <a:pos x="21" y="19"/>
                  </a:cxn>
                  <a:cxn ang="0">
                    <a:pos x="31" y="15"/>
                  </a:cxn>
                  <a:cxn ang="0">
                    <a:pos x="41" y="14"/>
                  </a:cxn>
                  <a:cxn ang="0">
                    <a:pos x="46" y="5"/>
                  </a:cxn>
                  <a:cxn ang="0">
                    <a:pos x="52" y="0"/>
                  </a:cxn>
                  <a:cxn ang="0">
                    <a:pos x="55" y="2"/>
                  </a:cxn>
                  <a:cxn ang="0">
                    <a:pos x="57" y="7"/>
                  </a:cxn>
                  <a:cxn ang="0">
                    <a:pos x="52" y="15"/>
                  </a:cxn>
                  <a:cxn ang="0">
                    <a:pos x="46" y="26"/>
                  </a:cxn>
                  <a:cxn ang="0">
                    <a:pos x="34" y="29"/>
                  </a:cxn>
                  <a:cxn ang="0">
                    <a:pos x="22" y="32"/>
                  </a:cxn>
                  <a:cxn ang="0">
                    <a:pos x="16" y="29"/>
                  </a:cxn>
                  <a:cxn ang="0">
                    <a:pos x="12" y="27"/>
                  </a:cxn>
                  <a:cxn ang="0">
                    <a:pos x="16" y="31"/>
                  </a:cxn>
                </a:cxnLst>
                <a:rect l="0" t="0" r="r" b="b"/>
                <a:pathLst>
                  <a:path w="57" h="32">
                    <a:moveTo>
                      <a:pt x="16" y="31"/>
                    </a:moveTo>
                    <a:lnTo>
                      <a:pt x="5" y="26"/>
                    </a:lnTo>
                    <a:lnTo>
                      <a:pt x="0" y="20"/>
                    </a:lnTo>
                    <a:lnTo>
                      <a:pt x="16" y="20"/>
                    </a:lnTo>
                    <a:lnTo>
                      <a:pt x="17" y="19"/>
                    </a:lnTo>
                    <a:lnTo>
                      <a:pt x="21" y="19"/>
                    </a:lnTo>
                    <a:lnTo>
                      <a:pt x="31" y="15"/>
                    </a:lnTo>
                    <a:lnTo>
                      <a:pt x="41" y="14"/>
                    </a:lnTo>
                    <a:lnTo>
                      <a:pt x="46" y="5"/>
                    </a:lnTo>
                    <a:lnTo>
                      <a:pt x="52" y="0"/>
                    </a:lnTo>
                    <a:lnTo>
                      <a:pt x="55" y="2"/>
                    </a:lnTo>
                    <a:lnTo>
                      <a:pt x="57" y="7"/>
                    </a:lnTo>
                    <a:lnTo>
                      <a:pt x="52" y="15"/>
                    </a:lnTo>
                    <a:lnTo>
                      <a:pt x="46" y="26"/>
                    </a:lnTo>
                    <a:lnTo>
                      <a:pt x="34" y="29"/>
                    </a:lnTo>
                    <a:lnTo>
                      <a:pt x="22" y="32"/>
                    </a:lnTo>
                    <a:lnTo>
                      <a:pt x="16" y="29"/>
                    </a:lnTo>
                    <a:lnTo>
                      <a:pt x="12" y="27"/>
                    </a:lnTo>
                    <a:lnTo>
                      <a:pt x="1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51" name="Freeform 210"/>
              <p:cNvSpPr>
                <a:spLocks/>
              </p:cNvSpPr>
              <p:nvPr/>
            </p:nvSpPr>
            <p:spPr bwMode="auto">
              <a:xfrm>
                <a:off x="7308057" y="4021138"/>
                <a:ext cx="466725" cy="242887"/>
              </a:xfrm>
              <a:custGeom>
                <a:avLst/>
                <a:gdLst/>
                <a:ahLst/>
                <a:cxnLst>
                  <a:cxn ang="0">
                    <a:pos x="162" y="40"/>
                  </a:cxn>
                  <a:cxn ang="0">
                    <a:pos x="191" y="48"/>
                  </a:cxn>
                  <a:cxn ang="0">
                    <a:pos x="205" y="57"/>
                  </a:cxn>
                  <a:cxn ang="0">
                    <a:pos x="225" y="74"/>
                  </a:cxn>
                  <a:cxn ang="0">
                    <a:pos x="249" y="89"/>
                  </a:cxn>
                  <a:cxn ang="0">
                    <a:pos x="243" y="103"/>
                  </a:cxn>
                  <a:cxn ang="0">
                    <a:pos x="256" y="124"/>
                  </a:cxn>
                  <a:cxn ang="0">
                    <a:pos x="270" y="131"/>
                  </a:cxn>
                  <a:cxn ang="0">
                    <a:pos x="279" y="136"/>
                  </a:cxn>
                  <a:cxn ang="0">
                    <a:pos x="287" y="143"/>
                  </a:cxn>
                  <a:cxn ang="0">
                    <a:pos x="287" y="153"/>
                  </a:cxn>
                  <a:cxn ang="0">
                    <a:pos x="279" y="150"/>
                  </a:cxn>
                  <a:cxn ang="0">
                    <a:pos x="248" y="141"/>
                  </a:cxn>
                  <a:cxn ang="0">
                    <a:pos x="237" y="129"/>
                  </a:cxn>
                  <a:cxn ang="0">
                    <a:pos x="210" y="107"/>
                  </a:cxn>
                  <a:cxn ang="0">
                    <a:pos x="189" y="108"/>
                  </a:cxn>
                  <a:cxn ang="0">
                    <a:pos x="181" y="124"/>
                  </a:cxn>
                  <a:cxn ang="0">
                    <a:pos x="160" y="131"/>
                  </a:cxn>
                  <a:cxn ang="0">
                    <a:pos x="138" y="115"/>
                  </a:cxn>
                  <a:cxn ang="0">
                    <a:pos x="122" y="117"/>
                  </a:cxn>
                  <a:cxn ang="0">
                    <a:pos x="103" y="114"/>
                  </a:cxn>
                  <a:cxn ang="0">
                    <a:pos x="110" y="91"/>
                  </a:cxn>
                  <a:cxn ang="0">
                    <a:pos x="100" y="72"/>
                  </a:cxn>
                  <a:cxn ang="0">
                    <a:pos x="81" y="64"/>
                  </a:cxn>
                  <a:cxn ang="0">
                    <a:pos x="62" y="62"/>
                  </a:cxn>
                  <a:cxn ang="0">
                    <a:pos x="46" y="50"/>
                  </a:cxn>
                  <a:cxn ang="0">
                    <a:pos x="38" y="53"/>
                  </a:cxn>
                  <a:cxn ang="0">
                    <a:pos x="29" y="55"/>
                  </a:cxn>
                  <a:cxn ang="0">
                    <a:pos x="21" y="40"/>
                  </a:cxn>
                  <a:cxn ang="0">
                    <a:pos x="31" y="33"/>
                  </a:cxn>
                  <a:cxn ang="0">
                    <a:pos x="40" y="29"/>
                  </a:cxn>
                  <a:cxn ang="0">
                    <a:pos x="21" y="29"/>
                  </a:cxn>
                  <a:cxn ang="0">
                    <a:pos x="16" y="24"/>
                  </a:cxn>
                  <a:cxn ang="0">
                    <a:pos x="2" y="9"/>
                  </a:cxn>
                  <a:cxn ang="0">
                    <a:pos x="26" y="0"/>
                  </a:cxn>
                  <a:cxn ang="0">
                    <a:pos x="50" y="19"/>
                  </a:cxn>
                  <a:cxn ang="0">
                    <a:pos x="57" y="33"/>
                  </a:cxn>
                  <a:cxn ang="0">
                    <a:pos x="72" y="38"/>
                  </a:cxn>
                  <a:cxn ang="0">
                    <a:pos x="89" y="28"/>
                  </a:cxn>
                  <a:cxn ang="0">
                    <a:pos x="108" y="17"/>
                  </a:cxn>
                  <a:cxn ang="0">
                    <a:pos x="126" y="29"/>
                  </a:cxn>
                  <a:cxn ang="0">
                    <a:pos x="148" y="33"/>
                  </a:cxn>
                </a:cxnLst>
                <a:rect l="0" t="0" r="r" b="b"/>
                <a:pathLst>
                  <a:path w="294" h="153">
                    <a:moveTo>
                      <a:pt x="146" y="31"/>
                    </a:moveTo>
                    <a:lnTo>
                      <a:pt x="151" y="34"/>
                    </a:lnTo>
                    <a:lnTo>
                      <a:pt x="162" y="40"/>
                    </a:lnTo>
                    <a:lnTo>
                      <a:pt x="172" y="43"/>
                    </a:lnTo>
                    <a:lnTo>
                      <a:pt x="184" y="45"/>
                    </a:lnTo>
                    <a:lnTo>
                      <a:pt x="191" y="48"/>
                    </a:lnTo>
                    <a:lnTo>
                      <a:pt x="198" y="52"/>
                    </a:lnTo>
                    <a:lnTo>
                      <a:pt x="200" y="55"/>
                    </a:lnTo>
                    <a:lnTo>
                      <a:pt x="205" y="57"/>
                    </a:lnTo>
                    <a:lnTo>
                      <a:pt x="213" y="60"/>
                    </a:lnTo>
                    <a:lnTo>
                      <a:pt x="220" y="69"/>
                    </a:lnTo>
                    <a:lnTo>
                      <a:pt x="225" y="74"/>
                    </a:lnTo>
                    <a:lnTo>
                      <a:pt x="234" y="81"/>
                    </a:lnTo>
                    <a:lnTo>
                      <a:pt x="243" y="81"/>
                    </a:lnTo>
                    <a:lnTo>
                      <a:pt x="249" y="89"/>
                    </a:lnTo>
                    <a:lnTo>
                      <a:pt x="244" y="93"/>
                    </a:lnTo>
                    <a:lnTo>
                      <a:pt x="239" y="98"/>
                    </a:lnTo>
                    <a:lnTo>
                      <a:pt x="243" y="103"/>
                    </a:lnTo>
                    <a:lnTo>
                      <a:pt x="249" y="110"/>
                    </a:lnTo>
                    <a:lnTo>
                      <a:pt x="253" y="117"/>
                    </a:lnTo>
                    <a:lnTo>
                      <a:pt x="256" y="124"/>
                    </a:lnTo>
                    <a:lnTo>
                      <a:pt x="261" y="127"/>
                    </a:lnTo>
                    <a:lnTo>
                      <a:pt x="268" y="129"/>
                    </a:lnTo>
                    <a:lnTo>
                      <a:pt x="270" y="131"/>
                    </a:lnTo>
                    <a:lnTo>
                      <a:pt x="272" y="136"/>
                    </a:lnTo>
                    <a:lnTo>
                      <a:pt x="275" y="136"/>
                    </a:lnTo>
                    <a:lnTo>
                      <a:pt x="279" y="136"/>
                    </a:lnTo>
                    <a:lnTo>
                      <a:pt x="280" y="138"/>
                    </a:lnTo>
                    <a:lnTo>
                      <a:pt x="284" y="143"/>
                    </a:lnTo>
                    <a:lnTo>
                      <a:pt x="287" y="143"/>
                    </a:lnTo>
                    <a:lnTo>
                      <a:pt x="294" y="145"/>
                    </a:lnTo>
                    <a:lnTo>
                      <a:pt x="289" y="146"/>
                    </a:lnTo>
                    <a:lnTo>
                      <a:pt x="287" y="153"/>
                    </a:lnTo>
                    <a:lnTo>
                      <a:pt x="286" y="153"/>
                    </a:lnTo>
                    <a:lnTo>
                      <a:pt x="284" y="153"/>
                    </a:lnTo>
                    <a:lnTo>
                      <a:pt x="279" y="150"/>
                    </a:lnTo>
                    <a:lnTo>
                      <a:pt x="274" y="146"/>
                    </a:lnTo>
                    <a:lnTo>
                      <a:pt x="261" y="146"/>
                    </a:lnTo>
                    <a:lnTo>
                      <a:pt x="248" y="141"/>
                    </a:lnTo>
                    <a:lnTo>
                      <a:pt x="241" y="134"/>
                    </a:lnTo>
                    <a:lnTo>
                      <a:pt x="239" y="131"/>
                    </a:lnTo>
                    <a:lnTo>
                      <a:pt x="237" y="129"/>
                    </a:lnTo>
                    <a:lnTo>
                      <a:pt x="229" y="120"/>
                    </a:lnTo>
                    <a:lnTo>
                      <a:pt x="220" y="112"/>
                    </a:lnTo>
                    <a:lnTo>
                      <a:pt x="210" y="107"/>
                    </a:lnTo>
                    <a:lnTo>
                      <a:pt x="201" y="105"/>
                    </a:lnTo>
                    <a:lnTo>
                      <a:pt x="193" y="105"/>
                    </a:lnTo>
                    <a:lnTo>
                      <a:pt x="189" y="108"/>
                    </a:lnTo>
                    <a:lnTo>
                      <a:pt x="186" y="114"/>
                    </a:lnTo>
                    <a:lnTo>
                      <a:pt x="182" y="119"/>
                    </a:lnTo>
                    <a:lnTo>
                      <a:pt x="181" y="124"/>
                    </a:lnTo>
                    <a:lnTo>
                      <a:pt x="179" y="131"/>
                    </a:lnTo>
                    <a:lnTo>
                      <a:pt x="167" y="131"/>
                    </a:lnTo>
                    <a:lnTo>
                      <a:pt x="160" y="131"/>
                    </a:lnTo>
                    <a:lnTo>
                      <a:pt x="150" y="127"/>
                    </a:lnTo>
                    <a:lnTo>
                      <a:pt x="145" y="122"/>
                    </a:lnTo>
                    <a:lnTo>
                      <a:pt x="138" y="115"/>
                    </a:lnTo>
                    <a:lnTo>
                      <a:pt x="131" y="114"/>
                    </a:lnTo>
                    <a:lnTo>
                      <a:pt x="124" y="114"/>
                    </a:lnTo>
                    <a:lnTo>
                      <a:pt x="122" y="117"/>
                    </a:lnTo>
                    <a:lnTo>
                      <a:pt x="112" y="117"/>
                    </a:lnTo>
                    <a:lnTo>
                      <a:pt x="105" y="115"/>
                    </a:lnTo>
                    <a:lnTo>
                      <a:pt x="103" y="114"/>
                    </a:lnTo>
                    <a:lnTo>
                      <a:pt x="108" y="105"/>
                    </a:lnTo>
                    <a:lnTo>
                      <a:pt x="117" y="103"/>
                    </a:lnTo>
                    <a:lnTo>
                      <a:pt x="110" y="91"/>
                    </a:lnTo>
                    <a:lnTo>
                      <a:pt x="110" y="81"/>
                    </a:lnTo>
                    <a:lnTo>
                      <a:pt x="105" y="76"/>
                    </a:lnTo>
                    <a:lnTo>
                      <a:pt x="100" y="72"/>
                    </a:lnTo>
                    <a:lnTo>
                      <a:pt x="91" y="69"/>
                    </a:lnTo>
                    <a:lnTo>
                      <a:pt x="88" y="67"/>
                    </a:lnTo>
                    <a:lnTo>
                      <a:pt x="81" y="64"/>
                    </a:lnTo>
                    <a:lnTo>
                      <a:pt x="74" y="64"/>
                    </a:lnTo>
                    <a:lnTo>
                      <a:pt x="67" y="62"/>
                    </a:lnTo>
                    <a:lnTo>
                      <a:pt x="62" y="62"/>
                    </a:lnTo>
                    <a:lnTo>
                      <a:pt x="55" y="59"/>
                    </a:lnTo>
                    <a:lnTo>
                      <a:pt x="52" y="55"/>
                    </a:lnTo>
                    <a:lnTo>
                      <a:pt x="46" y="50"/>
                    </a:lnTo>
                    <a:lnTo>
                      <a:pt x="43" y="52"/>
                    </a:lnTo>
                    <a:lnTo>
                      <a:pt x="43" y="47"/>
                    </a:lnTo>
                    <a:lnTo>
                      <a:pt x="38" y="53"/>
                    </a:lnTo>
                    <a:lnTo>
                      <a:pt x="34" y="57"/>
                    </a:lnTo>
                    <a:lnTo>
                      <a:pt x="31" y="55"/>
                    </a:lnTo>
                    <a:lnTo>
                      <a:pt x="29" y="55"/>
                    </a:lnTo>
                    <a:lnTo>
                      <a:pt x="28" y="48"/>
                    </a:lnTo>
                    <a:lnTo>
                      <a:pt x="28" y="43"/>
                    </a:lnTo>
                    <a:lnTo>
                      <a:pt x="21" y="40"/>
                    </a:lnTo>
                    <a:lnTo>
                      <a:pt x="17" y="38"/>
                    </a:lnTo>
                    <a:lnTo>
                      <a:pt x="22" y="34"/>
                    </a:lnTo>
                    <a:lnTo>
                      <a:pt x="31" y="33"/>
                    </a:lnTo>
                    <a:lnTo>
                      <a:pt x="38" y="31"/>
                    </a:lnTo>
                    <a:lnTo>
                      <a:pt x="43" y="29"/>
                    </a:lnTo>
                    <a:lnTo>
                      <a:pt x="40" y="29"/>
                    </a:lnTo>
                    <a:lnTo>
                      <a:pt x="33" y="29"/>
                    </a:lnTo>
                    <a:lnTo>
                      <a:pt x="26" y="31"/>
                    </a:lnTo>
                    <a:lnTo>
                      <a:pt x="21" y="29"/>
                    </a:lnTo>
                    <a:lnTo>
                      <a:pt x="19" y="29"/>
                    </a:lnTo>
                    <a:lnTo>
                      <a:pt x="16" y="26"/>
                    </a:lnTo>
                    <a:lnTo>
                      <a:pt x="16" y="24"/>
                    </a:lnTo>
                    <a:lnTo>
                      <a:pt x="5" y="19"/>
                    </a:lnTo>
                    <a:lnTo>
                      <a:pt x="0" y="14"/>
                    </a:lnTo>
                    <a:lnTo>
                      <a:pt x="2" y="9"/>
                    </a:lnTo>
                    <a:lnTo>
                      <a:pt x="7" y="9"/>
                    </a:lnTo>
                    <a:lnTo>
                      <a:pt x="14" y="4"/>
                    </a:lnTo>
                    <a:lnTo>
                      <a:pt x="26" y="0"/>
                    </a:lnTo>
                    <a:lnTo>
                      <a:pt x="38" y="4"/>
                    </a:lnTo>
                    <a:lnTo>
                      <a:pt x="50" y="10"/>
                    </a:lnTo>
                    <a:lnTo>
                      <a:pt x="50" y="19"/>
                    </a:lnTo>
                    <a:lnTo>
                      <a:pt x="50" y="29"/>
                    </a:lnTo>
                    <a:lnTo>
                      <a:pt x="52" y="31"/>
                    </a:lnTo>
                    <a:lnTo>
                      <a:pt x="57" y="33"/>
                    </a:lnTo>
                    <a:lnTo>
                      <a:pt x="60" y="38"/>
                    </a:lnTo>
                    <a:lnTo>
                      <a:pt x="67" y="43"/>
                    </a:lnTo>
                    <a:lnTo>
                      <a:pt x="72" y="38"/>
                    </a:lnTo>
                    <a:lnTo>
                      <a:pt x="77" y="34"/>
                    </a:lnTo>
                    <a:lnTo>
                      <a:pt x="81" y="29"/>
                    </a:lnTo>
                    <a:lnTo>
                      <a:pt x="89" y="28"/>
                    </a:lnTo>
                    <a:lnTo>
                      <a:pt x="96" y="21"/>
                    </a:lnTo>
                    <a:lnTo>
                      <a:pt x="105" y="16"/>
                    </a:lnTo>
                    <a:lnTo>
                      <a:pt x="108" y="17"/>
                    </a:lnTo>
                    <a:lnTo>
                      <a:pt x="112" y="19"/>
                    </a:lnTo>
                    <a:lnTo>
                      <a:pt x="119" y="24"/>
                    </a:lnTo>
                    <a:lnTo>
                      <a:pt x="126" y="29"/>
                    </a:lnTo>
                    <a:lnTo>
                      <a:pt x="139" y="29"/>
                    </a:lnTo>
                    <a:lnTo>
                      <a:pt x="143" y="31"/>
                    </a:lnTo>
                    <a:lnTo>
                      <a:pt x="148" y="33"/>
                    </a:lnTo>
                    <a:lnTo>
                      <a:pt x="148" y="34"/>
                    </a:lnTo>
                    <a:lnTo>
                      <a:pt x="14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52" name="Freeform 211"/>
              <p:cNvSpPr>
                <a:spLocks/>
              </p:cNvSpPr>
              <p:nvPr/>
            </p:nvSpPr>
            <p:spPr bwMode="auto">
              <a:xfrm>
                <a:off x="7781132" y="4075113"/>
                <a:ext cx="46038" cy="44450"/>
              </a:xfrm>
              <a:custGeom>
                <a:avLst/>
                <a:gdLst/>
                <a:ahLst/>
                <a:cxnLst>
                  <a:cxn ang="0">
                    <a:pos x="27" y="28"/>
                  </a:cxn>
                  <a:cxn ang="0">
                    <a:pos x="20" y="23"/>
                  </a:cxn>
                  <a:cxn ang="0">
                    <a:pos x="22" y="18"/>
                  </a:cxn>
                  <a:cxn ang="0">
                    <a:pos x="15" y="11"/>
                  </a:cxn>
                  <a:cxn ang="0">
                    <a:pos x="10" y="6"/>
                  </a:cxn>
                  <a:cxn ang="0">
                    <a:pos x="3" y="2"/>
                  </a:cxn>
                  <a:cxn ang="0">
                    <a:pos x="0" y="0"/>
                  </a:cxn>
                  <a:cxn ang="0">
                    <a:pos x="12" y="6"/>
                  </a:cxn>
                  <a:cxn ang="0">
                    <a:pos x="20" y="14"/>
                  </a:cxn>
                  <a:cxn ang="0">
                    <a:pos x="25" y="18"/>
                  </a:cxn>
                  <a:cxn ang="0">
                    <a:pos x="29" y="25"/>
                  </a:cxn>
                  <a:cxn ang="0">
                    <a:pos x="29" y="26"/>
                  </a:cxn>
                  <a:cxn ang="0">
                    <a:pos x="29" y="28"/>
                  </a:cxn>
                  <a:cxn ang="0">
                    <a:pos x="27" y="28"/>
                  </a:cxn>
                </a:cxnLst>
                <a:rect l="0" t="0" r="r" b="b"/>
                <a:pathLst>
                  <a:path w="29" h="28">
                    <a:moveTo>
                      <a:pt x="27" y="28"/>
                    </a:moveTo>
                    <a:lnTo>
                      <a:pt x="20" y="23"/>
                    </a:lnTo>
                    <a:lnTo>
                      <a:pt x="22" y="18"/>
                    </a:lnTo>
                    <a:lnTo>
                      <a:pt x="15" y="11"/>
                    </a:lnTo>
                    <a:lnTo>
                      <a:pt x="10" y="6"/>
                    </a:lnTo>
                    <a:lnTo>
                      <a:pt x="3" y="2"/>
                    </a:lnTo>
                    <a:lnTo>
                      <a:pt x="0" y="0"/>
                    </a:lnTo>
                    <a:lnTo>
                      <a:pt x="12" y="6"/>
                    </a:lnTo>
                    <a:lnTo>
                      <a:pt x="20" y="14"/>
                    </a:lnTo>
                    <a:lnTo>
                      <a:pt x="25" y="18"/>
                    </a:lnTo>
                    <a:lnTo>
                      <a:pt x="29" y="25"/>
                    </a:lnTo>
                    <a:lnTo>
                      <a:pt x="29" y="26"/>
                    </a:lnTo>
                    <a:lnTo>
                      <a:pt x="29" y="28"/>
                    </a:lnTo>
                    <a:lnTo>
                      <a:pt x="27"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53" name="Freeform 212"/>
              <p:cNvSpPr>
                <a:spLocks/>
              </p:cNvSpPr>
              <p:nvPr/>
            </p:nvSpPr>
            <p:spPr bwMode="auto">
              <a:xfrm>
                <a:off x="7865269" y="4141788"/>
                <a:ext cx="22225" cy="30162"/>
              </a:xfrm>
              <a:custGeom>
                <a:avLst/>
                <a:gdLst/>
                <a:ahLst/>
                <a:cxnLst>
                  <a:cxn ang="0">
                    <a:pos x="7" y="10"/>
                  </a:cxn>
                  <a:cxn ang="0">
                    <a:pos x="0" y="7"/>
                  </a:cxn>
                  <a:cxn ang="0">
                    <a:pos x="0" y="0"/>
                  </a:cxn>
                  <a:cxn ang="0">
                    <a:pos x="7" y="7"/>
                  </a:cxn>
                  <a:cxn ang="0">
                    <a:pos x="14" y="13"/>
                  </a:cxn>
                  <a:cxn ang="0">
                    <a:pos x="12" y="15"/>
                  </a:cxn>
                  <a:cxn ang="0">
                    <a:pos x="10" y="19"/>
                  </a:cxn>
                  <a:cxn ang="0">
                    <a:pos x="7" y="17"/>
                  </a:cxn>
                  <a:cxn ang="0">
                    <a:pos x="7" y="15"/>
                  </a:cxn>
                  <a:cxn ang="0">
                    <a:pos x="7" y="12"/>
                  </a:cxn>
                  <a:cxn ang="0">
                    <a:pos x="7" y="10"/>
                  </a:cxn>
                </a:cxnLst>
                <a:rect l="0" t="0" r="r" b="b"/>
                <a:pathLst>
                  <a:path w="14" h="19">
                    <a:moveTo>
                      <a:pt x="7" y="10"/>
                    </a:moveTo>
                    <a:lnTo>
                      <a:pt x="0" y="7"/>
                    </a:lnTo>
                    <a:lnTo>
                      <a:pt x="0" y="0"/>
                    </a:lnTo>
                    <a:lnTo>
                      <a:pt x="7" y="7"/>
                    </a:lnTo>
                    <a:lnTo>
                      <a:pt x="14" y="13"/>
                    </a:lnTo>
                    <a:lnTo>
                      <a:pt x="12" y="15"/>
                    </a:lnTo>
                    <a:lnTo>
                      <a:pt x="10" y="19"/>
                    </a:lnTo>
                    <a:lnTo>
                      <a:pt x="7" y="17"/>
                    </a:lnTo>
                    <a:lnTo>
                      <a:pt x="7" y="15"/>
                    </a:lnTo>
                    <a:lnTo>
                      <a:pt x="7" y="12"/>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54" name="Freeform 213"/>
              <p:cNvSpPr>
                <a:spLocks/>
              </p:cNvSpPr>
              <p:nvPr/>
            </p:nvSpPr>
            <p:spPr bwMode="auto">
              <a:xfrm>
                <a:off x="8020844" y="4248150"/>
                <a:ext cx="14288" cy="15875"/>
              </a:xfrm>
              <a:custGeom>
                <a:avLst/>
                <a:gdLst/>
                <a:ahLst/>
                <a:cxnLst>
                  <a:cxn ang="0">
                    <a:pos x="9" y="8"/>
                  </a:cxn>
                  <a:cxn ang="0">
                    <a:pos x="7" y="8"/>
                  </a:cxn>
                  <a:cxn ang="0">
                    <a:pos x="9" y="10"/>
                  </a:cxn>
                  <a:cxn ang="0">
                    <a:pos x="2" y="5"/>
                  </a:cxn>
                  <a:cxn ang="0">
                    <a:pos x="0" y="0"/>
                  </a:cxn>
                  <a:cxn ang="0">
                    <a:pos x="5" y="3"/>
                  </a:cxn>
                  <a:cxn ang="0">
                    <a:pos x="9" y="8"/>
                  </a:cxn>
                </a:cxnLst>
                <a:rect l="0" t="0" r="r" b="b"/>
                <a:pathLst>
                  <a:path w="9" h="10">
                    <a:moveTo>
                      <a:pt x="9" y="8"/>
                    </a:moveTo>
                    <a:lnTo>
                      <a:pt x="7" y="8"/>
                    </a:lnTo>
                    <a:lnTo>
                      <a:pt x="9" y="10"/>
                    </a:lnTo>
                    <a:lnTo>
                      <a:pt x="2" y="5"/>
                    </a:lnTo>
                    <a:lnTo>
                      <a:pt x="0" y="0"/>
                    </a:lnTo>
                    <a:lnTo>
                      <a:pt x="5" y="3"/>
                    </a:lnTo>
                    <a:lnTo>
                      <a:pt x="9" y="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55" name="Freeform 214"/>
              <p:cNvSpPr>
                <a:spLocks/>
              </p:cNvSpPr>
              <p:nvPr/>
            </p:nvSpPr>
            <p:spPr bwMode="auto">
              <a:xfrm>
                <a:off x="7985919" y="4237038"/>
                <a:ext cx="26988" cy="11112"/>
              </a:xfrm>
              <a:custGeom>
                <a:avLst/>
                <a:gdLst/>
                <a:ahLst/>
                <a:cxnLst>
                  <a:cxn ang="0">
                    <a:pos x="17" y="7"/>
                  </a:cxn>
                  <a:cxn ang="0">
                    <a:pos x="13" y="7"/>
                  </a:cxn>
                  <a:cxn ang="0">
                    <a:pos x="3" y="5"/>
                  </a:cxn>
                  <a:cxn ang="0">
                    <a:pos x="0" y="0"/>
                  </a:cxn>
                  <a:cxn ang="0">
                    <a:pos x="10" y="0"/>
                  </a:cxn>
                  <a:cxn ang="0">
                    <a:pos x="17" y="7"/>
                  </a:cxn>
                </a:cxnLst>
                <a:rect l="0" t="0" r="r" b="b"/>
                <a:pathLst>
                  <a:path w="17" h="7">
                    <a:moveTo>
                      <a:pt x="17" y="7"/>
                    </a:moveTo>
                    <a:lnTo>
                      <a:pt x="13" y="7"/>
                    </a:lnTo>
                    <a:lnTo>
                      <a:pt x="3" y="5"/>
                    </a:lnTo>
                    <a:lnTo>
                      <a:pt x="0" y="0"/>
                    </a:lnTo>
                    <a:lnTo>
                      <a:pt x="10" y="0"/>
                    </a:lnTo>
                    <a:lnTo>
                      <a:pt x="1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56" name="Freeform 215"/>
              <p:cNvSpPr>
                <a:spLocks/>
              </p:cNvSpPr>
              <p:nvPr/>
            </p:nvSpPr>
            <p:spPr bwMode="auto">
              <a:xfrm>
                <a:off x="7987507" y="4203700"/>
                <a:ext cx="25400" cy="25400"/>
              </a:xfrm>
              <a:custGeom>
                <a:avLst/>
                <a:gdLst/>
                <a:ahLst/>
                <a:cxnLst>
                  <a:cxn ang="0">
                    <a:pos x="16" y="16"/>
                  </a:cxn>
                  <a:cxn ang="0">
                    <a:pos x="5" y="9"/>
                  </a:cxn>
                  <a:cxn ang="0">
                    <a:pos x="0" y="0"/>
                  </a:cxn>
                  <a:cxn ang="0">
                    <a:pos x="9" y="5"/>
                  </a:cxn>
                  <a:cxn ang="0">
                    <a:pos x="16" y="16"/>
                  </a:cxn>
                </a:cxnLst>
                <a:rect l="0" t="0" r="r" b="b"/>
                <a:pathLst>
                  <a:path w="16" h="16">
                    <a:moveTo>
                      <a:pt x="16" y="16"/>
                    </a:moveTo>
                    <a:lnTo>
                      <a:pt x="5" y="9"/>
                    </a:lnTo>
                    <a:lnTo>
                      <a:pt x="0" y="0"/>
                    </a:lnTo>
                    <a:lnTo>
                      <a:pt x="9" y="5"/>
                    </a:lnTo>
                    <a:lnTo>
                      <a:pt x="16"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57" name="Freeform 216"/>
              <p:cNvSpPr>
                <a:spLocks/>
              </p:cNvSpPr>
              <p:nvPr/>
            </p:nvSpPr>
            <p:spPr bwMode="auto">
              <a:xfrm>
                <a:off x="7938294" y="4184650"/>
                <a:ext cx="33338" cy="17462"/>
              </a:xfrm>
              <a:custGeom>
                <a:avLst/>
                <a:gdLst/>
                <a:ahLst/>
                <a:cxnLst>
                  <a:cxn ang="0">
                    <a:pos x="4" y="0"/>
                  </a:cxn>
                  <a:cxn ang="0">
                    <a:pos x="12" y="4"/>
                  </a:cxn>
                  <a:cxn ang="0">
                    <a:pos x="21" y="11"/>
                  </a:cxn>
                  <a:cxn ang="0">
                    <a:pos x="18" y="11"/>
                  </a:cxn>
                  <a:cxn ang="0">
                    <a:pos x="5" y="7"/>
                  </a:cxn>
                  <a:cxn ang="0">
                    <a:pos x="0" y="2"/>
                  </a:cxn>
                  <a:cxn ang="0">
                    <a:pos x="2" y="2"/>
                  </a:cxn>
                  <a:cxn ang="0">
                    <a:pos x="4" y="0"/>
                  </a:cxn>
                </a:cxnLst>
                <a:rect l="0" t="0" r="r" b="b"/>
                <a:pathLst>
                  <a:path w="21" h="11">
                    <a:moveTo>
                      <a:pt x="4" y="0"/>
                    </a:moveTo>
                    <a:lnTo>
                      <a:pt x="12" y="4"/>
                    </a:lnTo>
                    <a:lnTo>
                      <a:pt x="21" y="11"/>
                    </a:lnTo>
                    <a:lnTo>
                      <a:pt x="18" y="11"/>
                    </a:lnTo>
                    <a:lnTo>
                      <a:pt x="5" y="7"/>
                    </a:lnTo>
                    <a:lnTo>
                      <a:pt x="0" y="2"/>
                    </a:lnTo>
                    <a:lnTo>
                      <a:pt x="2"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58" name="Freeform 217"/>
              <p:cNvSpPr>
                <a:spLocks/>
              </p:cNvSpPr>
              <p:nvPr/>
            </p:nvSpPr>
            <p:spPr bwMode="auto">
              <a:xfrm>
                <a:off x="7903369" y="4165600"/>
                <a:ext cx="19050" cy="11112"/>
              </a:xfrm>
              <a:custGeom>
                <a:avLst/>
                <a:gdLst/>
                <a:ahLst/>
                <a:cxnLst>
                  <a:cxn ang="0">
                    <a:pos x="0" y="0"/>
                  </a:cxn>
                  <a:cxn ang="0">
                    <a:pos x="5" y="2"/>
                  </a:cxn>
                  <a:cxn ang="0">
                    <a:pos x="12" y="7"/>
                  </a:cxn>
                  <a:cxn ang="0">
                    <a:pos x="9" y="7"/>
                  </a:cxn>
                  <a:cxn ang="0">
                    <a:pos x="0" y="2"/>
                  </a:cxn>
                  <a:cxn ang="0">
                    <a:pos x="2" y="0"/>
                  </a:cxn>
                  <a:cxn ang="0">
                    <a:pos x="3" y="0"/>
                  </a:cxn>
                  <a:cxn ang="0">
                    <a:pos x="0" y="0"/>
                  </a:cxn>
                </a:cxnLst>
                <a:rect l="0" t="0" r="r" b="b"/>
                <a:pathLst>
                  <a:path w="12" h="7">
                    <a:moveTo>
                      <a:pt x="0" y="0"/>
                    </a:moveTo>
                    <a:lnTo>
                      <a:pt x="5" y="2"/>
                    </a:lnTo>
                    <a:lnTo>
                      <a:pt x="12" y="7"/>
                    </a:lnTo>
                    <a:lnTo>
                      <a:pt x="9" y="7"/>
                    </a:lnTo>
                    <a:lnTo>
                      <a:pt x="0" y="2"/>
                    </a:lnTo>
                    <a:lnTo>
                      <a:pt x="2" y="0"/>
                    </a:lnTo>
                    <a:lnTo>
                      <a:pt x="3"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59" name="Freeform 218"/>
              <p:cNvSpPr>
                <a:spLocks/>
              </p:cNvSpPr>
              <p:nvPr/>
            </p:nvSpPr>
            <p:spPr bwMode="auto">
              <a:xfrm>
                <a:off x="7627144" y="5006975"/>
                <a:ext cx="87313" cy="84137"/>
              </a:xfrm>
              <a:custGeom>
                <a:avLst/>
                <a:gdLst/>
                <a:ahLst/>
                <a:cxnLst>
                  <a:cxn ang="0">
                    <a:pos x="28" y="5"/>
                  </a:cxn>
                  <a:cxn ang="0">
                    <a:pos x="38" y="2"/>
                  </a:cxn>
                  <a:cxn ang="0">
                    <a:pos x="50" y="0"/>
                  </a:cxn>
                  <a:cxn ang="0">
                    <a:pos x="52" y="7"/>
                  </a:cxn>
                  <a:cxn ang="0">
                    <a:pos x="55" y="15"/>
                  </a:cxn>
                  <a:cxn ang="0">
                    <a:pos x="52" y="24"/>
                  </a:cxn>
                  <a:cxn ang="0">
                    <a:pos x="47" y="38"/>
                  </a:cxn>
                  <a:cxn ang="0">
                    <a:pos x="38" y="48"/>
                  </a:cxn>
                  <a:cxn ang="0">
                    <a:pos x="31" y="53"/>
                  </a:cxn>
                  <a:cxn ang="0">
                    <a:pos x="19" y="46"/>
                  </a:cxn>
                  <a:cxn ang="0">
                    <a:pos x="9" y="32"/>
                  </a:cxn>
                  <a:cxn ang="0">
                    <a:pos x="2" y="15"/>
                  </a:cxn>
                  <a:cxn ang="0">
                    <a:pos x="0" y="5"/>
                  </a:cxn>
                  <a:cxn ang="0">
                    <a:pos x="4" y="0"/>
                  </a:cxn>
                  <a:cxn ang="0">
                    <a:pos x="12" y="2"/>
                  </a:cxn>
                  <a:cxn ang="0">
                    <a:pos x="21" y="3"/>
                  </a:cxn>
                  <a:cxn ang="0">
                    <a:pos x="28" y="5"/>
                  </a:cxn>
                </a:cxnLst>
                <a:rect l="0" t="0" r="r" b="b"/>
                <a:pathLst>
                  <a:path w="55" h="53">
                    <a:moveTo>
                      <a:pt x="28" y="5"/>
                    </a:moveTo>
                    <a:lnTo>
                      <a:pt x="38" y="2"/>
                    </a:lnTo>
                    <a:lnTo>
                      <a:pt x="50" y="0"/>
                    </a:lnTo>
                    <a:lnTo>
                      <a:pt x="52" y="7"/>
                    </a:lnTo>
                    <a:lnTo>
                      <a:pt x="55" y="15"/>
                    </a:lnTo>
                    <a:lnTo>
                      <a:pt x="52" y="24"/>
                    </a:lnTo>
                    <a:lnTo>
                      <a:pt x="47" y="38"/>
                    </a:lnTo>
                    <a:lnTo>
                      <a:pt x="38" y="48"/>
                    </a:lnTo>
                    <a:lnTo>
                      <a:pt x="31" y="53"/>
                    </a:lnTo>
                    <a:lnTo>
                      <a:pt x="19" y="46"/>
                    </a:lnTo>
                    <a:lnTo>
                      <a:pt x="9" y="32"/>
                    </a:lnTo>
                    <a:lnTo>
                      <a:pt x="2" y="15"/>
                    </a:lnTo>
                    <a:lnTo>
                      <a:pt x="0" y="5"/>
                    </a:lnTo>
                    <a:lnTo>
                      <a:pt x="4" y="0"/>
                    </a:lnTo>
                    <a:lnTo>
                      <a:pt x="12" y="2"/>
                    </a:lnTo>
                    <a:lnTo>
                      <a:pt x="21" y="3"/>
                    </a:lnTo>
                    <a:lnTo>
                      <a:pt x="2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0" name="Freeform 219"/>
              <p:cNvSpPr>
                <a:spLocks/>
              </p:cNvSpPr>
              <p:nvPr/>
            </p:nvSpPr>
            <p:spPr bwMode="auto">
              <a:xfrm>
                <a:off x="7703344" y="4984750"/>
                <a:ext cx="9525" cy="14287"/>
              </a:xfrm>
              <a:custGeom>
                <a:avLst/>
                <a:gdLst/>
                <a:ahLst/>
                <a:cxnLst>
                  <a:cxn ang="0">
                    <a:pos x="6" y="0"/>
                  </a:cxn>
                  <a:cxn ang="0">
                    <a:pos x="6" y="4"/>
                  </a:cxn>
                  <a:cxn ang="0">
                    <a:pos x="6" y="9"/>
                  </a:cxn>
                  <a:cxn ang="0">
                    <a:pos x="0" y="4"/>
                  </a:cxn>
                  <a:cxn ang="0">
                    <a:pos x="0" y="0"/>
                  </a:cxn>
                  <a:cxn ang="0">
                    <a:pos x="2" y="0"/>
                  </a:cxn>
                  <a:cxn ang="0">
                    <a:pos x="6" y="0"/>
                  </a:cxn>
                </a:cxnLst>
                <a:rect l="0" t="0" r="r" b="b"/>
                <a:pathLst>
                  <a:path w="6" h="9">
                    <a:moveTo>
                      <a:pt x="6" y="0"/>
                    </a:moveTo>
                    <a:lnTo>
                      <a:pt x="6" y="4"/>
                    </a:lnTo>
                    <a:lnTo>
                      <a:pt x="6" y="9"/>
                    </a:lnTo>
                    <a:lnTo>
                      <a:pt x="0" y="4"/>
                    </a:lnTo>
                    <a:lnTo>
                      <a:pt x="0" y="0"/>
                    </a:lnTo>
                    <a:lnTo>
                      <a:pt x="2" y="0"/>
                    </a:lnTo>
                    <a:lnTo>
                      <a:pt x="6"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1" name="Freeform 220"/>
              <p:cNvSpPr>
                <a:spLocks/>
              </p:cNvSpPr>
              <p:nvPr/>
            </p:nvSpPr>
            <p:spPr bwMode="auto">
              <a:xfrm>
                <a:off x="7441407" y="4873625"/>
                <a:ext cx="28575" cy="7937"/>
              </a:xfrm>
              <a:custGeom>
                <a:avLst/>
                <a:gdLst/>
                <a:ahLst/>
                <a:cxnLst>
                  <a:cxn ang="0">
                    <a:pos x="18" y="3"/>
                  </a:cxn>
                  <a:cxn ang="0">
                    <a:pos x="7" y="5"/>
                  </a:cxn>
                  <a:cxn ang="0">
                    <a:pos x="0" y="3"/>
                  </a:cxn>
                  <a:cxn ang="0">
                    <a:pos x="9" y="0"/>
                  </a:cxn>
                  <a:cxn ang="0">
                    <a:pos x="18" y="3"/>
                  </a:cxn>
                </a:cxnLst>
                <a:rect l="0" t="0" r="r" b="b"/>
                <a:pathLst>
                  <a:path w="18" h="5">
                    <a:moveTo>
                      <a:pt x="18" y="3"/>
                    </a:moveTo>
                    <a:lnTo>
                      <a:pt x="7" y="5"/>
                    </a:lnTo>
                    <a:lnTo>
                      <a:pt x="0" y="3"/>
                    </a:lnTo>
                    <a:lnTo>
                      <a:pt x="9" y="0"/>
                    </a:lnTo>
                    <a:lnTo>
                      <a:pt x="18"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2" name="Freeform 221"/>
              <p:cNvSpPr>
                <a:spLocks/>
              </p:cNvSpPr>
              <p:nvPr/>
            </p:nvSpPr>
            <p:spPr bwMode="auto">
              <a:xfrm>
                <a:off x="7292182" y="4278313"/>
                <a:ext cx="30163" cy="11112"/>
              </a:xfrm>
              <a:custGeom>
                <a:avLst/>
                <a:gdLst/>
                <a:ahLst/>
                <a:cxnLst>
                  <a:cxn ang="0">
                    <a:pos x="19" y="0"/>
                  </a:cxn>
                  <a:cxn ang="0">
                    <a:pos x="19" y="7"/>
                  </a:cxn>
                  <a:cxn ang="0">
                    <a:pos x="15" y="7"/>
                  </a:cxn>
                  <a:cxn ang="0">
                    <a:pos x="13" y="7"/>
                  </a:cxn>
                  <a:cxn ang="0">
                    <a:pos x="5" y="5"/>
                  </a:cxn>
                  <a:cxn ang="0">
                    <a:pos x="0" y="1"/>
                  </a:cxn>
                  <a:cxn ang="0">
                    <a:pos x="8" y="0"/>
                  </a:cxn>
                  <a:cxn ang="0">
                    <a:pos x="19" y="0"/>
                  </a:cxn>
                </a:cxnLst>
                <a:rect l="0" t="0" r="r" b="b"/>
                <a:pathLst>
                  <a:path w="19" h="7">
                    <a:moveTo>
                      <a:pt x="19" y="0"/>
                    </a:moveTo>
                    <a:lnTo>
                      <a:pt x="19" y="7"/>
                    </a:lnTo>
                    <a:lnTo>
                      <a:pt x="15" y="7"/>
                    </a:lnTo>
                    <a:lnTo>
                      <a:pt x="13" y="7"/>
                    </a:lnTo>
                    <a:lnTo>
                      <a:pt x="5" y="5"/>
                    </a:lnTo>
                    <a:lnTo>
                      <a:pt x="0" y="1"/>
                    </a:lnTo>
                    <a:lnTo>
                      <a:pt x="8"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3" name="Freeform 222"/>
              <p:cNvSpPr>
                <a:spLocks/>
              </p:cNvSpPr>
              <p:nvPr/>
            </p:nvSpPr>
            <p:spPr bwMode="auto">
              <a:xfrm>
                <a:off x="6909594" y="4264025"/>
                <a:ext cx="922338" cy="698500"/>
              </a:xfrm>
              <a:custGeom>
                <a:avLst/>
                <a:gdLst/>
                <a:ahLst/>
                <a:cxnLst>
                  <a:cxn ang="0">
                    <a:pos x="580" y="253"/>
                  </a:cxn>
                  <a:cxn ang="0">
                    <a:pos x="576" y="292"/>
                  </a:cxn>
                  <a:cxn ang="0">
                    <a:pos x="571" y="323"/>
                  </a:cxn>
                  <a:cxn ang="0">
                    <a:pos x="547" y="359"/>
                  </a:cxn>
                  <a:cxn ang="0">
                    <a:pos x="533" y="404"/>
                  </a:cxn>
                  <a:cxn ang="0">
                    <a:pos x="488" y="427"/>
                  </a:cxn>
                  <a:cxn ang="0">
                    <a:pos x="457" y="428"/>
                  </a:cxn>
                  <a:cxn ang="0">
                    <a:pos x="418" y="433"/>
                  </a:cxn>
                  <a:cxn ang="0">
                    <a:pos x="380" y="392"/>
                  </a:cxn>
                  <a:cxn ang="0">
                    <a:pos x="365" y="384"/>
                  </a:cxn>
                  <a:cxn ang="0">
                    <a:pos x="359" y="365"/>
                  </a:cxn>
                  <a:cxn ang="0">
                    <a:pos x="351" y="373"/>
                  </a:cxn>
                  <a:cxn ang="0">
                    <a:pos x="344" y="366"/>
                  </a:cxn>
                  <a:cxn ang="0">
                    <a:pos x="346" y="344"/>
                  </a:cxn>
                  <a:cxn ang="0">
                    <a:pos x="316" y="368"/>
                  </a:cxn>
                  <a:cxn ang="0">
                    <a:pos x="303" y="339"/>
                  </a:cxn>
                  <a:cxn ang="0">
                    <a:pos x="256" y="318"/>
                  </a:cxn>
                  <a:cxn ang="0">
                    <a:pos x="217" y="325"/>
                  </a:cxn>
                  <a:cxn ang="0">
                    <a:pos x="179" y="334"/>
                  </a:cxn>
                  <a:cxn ang="0">
                    <a:pos x="151" y="344"/>
                  </a:cxn>
                  <a:cxn ang="0">
                    <a:pos x="110" y="356"/>
                  </a:cxn>
                  <a:cxn ang="0">
                    <a:pos x="69" y="372"/>
                  </a:cxn>
                  <a:cxn ang="0">
                    <a:pos x="26" y="363"/>
                  </a:cxn>
                  <a:cxn ang="0">
                    <a:pos x="33" y="323"/>
                  </a:cxn>
                  <a:cxn ang="0">
                    <a:pos x="19" y="287"/>
                  </a:cxn>
                  <a:cxn ang="0">
                    <a:pos x="3" y="244"/>
                  </a:cxn>
                  <a:cxn ang="0">
                    <a:pos x="5" y="232"/>
                  </a:cxn>
                  <a:cxn ang="0">
                    <a:pos x="5" y="217"/>
                  </a:cxn>
                  <a:cxn ang="0">
                    <a:pos x="2" y="179"/>
                  </a:cxn>
                  <a:cxn ang="0">
                    <a:pos x="7" y="169"/>
                  </a:cxn>
                  <a:cxn ang="0">
                    <a:pos x="39" y="148"/>
                  </a:cxn>
                  <a:cxn ang="0">
                    <a:pos x="76" y="141"/>
                  </a:cxn>
                  <a:cxn ang="0">
                    <a:pos x="113" y="126"/>
                  </a:cxn>
                  <a:cxn ang="0">
                    <a:pos x="129" y="105"/>
                  </a:cxn>
                  <a:cxn ang="0">
                    <a:pos x="139" y="93"/>
                  </a:cxn>
                  <a:cxn ang="0">
                    <a:pos x="153" y="84"/>
                  </a:cxn>
                  <a:cxn ang="0">
                    <a:pos x="167" y="64"/>
                  </a:cxn>
                  <a:cxn ang="0">
                    <a:pos x="189" y="48"/>
                  </a:cxn>
                  <a:cxn ang="0">
                    <a:pos x="217" y="62"/>
                  </a:cxn>
                  <a:cxn ang="0">
                    <a:pos x="232" y="59"/>
                  </a:cxn>
                  <a:cxn ang="0">
                    <a:pos x="242" y="29"/>
                  </a:cxn>
                  <a:cxn ang="0">
                    <a:pos x="273" y="22"/>
                  </a:cxn>
                  <a:cxn ang="0">
                    <a:pos x="279" y="12"/>
                  </a:cxn>
                  <a:cxn ang="0">
                    <a:pos x="322" y="21"/>
                  </a:cxn>
                  <a:cxn ang="0">
                    <a:pos x="334" y="33"/>
                  </a:cxn>
                  <a:cxn ang="0">
                    <a:pos x="332" y="69"/>
                  </a:cxn>
                  <a:cxn ang="0">
                    <a:pos x="353" y="84"/>
                  </a:cxn>
                  <a:cxn ang="0">
                    <a:pos x="390" y="105"/>
                  </a:cxn>
                  <a:cxn ang="0">
                    <a:pos x="411" y="64"/>
                  </a:cxn>
                  <a:cxn ang="0">
                    <a:pos x="425" y="9"/>
                  </a:cxn>
                  <a:cxn ang="0">
                    <a:pos x="437" y="43"/>
                  </a:cxn>
                  <a:cxn ang="0">
                    <a:pos x="461" y="62"/>
                  </a:cxn>
                  <a:cxn ang="0">
                    <a:pos x="468" y="95"/>
                  </a:cxn>
                  <a:cxn ang="0">
                    <a:pos x="483" y="126"/>
                  </a:cxn>
                  <a:cxn ang="0">
                    <a:pos x="519" y="157"/>
                  </a:cxn>
                  <a:cxn ang="0">
                    <a:pos x="542" y="186"/>
                  </a:cxn>
                  <a:cxn ang="0">
                    <a:pos x="568" y="215"/>
                  </a:cxn>
                </a:cxnLst>
                <a:rect l="0" t="0" r="r" b="b"/>
                <a:pathLst>
                  <a:path w="581" h="440">
                    <a:moveTo>
                      <a:pt x="568" y="215"/>
                    </a:moveTo>
                    <a:lnTo>
                      <a:pt x="571" y="224"/>
                    </a:lnTo>
                    <a:lnTo>
                      <a:pt x="576" y="239"/>
                    </a:lnTo>
                    <a:lnTo>
                      <a:pt x="580" y="253"/>
                    </a:lnTo>
                    <a:lnTo>
                      <a:pt x="581" y="268"/>
                    </a:lnTo>
                    <a:lnTo>
                      <a:pt x="580" y="275"/>
                    </a:lnTo>
                    <a:lnTo>
                      <a:pt x="578" y="286"/>
                    </a:lnTo>
                    <a:lnTo>
                      <a:pt x="576" y="292"/>
                    </a:lnTo>
                    <a:lnTo>
                      <a:pt x="574" y="299"/>
                    </a:lnTo>
                    <a:lnTo>
                      <a:pt x="574" y="313"/>
                    </a:lnTo>
                    <a:lnTo>
                      <a:pt x="571" y="318"/>
                    </a:lnTo>
                    <a:lnTo>
                      <a:pt x="571" y="323"/>
                    </a:lnTo>
                    <a:lnTo>
                      <a:pt x="562" y="332"/>
                    </a:lnTo>
                    <a:lnTo>
                      <a:pt x="555" y="341"/>
                    </a:lnTo>
                    <a:lnTo>
                      <a:pt x="550" y="347"/>
                    </a:lnTo>
                    <a:lnTo>
                      <a:pt x="547" y="359"/>
                    </a:lnTo>
                    <a:lnTo>
                      <a:pt x="542" y="368"/>
                    </a:lnTo>
                    <a:lnTo>
                      <a:pt x="538" y="378"/>
                    </a:lnTo>
                    <a:lnTo>
                      <a:pt x="533" y="390"/>
                    </a:lnTo>
                    <a:lnTo>
                      <a:pt x="533" y="404"/>
                    </a:lnTo>
                    <a:lnTo>
                      <a:pt x="533" y="404"/>
                    </a:lnTo>
                    <a:lnTo>
                      <a:pt x="521" y="415"/>
                    </a:lnTo>
                    <a:lnTo>
                      <a:pt x="506" y="421"/>
                    </a:lnTo>
                    <a:lnTo>
                      <a:pt x="488" y="427"/>
                    </a:lnTo>
                    <a:lnTo>
                      <a:pt x="482" y="440"/>
                    </a:lnTo>
                    <a:lnTo>
                      <a:pt x="473" y="437"/>
                    </a:lnTo>
                    <a:lnTo>
                      <a:pt x="466" y="433"/>
                    </a:lnTo>
                    <a:lnTo>
                      <a:pt x="457" y="428"/>
                    </a:lnTo>
                    <a:lnTo>
                      <a:pt x="456" y="425"/>
                    </a:lnTo>
                    <a:lnTo>
                      <a:pt x="445" y="430"/>
                    </a:lnTo>
                    <a:lnTo>
                      <a:pt x="435" y="437"/>
                    </a:lnTo>
                    <a:lnTo>
                      <a:pt x="418" y="433"/>
                    </a:lnTo>
                    <a:lnTo>
                      <a:pt x="401" y="427"/>
                    </a:lnTo>
                    <a:lnTo>
                      <a:pt x="387" y="416"/>
                    </a:lnTo>
                    <a:lnTo>
                      <a:pt x="383" y="402"/>
                    </a:lnTo>
                    <a:lnTo>
                      <a:pt x="380" y="392"/>
                    </a:lnTo>
                    <a:lnTo>
                      <a:pt x="377" y="382"/>
                    </a:lnTo>
                    <a:lnTo>
                      <a:pt x="375" y="380"/>
                    </a:lnTo>
                    <a:lnTo>
                      <a:pt x="370" y="382"/>
                    </a:lnTo>
                    <a:lnTo>
                      <a:pt x="365" y="384"/>
                    </a:lnTo>
                    <a:lnTo>
                      <a:pt x="359" y="384"/>
                    </a:lnTo>
                    <a:lnTo>
                      <a:pt x="361" y="378"/>
                    </a:lnTo>
                    <a:lnTo>
                      <a:pt x="363" y="373"/>
                    </a:lnTo>
                    <a:lnTo>
                      <a:pt x="359" y="365"/>
                    </a:lnTo>
                    <a:lnTo>
                      <a:pt x="358" y="363"/>
                    </a:lnTo>
                    <a:lnTo>
                      <a:pt x="356" y="365"/>
                    </a:lnTo>
                    <a:lnTo>
                      <a:pt x="356" y="368"/>
                    </a:lnTo>
                    <a:lnTo>
                      <a:pt x="351" y="373"/>
                    </a:lnTo>
                    <a:lnTo>
                      <a:pt x="344" y="378"/>
                    </a:lnTo>
                    <a:lnTo>
                      <a:pt x="340" y="377"/>
                    </a:lnTo>
                    <a:lnTo>
                      <a:pt x="339" y="373"/>
                    </a:lnTo>
                    <a:lnTo>
                      <a:pt x="344" y="366"/>
                    </a:lnTo>
                    <a:lnTo>
                      <a:pt x="351" y="356"/>
                    </a:lnTo>
                    <a:lnTo>
                      <a:pt x="353" y="344"/>
                    </a:lnTo>
                    <a:lnTo>
                      <a:pt x="354" y="337"/>
                    </a:lnTo>
                    <a:lnTo>
                      <a:pt x="346" y="344"/>
                    </a:lnTo>
                    <a:lnTo>
                      <a:pt x="337" y="358"/>
                    </a:lnTo>
                    <a:lnTo>
                      <a:pt x="328" y="368"/>
                    </a:lnTo>
                    <a:lnTo>
                      <a:pt x="322" y="373"/>
                    </a:lnTo>
                    <a:lnTo>
                      <a:pt x="316" y="368"/>
                    </a:lnTo>
                    <a:lnTo>
                      <a:pt x="316" y="363"/>
                    </a:lnTo>
                    <a:lnTo>
                      <a:pt x="311" y="358"/>
                    </a:lnTo>
                    <a:lnTo>
                      <a:pt x="308" y="349"/>
                    </a:lnTo>
                    <a:lnTo>
                      <a:pt x="303" y="339"/>
                    </a:lnTo>
                    <a:lnTo>
                      <a:pt x="299" y="334"/>
                    </a:lnTo>
                    <a:lnTo>
                      <a:pt x="287" y="325"/>
                    </a:lnTo>
                    <a:lnTo>
                      <a:pt x="273" y="322"/>
                    </a:lnTo>
                    <a:lnTo>
                      <a:pt x="256" y="318"/>
                    </a:lnTo>
                    <a:lnTo>
                      <a:pt x="244" y="318"/>
                    </a:lnTo>
                    <a:lnTo>
                      <a:pt x="230" y="318"/>
                    </a:lnTo>
                    <a:lnTo>
                      <a:pt x="224" y="322"/>
                    </a:lnTo>
                    <a:lnTo>
                      <a:pt x="217" y="325"/>
                    </a:lnTo>
                    <a:lnTo>
                      <a:pt x="210" y="329"/>
                    </a:lnTo>
                    <a:lnTo>
                      <a:pt x="199" y="330"/>
                    </a:lnTo>
                    <a:lnTo>
                      <a:pt x="189" y="332"/>
                    </a:lnTo>
                    <a:lnTo>
                      <a:pt x="179" y="334"/>
                    </a:lnTo>
                    <a:lnTo>
                      <a:pt x="170" y="335"/>
                    </a:lnTo>
                    <a:lnTo>
                      <a:pt x="162" y="335"/>
                    </a:lnTo>
                    <a:lnTo>
                      <a:pt x="156" y="339"/>
                    </a:lnTo>
                    <a:lnTo>
                      <a:pt x="151" y="344"/>
                    </a:lnTo>
                    <a:lnTo>
                      <a:pt x="150" y="354"/>
                    </a:lnTo>
                    <a:lnTo>
                      <a:pt x="132" y="356"/>
                    </a:lnTo>
                    <a:lnTo>
                      <a:pt x="119" y="358"/>
                    </a:lnTo>
                    <a:lnTo>
                      <a:pt x="110" y="356"/>
                    </a:lnTo>
                    <a:lnTo>
                      <a:pt x="105" y="358"/>
                    </a:lnTo>
                    <a:lnTo>
                      <a:pt x="91" y="359"/>
                    </a:lnTo>
                    <a:lnTo>
                      <a:pt x="81" y="366"/>
                    </a:lnTo>
                    <a:lnTo>
                      <a:pt x="69" y="372"/>
                    </a:lnTo>
                    <a:lnTo>
                      <a:pt x="57" y="375"/>
                    </a:lnTo>
                    <a:lnTo>
                      <a:pt x="46" y="372"/>
                    </a:lnTo>
                    <a:lnTo>
                      <a:pt x="34" y="368"/>
                    </a:lnTo>
                    <a:lnTo>
                      <a:pt x="26" y="363"/>
                    </a:lnTo>
                    <a:lnTo>
                      <a:pt x="22" y="358"/>
                    </a:lnTo>
                    <a:lnTo>
                      <a:pt x="27" y="346"/>
                    </a:lnTo>
                    <a:lnTo>
                      <a:pt x="34" y="334"/>
                    </a:lnTo>
                    <a:lnTo>
                      <a:pt x="33" y="323"/>
                    </a:lnTo>
                    <a:lnTo>
                      <a:pt x="29" y="315"/>
                    </a:lnTo>
                    <a:lnTo>
                      <a:pt x="26" y="308"/>
                    </a:lnTo>
                    <a:lnTo>
                      <a:pt x="24" y="303"/>
                    </a:lnTo>
                    <a:lnTo>
                      <a:pt x="19" y="287"/>
                    </a:lnTo>
                    <a:lnTo>
                      <a:pt x="17" y="277"/>
                    </a:lnTo>
                    <a:lnTo>
                      <a:pt x="14" y="265"/>
                    </a:lnTo>
                    <a:lnTo>
                      <a:pt x="10" y="253"/>
                    </a:lnTo>
                    <a:lnTo>
                      <a:pt x="3" y="244"/>
                    </a:lnTo>
                    <a:lnTo>
                      <a:pt x="0" y="236"/>
                    </a:lnTo>
                    <a:lnTo>
                      <a:pt x="2" y="232"/>
                    </a:lnTo>
                    <a:lnTo>
                      <a:pt x="3" y="229"/>
                    </a:lnTo>
                    <a:lnTo>
                      <a:pt x="5" y="232"/>
                    </a:lnTo>
                    <a:lnTo>
                      <a:pt x="9" y="236"/>
                    </a:lnTo>
                    <a:lnTo>
                      <a:pt x="9" y="232"/>
                    </a:lnTo>
                    <a:lnTo>
                      <a:pt x="9" y="229"/>
                    </a:lnTo>
                    <a:lnTo>
                      <a:pt x="5" y="217"/>
                    </a:lnTo>
                    <a:lnTo>
                      <a:pt x="2" y="203"/>
                    </a:lnTo>
                    <a:lnTo>
                      <a:pt x="2" y="193"/>
                    </a:lnTo>
                    <a:lnTo>
                      <a:pt x="2" y="186"/>
                    </a:lnTo>
                    <a:lnTo>
                      <a:pt x="2" y="179"/>
                    </a:lnTo>
                    <a:lnTo>
                      <a:pt x="2" y="174"/>
                    </a:lnTo>
                    <a:lnTo>
                      <a:pt x="3" y="169"/>
                    </a:lnTo>
                    <a:lnTo>
                      <a:pt x="7" y="167"/>
                    </a:lnTo>
                    <a:lnTo>
                      <a:pt x="7" y="169"/>
                    </a:lnTo>
                    <a:lnTo>
                      <a:pt x="9" y="172"/>
                    </a:lnTo>
                    <a:lnTo>
                      <a:pt x="22" y="163"/>
                    </a:lnTo>
                    <a:lnTo>
                      <a:pt x="34" y="153"/>
                    </a:lnTo>
                    <a:lnTo>
                      <a:pt x="39" y="148"/>
                    </a:lnTo>
                    <a:lnTo>
                      <a:pt x="50" y="146"/>
                    </a:lnTo>
                    <a:lnTo>
                      <a:pt x="58" y="145"/>
                    </a:lnTo>
                    <a:lnTo>
                      <a:pt x="69" y="145"/>
                    </a:lnTo>
                    <a:lnTo>
                      <a:pt x="76" y="141"/>
                    </a:lnTo>
                    <a:lnTo>
                      <a:pt x="84" y="139"/>
                    </a:lnTo>
                    <a:lnTo>
                      <a:pt x="95" y="136"/>
                    </a:lnTo>
                    <a:lnTo>
                      <a:pt x="105" y="133"/>
                    </a:lnTo>
                    <a:lnTo>
                      <a:pt x="113" y="126"/>
                    </a:lnTo>
                    <a:lnTo>
                      <a:pt x="122" y="120"/>
                    </a:lnTo>
                    <a:lnTo>
                      <a:pt x="125" y="115"/>
                    </a:lnTo>
                    <a:lnTo>
                      <a:pt x="129" y="110"/>
                    </a:lnTo>
                    <a:lnTo>
                      <a:pt x="129" y="105"/>
                    </a:lnTo>
                    <a:lnTo>
                      <a:pt x="129" y="102"/>
                    </a:lnTo>
                    <a:lnTo>
                      <a:pt x="129" y="93"/>
                    </a:lnTo>
                    <a:lnTo>
                      <a:pt x="136" y="88"/>
                    </a:lnTo>
                    <a:lnTo>
                      <a:pt x="139" y="93"/>
                    </a:lnTo>
                    <a:lnTo>
                      <a:pt x="143" y="98"/>
                    </a:lnTo>
                    <a:lnTo>
                      <a:pt x="146" y="90"/>
                    </a:lnTo>
                    <a:lnTo>
                      <a:pt x="148" y="83"/>
                    </a:lnTo>
                    <a:lnTo>
                      <a:pt x="153" y="84"/>
                    </a:lnTo>
                    <a:lnTo>
                      <a:pt x="158" y="86"/>
                    </a:lnTo>
                    <a:lnTo>
                      <a:pt x="158" y="76"/>
                    </a:lnTo>
                    <a:lnTo>
                      <a:pt x="163" y="71"/>
                    </a:lnTo>
                    <a:lnTo>
                      <a:pt x="167" y="64"/>
                    </a:lnTo>
                    <a:lnTo>
                      <a:pt x="170" y="59"/>
                    </a:lnTo>
                    <a:lnTo>
                      <a:pt x="177" y="55"/>
                    </a:lnTo>
                    <a:lnTo>
                      <a:pt x="184" y="53"/>
                    </a:lnTo>
                    <a:lnTo>
                      <a:pt x="189" y="48"/>
                    </a:lnTo>
                    <a:lnTo>
                      <a:pt x="198" y="48"/>
                    </a:lnTo>
                    <a:lnTo>
                      <a:pt x="206" y="53"/>
                    </a:lnTo>
                    <a:lnTo>
                      <a:pt x="211" y="67"/>
                    </a:lnTo>
                    <a:lnTo>
                      <a:pt x="217" y="62"/>
                    </a:lnTo>
                    <a:lnTo>
                      <a:pt x="224" y="62"/>
                    </a:lnTo>
                    <a:lnTo>
                      <a:pt x="227" y="64"/>
                    </a:lnTo>
                    <a:lnTo>
                      <a:pt x="230" y="65"/>
                    </a:lnTo>
                    <a:lnTo>
                      <a:pt x="232" y="59"/>
                    </a:lnTo>
                    <a:lnTo>
                      <a:pt x="232" y="53"/>
                    </a:lnTo>
                    <a:lnTo>
                      <a:pt x="236" y="43"/>
                    </a:lnTo>
                    <a:lnTo>
                      <a:pt x="241" y="35"/>
                    </a:lnTo>
                    <a:lnTo>
                      <a:pt x="242" y="29"/>
                    </a:lnTo>
                    <a:lnTo>
                      <a:pt x="251" y="26"/>
                    </a:lnTo>
                    <a:lnTo>
                      <a:pt x="260" y="24"/>
                    </a:lnTo>
                    <a:lnTo>
                      <a:pt x="268" y="24"/>
                    </a:lnTo>
                    <a:lnTo>
                      <a:pt x="273" y="22"/>
                    </a:lnTo>
                    <a:lnTo>
                      <a:pt x="279" y="21"/>
                    </a:lnTo>
                    <a:lnTo>
                      <a:pt x="272" y="14"/>
                    </a:lnTo>
                    <a:lnTo>
                      <a:pt x="268" y="9"/>
                    </a:lnTo>
                    <a:lnTo>
                      <a:pt x="279" y="12"/>
                    </a:lnTo>
                    <a:lnTo>
                      <a:pt x="291" y="17"/>
                    </a:lnTo>
                    <a:lnTo>
                      <a:pt x="301" y="21"/>
                    </a:lnTo>
                    <a:lnTo>
                      <a:pt x="315" y="22"/>
                    </a:lnTo>
                    <a:lnTo>
                      <a:pt x="322" y="21"/>
                    </a:lnTo>
                    <a:lnTo>
                      <a:pt x="328" y="19"/>
                    </a:lnTo>
                    <a:lnTo>
                      <a:pt x="334" y="21"/>
                    </a:lnTo>
                    <a:lnTo>
                      <a:pt x="339" y="28"/>
                    </a:lnTo>
                    <a:lnTo>
                      <a:pt x="334" y="33"/>
                    </a:lnTo>
                    <a:lnTo>
                      <a:pt x="327" y="38"/>
                    </a:lnTo>
                    <a:lnTo>
                      <a:pt x="322" y="64"/>
                    </a:lnTo>
                    <a:lnTo>
                      <a:pt x="325" y="65"/>
                    </a:lnTo>
                    <a:lnTo>
                      <a:pt x="332" y="69"/>
                    </a:lnTo>
                    <a:lnTo>
                      <a:pt x="334" y="74"/>
                    </a:lnTo>
                    <a:lnTo>
                      <a:pt x="337" y="79"/>
                    </a:lnTo>
                    <a:lnTo>
                      <a:pt x="346" y="81"/>
                    </a:lnTo>
                    <a:lnTo>
                      <a:pt x="353" y="84"/>
                    </a:lnTo>
                    <a:lnTo>
                      <a:pt x="359" y="86"/>
                    </a:lnTo>
                    <a:lnTo>
                      <a:pt x="370" y="91"/>
                    </a:lnTo>
                    <a:lnTo>
                      <a:pt x="378" y="98"/>
                    </a:lnTo>
                    <a:lnTo>
                      <a:pt x="390" y="105"/>
                    </a:lnTo>
                    <a:lnTo>
                      <a:pt x="399" y="98"/>
                    </a:lnTo>
                    <a:lnTo>
                      <a:pt x="406" y="88"/>
                    </a:lnTo>
                    <a:lnTo>
                      <a:pt x="408" y="74"/>
                    </a:lnTo>
                    <a:lnTo>
                      <a:pt x="411" y="64"/>
                    </a:lnTo>
                    <a:lnTo>
                      <a:pt x="411" y="17"/>
                    </a:lnTo>
                    <a:lnTo>
                      <a:pt x="418" y="9"/>
                    </a:lnTo>
                    <a:lnTo>
                      <a:pt x="425" y="0"/>
                    </a:lnTo>
                    <a:lnTo>
                      <a:pt x="425" y="9"/>
                    </a:lnTo>
                    <a:lnTo>
                      <a:pt x="430" y="17"/>
                    </a:lnTo>
                    <a:lnTo>
                      <a:pt x="433" y="24"/>
                    </a:lnTo>
                    <a:lnTo>
                      <a:pt x="437" y="33"/>
                    </a:lnTo>
                    <a:lnTo>
                      <a:pt x="437" y="43"/>
                    </a:lnTo>
                    <a:lnTo>
                      <a:pt x="442" y="53"/>
                    </a:lnTo>
                    <a:lnTo>
                      <a:pt x="451" y="55"/>
                    </a:lnTo>
                    <a:lnTo>
                      <a:pt x="457" y="59"/>
                    </a:lnTo>
                    <a:lnTo>
                      <a:pt x="461" y="62"/>
                    </a:lnTo>
                    <a:lnTo>
                      <a:pt x="463" y="71"/>
                    </a:lnTo>
                    <a:lnTo>
                      <a:pt x="464" y="79"/>
                    </a:lnTo>
                    <a:lnTo>
                      <a:pt x="466" y="88"/>
                    </a:lnTo>
                    <a:lnTo>
                      <a:pt x="468" y="95"/>
                    </a:lnTo>
                    <a:lnTo>
                      <a:pt x="473" y="103"/>
                    </a:lnTo>
                    <a:lnTo>
                      <a:pt x="475" y="110"/>
                    </a:lnTo>
                    <a:lnTo>
                      <a:pt x="480" y="120"/>
                    </a:lnTo>
                    <a:lnTo>
                      <a:pt x="483" y="126"/>
                    </a:lnTo>
                    <a:lnTo>
                      <a:pt x="494" y="133"/>
                    </a:lnTo>
                    <a:lnTo>
                      <a:pt x="504" y="138"/>
                    </a:lnTo>
                    <a:lnTo>
                      <a:pt x="514" y="145"/>
                    </a:lnTo>
                    <a:lnTo>
                      <a:pt x="519" y="157"/>
                    </a:lnTo>
                    <a:lnTo>
                      <a:pt x="523" y="169"/>
                    </a:lnTo>
                    <a:lnTo>
                      <a:pt x="528" y="174"/>
                    </a:lnTo>
                    <a:lnTo>
                      <a:pt x="540" y="176"/>
                    </a:lnTo>
                    <a:lnTo>
                      <a:pt x="542" y="186"/>
                    </a:lnTo>
                    <a:lnTo>
                      <a:pt x="550" y="196"/>
                    </a:lnTo>
                    <a:lnTo>
                      <a:pt x="559" y="205"/>
                    </a:lnTo>
                    <a:lnTo>
                      <a:pt x="569" y="213"/>
                    </a:lnTo>
                    <a:lnTo>
                      <a:pt x="568" y="2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4" name="Freeform 223"/>
              <p:cNvSpPr>
                <a:spLocks/>
              </p:cNvSpPr>
              <p:nvPr/>
            </p:nvSpPr>
            <p:spPr bwMode="auto">
              <a:xfrm>
                <a:off x="8149432" y="5181600"/>
                <a:ext cx="15875" cy="12700"/>
              </a:xfrm>
              <a:custGeom>
                <a:avLst/>
                <a:gdLst/>
                <a:ahLst/>
                <a:cxnLst>
                  <a:cxn ang="0">
                    <a:pos x="10" y="0"/>
                  </a:cxn>
                  <a:cxn ang="0">
                    <a:pos x="5" y="5"/>
                  </a:cxn>
                  <a:cxn ang="0">
                    <a:pos x="0" y="8"/>
                  </a:cxn>
                  <a:cxn ang="0">
                    <a:pos x="0" y="3"/>
                  </a:cxn>
                  <a:cxn ang="0">
                    <a:pos x="0" y="0"/>
                  </a:cxn>
                  <a:cxn ang="0">
                    <a:pos x="10" y="0"/>
                  </a:cxn>
                </a:cxnLst>
                <a:rect l="0" t="0" r="r" b="b"/>
                <a:pathLst>
                  <a:path w="10" h="8">
                    <a:moveTo>
                      <a:pt x="10" y="0"/>
                    </a:moveTo>
                    <a:lnTo>
                      <a:pt x="5" y="5"/>
                    </a:lnTo>
                    <a:lnTo>
                      <a:pt x="0" y="8"/>
                    </a:lnTo>
                    <a:lnTo>
                      <a:pt x="0" y="3"/>
                    </a:lnTo>
                    <a:lnTo>
                      <a:pt x="0"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5" name="Freeform 224"/>
              <p:cNvSpPr>
                <a:spLocks/>
              </p:cNvSpPr>
              <p:nvPr/>
            </p:nvSpPr>
            <p:spPr bwMode="auto">
              <a:xfrm>
                <a:off x="8127207" y="5006975"/>
                <a:ext cx="174625" cy="171450"/>
              </a:xfrm>
              <a:custGeom>
                <a:avLst/>
                <a:gdLst/>
                <a:ahLst/>
                <a:cxnLst>
                  <a:cxn ang="0">
                    <a:pos x="67" y="29"/>
                  </a:cxn>
                  <a:cxn ang="0">
                    <a:pos x="67" y="26"/>
                  </a:cxn>
                  <a:cxn ang="0">
                    <a:pos x="67" y="24"/>
                  </a:cxn>
                  <a:cxn ang="0">
                    <a:pos x="71" y="19"/>
                  </a:cxn>
                  <a:cxn ang="0">
                    <a:pos x="77" y="19"/>
                  </a:cxn>
                  <a:cxn ang="0">
                    <a:pos x="77" y="17"/>
                  </a:cxn>
                  <a:cxn ang="0">
                    <a:pos x="77" y="15"/>
                  </a:cxn>
                  <a:cxn ang="0">
                    <a:pos x="81" y="5"/>
                  </a:cxn>
                  <a:cxn ang="0">
                    <a:pos x="89" y="0"/>
                  </a:cxn>
                  <a:cxn ang="0">
                    <a:pos x="89" y="3"/>
                  </a:cxn>
                  <a:cxn ang="0">
                    <a:pos x="93" y="5"/>
                  </a:cxn>
                  <a:cxn ang="0">
                    <a:pos x="93" y="8"/>
                  </a:cxn>
                  <a:cxn ang="0">
                    <a:pos x="96" y="12"/>
                  </a:cxn>
                  <a:cxn ang="0">
                    <a:pos x="100" y="8"/>
                  </a:cxn>
                  <a:cxn ang="0">
                    <a:pos x="105" y="7"/>
                  </a:cxn>
                  <a:cxn ang="0">
                    <a:pos x="108" y="8"/>
                  </a:cxn>
                  <a:cxn ang="0">
                    <a:pos x="108" y="14"/>
                  </a:cxn>
                  <a:cxn ang="0">
                    <a:pos x="110" y="17"/>
                  </a:cxn>
                  <a:cxn ang="0">
                    <a:pos x="107" y="22"/>
                  </a:cxn>
                  <a:cxn ang="0">
                    <a:pos x="103" y="31"/>
                  </a:cxn>
                  <a:cxn ang="0">
                    <a:pos x="96" y="39"/>
                  </a:cxn>
                  <a:cxn ang="0">
                    <a:pos x="91" y="43"/>
                  </a:cxn>
                  <a:cxn ang="0">
                    <a:pos x="89" y="50"/>
                  </a:cxn>
                  <a:cxn ang="0">
                    <a:pos x="91" y="58"/>
                  </a:cxn>
                  <a:cxn ang="0">
                    <a:pos x="81" y="58"/>
                  </a:cxn>
                  <a:cxn ang="0">
                    <a:pos x="72" y="60"/>
                  </a:cxn>
                  <a:cxn ang="0">
                    <a:pos x="67" y="67"/>
                  </a:cxn>
                  <a:cxn ang="0">
                    <a:pos x="64" y="81"/>
                  </a:cxn>
                  <a:cxn ang="0">
                    <a:pos x="58" y="91"/>
                  </a:cxn>
                  <a:cxn ang="0">
                    <a:pos x="57" y="96"/>
                  </a:cxn>
                  <a:cxn ang="0">
                    <a:pos x="46" y="103"/>
                  </a:cxn>
                  <a:cxn ang="0">
                    <a:pos x="38" y="108"/>
                  </a:cxn>
                  <a:cxn ang="0">
                    <a:pos x="31" y="106"/>
                  </a:cxn>
                  <a:cxn ang="0">
                    <a:pos x="26" y="105"/>
                  </a:cxn>
                  <a:cxn ang="0">
                    <a:pos x="19" y="103"/>
                  </a:cxn>
                  <a:cxn ang="0">
                    <a:pos x="12" y="100"/>
                  </a:cxn>
                  <a:cxn ang="0">
                    <a:pos x="5" y="96"/>
                  </a:cxn>
                  <a:cxn ang="0">
                    <a:pos x="3" y="94"/>
                  </a:cxn>
                  <a:cxn ang="0">
                    <a:pos x="0" y="93"/>
                  </a:cxn>
                  <a:cxn ang="0">
                    <a:pos x="2" y="82"/>
                  </a:cxn>
                  <a:cxn ang="0">
                    <a:pos x="7" y="75"/>
                  </a:cxn>
                  <a:cxn ang="0">
                    <a:pos x="14" y="70"/>
                  </a:cxn>
                  <a:cxn ang="0">
                    <a:pos x="21" y="65"/>
                  </a:cxn>
                  <a:cxn ang="0">
                    <a:pos x="24" y="60"/>
                  </a:cxn>
                  <a:cxn ang="0">
                    <a:pos x="29" y="58"/>
                  </a:cxn>
                  <a:cxn ang="0">
                    <a:pos x="43" y="51"/>
                  </a:cxn>
                  <a:cxn ang="0">
                    <a:pos x="57" y="43"/>
                  </a:cxn>
                  <a:cxn ang="0">
                    <a:pos x="62" y="34"/>
                  </a:cxn>
                  <a:cxn ang="0">
                    <a:pos x="67" y="29"/>
                  </a:cxn>
                </a:cxnLst>
                <a:rect l="0" t="0" r="r" b="b"/>
                <a:pathLst>
                  <a:path w="110" h="108">
                    <a:moveTo>
                      <a:pt x="67" y="29"/>
                    </a:moveTo>
                    <a:lnTo>
                      <a:pt x="67" y="26"/>
                    </a:lnTo>
                    <a:lnTo>
                      <a:pt x="67" y="24"/>
                    </a:lnTo>
                    <a:lnTo>
                      <a:pt x="71" y="19"/>
                    </a:lnTo>
                    <a:lnTo>
                      <a:pt x="77" y="19"/>
                    </a:lnTo>
                    <a:lnTo>
                      <a:pt x="77" y="17"/>
                    </a:lnTo>
                    <a:lnTo>
                      <a:pt x="77" y="15"/>
                    </a:lnTo>
                    <a:lnTo>
                      <a:pt x="81" y="5"/>
                    </a:lnTo>
                    <a:lnTo>
                      <a:pt x="89" y="0"/>
                    </a:lnTo>
                    <a:lnTo>
                      <a:pt x="89" y="3"/>
                    </a:lnTo>
                    <a:lnTo>
                      <a:pt x="93" y="5"/>
                    </a:lnTo>
                    <a:lnTo>
                      <a:pt x="93" y="8"/>
                    </a:lnTo>
                    <a:lnTo>
                      <a:pt x="96" y="12"/>
                    </a:lnTo>
                    <a:lnTo>
                      <a:pt x="100" y="8"/>
                    </a:lnTo>
                    <a:lnTo>
                      <a:pt x="105" y="7"/>
                    </a:lnTo>
                    <a:lnTo>
                      <a:pt x="108" y="8"/>
                    </a:lnTo>
                    <a:lnTo>
                      <a:pt x="108" y="14"/>
                    </a:lnTo>
                    <a:lnTo>
                      <a:pt x="110" y="17"/>
                    </a:lnTo>
                    <a:lnTo>
                      <a:pt x="107" y="22"/>
                    </a:lnTo>
                    <a:lnTo>
                      <a:pt x="103" y="31"/>
                    </a:lnTo>
                    <a:lnTo>
                      <a:pt x="96" y="39"/>
                    </a:lnTo>
                    <a:lnTo>
                      <a:pt x="91" y="43"/>
                    </a:lnTo>
                    <a:lnTo>
                      <a:pt x="89" y="50"/>
                    </a:lnTo>
                    <a:lnTo>
                      <a:pt x="91" y="58"/>
                    </a:lnTo>
                    <a:lnTo>
                      <a:pt x="81" y="58"/>
                    </a:lnTo>
                    <a:lnTo>
                      <a:pt x="72" y="60"/>
                    </a:lnTo>
                    <a:lnTo>
                      <a:pt x="67" y="67"/>
                    </a:lnTo>
                    <a:lnTo>
                      <a:pt x="64" y="81"/>
                    </a:lnTo>
                    <a:lnTo>
                      <a:pt x="58" y="91"/>
                    </a:lnTo>
                    <a:lnTo>
                      <a:pt x="57" y="96"/>
                    </a:lnTo>
                    <a:lnTo>
                      <a:pt x="46" y="103"/>
                    </a:lnTo>
                    <a:lnTo>
                      <a:pt x="38" y="108"/>
                    </a:lnTo>
                    <a:lnTo>
                      <a:pt x="31" y="106"/>
                    </a:lnTo>
                    <a:lnTo>
                      <a:pt x="26" y="105"/>
                    </a:lnTo>
                    <a:lnTo>
                      <a:pt x="19" y="103"/>
                    </a:lnTo>
                    <a:lnTo>
                      <a:pt x="12" y="100"/>
                    </a:lnTo>
                    <a:lnTo>
                      <a:pt x="5" y="96"/>
                    </a:lnTo>
                    <a:lnTo>
                      <a:pt x="3" y="94"/>
                    </a:lnTo>
                    <a:lnTo>
                      <a:pt x="0" y="93"/>
                    </a:lnTo>
                    <a:lnTo>
                      <a:pt x="2" y="82"/>
                    </a:lnTo>
                    <a:lnTo>
                      <a:pt x="7" y="75"/>
                    </a:lnTo>
                    <a:lnTo>
                      <a:pt x="14" y="70"/>
                    </a:lnTo>
                    <a:lnTo>
                      <a:pt x="21" y="65"/>
                    </a:lnTo>
                    <a:lnTo>
                      <a:pt x="24" y="60"/>
                    </a:lnTo>
                    <a:lnTo>
                      <a:pt x="29" y="58"/>
                    </a:lnTo>
                    <a:lnTo>
                      <a:pt x="43" y="51"/>
                    </a:lnTo>
                    <a:lnTo>
                      <a:pt x="57" y="43"/>
                    </a:lnTo>
                    <a:lnTo>
                      <a:pt x="62" y="34"/>
                    </a:lnTo>
                    <a:lnTo>
                      <a:pt x="67"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6" name="Freeform 225"/>
              <p:cNvSpPr>
                <a:spLocks/>
              </p:cNvSpPr>
              <p:nvPr/>
            </p:nvSpPr>
            <p:spPr bwMode="auto">
              <a:xfrm>
                <a:off x="8271669" y="4840288"/>
                <a:ext cx="131763" cy="190500"/>
              </a:xfrm>
              <a:custGeom>
                <a:avLst/>
                <a:gdLst/>
                <a:ahLst/>
                <a:cxnLst>
                  <a:cxn ang="0">
                    <a:pos x="26" y="45"/>
                  </a:cxn>
                  <a:cxn ang="0">
                    <a:pos x="21" y="39"/>
                  </a:cxn>
                  <a:cxn ang="0">
                    <a:pos x="19" y="36"/>
                  </a:cxn>
                  <a:cxn ang="0">
                    <a:pos x="19" y="33"/>
                  </a:cxn>
                  <a:cxn ang="0">
                    <a:pos x="21" y="31"/>
                  </a:cxn>
                  <a:cxn ang="0">
                    <a:pos x="12" y="26"/>
                  </a:cxn>
                  <a:cxn ang="0">
                    <a:pos x="7" y="19"/>
                  </a:cxn>
                  <a:cxn ang="0">
                    <a:pos x="2" y="9"/>
                  </a:cxn>
                  <a:cxn ang="0">
                    <a:pos x="0" y="0"/>
                  </a:cxn>
                  <a:cxn ang="0">
                    <a:pos x="9" y="7"/>
                  </a:cxn>
                  <a:cxn ang="0">
                    <a:pos x="19" y="14"/>
                  </a:cxn>
                  <a:cxn ang="0">
                    <a:pos x="21" y="17"/>
                  </a:cxn>
                  <a:cxn ang="0">
                    <a:pos x="24" y="22"/>
                  </a:cxn>
                  <a:cxn ang="0">
                    <a:pos x="23" y="24"/>
                  </a:cxn>
                  <a:cxn ang="0">
                    <a:pos x="23" y="26"/>
                  </a:cxn>
                  <a:cxn ang="0">
                    <a:pos x="26" y="33"/>
                  </a:cxn>
                  <a:cxn ang="0">
                    <a:pos x="31" y="41"/>
                  </a:cxn>
                  <a:cxn ang="0">
                    <a:pos x="35" y="41"/>
                  </a:cxn>
                  <a:cxn ang="0">
                    <a:pos x="35" y="38"/>
                  </a:cxn>
                  <a:cxn ang="0">
                    <a:pos x="40" y="38"/>
                  </a:cxn>
                  <a:cxn ang="0">
                    <a:pos x="41" y="38"/>
                  </a:cxn>
                  <a:cxn ang="0">
                    <a:pos x="45" y="52"/>
                  </a:cxn>
                  <a:cxn ang="0">
                    <a:pos x="60" y="58"/>
                  </a:cxn>
                  <a:cxn ang="0">
                    <a:pos x="69" y="55"/>
                  </a:cxn>
                  <a:cxn ang="0">
                    <a:pos x="78" y="53"/>
                  </a:cxn>
                  <a:cxn ang="0">
                    <a:pos x="79" y="53"/>
                  </a:cxn>
                  <a:cxn ang="0">
                    <a:pos x="83" y="55"/>
                  </a:cxn>
                  <a:cxn ang="0">
                    <a:pos x="76" y="67"/>
                  </a:cxn>
                  <a:cxn ang="0">
                    <a:pos x="72" y="81"/>
                  </a:cxn>
                  <a:cxn ang="0">
                    <a:pos x="71" y="79"/>
                  </a:cxn>
                  <a:cxn ang="0">
                    <a:pos x="69" y="79"/>
                  </a:cxn>
                  <a:cxn ang="0">
                    <a:pos x="60" y="81"/>
                  </a:cxn>
                  <a:cxn ang="0">
                    <a:pos x="59" y="86"/>
                  </a:cxn>
                  <a:cxn ang="0">
                    <a:pos x="59" y="88"/>
                  </a:cxn>
                  <a:cxn ang="0">
                    <a:pos x="60" y="91"/>
                  </a:cxn>
                  <a:cxn ang="0">
                    <a:pos x="57" y="96"/>
                  </a:cxn>
                  <a:cxn ang="0">
                    <a:pos x="53" y="101"/>
                  </a:cxn>
                  <a:cxn ang="0">
                    <a:pos x="45" y="113"/>
                  </a:cxn>
                  <a:cxn ang="0">
                    <a:pos x="35" y="120"/>
                  </a:cxn>
                  <a:cxn ang="0">
                    <a:pos x="28" y="117"/>
                  </a:cxn>
                  <a:cxn ang="0">
                    <a:pos x="28" y="113"/>
                  </a:cxn>
                  <a:cxn ang="0">
                    <a:pos x="29" y="105"/>
                  </a:cxn>
                  <a:cxn ang="0">
                    <a:pos x="33" y="98"/>
                  </a:cxn>
                  <a:cxn ang="0">
                    <a:pos x="29" y="91"/>
                  </a:cxn>
                  <a:cxn ang="0">
                    <a:pos x="23" y="89"/>
                  </a:cxn>
                  <a:cxn ang="0">
                    <a:pos x="16" y="86"/>
                  </a:cxn>
                  <a:cxn ang="0">
                    <a:pos x="14" y="82"/>
                  </a:cxn>
                  <a:cxn ang="0">
                    <a:pos x="16" y="77"/>
                  </a:cxn>
                  <a:cxn ang="0">
                    <a:pos x="21" y="76"/>
                  </a:cxn>
                  <a:cxn ang="0">
                    <a:pos x="26" y="65"/>
                  </a:cxn>
                  <a:cxn ang="0">
                    <a:pos x="28" y="55"/>
                  </a:cxn>
                  <a:cxn ang="0">
                    <a:pos x="26" y="48"/>
                  </a:cxn>
                  <a:cxn ang="0">
                    <a:pos x="24" y="43"/>
                  </a:cxn>
                  <a:cxn ang="0">
                    <a:pos x="26" y="43"/>
                  </a:cxn>
                  <a:cxn ang="0">
                    <a:pos x="26" y="45"/>
                  </a:cxn>
                </a:cxnLst>
                <a:rect l="0" t="0" r="r" b="b"/>
                <a:pathLst>
                  <a:path w="83" h="120">
                    <a:moveTo>
                      <a:pt x="26" y="45"/>
                    </a:moveTo>
                    <a:lnTo>
                      <a:pt x="21" y="39"/>
                    </a:lnTo>
                    <a:lnTo>
                      <a:pt x="19" y="36"/>
                    </a:lnTo>
                    <a:lnTo>
                      <a:pt x="19" y="33"/>
                    </a:lnTo>
                    <a:lnTo>
                      <a:pt x="21" y="31"/>
                    </a:lnTo>
                    <a:lnTo>
                      <a:pt x="12" y="26"/>
                    </a:lnTo>
                    <a:lnTo>
                      <a:pt x="7" y="19"/>
                    </a:lnTo>
                    <a:lnTo>
                      <a:pt x="2" y="9"/>
                    </a:lnTo>
                    <a:lnTo>
                      <a:pt x="0" y="0"/>
                    </a:lnTo>
                    <a:lnTo>
                      <a:pt x="9" y="7"/>
                    </a:lnTo>
                    <a:lnTo>
                      <a:pt x="19" y="14"/>
                    </a:lnTo>
                    <a:lnTo>
                      <a:pt x="21" y="17"/>
                    </a:lnTo>
                    <a:lnTo>
                      <a:pt x="24" y="22"/>
                    </a:lnTo>
                    <a:lnTo>
                      <a:pt x="23" y="24"/>
                    </a:lnTo>
                    <a:lnTo>
                      <a:pt x="23" y="26"/>
                    </a:lnTo>
                    <a:lnTo>
                      <a:pt x="26" y="33"/>
                    </a:lnTo>
                    <a:lnTo>
                      <a:pt x="31" y="41"/>
                    </a:lnTo>
                    <a:lnTo>
                      <a:pt x="35" y="41"/>
                    </a:lnTo>
                    <a:lnTo>
                      <a:pt x="35" y="38"/>
                    </a:lnTo>
                    <a:lnTo>
                      <a:pt x="40" y="38"/>
                    </a:lnTo>
                    <a:lnTo>
                      <a:pt x="41" y="38"/>
                    </a:lnTo>
                    <a:lnTo>
                      <a:pt x="45" y="52"/>
                    </a:lnTo>
                    <a:lnTo>
                      <a:pt x="60" y="58"/>
                    </a:lnTo>
                    <a:lnTo>
                      <a:pt x="69" y="55"/>
                    </a:lnTo>
                    <a:lnTo>
                      <a:pt x="78" y="53"/>
                    </a:lnTo>
                    <a:lnTo>
                      <a:pt x="79" y="53"/>
                    </a:lnTo>
                    <a:lnTo>
                      <a:pt x="83" y="55"/>
                    </a:lnTo>
                    <a:lnTo>
                      <a:pt x="76" y="67"/>
                    </a:lnTo>
                    <a:lnTo>
                      <a:pt x="72" y="81"/>
                    </a:lnTo>
                    <a:lnTo>
                      <a:pt x="71" y="79"/>
                    </a:lnTo>
                    <a:lnTo>
                      <a:pt x="69" y="79"/>
                    </a:lnTo>
                    <a:lnTo>
                      <a:pt x="60" y="81"/>
                    </a:lnTo>
                    <a:lnTo>
                      <a:pt x="59" y="86"/>
                    </a:lnTo>
                    <a:lnTo>
                      <a:pt x="59" y="88"/>
                    </a:lnTo>
                    <a:lnTo>
                      <a:pt x="60" y="91"/>
                    </a:lnTo>
                    <a:lnTo>
                      <a:pt x="57" y="96"/>
                    </a:lnTo>
                    <a:lnTo>
                      <a:pt x="53" y="101"/>
                    </a:lnTo>
                    <a:lnTo>
                      <a:pt x="45" y="113"/>
                    </a:lnTo>
                    <a:lnTo>
                      <a:pt x="35" y="120"/>
                    </a:lnTo>
                    <a:lnTo>
                      <a:pt x="28" y="117"/>
                    </a:lnTo>
                    <a:lnTo>
                      <a:pt x="28" y="113"/>
                    </a:lnTo>
                    <a:lnTo>
                      <a:pt x="29" y="105"/>
                    </a:lnTo>
                    <a:lnTo>
                      <a:pt x="33" y="98"/>
                    </a:lnTo>
                    <a:lnTo>
                      <a:pt x="29" y="91"/>
                    </a:lnTo>
                    <a:lnTo>
                      <a:pt x="23" y="89"/>
                    </a:lnTo>
                    <a:lnTo>
                      <a:pt x="16" y="86"/>
                    </a:lnTo>
                    <a:lnTo>
                      <a:pt x="14" y="82"/>
                    </a:lnTo>
                    <a:lnTo>
                      <a:pt x="16" y="77"/>
                    </a:lnTo>
                    <a:lnTo>
                      <a:pt x="21" y="76"/>
                    </a:lnTo>
                    <a:lnTo>
                      <a:pt x="26" y="65"/>
                    </a:lnTo>
                    <a:lnTo>
                      <a:pt x="28" y="55"/>
                    </a:lnTo>
                    <a:lnTo>
                      <a:pt x="26" y="48"/>
                    </a:lnTo>
                    <a:lnTo>
                      <a:pt x="24" y="43"/>
                    </a:lnTo>
                    <a:lnTo>
                      <a:pt x="26" y="43"/>
                    </a:lnTo>
                    <a:lnTo>
                      <a:pt x="2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7" name="Freeform 226"/>
              <p:cNvSpPr>
                <a:spLocks/>
              </p:cNvSpPr>
              <p:nvPr/>
            </p:nvSpPr>
            <p:spPr bwMode="auto">
              <a:xfrm>
                <a:off x="8370094" y="4416425"/>
                <a:ext cx="26988" cy="22225"/>
              </a:xfrm>
              <a:custGeom>
                <a:avLst/>
                <a:gdLst/>
                <a:ahLst/>
                <a:cxnLst>
                  <a:cxn ang="0">
                    <a:pos x="12" y="0"/>
                  </a:cxn>
                  <a:cxn ang="0">
                    <a:pos x="14" y="4"/>
                  </a:cxn>
                  <a:cxn ang="0">
                    <a:pos x="17" y="6"/>
                  </a:cxn>
                  <a:cxn ang="0">
                    <a:pos x="17" y="11"/>
                  </a:cxn>
                  <a:cxn ang="0">
                    <a:pos x="14" y="12"/>
                  </a:cxn>
                  <a:cxn ang="0">
                    <a:pos x="10" y="14"/>
                  </a:cxn>
                  <a:cxn ang="0">
                    <a:pos x="4" y="12"/>
                  </a:cxn>
                  <a:cxn ang="0">
                    <a:pos x="0" y="11"/>
                  </a:cxn>
                  <a:cxn ang="0">
                    <a:pos x="4" y="2"/>
                  </a:cxn>
                  <a:cxn ang="0">
                    <a:pos x="12" y="0"/>
                  </a:cxn>
                </a:cxnLst>
                <a:rect l="0" t="0" r="r" b="b"/>
                <a:pathLst>
                  <a:path w="17" h="14">
                    <a:moveTo>
                      <a:pt x="12" y="0"/>
                    </a:moveTo>
                    <a:lnTo>
                      <a:pt x="14" y="4"/>
                    </a:lnTo>
                    <a:lnTo>
                      <a:pt x="17" y="6"/>
                    </a:lnTo>
                    <a:lnTo>
                      <a:pt x="17" y="11"/>
                    </a:lnTo>
                    <a:lnTo>
                      <a:pt x="14" y="12"/>
                    </a:lnTo>
                    <a:lnTo>
                      <a:pt x="10" y="14"/>
                    </a:lnTo>
                    <a:lnTo>
                      <a:pt x="4" y="12"/>
                    </a:lnTo>
                    <a:lnTo>
                      <a:pt x="0" y="11"/>
                    </a:lnTo>
                    <a:lnTo>
                      <a:pt x="4" y="2"/>
                    </a:lnTo>
                    <a:lnTo>
                      <a:pt x="1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8" name="Freeform 227"/>
              <p:cNvSpPr>
                <a:spLocks/>
              </p:cNvSpPr>
              <p:nvPr/>
            </p:nvSpPr>
            <p:spPr bwMode="auto">
              <a:xfrm>
                <a:off x="8403432" y="4395788"/>
                <a:ext cx="23813" cy="15875"/>
              </a:xfrm>
              <a:custGeom>
                <a:avLst/>
                <a:gdLst/>
                <a:ahLst/>
                <a:cxnLst>
                  <a:cxn ang="0">
                    <a:pos x="15" y="0"/>
                  </a:cxn>
                  <a:cxn ang="0">
                    <a:pos x="15" y="3"/>
                  </a:cxn>
                  <a:cxn ang="0">
                    <a:pos x="7" y="7"/>
                  </a:cxn>
                  <a:cxn ang="0">
                    <a:pos x="1" y="10"/>
                  </a:cxn>
                  <a:cxn ang="0">
                    <a:pos x="0" y="7"/>
                  </a:cxn>
                  <a:cxn ang="0">
                    <a:pos x="0" y="5"/>
                  </a:cxn>
                  <a:cxn ang="0">
                    <a:pos x="5" y="0"/>
                  </a:cxn>
                  <a:cxn ang="0">
                    <a:pos x="15" y="0"/>
                  </a:cxn>
                </a:cxnLst>
                <a:rect l="0" t="0" r="r" b="b"/>
                <a:pathLst>
                  <a:path w="15" h="10">
                    <a:moveTo>
                      <a:pt x="15" y="0"/>
                    </a:moveTo>
                    <a:lnTo>
                      <a:pt x="15" y="3"/>
                    </a:lnTo>
                    <a:lnTo>
                      <a:pt x="7" y="7"/>
                    </a:lnTo>
                    <a:lnTo>
                      <a:pt x="1" y="10"/>
                    </a:lnTo>
                    <a:lnTo>
                      <a:pt x="0" y="7"/>
                    </a:lnTo>
                    <a:lnTo>
                      <a:pt x="0" y="5"/>
                    </a:lnTo>
                    <a:lnTo>
                      <a:pt x="5"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9" name="Freeform 228"/>
              <p:cNvSpPr>
                <a:spLocks/>
              </p:cNvSpPr>
              <p:nvPr/>
            </p:nvSpPr>
            <p:spPr bwMode="auto">
              <a:xfrm>
                <a:off x="7114382" y="3789363"/>
                <a:ext cx="101600" cy="98425"/>
              </a:xfrm>
              <a:custGeom>
                <a:avLst/>
                <a:gdLst/>
                <a:ahLst/>
                <a:cxnLst>
                  <a:cxn ang="0">
                    <a:pos x="53" y="43"/>
                  </a:cxn>
                  <a:cxn ang="0">
                    <a:pos x="52" y="41"/>
                  </a:cxn>
                  <a:cxn ang="0">
                    <a:pos x="50" y="39"/>
                  </a:cxn>
                  <a:cxn ang="0">
                    <a:pos x="46" y="43"/>
                  </a:cxn>
                  <a:cxn ang="0">
                    <a:pos x="46" y="46"/>
                  </a:cxn>
                  <a:cxn ang="0">
                    <a:pos x="48" y="48"/>
                  </a:cxn>
                  <a:cxn ang="0">
                    <a:pos x="52" y="55"/>
                  </a:cxn>
                  <a:cxn ang="0">
                    <a:pos x="50" y="58"/>
                  </a:cxn>
                  <a:cxn ang="0">
                    <a:pos x="46" y="62"/>
                  </a:cxn>
                  <a:cxn ang="0">
                    <a:pos x="43" y="60"/>
                  </a:cxn>
                  <a:cxn ang="0">
                    <a:pos x="43" y="58"/>
                  </a:cxn>
                  <a:cxn ang="0">
                    <a:pos x="41" y="58"/>
                  </a:cxn>
                  <a:cxn ang="0">
                    <a:pos x="39" y="58"/>
                  </a:cxn>
                  <a:cxn ang="0">
                    <a:pos x="31" y="53"/>
                  </a:cxn>
                  <a:cxn ang="0">
                    <a:pos x="27" y="43"/>
                  </a:cxn>
                  <a:cxn ang="0">
                    <a:pos x="27" y="38"/>
                  </a:cxn>
                  <a:cxn ang="0">
                    <a:pos x="29" y="38"/>
                  </a:cxn>
                  <a:cxn ang="0">
                    <a:pos x="27" y="34"/>
                  </a:cxn>
                  <a:cxn ang="0">
                    <a:pos x="27" y="33"/>
                  </a:cxn>
                  <a:cxn ang="0">
                    <a:pos x="21" y="33"/>
                  </a:cxn>
                  <a:cxn ang="0">
                    <a:pos x="21" y="34"/>
                  </a:cxn>
                  <a:cxn ang="0">
                    <a:pos x="21" y="36"/>
                  </a:cxn>
                  <a:cxn ang="0">
                    <a:pos x="17" y="34"/>
                  </a:cxn>
                  <a:cxn ang="0">
                    <a:pos x="15" y="34"/>
                  </a:cxn>
                  <a:cxn ang="0">
                    <a:pos x="15" y="36"/>
                  </a:cxn>
                  <a:cxn ang="0">
                    <a:pos x="12" y="34"/>
                  </a:cxn>
                  <a:cxn ang="0">
                    <a:pos x="10" y="33"/>
                  </a:cxn>
                  <a:cxn ang="0">
                    <a:pos x="7" y="36"/>
                  </a:cxn>
                  <a:cxn ang="0">
                    <a:pos x="5" y="43"/>
                  </a:cxn>
                  <a:cxn ang="0">
                    <a:pos x="3" y="48"/>
                  </a:cxn>
                  <a:cxn ang="0">
                    <a:pos x="2" y="52"/>
                  </a:cxn>
                  <a:cxn ang="0">
                    <a:pos x="0" y="46"/>
                  </a:cxn>
                  <a:cxn ang="0">
                    <a:pos x="2" y="41"/>
                  </a:cxn>
                  <a:cxn ang="0">
                    <a:pos x="0" y="38"/>
                  </a:cxn>
                  <a:cxn ang="0">
                    <a:pos x="0" y="36"/>
                  </a:cxn>
                  <a:cxn ang="0">
                    <a:pos x="0" y="31"/>
                  </a:cxn>
                  <a:cxn ang="0">
                    <a:pos x="3" y="26"/>
                  </a:cxn>
                  <a:cxn ang="0">
                    <a:pos x="10" y="21"/>
                  </a:cxn>
                  <a:cxn ang="0">
                    <a:pos x="19" y="15"/>
                  </a:cxn>
                  <a:cxn ang="0">
                    <a:pos x="24" y="19"/>
                  </a:cxn>
                  <a:cxn ang="0">
                    <a:pos x="27" y="22"/>
                  </a:cxn>
                  <a:cxn ang="0">
                    <a:pos x="31" y="22"/>
                  </a:cxn>
                  <a:cxn ang="0">
                    <a:pos x="31" y="19"/>
                  </a:cxn>
                  <a:cxn ang="0">
                    <a:pos x="34" y="17"/>
                  </a:cxn>
                  <a:cxn ang="0">
                    <a:pos x="38" y="12"/>
                  </a:cxn>
                  <a:cxn ang="0">
                    <a:pos x="45" y="10"/>
                  </a:cxn>
                  <a:cxn ang="0">
                    <a:pos x="45" y="3"/>
                  </a:cxn>
                  <a:cxn ang="0">
                    <a:pos x="46" y="0"/>
                  </a:cxn>
                  <a:cxn ang="0">
                    <a:pos x="50" y="0"/>
                  </a:cxn>
                  <a:cxn ang="0">
                    <a:pos x="53" y="3"/>
                  </a:cxn>
                  <a:cxn ang="0">
                    <a:pos x="55" y="9"/>
                  </a:cxn>
                  <a:cxn ang="0">
                    <a:pos x="58" y="21"/>
                  </a:cxn>
                  <a:cxn ang="0">
                    <a:pos x="62" y="31"/>
                  </a:cxn>
                  <a:cxn ang="0">
                    <a:pos x="64" y="38"/>
                  </a:cxn>
                  <a:cxn ang="0">
                    <a:pos x="60" y="43"/>
                  </a:cxn>
                  <a:cxn ang="0">
                    <a:pos x="58" y="53"/>
                  </a:cxn>
                  <a:cxn ang="0">
                    <a:pos x="53" y="46"/>
                  </a:cxn>
                  <a:cxn ang="0">
                    <a:pos x="52" y="41"/>
                  </a:cxn>
                  <a:cxn ang="0">
                    <a:pos x="53" y="43"/>
                  </a:cxn>
                </a:cxnLst>
                <a:rect l="0" t="0" r="r" b="b"/>
                <a:pathLst>
                  <a:path w="64" h="62">
                    <a:moveTo>
                      <a:pt x="53" y="43"/>
                    </a:moveTo>
                    <a:lnTo>
                      <a:pt x="52" y="41"/>
                    </a:lnTo>
                    <a:lnTo>
                      <a:pt x="50" y="39"/>
                    </a:lnTo>
                    <a:lnTo>
                      <a:pt x="46" y="43"/>
                    </a:lnTo>
                    <a:lnTo>
                      <a:pt x="46" y="46"/>
                    </a:lnTo>
                    <a:lnTo>
                      <a:pt x="48" y="48"/>
                    </a:lnTo>
                    <a:lnTo>
                      <a:pt x="52" y="55"/>
                    </a:lnTo>
                    <a:lnTo>
                      <a:pt x="50" y="58"/>
                    </a:lnTo>
                    <a:lnTo>
                      <a:pt x="46" y="62"/>
                    </a:lnTo>
                    <a:lnTo>
                      <a:pt x="43" y="60"/>
                    </a:lnTo>
                    <a:lnTo>
                      <a:pt x="43" y="58"/>
                    </a:lnTo>
                    <a:lnTo>
                      <a:pt x="41" y="58"/>
                    </a:lnTo>
                    <a:lnTo>
                      <a:pt x="39" y="58"/>
                    </a:lnTo>
                    <a:lnTo>
                      <a:pt x="31" y="53"/>
                    </a:lnTo>
                    <a:lnTo>
                      <a:pt x="27" y="43"/>
                    </a:lnTo>
                    <a:lnTo>
                      <a:pt x="27" y="38"/>
                    </a:lnTo>
                    <a:lnTo>
                      <a:pt x="29" y="38"/>
                    </a:lnTo>
                    <a:lnTo>
                      <a:pt x="27" y="34"/>
                    </a:lnTo>
                    <a:lnTo>
                      <a:pt x="27" y="33"/>
                    </a:lnTo>
                    <a:lnTo>
                      <a:pt x="21" y="33"/>
                    </a:lnTo>
                    <a:lnTo>
                      <a:pt x="21" y="34"/>
                    </a:lnTo>
                    <a:lnTo>
                      <a:pt x="21" y="36"/>
                    </a:lnTo>
                    <a:lnTo>
                      <a:pt x="17" y="34"/>
                    </a:lnTo>
                    <a:lnTo>
                      <a:pt x="15" y="34"/>
                    </a:lnTo>
                    <a:lnTo>
                      <a:pt x="15" y="36"/>
                    </a:lnTo>
                    <a:lnTo>
                      <a:pt x="12" y="34"/>
                    </a:lnTo>
                    <a:lnTo>
                      <a:pt x="10" y="33"/>
                    </a:lnTo>
                    <a:lnTo>
                      <a:pt x="7" y="36"/>
                    </a:lnTo>
                    <a:lnTo>
                      <a:pt x="5" y="43"/>
                    </a:lnTo>
                    <a:lnTo>
                      <a:pt x="3" y="48"/>
                    </a:lnTo>
                    <a:lnTo>
                      <a:pt x="2" y="52"/>
                    </a:lnTo>
                    <a:lnTo>
                      <a:pt x="0" y="46"/>
                    </a:lnTo>
                    <a:lnTo>
                      <a:pt x="2" y="41"/>
                    </a:lnTo>
                    <a:lnTo>
                      <a:pt x="0" y="38"/>
                    </a:lnTo>
                    <a:lnTo>
                      <a:pt x="0" y="36"/>
                    </a:lnTo>
                    <a:lnTo>
                      <a:pt x="0" y="31"/>
                    </a:lnTo>
                    <a:lnTo>
                      <a:pt x="3" y="26"/>
                    </a:lnTo>
                    <a:lnTo>
                      <a:pt x="10" y="21"/>
                    </a:lnTo>
                    <a:lnTo>
                      <a:pt x="19" y="15"/>
                    </a:lnTo>
                    <a:lnTo>
                      <a:pt x="24" y="19"/>
                    </a:lnTo>
                    <a:lnTo>
                      <a:pt x="27" y="22"/>
                    </a:lnTo>
                    <a:lnTo>
                      <a:pt x="31" y="22"/>
                    </a:lnTo>
                    <a:lnTo>
                      <a:pt x="31" y="19"/>
                    </a:lnTo>
                    <a:lnTo>
                      <a:pt x="34" y="17"/>
                    </a:lnTo>
                    <a:lnTo>
                      <a:pt x="38" y="12"/>
                    </a:lnTo>
                    <a:lnTo>
                      <a:pt x="45" y="10"/>
                    </a:lnTo>
                    <a:lnTo>
                      <a:pt x="45" y="3"/>
                    </a:lnTo>
                    <a:lnTo>
                      <a:pt x="46" y="0"/>
                    </a:lnTo>
                    <a:lnTo>
                      <a:pt x="50" y="0"/>
                    </a:lnTo>
                    <a:lnTo>
                      <a:pt x="53" y="3"/>
                    </a:lnTo>
                    <a:lnTo>
                      <a:pt x="55" y="9"/>
                    </a:lnTo>
                    <a:lnTo>
                      <a:pt x="58" y="21"/>
                    </a:lnTo>
                    <a:lnTo>
                      <a:pt x="62" y="31"/>
                    </a:lnTo>
                    <a:lnTo>
                      <a:pt x="64" y="38"/>
                    </a:lnTo>
                    <a:lnTo>
                      <a:pt x="60" y="43"/>
                    </a:lnTo>
                    <a:lnTo>
                      <a:pt x="58" y="53"/>
                    </a:lnTo>
                    <a:lnTo>
                      <a:pt x="53" y="46"/>
                    </a:lnTo>
                    <a:lnTo>
                      <a:pt x="52" y="41"/>
                    </a:lnTo>
                    <a:lnTo>
                      <a:pt x="53"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0" name="Freeform 229"/>
              <p:cNvSpPr>
                <a:spLocks/>
              </p:cNvSpPr>
              <p:nvPr/>
            </p:nvSpPr>
            <p:spPr bwMode="auto">
              <a:xfrm>
                <a:off x="7015957" y="3763963"/>
                <a:ext cx="52388" cy="52387"/>
              </a:xfrm>
              <a:custGeom>
                <a:avLst/>
                <a:gdLst/>
                <a:ahLst/>
                <a:cxnLst>
                  <a:cxn ang="0">
                    <a:pos x="3" y="33"/>
                  </a:cxn>
                  <a:cxn ang="0">
                    <a:pos x="0" y="33"/>
                  </a:cxn>
                  <a:cxn ang="0">
                    <a:pos x="3" y="23"/>
                  </a:cxn>
                  <a:cxn ang="0">
                    <a:pos x="12" y="18"/>
                  </a:cxn>
                  <a:cxn ang="0">
                    <a:pos x="19" y="11"/>
                  </a:cxn>
                  <a:cxn ang="0">
                    <a:pos x="26" y="6"/>
                  </a:cxn>
                  <a:cxn ang="0">
                    <a:pos x="26" y="2"/>
                  </a:cxn>
                  <a:cxn ang="0">
                    <a:pos x="28" y="0"/>
                  </a:cxn>
                  <a:cxn ang="0">
                    <a:pos x="29" y="4"/>
                  </a:cxn>
                  <a:cxn ang="0">
                    <a:pos x="33" y="7"/>
                  </a:cxn>
                  <a:cxn ang="0">
                    <a:pos x="29" y="7"/>
                  </a:cxn>
                  <a:cxn ang="0">
                    <a:pos x="28" y="9"/>
                  </a:cxn>
                  <a:cxn ang="0">
                    <a:pos x="22" y="12"/>
                  </a:cxn>
                  <a:cxn ang="0">
                    <a:pos x="19" y="14"/>
                  </a:cxn>
                  <a:cxn ang="0">
                    <a:pos x="12" y="26"/>
                  </a:cxn>
                  <a:cxn ang="0">
                    <a:pos x="3" y="33"/>
                  </a:cxn>
                </a:cxnLst>
                <a:rect l="0" t="0" r="r" b="b"/>
                <a:pathLst>
                  <a:path w="33" h="33">
                    <a:moveTo>
                      <a:pt x="3" y="33"/>
                    </a:moveTo>
                    <a:lnTo>
                      <a:pt x="0" y="33"/>
                    </a:lnTo>
                    <a:lnTo>
                      <a:pt x="3" y="23"/>
                    </a:lnTo>
                    <a:lnTo>
                      <a:pt x="12" y="18"/>
                    </a:lnTo>
                    <a:lnTo>
                      <a:pt x="19" y="11"/>
                    </a:lnTo>
                    <a:lnTo>
                      <a:pt x="26" y="6"/>
                    </a:lnTo>
                    <a:lnTo>
                      <a:pt x="26" y="2"/>
                    </a:lnTo>
                    <a:lnTo>
                      <a:pt x="28" y="0"/>
                    </a:lnTo>
                    <a:lnTo>
                      <a:pt x="29" y="4"/>
                    </a:lnTo>
                    <a:lnTo>
                      <a:pt x="33" y="7"/>
                    </a:lnTo>
                    <a:lnTo>
                      <a:pt x="29" y="7"/>
                    </a:lnTo>
                    <a:lnTo>
                      <a:pt x="28" y="9"/>
                    </a:lnTo>
                    <a:lnTo>
                      <a:pt x="22" y="12"/>
                    </a:lnTo>
                    <a:lnTo>
                      <a:pt x="19" y="14"/>
                    </a:lnTo>
                    <a:lnTo>
                      <a:pt x="12" y="26"/>
                    </a:lnTo>
                    <a:lnTo>
                      <a:pt x="3"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1" name="Freeform 230"/>
              <p:cNvSpPr>
                <a:spLocks/>
              </p:cNvSpPr>
              <p:nvPr/>
            </p:nvSpPr>
            <p:spPr bwMode="auto">
              <a:xfrm>
                <a:off x="7054057" y="3587750"/>
                <a:ext cx="98425" cy="138112"/>
              </a:xfrm>
              <a:custGeom>
                <a:avLst/>
                <a:gdLst/>
                <a:ahLst/>
                <a:cxnLst>
                  <a:cxn ang="0">
                    <a:pos x="4" y="36"/>
                  </a:cxn>
                  <a:cxn ang="0">
                    <a:pos x="5" y="29"/>
                  </a:cxn>
                  <a:cxn ang="0">
                    <a:pos x="7" y="24"/>
                  </a:cxn>
                  <a:cxn ang="0">
                    <a:pos x="5" y="15"/>
                  </a:cxn>
                  <a:cxn ang="0">
                    <a:pos x="5" y="8"/>
                  </a:cxn>
                  <a:cxn ang="0">
                    <a:pos x="5" y="1"/>
                  </a:cxn>
                  <a:cxn ang="0">
                    <a:pos x="10" y="0"/>
                  </a:cxn>
                  <a:cxn ang="0">
                    <a:pos x="14" y="3"/>
                  </a:cxn>
                  <a:cxn ang="0">
                    <a:pos x="17" y="8"/>
                  </a:cxn>
                  <a:cxn ang="0">
                    <a:pos x="21" y="5"/>
                  </a:cxn>
                  <a:cxn ang="0">
                    <a:pos x="24" y="3"/>
                  </a:cxn>
                  <a:cxn ang="0">
                    <a:pos x="24" y="5"/>
                  </a:cxn>
                  <a:cxn ang="0">
                    <a:pos x="26" y="7"/>
                  </a:cxn>
                  <a:cxn ang="0">
                    <a:pos x="26" y="8"/>
                  </a:cxn>
                  <a:cxn ang="0">
                    <a:pos x="28" y="19"/>
                  </a:cxn>
                  <a:cxn ang="0">
                    <a:pos x="31" y="29"/>
                  </a:cxn>
                  <a:cxn ang="0">
                    <a:pos x="26" y="38"/>
                  </a:cxn>
                  <a:cxn ang="0">
                    <a:pos x="22" y="48"/>
                  </a:cxn>
                  <a:cxn ang="0">
                    <a:pos x="26" y="60"/>
                  </a:cxn>
                  <a:cxn ang="0">
                    <a:pos x="34" y="68"/>
                  </a:cxn>
                  <a:cxn ang="0">
                    <a:pos x="34" y="67"/>
                  </a:cxn>
                  <a:cxn ang="0">
                    <a:pos x="34" y="63"/>
                  </a:cxn>
                  <a:cxn ang="0">
                    <a:pos x="40" y="63"/>
                  </a:cxn>
                  <a:cxn ang="0">
                    <a:pos x="45" y="68"/>
                  </a:cxn>
                  <a:cxn ang="0">
                    <a:pos x="48" y="74"/>
                  </a:cxn>
                  <a:cxn ang="0">
                    <a:pos x="50" y="72"/>
                  </a:cxn>
                  <a:cxn ang="0">
                    <a:pos x="53" y="70"/>
                  </a:cxn>
                  <a:cxn ang="0">
                    <a:pos x="55" y="72"/>
                  </a:cxn>
                  <a:cxn ang="0">
                    <a:pos x="53" y="74"/>
                  </a:cxn>
                  <a:cxn ang="0">
                    <a:pos x="53" y="77"/>
                  </a:cxn>
                  <a:cxn ang="0">
                    <a:pos x="57" y="77"/>
                  </a:cxn>
                  <a:cxn ang="0">
                    <a:pos x="57" y="80"/>
                  </a:cxn>
                  <a:cxn ang="0">
                    <a:pos x="62" y="82"/>
                  </a:cxn>
                  <a:cxn ang="0">
                    <a:pos x="62" y="84"/>
                  </a:cxn>
                  <a:cxn ang="0">
                    <a:pos x="62" y="86"/>
                  </a:cxn>
                  <a:cxn ang="0">
                    <a:pos x="60" y="86"/>
                  </a:cxn>
                  <a:cxn ang="0">
                    <a:pos x="60" y="87"/>
                  </a:cxn>
                  <a:cxn ang="0">
                    <a:pos x="59" y="86"/>
                  </a:cxn>
                  <a:cxn ang="0">
                    <a:pos x="59" y="84"/>
                  </a:cxn>
                  <a:cxn ang="0">
                    <a:pos x="50" y="77"/>
                  </a:cxn>
                  <a:cxn ang="0">
                    <a:pos x="41" y="72"/>
                  </a:cxn>
                  <a:cxn ang="0">
                    <a:pos x="40" y="74"/>
                  </a:cxn>
                  <a:cxn ang="0">
                    <a:pos x="41" y="79"/>
                  </a:cxn>
                  <a:cxn ang="0">
                    <a:pos x="34" y="74"/>
                  </a:cxn>
                  <a:cxn ang="0">
                    <a:pos x="29" y="70"/>
                  </a:cxn>
                  <a:cxn ang="0">
                    <a:pos x="24" y="70"/>
                  </a:cxn>
                  <a:cxn ang="0">
                    <a:pos x="21" y="72"/>
                  </a:cxn>
                  <a:cxn ang="0">
                    <a:pos x="16" y="68"/>
                  </a:cxn>
                  <a:cxn ang="0">
                    <a:pos x="14" y="65"/>
                  </a:cxn>
                  <a:cxn ang="0">
                    <a:pos x="14" y="62"/>
                  </a:cxn>
                  <a:cxn ang="0">
                    <a:pos x="17" y="62"/>
                  </a:cxn>
                  <a:cxn ang="0">
                    <a:pos x="17" y="56"/>
                  </a:cxn>
                  <a:cxn ang="0">
                    <a:pos x="14" y="56"/>
                  </a:cxn>
                  <a:cxn ang="0">
                    <a:pos x="12" y="58"/>
                  </a:cxn>
                  <a:cxn ang="0">
                    <a:pos x="10" y="60"/>
                  </a:cxn>
                  <a:cxn ang="0">
                    <a:pos x="5" y="56"/>
                  </a:cxn>
                  <a:cxn ang="0">
                    <a:pos x="2" y="51"/>
                  </a:cxn>
                  <a:cxn ang="0">
                    <a:pos x="0" y="41"/>
                  </a:cxn>
                  <a:cxn ang="0">
                    <a:pos x="4" y="36"/>
                  </a:cxn>
                </a:cxnLst>
                <a:rect l="0" t="0" r="r" b="b"/>
                <a:pathLst>
                  <a:path w="62" h="87">
                    <a:moveTo>
                      <a:pt x="4" y="36"/>
                    </a:moveTo>
                    <a:lnTo>
                      <a:pt x="5" y="29"/>
                    </a:lnTo>
                    <a:lnTo>
                      <a:pt x="7" y="24"/>
                    </a:lnTo>
                    <a:lnTo>
                      <a:pt x="5" y="15"/>
                    </a:lnTo>
                    <a:lnTo>
                      <a:pt x="5" y="8"/>
                    </a:lnTo>
                    <a:lnTo>
                      <a:pt x="5" y="1"/>
                    </a:lnTo>
                    <a:lnTo>
                      <a:pt x="10" y="0"/>
                    </a:lnTo>
                    <a:lnTo>
                      <a:pt x="14" y="3"/>
                    </a:lnTo>
                    <a:lnTo>
                      <a:pt x="17" y="8"/>
                    </a:lnTo>
                    <a:lnTo>
                      <a:pt x="21" y="5"/>
                    </a:lnTo>
                    <a:lnTo>
                      <a:pt x="24" y="3"/>
                    </a:lnTo>
                    <a:lnTo>
                      <a:pt x="24" y="5"/>
                    </a:lnTo>
                    <a:lnTo>
                      <a:pt x="26" y="7"/>
                    </a:lnTo>
                    <a:lnTo>
                      <a:pt x="26" y="8"/>
                    </a:lnTo>
                    <a:lnTo>
                      <a:pt x="28" y="19"/>
                    </a:lnTo>
                    <a:lnTo>
                      <a:pt x="31" y="29"/>
                    </a:lnTo>
                    <a:lnTo>
                      <a:pt x="26" y="38"/>
                    </a:lnTo>
                    <a:lnTo>
                      <a:pt x="22" y="48"/>
                    </a:lnTo>
                    <a:lnTo>
                      <a:pt x="26" y="60"/>
                    </a:lnTo>
                    <a:lnTo>
                      <a:pt x="34" y="68"/>
                    </a:lnTo>
                    <a:lnTo>
                      <a:pt x="34" y="67"/>
                    </a:lnTo>
                    <a:lnTo>
                      <a:pt x="34" y="63"/>
                    </a:lnTo>
                    <a:lnTo>
                      <a:pt x="40" y="63"/>
                    </a:lnTo>
                    <a:lnTo>
                      <a:pt x="45" y="68"/>
                    </a:lnTo>
                    <a:lnTo>
                      <a:pt x="48" y="74"/>
                    </a:lnTo>
                    <a:lnTo>
                      <a:pt x="50" y="72"/>
                    </a:lnTo>
                    <a:lnTo>
                      <a:pt x="53" y="70"/>
                    </a:lnTo>
                    <a:lnTo>
                      <a:pt x="55" y="72"/>
                    </a:lnTo>
                    <a:lnTo>
                      <a:pt x="53" y="74"/>
                    </a:lnTo>
                    <a:lnTo>
                      <a:pt x="53" y="77"/>
                    </a:lnTo>
                    <a:lnTo>
                      <a:pt x="57" y="77"/>
                    </a:lnTo>
                    <a:lnTo>
                      <a:pt x="57" y="80"/>
                    </a:lnTo>
                    <a:lnTo>
                      <a:pt x="62" y="82"/>
                    </a:lnTo>
                    <a:lnTo>
                      <a:pt x="62" y="84"/>
                    </a:lnTo>
                    <a:lnTo>
                      <a:pt x="62" y="86"/>
                    </a:lnTo>
                    <a:lnTo>
                      <a:pt x="60" y="86"/>
                    </a:lnTo>
                    <a:lnTo>
                      <a:pt x="60" y="87"/>
                    </a:lnTo>
                    <a:lnTo>
                      <a:pt x="59" y="86"/>
                    </a:lnTo>
                    <a:lnTo>
                      <a:pt x="59" y="84"/>
                    </a:lnTo>
                    <a:lnTo>
                      <a:pt x="50" y="77"/>
                    </a:lnTo>
                    <a:lnTo>
                      <a:pt x="41" y="72"/>
                    </a:lnTo>
                    <a:lnTo>
                      <a:pt x="40" y="74"/>
                    </a:lnTo>
                    <a:lnTo>
                      <a:pt x="41" y="79"/>
                    </a:lnTo>
                    <a:lnTo>
                      <a:pt x="34" y="74"/>
                    </a:lnTo>
                    <a:lnTo>
                      <a:pt x="29" y="70"/>
                    </a:lnTo>
                    <a:lnTo>
                      <a:pt x="24" y="70"/>
                    </a:lnTo>
                    <a:lnTo>
                      <a:pt x="21" y="72"/>
                    </a:lnTo>
                    <a:lnTo>
                      <a:pt x="16" y="68"/>
                    </a:lnTo>
                    <a:lnTo>
                      <a:pt x="14" y="65"/>
                    </a:lnTo>
                    <a:lnTo>
                      <a:pt x="14" y="62"/>
                    </a:lnTo>
                    <a:lnTo>
                      <a:pt x="17" y="62"/>
                    </a:lnTo>
                    <a:lnTo>
                      <a:pt x="17" y="56"/>
                    </a:lnTo>
                    <a:lnTo>
                      <a:pt x="14" y="56"/>
                    </a:lnTo>
                    <a:lnTo>
                      <a:pt x="12" y="58"/>
                    </a:lnTo>
                    <a:lnTo>
                      <a:pt x="10" y="60"/>
                    </a:lnTo>
                    <a:lnTo>
                      <a:pt x="5" y="56"/>
                    </a:lnTo>
                    <a:lnTo>
                      <a:pt x="2" y="51"/>
                    </a:lnTo>
                    <a:lnTo>
                      <a:pt x="0" y="41"/>
                    </a:lnTo>
                    <a:lnTo>
                      <a:pt x="4"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2" name="Freeform 231"/>
              <p:cNvSpPr>
                <a:spLocks/>
              </p:cNvSpPr>
              <p:nvPr/>
            </p:nvSpPr>
            <p:spPr bwMode="auto">
              <a:xfrm>
                <a:off x="7155657" y="3729038"/>
                <a:ext cx="31750" cy="53975"/>
              </a:xfrm>
              <a:custGeom>
                <a:avLst/>
                <a:gdLst/>
                <a:ahLst/>
                <a:cxnLst>
                  <a:cxn ang="0">
                    <a:pos x="19" y="22"/>
                  </a:cxn>
                  <a:cxn ang="0">
                    <a:pos x="12" y="22"/>
                  </a:cxn>
                  <a:cxn ang="0">
                    <a:pos x="12" y="28"/>
                  </a:cxn>
                  <a:cxn ang="0">
                    <a:pos x="15" y="33"/>
                  </a:cxn>
                  <a:cxn ang="0">
                    <a:pos x="15" y="34"/>
                  </a:cxn>
                  <a:cxn ang="0">
                    <a:pos x="13" y="34"/>
                  </a:cxn>
                  <a:cxn ang="0">
                    <a:pos x="12" y="34"/>
                  </a:cxn>
                  <a:cxn ang="0">
                    <a:pos x="8" y="31"/>
                  </a:cxn>
                  <a:cxn ang="0">
                    <a:pos x="10" y="29"/>
                  </a:cxn>
                  <a:cxn ang="0">
                    <a:pos x="10" y="26"/>
                  </a:cxn>
                  <a:cxn ang="0">
                    <a:pos x="5" y="22"/>
                  </a:cxn>
                  <a:cxn ang="0">
                    <a:pos x="3" y="21"/>
                  </a:cxn>
                  <a:cxn ang="0">
                    <a:pos x="3" y="17"/>
                  </a:cxn>
                  <a:cxn ang="0">
                    <a:pos x="5" y="17"/>
                  </a:cxn>
                  <a:cxn ang="0">
                    <a:pos x="8" y="17"/>
                  </a:cxn>
                  <a:cxn ang="0">
                    <a:pos x="10" y="16"/>
                  </a:cxn>
                  <a:cxn ang="0">
                    <a:pos x="12" y="16"/>
                  </a:cxn>
                  <a:cxn ang="0">
                    <a:pos x="5" y="7"/>
                  </a:cxn>
                  <a:cxn ang="0">
                    <a:pos x="0" y="2"/>
                  </a:cxn>
                  <a:cxn ang="0">
                    <a:pos x="1" y="0"/>
                  </a:cxn>
                  <a:cxn ang="0">
                    <a:pos x="5" y="0"/>
                  </a:cxn>
                  <a:cxn ang="0">
                    <a:pos x="10" y="0"/>
                  </a:cxn>
                  <a:cxn ang="0">
                    <a:pos x="15" y="2"/>
                  </a:cxn>
                  <a:cxn ang="0">
                    <a:pos x="15" y="4"/>
                  </a:cxn>
                  <a:cxn ang="0">
                    <a:pos x="15" y="7"/>
                  </a:cxn>
                  <a:cxn ang="0">
                    <a:pos x="17" y="7"/>
                  </a:cxn>
                  <a:cxn ang="0">
                    <a:pos x="17" y="10"/>
                  </a:cxn>
                  <a:cxn ang="0">
                    <a:pos x="17" y="14"/>
                  </a:cxn>
                  <a:cxn ang="0">
                    <a:pos x="19" y="16"/>
                  </a:cxn>
                  <a:cxn ang="0">
                    <a:pos x="20" y="17"/>
                  </a:cxn>
                  <a:cxn ang="0">
                    <a:pos x="19" y="19"/>
                  </a:cxn>
                  <a:cxn ang="0">
                    <a:pos x="19" y="22"/>
                  </a:cxn>
                </a:cxnLst>
                <a:rect l="0" t="0" r="r" b="b"/>
                <a:pathLst>
                  <a:path w="20" h="34">
                    <a:moveTo>
                      <a:pt x="19" y="22"/>
                    </a:moveTo>
                    <a:lnTo>
                      <a:pt x="12" y="22"/>
                    </a:lnTo>
                    <a:lnTo>
                      <a:pt x="12" y="28"/>
                    </a:lnTo>
                    <a:lnTo>
                      <a:pt x="15" y="33"/>
                    </a:lnTo>
                    <a:lnTo>
                      <a:pt x="15" y="34"/>
                    </a:lnTo>
                    <a:lnTo>
                      <a:pt x="13" y="34"/>
                    </a:lnTo>
                    <a:lnTo>
                      <a:pt x="12" y="34"/>
                    </a:lnTo>
                    <a:lnTo>
                      <a:pt x="8" y="31"/>
                    </a:lnTo>
                    <a:lnTo>
                      <a:pt x="10" y="29"/>
                    </a:lnTo>
                    <a:lnTo>
                      <a:pt x="10" y="26"/>
                    </a:lnTo>
                    <a:lnTo>
                      <a:pt x="5" y="22"/>
                    </a:lnTo>
                    <a:lnTo>
                      <a:pt x="3" y="21"/>
                    </a:lnTo>
                    <a:lnTo>
                      <a:pt x="3" y="17"/>
                    </a:lnTo>
                    <a:lnTo>
                      <a:pt x="5" y="17"/>
                    </a:lnTo>
                    <a:lnTo>
                      <a:pt x="8" y="17"/>
                    </a:lnTo>
                    <a:lnTo>
                      <a:pt x="10" y="16"/>
                    </a:lnTo>
                    <a:lnTo>
                      <a:pt x="12" y="16"/>
                    </a:lnTo>
                    <a:lnTo>
                      <a:pt x="5" y="7"/>
                    </a:lnTo>
                    <a:lnTo>
                      <a:pt x="0" y="2"/>
                    </a:lnTo>
                    <a:lnTo>
                      <a:pt x="1" y="0"/>
                    </a:lnTo>
                    <a:lnTo>
                      <a:pt x="5" y="0"/>
                    </a:lnTo>
                    <a:lnTo>
                      <a:pt x="10" y="0"/>
                    </a:lnTo>
                    <a:lnTo>
                      <a:pt x="15" y="2"/>
                    </a:lnTo>
                    <a:lnTo>
                      <a:pt x="15" y="4"/>
                    </a:lnTo>
                    <a:lnTo>
                      <a:pt x="15" y="7"/>
                    </a:lnTo>
                    <a:lnTo>
                      <a:pt x="17" y="7"/>
                    </a:lnTo>
                    <a:lnTo>
                      <a:pt x="17" y="10"/>
                    </a:lnTo>
                    <a:lnTo>
                      <a:pt x="17" y="14"/>
                    </a:lnTo>
                    <a:lnTo>
                      <a:pt x="19" y="16"/>
                    </a:lnTo>
                    <a:lnTo>
                      <a:pt x="20" y="17"/>
                    </a:lnTo>
                    <a:lnTo>
                      <a:pt x="19" y="19"/>
                    </a:lnTo>
                    <a:lnTo>
                      <a:pt x="19"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3" name="Freeform 232"/>
              <p:cNvSpPr>
                <a:spLocks/>
              </p:cNvSpPr>
              <p:nvPr/>
            </p:nvSpPr>
            <p:spPr bwMode="auto">
              <a:xfrm>
                <a:off x="7108032" y="3743325"/>
                <a:ext cx="25400" cy="34925"/>
              </a:xfrm>
              <a:custGeom>
                <a:avLst/>
                <a:gdLst/>
                <a:ahLst/>
                <a:cxnLst>
                  <a:cxn ang="0">
                    <a:pos x="4" y="1"/>
                  </a:cxn>
                  <a:cxn ang="0">
                    <a:pos x="9" y="3"/>
                  </a:cxn>
                  <a:cxn ang="0">
                    <a:pos x="16" y="8"/>
                  </a:cxn>
                  <a:cxn ang="0">
                    <a:pos x="9" y="17"/>
                  </a:cxn>
                  <a:cxn ang="0">
                    <a:pos x="2" y="22"/>
                  </a:cxn>
                  <a:cxn ang="0">
                    <a:pos x="0" y="10"/>
                  </a:cxn>
                  <a:cxn ang="0">
                    <a:pos x="0" y="3"/>
                  </a:cxn>
                  <a:cxn ang="0">
                    <a:pos x="0" y="0"/>
                  </a:cxn>
                  <a:cxn ang="0">
                    <a:pos x="2" y="0"/>
                  </a:cxn>
                  <a:cxn ang="0">
                    <a:pos x="4" y="0"/>
                  </a:cxn>
                  <a:cxn ang="0">
                    <a:pos x="6" y="3"/>
                  </a:cxn>
                  <a:cxn ang="0">
                    <a:pos x="4" y="1"/>
                  </a:cxn>
                </a:cxnLst>
                <a:rect l="0" t="0" r="r" b="b"/>
                <a:pathLst>
                  <a:path w="16" h="22">
                    <a:moveTo>
                      <a:pt x="4" y="1"/>
                    </a:moveTo>
                    <a:lnTo>
                      <a:pt x="9" y="3"/>
                    </a:lnTo>
                    <a:lnTo>
                      <a:pt x="16" y="8"/>
                    </a:lnTo>
                    <a:lnTo>
                      <a:pt x="9" y="17"/>
                    </a:lnTo>
                    <a:lnTo>
                      <a:pt x="2" y="22"/>
                    </a:lnTo>
                    <a:lnTo>
                      <a:pt x="0" y="10"/>
                    </a:lnTo>
                    <a:lnTo>
                      <a:pt x="0" y="3"/>
                    </a:lnTo>
                    <a:lnTo>
                      <a:pt x="0" y="0"/>
                    </a:lnTo>
                    <a:lnTo>
                      <a:pt x="2" y="0"/>
                    </a:lnTo>
                    <a:lnTo>
                      <a:pt x="4" y="0"/>
                    </a:lnTo>
                    <a:lnTo>
                      <a:pt x="6" y="3"/>
                    </a:lnTo>
                    <a:lnTo>
                      <a:pt x="4"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4" name="Freeform 233"/>
              <p:cNvSpPr>
                <a:spLocks/>
              </p:cNvSpPr>
              <p:nvPr/>
            </p:nvSpPr>
            <p:spPr bwMode="auto">
              <a:xfrm>
                <a:off x="7122319" y="3767138"/>
                <a:ext cx="26988" cy="41275"/>
              </a:xfrm>
              <a:custGeom>
                <a:avLst/>
                <a:gdLst/>
                <a:ahLst/>
                <a:cxnLst>
                  <a:cxn ang="0">
                    <a:pos x="17" y="5"/>
                  </a:cxn>
                  <a:cxn ang="0">
                    <a:pos x="14" y="12"/>
                  </a:cxn>
                  <a:cxn ang="0">
                    <a:pos x="12" y="19"/>
                  </a:cxn>
                  <a:cxn ang="0">
                    <a:pos x="12" y="21"/>
                  </a:cxn>
                  <a:cxn ang="0">
                    <a:pos x="14" y="24"/>
                  </a:cxn>
                  <a:cxn ang="0">
                    <a:pos x="12" y="24"/>
                  </a:cxn>
                  <a:cxn ang="0">
                    <a:pos x="10" y="26"/>
                  </a:cxn>
                  <a:cxn ang="0">
                    <a:pos x="4" y="21"/>
                  </a:cxn>
                  <a:cxn ang="0">
                    <a:pos x="0" y="16"/>
                  </a:cxn>
                  <a:cxn ang="0">
                    <a:pos x="2" y="12"/>
                  </a:cxn>
                  <a:cxn ang="0">
                    <a:pos x="5" y="12"/>
                  </a:cxn>
                  <a:cxn ang="0">
                    <a:pos x="5" y="5"/>
                  </a:cxn>
                  <a:cxn ang="0">
                    <a:pos x="10" y="0"/>
                  </a:cxn>
                  <a:cxn ang="0">
                    <a:pos x="14" y="0"/>
                  </a:cxn>
                  <a:cxn ang="0">
                    <a:pos x="17" y="5"/>
                  </a:cxn>
                </a:cxnLst>
                <a:rect l="0" t="0" r="r" b="b"/>
                <a:pathLst>
                  <a:path w="17" h="26">
                    <a:moveTo>
                      <a:pt x="17" y="5"/>
                    </a:moveTo>
                    <a:lnTo>
                      <a:pt x="14" y="12"/>
                    </a:lnTo>
                    <a:lnTo>
                      <a:pt x="12" y="19"/>
                    </a:lnTo>
                    <a:lnTo>
                      <a:pt x="12" y="21"/>
                    </a:lnTo>
                    <a:lnTo>
                      <a:pt x="14" y="24"/>
                    </a:lnTo>
                    <a:lnTo>
                      <a:pt x="12" y="24"/>
                    </a:lnTo>
                    <a:lnTo>
                      <a:pt x="10" y="26"/>
                    </a:lnTo>
                    <a:lnTo>
                      <a:pt x="4" y="21"/>
                    </a:lnTo>
                    <a:lnTo>
                      <a:pt x="0" y="16"/>
                    </a:lnTo>
                    <a:lnTo>
                      <a:pt x="2" y="12"/>
                    </a:lnTo>
                    <a:lnTo>
                      <a:pt x="5" y="12"/>
                    </a:lnTo>
                    <a:lnTo>
                      <a:pt x="5" y="5"/>
                    </a:lnTo>
                    <a:lnTo>
                      <a:pt x="10" y="0"/>
                    </a:lnTo>
                    <a:lnTo>
                      <a:pt x="14" y="0"/>
                    </a:lnTo>
                    <a:lnTo>
                      <a:pt x="1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5" name="Freeform 234"/>
              <p:cNvSpPr>
                <a:spLocks/>
              </p:cNvSpPr>
              <p:nvPr/>
            </p:nvSpPr>
            <p:spPr bwMode="auto">
              <a:xfrm>
                <a:off x="7144544" y="3767138"/>
                <a:ext cx="12700" cy="26987"/>
              </a:xfrm>
              <a:custGeom>
                <a:avLst/>
                <a:gdLst/>
                <a:ahLst/>
                <a:cxnLst>
                  <a:cxn ang="0">
                    <a:pos x="8" y="0"/>
                  </a:cxn>
                  <a:cxn ang="0">
                    <a:pos x="5" y="9"/>
                  </a:cxn>
                  <a:cxn ang="0">
                    <a:pos x="3" y="17"/>
                  </a:cxn>
                  <a:cxn ang="0">
                    <a:pos x="0" y="17"/>
                  </a:cxn>
                  <a:cxn ang="0">
                    <a:pos x="2" y="9"/>
                  </a:cxn>
                  <a:cxn ang="0">
                    <a:pos x="5" y="0"/>
                  </a:cxn>
                  <a:cxn ang="0">
                    <a:pos x="7" y="0"/>
                  </a:cxn>
                  <a:cxn ang="0">
                    <a:pos x="8" y="0"/>
                  </a:cxn>
                </a:cxnLst>
                <a:rect l="0" t="0" r="r" b="b"/>
                <a:pathLst>
                  <a:path w="8" h="17">
                    <a:moveTo>
                      <a:pt x="8" y="0"/>
                    </a:moveTo>
                    <a:lnTo>
                      <a:pt x="5" y="9"/>
                    </a:lnTo>
                    <a:lnTo>
                      <a:pt x="3" y="17"/>
                    </a:lnTo>
                    <a:lnTo>
                      <a:pt x="0" y="17"/>
                    </a:lnTo>
                    <a:lnTo>
                      <a:pt x="2" y="9"/>
                    </a:lnTo>
                    <a:lnTo>
                      <a:pt x="5" y="0"/>
                    </a:lnTo>
                    <a:lnTo>
                      <a:pt x="7" y="0"/>
                    </a:lnTo>
                    <a:lnTo>
                      <a:pt x="8"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6" name="Freeform 235"/>
              <p:cNvSpPr>
                <a:spLocks/>
              </p:cNvSpPr>
              <p:nvPr/>
            </p:nvSpPr>
            <p:spPr bwMode="auto">
              <a:xfrm>
                <a:off x="7152482" y="3786188"/>
                <a:ext cx="15875" cy="14287"/>
              </a:xfrm>
              <a:custGeom>
                <a:avLst/>
                <a:gdLst/>
                <a:ahLst/>
                <a:cxnLst>
                  <a:cxn ang="0">
                    <a:pos x="10" y="0"/>
                  </a:cxn>
                  <a:cxn ang="0">
                    <a:pos x="7" y="5"/>
                  </a:cxn>
                  <a:cxn ang="0">
                    <a:pos x="2" y="9"/>
                  </a:cxn>
                  <a:cxn ang="0">
                    <a:pos x="0" y="7"/>
                  </a:cxn>
                  <a:cxn ang="0">
                    <a:pos x="0" y="5"/>
                  </a:cxn>
                  <a:cxn ang="0">
                    <a:pos x="0" y="2"/>
                  </a:cxn>
                  <a:cxn ang="0">
                    <a:pos x="3" y="0"/>
                  </a:cxn>
                  <a:cxn ang="0">
                    <a:pos x="7" y="0"/>
                  </a:cxn>
                  <a:cxn ang="0">
                    <a:pos x="10" y="0"/>
                  </a:cxn>
                </a:cxnLst>
                <a:rect l="0" t="0" r="r" b="b"/>
                <a:pathLst>
                  <a:path w="10" h="9">
                    <a:moveTo>
                      <a:pt x="10" y="0"/>
                    </a:moveTo>
                    <a:lnTo>
                      <a:pt x="7" y="5"/>
                    </a:lnTo>
                    <a:lnTo>
                      <a:pt x="2" y="9"/>
                    </a:lnTo>
                    <a:lnTo>
                      <a:pt x="0" y="7"/>
                    </a:lnTo>
                    <a:lnTo>
                      <a:pt x="0" y="5"/>
                    </a:lnTo>
                    <a:lnTo>
                      <a:pt x="0" y="2"/>
                    </a:lnTo>
                    <a:lnTo>
                      <a:pt x="3" y="0"/>
                    </a:lnTo>
                    <a:lnTo>
                      <a:pt x="7"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7" name="Freeform 236"/>
              <p:cNvSpPr>
                <a:spLocks/>
              </p:cNvSpPr>
              <p:nvPr/>
            </p:nvSpPr>
            <p:spPr bwMode="auto">
              <a:xfrm>
                <a:off x="7133432" y="3729038"/>
                <a:ext cx="19050" cy="15875"/>
              </a:xfrm>
              <a:custGeom>
                <a:avLst/>
                <a:gdLst/>
                <a:ahLst/>
                <a:cxnLst>
                  <a:cxn ang="0">
                    <a:pos x="0" y="7"/>
                  </a:cxn>
                  <a:cxn ang="0">
                    <a:pos x="0" y="2"/>
                  </a:cxn>
                  <a:cxn ang="0">
                    <a:pos x="0" y="0"/>
                  </a:cxn>
                  <a:cxn ang="0">
                    <a:pos x="5" y="0"/>
                  </a:cxn>
                  <a:cxn ang="0">
                    <a:pos x="9" y="4"/>
                  </a:cxn>
                  <a:cxn ang="0">
                    <a:pos x="12" y="10"/>
                  </a:cxn>
                  <a:cxn ang="0">
                    <a:pos x="9" y="10"/>
                  </a:cxn>
                  <a:cxn ang="0">
                    <a:pos x="7" y="7"/>
                  </a:cxn>
                  <a:cxn ang="0">
                    <a:pos x="3" y="5"/>
                  </a:cxn>
                  <a:cxn ang="0">
                    <a:pos x="0" y="7"/>
                  </a:cxn>
                </a:cxnLst>
                <a:rect l="0" t="0" r="r" b="b"/>
                <a:pathLst>
                  <a:path w="12" h="10">
                    <a:moveTo>
                      <a:pt x="0" y="7"/>
                    </a:moveTo>
                    <a:lnTo>
                      <a:pt x="0" y="2"/>
                    </a:lnTo>
                    <a:lnTo>
                      <a:pt x="0" y="0"/>
                    </a:lnTo>
                    <a:lnTo>
                      <a:pt x="5" y="0"/>
                    </a:lnTo>
                    <a:lnTo>
                      <a:pt x="9" y="4"/>
                    </a:lnTo>
                    <a:lnTo>
                      <a:pt x="12" y="10"/>
                    </a:lnTo>
                    <a:lnTo>
                      <a:pt x="9" y="10"/>
                    </a:lnTo>
                    <a:lnTo>
                      <a:pt x="7" y="7"/>
                    </a:lnTo>
                    <a:lnTo>
                      <a:pt x="3" y="5"/>
                    </a:lnTo>
                    <a:lnTo>
                      <a:pt x="0"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8" name="Freeform 237"/>
              <p:cNvSpPr>
                <a:spLocks/>
              </p:cNvSpPr>
              <p:nvPr/>
            </p:nvSpPr>
            <p:spPr bwMode="auto">
              <a:xfrm>
                <a:off x="7073107" y="3706813"/>
                <a:ext cx="25400" cy="28575"/>
              </a:xfrm>
              <a:custGeom>
                <a:avLst/>
                <a:gdLst/>
                <a:ahLst/>
                <a:cxnLst>
                  <a:cxn ang="0">
                    <a:pos x="12" y="18"/>
                  </a:cxn>
                  <a:cxn ang="0">
                    <a:pos x="9" y="14"/>
                  </a:cxn>
                  <a:cxn ang="0">
                    <a:pos x="5" y="9"/>
                  </a:cxn>
                  <a:cxn ang="0">
                    <a:pos x="0" y="2"/>
                  </a:cxn>
                  <a:cxn ang="0">
                    <a:pos x="0" y="0"/>
                  </a:cxn>
                  <a:cxn ang="0">
                    <a:pos x="4" y="0"/>
                  </a:cxn>
                  <a:cxn ang="0">
                    <a:pos x="12" y="2"/>
                  </a:cxn>
                  <a:cxn ang="0">
                    <a:pos x="16" y="9"/>
                  </a:cxn>
                  <a:cxn ang="0">
                    <a:pos x="16" y="14"/>
                  </a:cxn>
                  <a:cxn ang="0">
                    <a:pos x="12" y="18"/>
                  </a:cxn>
                </a:cxnLst>
                <a:rect l="0" t="0" r="r" b="b"/>
                <a:pathLst>
                  <a:path w="16" h="18">
                    <a:moveTo>
                      <a:pt x="12" y="18"/>
                    </a:moveTo>
                    <a:lnTo>
                      <a:pt x="9" y="14"/>
                    </a:lnTo>
                    <a:lnTo>
                      <a:pt x="5" y="9"/>
                    </a:lnTo>
                    <a:lnTo>
                      <a:pt x="0" y="2"/>
                    </a:lnTo>
                    <a:lnTo>
                      <a:pt x="0" y="0"/>
                    </a:lnTo>
                    <a:lnTo>
                      <a:pt x="4" y="0"/>
                    </a:lnTo>
                    <a:lnTo>
                      <a:pt x="12" y="2"/>
                    </a:lnTo>
                    <a:lnTo>
                      <a:pt x="16" y="9"/>
                    </a:lnTo>
                    <a:lnTo>
                      <a:pt x="16" y="14"/>
                    </a:lnTo>
                    <a:lnTo>
                      <a:pt x="12" y="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9" name="Freeform 238"/>
              <p:cNvSpPr>
                <a:spLocks/>
              </p:cNvSpPr>
              <p:nvPr/>
            </p:nvSpPr>
            <p:spPr bwMode="auto">
              <a:xfrm>
                <a:off x="7100094" y="3709988"/>
                <a:ext cx="7938" cy="3175"/>
              </a:xfrm>
              <a:custGeom>
                <a:avLst/>
                <a:gdLst/>
                <a:ahLst/>
                <a:cxnLst>
                  <a:cxn ang="0">
                    <a:pos x="0" y="0"/>
                  </a:cxn>
                  <a:cxn ang="0">
                    <a:pos x="2" y="0"/>
                  </a:cxn>
                  <a:cxn ang="0">
                    <a:pos x="5" y="2"/>
                  </a:cxn>
                  <a:cxn ang="0">
                    <a:pos x="2" y="0"/>
                  </a:cxn>
                  <a:cxn ang="0">
                    <a:pos x="0" y="0"/>
                  </a:cxn>
                </a:cxnLst>
                <a:rect l="0" t="0" r="r" b="b"/>
                <a:pathLst>
                  <a:path w="5" h="2">
                    <a:moveTo>
                      <a:pt x="0" y="0"/>
                    </a:moveTo>
                    <a:lnTo>
                      <a:pt x="2" y="0"/>
                    </a:lnTo>
                    <a:lnTo>
                      <a:pt x="5" y="2"/>
                    </a:lnTo>
                    <a:lnTo>
                      <a:pt x="2"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0" name="Freeform 239"/>
              <p:cNvSpPr>
                <a:spLocks/>
              </p:cNvSpPr>
              <p:nvPr/>
            </p:nvSpPr>
            <p:spPr bwMode="auto">
              <a:xfrm>
                <a:off x="7061994" y="3421063"/>
                <a:ext cx="36513" cy="69850"/>
              </a:xfrm>
              <a:custGeom>
                <a:avLst/>
                <a:gdLst/>
                <a:ahLst/>
                <a:cxnLst>
                  <a:cxn ang="0">
                    <a:pos x="9" y="44"/>
                  </a:cxn>
                  <a:cxn ang="0">
                    <a:pos x="0" y="39"/>
                  </a:cxn>
                  <a:cxn ang="0">
                    <a:pos x="0" y="29"/>
                  </a:cxn>
                  <a:cxn ang="0">
                    <a:pos x="0" y="19"/>
                  </a:cxn>
                  <a:cxn ang="0">
                    <a:pos x="5" y="10"/>
                  </a:cxn>
                  <a:cxn ang="0">
                    <a:pos x="11" y="2"/>
                  </a:cxn>
                  <a:cxn ang="0">
                    <a:pos x="17" y="0"/>
                  </a:cxn>
                  <a:cxn ang="0">
                    <a:pos x="23" y="5"/>
                  </a:cxn>
                  <a:cxn ang="0">
                    <a:pos x="21" y="22"/>
                  </a:cxn>
                  <a:cxn ang="0">
                    <a:pos x="16" y="36"/>
                  </a:cxn>
                  <a:cxn ang="0">
                    <a:pos x="9" y="44"/>
                  </a:cxn>
                </a:cxnLst>
                <a:rect l="0" t="0" r="r" b="b"/>
                <a:pathLst>
                  <a:path w="23" h="44">
                    <a:moveTo>
                      <a:pt x="9" y="44"/>
                    </a:moveTo>
                    <a:lnTo>
                      <a:pt x="0" y="39"/>
                    </a:lnTo>
                    <a:lnTo>
                      <a:pt x="0" y="29"/>
                    </a:lnTo>
                    <a:lnTo>
                      <a:pt x="0" y="19"/>
                    </a:lnTo>
                    <a:lnTo>
                      <a:pt x="5" y="10"/>
                    </a:lnTo>
                    <a:lnTo>
                      <a:pt x="11" y="2"/>
                    </a:lnTo>
                    <a:lnTo>
                      <a:pt x="17" y="0"/>
                    </a:lnTo>
                    <a:lnTo>
                      <a:pt x="23" y="5"/>
                    </a:lnTo>
                    <a:lnTo>
                      <a:pt x="21" y="22"/>
                    </a:lnTo>
                    <a:lnTo>
                      <a:pt x="16" y="36"/>
                    </a:lnTo>
                    <a:lnTo>
                      <a:pt x="9" y="4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1" name="Freeform 240"/>
              <p:cNvSpPr>
                <a:spLocks/>
              </p:cNvSpPr>
              <p:nvPr/>
            </p:nvSpPr>
            <p:spPr bwMode="auto">
              <a:xfrm>
                <a:off x="6796882" y="3543300"/>
                <a:ext cx="55563" cy="49212"/>
              </a:xfrm>
              <a:custGeom>
                <a:avLst/>
                <a:gdLst/>
                <a:ahLst/>
                <a:cxnLst>
                  <a:cxn ang="0">
                    <a:pos x="2" y="14"/>
                  </a:cxn>
                  <a:cxn ang="0">
                    <a:pos x="6" y="10"/>
                  </a:cxn>
                  <a:cxn ang="0">
                    <a:pos x="14" y="7"/>
                  </a:cxn>
                  <a:cxn ang="0">
                    <a:pos x="21" y="2"/>
                  </a:cxn>
                  <a:cxn ang="0">
                    <a:pos x="30" y="0"/>
                  </a:cxn>
                  <a:cxn ang="0">
                    <a:pos x="31" y="2"/>
                  </a:cxn>
                  <a:cxn ang="0">
                    <a:pos x="35" y="9"/>
                  </a:cxn>
                  <a:cxn ang="0">
                    <a:pos x="31" y="14"/>
                  </a:cxn>
                  <a:cxn ang="0">
                    <a:pos x="26" y="23"/>
                  </a:cxn>
                  <a:cxn ang="0">
                    <a:pos x="18" y="28"/>
                  </a:cxn>
                  <a:cxn ang="0">
                    <a:pos x="12" y="31"/>
                  </a:cxn>
                  <a:cxn ang="0">
                    <a:pos x="4" y="28"/>
                  </a:cxn>
                  <a:cxn ang="0">
                    <a:pos x="2" y="21"/>
                  </a:cxn>
                  <a:cxn ang="0">
                    <a:pos x="0" y="16"/>
                  </a:cxn>
                  <a:cxn ang="0">
                    <a:pos x="2" y="14"/>
                  </a:cxn>
                </a:cxnLst>
                <a:rect l="0" t="0" r="r" b="b"/>
                <a:pathLst>
                  <a:path w="35" h="31">
                    <a:moveTo>
                      <a:pt x="2" y="14"/>
                    </a:moveTo>
                    <a:lnTo>
                      <a:pt x="6" y="10"/>
                    </a:lnTo>
                    <a:lnTo>
                      <a:pt x="14" y="7"/>
                    </a:lnTo>
                    <a:lnTo>
                      <a:pt x="21" y="2"/>
                    </a:lnTo>
                    <a:lnTo>
                      <a:pt x="30" y="0"/>
                    </a:lnTo>
                    <a:lnTo>
                      <a:pt x="31" y="2"/>
                    </a:lnTo>
                    <a:lnTo>
                      <a:pt x="35" y="9"/>
                    </a:lnTo>
                    <a:lnTo>
                      <a:pt x="31" y="14"/>
                    </a:lnTo>
                    <a:lnTo>
                      <a:pt x="26" y="23"/>
                    </a:lnTo>
                    <a:lnTo>
                      <a:pt x="18" y="28"/>
                    </a:lnTo>
                    <a:lnTo>
                      <a:pt x="12" y="31"/>
                    </a:lnTo>
                    <a:lnTo>
                      <a:pt x="4" y="28"/>
                    </a:lnTo>
                    <a:lnTo>
                      <a:pt x="2" y="21"/>
                    </a:lnTo>
                    <a:lnTo>
                      <a:pt x="0" y="16"/>
                    </a:lnTo>
                    <a:lnTo>
                      <a:pt x="2"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2" name="Freeform 241"/>
              <p:cNvSpPr>
                <a:spLocks/>
              </p:cNvSpPr>
              <p:nvPr/>
            </p:nvSpPr>
            <p:spPr bwMode="auto">
              <a:xfrm>
                <a:off x="6549232" y="3467100"/>
                <a:ext cx="266700" cy="515937"/>
              </a:xfrm>
              <a:custGeom>
                <a:avLst/>
                <a:gdLst/>
                <a:ahLst/>
                <a:cxnLst>
                  <a:cxn ang="0">
                    <a:pos x="24" y="175"/>
                  </a:cxn>
                  <a:cxn ang="0">
                    <a:pos x="27" y="162"/>
                  </a:cxn>
                  <a:cxn ang="0">
                    <a:pos x="19" y="138"/>
                  </a:cxn>
                  <a:cxn ang="0">
                    <a:pos x="8" y="124"/>
                  </a:cxn>
                  <a:cxn ang="0">
                    <a:pos x="12" y="117"/>
                  </a:cxn>
                  <a:cxn ang="0">
                    <a:pos x="10" y="89"/>
                  </a:cxn>
                  <a:cxn ang="0">
                    <a:pos x="2" y="62"/>
                  </a:cxn>
                  <a:cxn ang="0">
                    <a:pos x="22" y="50"/>
                  </a:cxn>
                  <a:cxn ang="0">
                    <a:pos x="43" y="31"/>
                  </a:cxn>
                  <a:cxn ang="0">
                    <a:pos x="55" y="26"/>
                  </a:cxn>
                  <a:cxn ang="0">
                    <a:pos x="60" y="24"/>
                  </a:cxn>
                  <a:cxn ang="0">
                    <a:pos x="65" y="9"/>
                  </a:cxn>
                  <a:cxn ang="0">
                    <a:pos x="100" y="3"/>
                  </a:cxn>
                  <a:cxn ang="0">
                    <a:pos x="132" y="7"/>
                  </a:cxn>
                  <a:cxn ang="0">
                    <a:pos x="139" y="34"/>
                  </a:cxn>
                  <a:cxn ang="0">
                    <a:pos x="115" y="67"/>
                  </a:cxn>
                  <a:cxn ang="0">
                    <a:pos x="125" y="83"/>
                  </a:cxn>
                  <a:cxn ang="0">
                    <a:pos x="150" y="107"/>
                  </a:cxn>
                  <a:cxn ang="0">
                    <a:pos x="167" y="141"/>
                  </a:cxn>
                  <a:cxn ang="0">
                    <a:pos x="163" y="181"/>
                  </a:cxn>
                  <a:cxn ang="0">
                    <a:pos x="139" y="191"/>
                  </a:cxn>
                  <a:cxn ang="0">
                    <a:pos x="120" y="206"/>
                  </a:cxn>
                  <a:cxn ang="0">
                    <a:pos x="119" y="206"/>
                  </a:cxn>
                  <a:cxn ang="0">
                    <a:pos x="107" y="220"/>
                  </a:cxn>
                  <a:cxn ang="0">
                    <a:pos x="103" y="205"/>
                  </a:cxn>
                  <a:cxn ang="0">
                    <a:pos x="101" y="196"/>
                  </a:cxn>
                  <a:cxn ang="0">
                    <a:pos x="76" y="181"/>
                  </a:cxn>
                  <a:cxn ang="0">
                    <a:pos x="50" y="162"/>
                  </a:cxn>
                  <a:cxn ang="0">
                    <a:pos x="41" y="150"/>
                  </a:cxn>
                  <a:cxn ang="0">
                    <a:pos x="31" y="155"/>
                  </a:cxn>
                  <a:cxn ang="0">
                    <a:pos x="29" y="172"/>
                  </a:cxn>
                  <a:cxn ang="0">
                    <a:pos x="19" y="198"/>
                  </a:cxn>
                  <a:cxn ang="0">
                    <a:pos x="33" y="213"/>
                  </a:cxn>
                  <a:cxn ang="0">
                    <a:pos x="36" y="229"/>
                  </a:cxn>
                  <a:cxn ang="0">
                    <a:pos x="67" y="253"/>
                  </a:cxn>
                  <a:cxn ang="0">
                    <a:pos x="81" y="270"/>
                  </a:cxn>
                  <a:cxn ang="0">
                    <a:pos x="82" y="289"/>
                  </a:cxn>
                  <a:cxn ang="0">
                    <a:pos x="94" y="315"/>
                  </a:cxn>
                  <a:cxn ang="0">
                    <a:pos x="89" y="323"/>
                  </a:cxn>
                  <a:cxn ang="0">
                    <a:pos x="81" y="322"/>
                  </a:cxn>
                  <a:cxn ang="0">
                    <a:pos x="55" y="304"/>
                  </a:cxn>
                  <a:cxn ang="0">
                    <a:pos x="38" y="272"/>
                  </a:cxn>
                  <a:cxn ang="0">
                    <a:pos x="31" y="246"/>
                  </a:cxn>
                  <a:cxn ang="0">
                    <a:pos x="19" y="222"/>
                  </a:cxn>
                  <a:cxn ang="0">
                    <a:pos x="10" y="220"/>
                  </a:cxn>
                  <a:cxn ang="0">
                    <a:pos x="10" y="208"/>
                  </a:cxn>
                </a:cxnLst>
                <a:rect l="0" t="0" r="r" b="b"/>
                <a:pathLst>
                  <a:path w="168" h="325">
                    <a:moveTo>
                      <a:pt x="14" y="199"/>
                    </a:moveTo>
                    <a:lnTo>
                      <a:pt x="19" y="186"/>
                    </a:lnTo>
                    <a:lnTo>
                      <a:pt x="24" y="175"/>
                    </a:lnTo>
                    <a:lnTo>
                      <a:pt x="26" y="172"/>
                    </a:lnTo>
                    <a:lnTo>
                      <a:pt x="29" y="169"/>
                    </a:lnTo>
                    <a:lnTo>
                      <a:pt x="27" y="162"/>
                    </a:lnTo>
                    <a:lnTo>
                      <a:pt x="24" y="153"/>
                    </a:lnTo>
                    <a:lnTo>
                      <a:pt x="21" y="143"/>
                    </a:lnTo>
                    <a:lnTo>
                      <a:pt x="19" y="138"/>
                    </a:lnTo>
                    <a:lnTo>
                      <a:pt x="10" y="132"/>
                    </a:lnTo>
                    <a:lnTo>
                      <a:pt x="8" y="126"/>
                    </a:lnTo>
                    <a:lnTo>
                      <a:pt x="8" y="124"/>
                    </a:lnTo>
                    <a:lnTo>
                      <a:pt x="10" y="122"/>
                    </a:lnTo>
                    <a:lnTo>
                      <a:pt x="10" y="122"/>
                    </a:lnTo>
                    <a:lnTo>
                      <a:pt x="12" y="117"/>
                    </a:lnTo>
                    <a:lnTo>
                      <a:pt x="14" y="112"/>
                    </a:lnTo>
                    <a:lnTo>
                      <a:pt x="12" y="100"/>
                    </a:lnTo>
                    <a:lnTo>
                      <a:pt x="10" y="89"/>
                    </a:lnTo>
                    <a:lnTo>
                      <a:pt x="3" y="83"/>
                    </a:lnTo>
                    <a:lnTo>
                      <a:pt x="0" y="76"/>
                    </a:lnTo>
                    <a:lnTo>
                      <a:pt x="2" y="62"/>
                    </a:lnTo>
                    <a:lnTo>
                      <a:pt x="8" y="55"/>
                    </a:lnTo>
                    <a:lnTo>
                      <a:pt x="14" y="52"/>
                    </a:lnTo>
                    <a:lnTo>
                      <a:pt x="22" y="50"/>
                    </a:lnTo>
                    <a:lnTo>
                      <a:pt x="29" y="43"/>
                    </a:lnTo>
                    <a:lnTo>
                      <a:pt x="36" y="38"/>
                    </a:lnTo>
                    <a:lnTo>
                      <a:pt x="43" y="31"/>
                    </a:lnTo>
                    <a:lnTo>
                      <a:pt x="51" y="22"/>
                    </a:lnTo>
                    <a:lnTo>
                      <a:pt x="55" y="22"/>
                    </a:lnTo>
                    <a:lnTo>
                      <a:pt x="55" y="26"/>
                    </a:lnTo>
                    <a:lnTo>
                      <a:pt x="58" y="28"/>
                    </a:lnTo>
                    <a:lnTo>
                      <a:pt x="58" y="26"/>
                    </a:lnTo>
                    <a:lnTo>
                      <a:pt x="60" y="24"/>
                    </a:lnTo>
                    <a:lnTo>
                      <a:pt x="60" y="17"/>
                    </a:lnTo>
                    <a:lnTo>
                      <a:pt x="60" y="10"/>
                    </a:lnTo>
                    <a:lnTo>
                      <a:pt x="65" y="9"/>
                    </a:lnTo>
                    <a:lnTo>
                      <a:pt x="74" y="7"/>
                    </a:lnTo>
                    <a:lnTo>
                      <a:pt x="89" y="7"/>
                    </a:lnTo>
                    <a:lnTo>
                      <a:pt x="100" y="3"/>
                    </a:lnTo>
                    <a:lnTo>
                      <a:pt x="110" y="0"/>
                    </a:lnTo>
                    <a:lnTo>
                      <a:pt x="120" y="3"/>
                    </a:lnTo>
                    <a:lnTo>
                      <a:pt x="132" y="7"/>
                    </a:lnTo>
                    <a:lnTo>
                      <a:pt x="137" y="19"/>
                    </a:lnTo>
                    <a:lnTo>
                      <a:pt x="150" y="26"/>
                    </a:lnTo>
                    <a:lnTo>
                      <a:pt x="139" y="34"/>
                    </a:lnTo>
                    <a:lnTo>
                      <a:pt x="127" y="43"/>
                    </a:lnTo>
                    <a:lnTo>
                      <a:pt x="119" y="52"/>
                    </a:lnTo>
                    <a:lnTo>
                      <a:pt x="115" y="67"/>
                    </a:lnTo>
                    <a:lnTo>
                      <a:pt x="115" y="71"/>
                    </a:lnTo>
                    <a:lnTo>
                      <a:pt x="119" y="74"/>
                    </a:lnTo>
                    <a:lnTo>
                      <a:pt x="125" y="83"/>
                    </a:lnTo>
                    <a:lnTo>
                      <a:pt x="132" y="91"/>
                    </a:lnTo>
                    <a:lnTo>
                      <a:pt x="139" y="100"/>
                    </a:lnTo>
                    <a:lnTo>
                      <a:pt x="150" y="107"/>
                    </a:lnTo>
                    <a:lnTo>
                      <a:pt x="156" y="114"/>
                    </a:lnTo>
                    <a:lnTo>
                      <a:pt x="163" y="127"/>
                    </a:lnTo>
                    <a:lnTo>
                      <a:pt x="167" y="141"/>
                    </a:lnTo>
                    <a:lnTo>
                      <a:pt x="168" y="155"/>
                    </a:lnTo>
                    <a:lnTo>
                      <a:pt x="165" y="167"/>
                    </a:lnTo>
                    <a:lnTo>
                      <a:pt x="163" y="181"/>
                    </a:lnTo>
                    <a:lnTo>
                      <a:pt x="151" y="182"/>
                    </a:lnTo>
                    <a:lnTo>
                      <a:pt x="146" y="186"/>
                    </a:lnTo>
                    <a:lnTo>
                      <a:pt x="139" y="191"/>
                    </a:lnTo>
                    <a:lnTo>
                      <a:pt x="132" y="196"/>
                    </a:lnTo>
                    <a:lnTo>
                      <a:pt x="125" y="201"/>
                    </a:lnTo>
                    <a:lnTo>
                      <a:pt x="120" y="206"/>
                    </a:lnTo>
                    <a:lnTo>
                      <a:pt x="119" y="205"/>
                    </a:lnTo>
                    <a:lnTo>
                      <a:pt x="119" y="203"/>
                    </a:lnTo>
                    <a:lnTo>
                      <a:pt x="119" y="206"/>
                    </a:lnTo>
                    <a:lnTo>
                      <a:pt x="119" y="208"/>
                    </a:lnTo>
                    <a:lnTo>
                      <a:pt x="113" y="215"/>
                    </a:lnTo>
                    <a:lnTo>
                      <a:pt x="107" y="220"/>
                    </a:lnTo>
                    <a:lnTo>
                      <a:pt x="103" y="215"/>
                    </a:lnTo>
                    <a:lnTo>
                      <a:pt x="103" y="212"/>
                    </a:lnTo>
                    <a:lnTo>
                      <a:pt x="103" y="205"/>
                    </a:lnTo>
                    <a:lnTo>
                      <a:pt x="105" y="203"/>
                    </a:lnTo>
                    <a:lnTo>
                      <a:pt x="101" y="199"/>
                    </a:lnTo>
                    <a:lnTo>
                      <a:pt x="101" y="196"/>
                    </a:lnTo>
                    <a:lnTo>
                      <a:pt x="89" y="193"/>
                    </a:lnTo>
                    <a:lnTo>
                      <a:pt x="84" y="186"/>
                    </a:lnTo>
                    <a:lnTo>
                      <a:pt x="76" y="181"/>
                    </a:lnTo>
                    <a:lnTo>
                      <a:pt x="72" y="172"/>
                    </a:lnTo>
                    <a:lnTo>
                      <a:pt x="60" y="165"/>
                    </a:lnTo>
                    <a:lnTo>
                      <a:pt x="50" y="162"/>
                    </a:lnTo>
                    <a:lnTo>
                      <a:pt x="48" y="158"/>
                    </a:lnTo>
                    <a:lnTo>
                      <a:pt x="48" y="155"/>
                    </a:lnTo>
                    <a:lnTo>
                      <a:pt x="41" y="150"/>
                    </a:lnTo>
                    <a:lnTo>
                      <a:pt x="34" y="150"/>
                    </a:lnTo>
                    <a:lnTo>
                      <a:pt x="31" y="150"/>
                    </a:lnTo>
                    <a:lnTo>
                      <a:pt x="31" y="155"/>
                    </a:lnTo>
                    <a:lnTo>
                      <a:pt x="31" y="158"/>
                    </a:lnTo>
                    <a:lnTo>
                      <a:pt x="33" y="165"/>
                    </a:lnTo>
                    <a:lnTo>
                      <a:pt x="29" y="172"/>
                    </a:lnTo>
                    <a:lnTo>
                      <a:pt x="26" y="181"/>
                    </a:lnTo>
                    <a:lnTo>
                      <a:pt x="21" y="187"/>
                    </a:lnTo>
                    <a:lnTo>
                      <a:pt x="19" y="198"/>
                    </a:lnTo>
                    <a:lnTo>
                      <a:pt x="21" y="205"/>
                    </a:lnTo>
                    <a:lnTo>
                      <a:pt x="27" y="210"/>
                    </a:lnTo>
                    <a:lnTo>
                      <a:pt x="33" y="213"/>
                    </a:lnTo>
                    <a:lnTo>
                      <a:pt x="36" y="222"/>
                    </a:lnTo>
                    <a:lnTo>
                      <a:pt x="34" y="222"/>
                    </a:lnTo>
                    <a:lnTo>
                      <a:pt x="36" y="229"/>
                    </a:lnTo>
                    <a:lnTo>
                      <a:pt x="41" y="237"/>
                    </a:lnTo>
                    <a:lnTo>
                      <a:pt x="53" y="244"/>
                    </a:lnTo>
                    <a:lnTo>
                      <a:pt x="67" y="253"/>
                    </a:lnTo>
                    <a:lnTo>
                      <a:pt x="72" y="258"/>
                    </a:lnTo>
                    <a:lnTo>
                      <a:pt x="77" y="263"/>
                    </a:lnTo>
                    <a:lnTo>
                      <a:pt x="81" y="270"/>
                    </a:lnTo>
                    <a:lnTo>
                      <a:pt x="84" y="280"/>
                    </a:lnTo>
                    <a:lnTo>
                      <a:pt x="82" y="284"/>
                    </a:lnTo>
                    <a:lnTo>
                      <a:pt x="82" y="289"/>
                    </a:lnTo>
                    <a:lnTo>
                      <a:pt x="86" y="299"/>
                    </a:lnTo>
                    <a:lnTo>
                      <a:pt x="93" y="308"/>
                    </a:lnTo>
                    <a:lnTo>
                      <a:pt x="94" y="315"/>
                    </a:lnTo>
                    <a:lnTo>
                      <a:pt x="96" y="323"/>
                    </a:lnTo>
                    <a:lnTo>
                      <a:pt x="93" y="323"/>
                    </a:lnTo>
                    <a:lnTo>
                      <a:pt x="89" y="323"/>
                    </a:lnTo>
                    <a:lnTo>
                      <a:pt x="88" y="323"/>
                    </a:lnTo>
                    <a:lnTo>
                      <a:pt x="86" y="325"/>
                    </a:lnTo>
                    <a:lnTo>
                      <a:pt x="81" y="322"/>
                    </a:lnTo>
                    <a:lnTo>
                      <a:pt x="77" y="320"/>
                    </a:lnTo>
                    <a:lnTo>
                      <a:pt x="65" y="313"/>
                    </a:lnTo>
                    <a:lnTo>
                      <a:pt x="55" y="304"/>
                    </a:lnTo>
                    <a:lnTo>
                      <a:pt x="46" y="294"/>
                    </a:lnTo>
                    <a:lnTo>
                      <a:pt x="43" y="284"/>
                    </a:lnTo>
                    <a:lnTo>
                      <a:pt x="38" y="272"/>
                    </a:lnTo>
                    <a:lnTo>
                      <a:pt x="36" y="263"/>
                    </a:lnTo>
                    <a:lnTo>
                      <a:pt x="33" y="253"/>
                    </a:lnTo>
                    <a:lnTo>
                      <a:pt x="31" y="246"/>
                    </a:lnTo>
                    <a:lnTo>
                      <a:pt x="27" y="237"/>
                    </a:lnTo>
                    <a:lnTo>
                      <a:pt x="24" y="230"/>
                    </a:lnTo>
                    <a:lnTo>
                      <a:pt x="19" y="222"/>
                    </a:lnTo>
                    <a:lnTo>
                      <a:pt x="15" y="220"/>
                    </a:lnTo>
                    <a:lnTo>
                      <a:pt x="12" y="220"/>
                    </a:lnTo>
                    <a:lnTo>
                      <a:pt x="10" y="220"/>
                    </a:lnTo>
                    <a:lnTo>
                      <a:pt x="8" y="218"/>
                    </a:lnTo>
                    <a:lnTo>
                      <a:pt x="10" y="218"/>
                    </a:lnTo>
                    <a:lnTo>
                      <a:pt x="10" y="208"/>
                    </a:lnTo>
                    <a:lnTo>
                      <a:pt x="12" y="199"/>
                    </a:lnTo>
                    <a:lnTo>
                      <a:pt x="14" y="19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3" name="Freeform 242"/>
              <p:cNvSpPr>
                <a:spLocks/>
              </p:cNvSpPr>
              <p:nvPr/>
            </p:nvSpPr>
            <p:spPr bwMode="auto">
              <a:xfrm>
                <a:off x="6723857" y="4048125"/>
                <a:ext cx="34925" cy="36512"/>
              </a:xfrm>
              <a:custGeom>
                <a:avLst/>
                <a:gdLst/>
                <a:ahLst/>
                <a:cxnLst>
                  <a:cxn ang="0">
                    <a:pos x="14" y="19"/>
                  </a:cxn>
                  <a:cxn ang="0">
                    <a:pos x="10" y="16"/>
                  </a:cxn>
                  <a:cxn ang="0">
                    <a:pos x="9" y="12"/>
                  </a:cxn>
                  <a:cxn ang="0">
                    <a:pos x="3" y="9"/>
                  </a:cxn>
                  <a:cxn ang="0">
                    <a:pos x="0" y="7"/>
                  </a:cxn>
                  <a:cxn ang="0">
                    <a:pos x="3" y="2"/>
                  </a:cxn>
                  <a:cxn ang="0">
                    <a:pos x="10" y="0"/>
                  </a:cxn>
                  <a:cxn ang="0">
                    <a:pos x="14" y="11"/>
                  </a:cxn>
                  <a:cxn ang="0">
                    <a:pos x="22" y="17"/>
                  </a:cxn>
                  <a:cxn ang="0">
                    <a:pos x="22" y="19"/>
                  </a:cxn>
                  <a:cxn ang="0">
                    <a:pos x="22" y="23"/>
                  </a:cxn>
                  <a:cxn ang="0">
                    <a:pos x="21" y="23"/>
                  </a:cxn>
                  <a:cxn ang="0">
                    <a:pos x="19" y="23"/>
                  </a:cxn>
                  <a:cxn ang="0">
                    <a:pos x="15" y="21"/>
                  </a:cxn>
                  <a:cxn ang="0">
                    <a:pos x="14" y="19"/>
                  </a:cxn>
                </a:cxnLst>
                <a:rect l="0" t="0" r="r" b="b"/>
                <a:pathLst>
                  <a:path w="22" h="23">
                    <a:moveTo>
                      <a:pt x="14" y="19"/>
                    </a:moveTo>
                    <a:lnTo>
                      <a:pt x="10" y="16"/>
                    </a:lnTo>
                    <a:lnTo>
                      <a:pt x="9" y="12"/>
                    </a:lnTo>
                    <a:lnTo>
                      <a:pt x="3" y="9"/>
                    </a:lnTo>
                    <a:lnTo>
                      <a:pt x="0" y="7"/>
                    </a:lnTo>
                    <a:lnTo>
                      <a:pt x="3" y="2"/>
                    </a:lnTo>
                    <a:lnTo>
                      <a:pt x="10" y="0"/>
                    </a:lnTo>
                    <a:lnTo>
                      <a:pt x="14" y="11"/>
                    </a:lnTo>
                    <a:lnTo>
                      <a:pt x="22" y="17"/>
                    </a:lnTo>
                    <a:lnTo>
                      <a:pt x="22" y="19"/>
                    </a:lnTo>
                    <a:lnTo>
                      <a:pt x="22" y="23"/>
                    </a:lnTo>
                    <a:lnTo>
                      <a:pt x="21" y="23"/>
                    </a:lnTo>
                    <a:lnTo>
                      <a:pt x="19" y="23"/>
                    </a:lnTo>
                    <a:lnTo>
                      <a:pt x="15" y="21"/>
                    </a:lnTo>
                    <a:lnTo>
                      <a:pt x="14"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4" name="Freeform 243"/>
              <p:cNvSpPr>
                <a:spLocks/>
              </p:cNvSpPr>
              <p:nvPr/>
            </p:nvSpPr>
            <p:spPr bwMode="auto">
              <a:xfrm>
                <a:off x="6781007" y="4075113"/>
                <a:ext cx="15875" cy="14287"/>
              </a:xfrm>
              <a:custGeom>
                <a:avLst/>
                <a:gdLst/>
                <a:ahLst/>
                <a:cxnLst>
                  <a:cxn ang="0">
                    <a:pos x="0" y="0"/>
                  </a:cxn>
                  <a:cxn ang="0">
                    <a:pos x="2" y="0"/>
                  </a:cxn>
                  <a:cxn ang="0">
                    <a:pos x="5" y="0"/>
                  </a:cxn>
                  <a:cxn ang="0">
                    <a:pos x="7" y="0"/>
                  </a:cxn>
                  <a:cxn ang="0">
                    <a:pos x="10" y="2"/>
                  </a:cxn>
                  <a:cxn ang="0">
                    <a:pos x="7" y="6"/>
                  </a:cxn>
                  <a:cxn ang="0">
                    <a:pos x="4" y="9"/>
                  </a:cxn>
                  <a:cxn ang="0">
                    <a:pos x="0" y="6"/>
                  </a:cxn>
                  <a:cxn ang="0">
                    <a:pos x="0" y="2"/>
                  </a:cxn>
                  <a:cxn ang="0">
                    <a:pos x="0" y="0"/>
                  </a:cxn>
                </a:cxnLst>
                <a:rect l="0" t="0" r="r" b="b"/>
                <a:pathLst>
                  <a:path w="10" h="9">
                    <a:moveTo>
                      <a:pt x="0" y="0"/>
                    </a:moveTo>
                    <a:lnTo>
                      <a:pt x="2" y="0"/>
                    </a:lnTo>
                    <a:lnTo>
                      <a:pt x="5" y="0"/>
                    </a:lnTo>
                    <a:lnTo>
                      <a:pt x="7" y="0"/>
                    </a:lnTo>
                    <a:lnTo>
                      <a:pt x="10" y="2"/>
                    </a:lnTo>
                    <a:lnTo>
                      <a:pt x="7" y="6"/>
                    </a:lnTo>
                    <a:lnTo>
                      <a:pt x="4" y="9"/>
                    </a:lnTo>
                    <a:lnTo>
                      <a:pt x="0" y="6"/>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5" name="Freeform 244"/>
              <p:cNvSpPr>
                <a:spLocks/>
              </p:cNvSpPr>
              <p:nvPr/>
            </p:nvSpPr>
            <p:spPr bwMode="auto">
              <a:xfrm>
                <a:off x="6576219" y="4040188"/>
                <a:ext cx="14288" cy="22225"/>
              </a:xfrm>
              <a:custGeom>
                <a:avLst/>
                <a:gdLst/>
                <a:ahLst/>
                <a:cxnLst>
                  <a:cxn ang="0">
                    <a:pos x="2" y="0"/>
                  </a:cxn>
                  <a:cxn ang="0">
                    <a:pos x="7" y="5"/>
                  </a:cxn>
                  <a:cxn ang="0">
                    <a:pos x="9" y="14"/>
                  </a:cxn>
                  <a:cxn ang="0">
                    <a:pos x="4" y="9"/>
                  </a:cxn>
                  <a:cxn ang="0">
                    <a:pos x="0" y="2"/>
                  </a:cxn>
                  <a:cxn ang="0">
                    <a:pos x="0" y="0"/>
                  </a:cxn>
                  <a:cxn ang="0">
                    <a:pos x="4" y="0"/>
                  </a:cxn>
                  <a:cxn ang="0">
                    <a:pos x="4" y="2"/>
                  </a:cxn>
                  <a:cxn ang="0">
                    <a:pos x="2" y="0"/>
                  </a:cxn>
                </a:cxnLst>
                <a:rect l="0" t="0" r="r" b="b"/>
                <a:pathLst>
                  <a:path w="9" h="14">
                    <a:moveTo>
                      <a:pt x="2" y="0"/>
                    </a:moveTo>
                    <a:lnTo>
                      <a:pt x="7" y="5"/>
                    </a:lnTo>
                    <a:lnTo>
                      <a:pt x="9" y="14"/>
                    </a:lnTo>
                    <a:lnTo>
                      <a:pt x="4" y="9"/>
                    </a:lnTo>
                    <a:lnTo>
                      <a:pt x="0" y="2"/>
                    </a:lnTo>
                    <a:lnTo>
                      <a:pt x="0" y="0"/>
                    </a:lnTo>
                    <a:lnTo>
                      <a:pt x="4" y="0"/>
                    </a:lnTo>
                    <a:lnTo>
                      <a:pt x="4" y="2"/>
                    </a:lnTo>
                    <a:lnTo>
                      <a:pt x="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6" name="Freeform 245"/>
              <p:cNvSpPr>
                <a:spLocks/>
              </p:cNvSpPr>
              <p:nvPr/>
            </p:nvSpPr>
            <p:spPr bwMode="auto">
              <a:xfrm>
                <a:off x="6546057" y="3990975"/>
                <a:ext cx="15875" cy="19050"/>
              </a:xfrm>
              <a:custGeom>
                <a:avLst/>
                <a:gdLst/>
                <a:ahLst/>
                <a:cxnLst>
                  <a:cxn ang="0">
                    <a:pos x="4" y="0"/>
                  </a:cxn>
                  <a:cxn ang="0">
                    <a:pos x="9" y="5"/>
                  </a:cxn>
                  <a:cxn ang="0">
                    <a:pos x="10" y="12"/>
                  </a:cxn>
                  <a:cxn ang="0">
                    <a:pos x="5" y="7"/>
                  </a:cxn>
                  <a:cxn ang="0">
                    <a:pos x="2" y="0"/>
                  </a:cxn>
                  <a:cxn ang="0">
                    <a:pos x="0" y="0"/>
                  </a:cxn>
                  <a:cxn ang="0">
                    <a:pos x="4" y="0"/>
                  </a:cxn>
                </a:cxnLst>
                <a:rect l="0" t="0" r="r" b="b"/>
                <a:pathLst>
                  <a:path w="10" h="12">
                    <a:moveTo>
                      <a:pt x="4" y="0"/>
                    </a:moveTo>
                    <a:lnTo>
                      <a:pt x="9" y="5"/>
                    </a:lnTo>
                    <a:lnTo>
                      <a:pt x="10" y="12"/>
                    </a:lnTo>
                    <a:lnTo>
                      <a:pt x="5" y="7"/>
                    </a:lnTo>
                    <a:lnTo>
                      <a:pt x="2" y="0"/>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7" name="Freeform 246"/>
              <p:cNvSpPr>
                <a:spLocks/>
              </p:cNvSpPr>
              <p:nvPr/>
            </p:nvSpPr>
            <p:spPr bwMode="auto">
              <a:xfrm>
                <a:off x="7284244" y="3205163"/>
                <a:ext cx="50800" cy="68262"/>
              </a:xfrm>
              <a:custGeom>
                <a:avLst/>
                <a:gdLst/>
                <a:ahLst/>
                <a:cxnLst>
                  <a:cxn ang="0">
                    <a:pos x="12" y="26"/>
                  </a:cxn>
                  <a:cxn ang="0">
                    <a:pos x="15" y="17"/>
                  </a:cxn>
                  <a:cxn ang="0">
                    <a:pos x="10" y="14"/>
                  </a:cxn>
                  <a:cxn ang="0">
                    <a:pos x="10" y="12"/>
                  </a:cxn>
                  <a:cxn ang="0">
                    <a:pos x="10" y="14"/>
                  </a:cxn>
                  <a:cxn ang="0">
                    <a:pos x="10" y="15"/>
                  </a:cxn>
                  <a:cxn ang="0">
                    <a:pos x="6" y="15"/>
                  </a:cxn>
                  <a:cxn ang="0">
                    <a:pos x="5" y="17"/>
                  </a:cxn>
                  <a:cxn ang="0">
                    <a:pos x="0" y="15"/>
                  </a:cxn>
                  <a:cxn ang="0">
                    <a:pos x="0" y="12"/>
                  </a:cxn>
                  <a:cxn ang="0">
                    <a:pos x="1" y="7"/>
                  </a:cxn>
                  <a:cxn ang="0">
                    <a:pos x="6" y="3"/>
                  </a:cxn>
                  <a:cxn ang="0">
                    <a:pos x="10" y="0"/>
                  </a:cxn>
                  <a:cxn ang="0">
                    <a:pos x="15" y="0"/>
                  </a:cxn>
                  <a:cxn ang="0">
                    <a:pos x="20" y="2"/>
                  </a:cxn>
                  <a:cxn ang="0">
                    <a:pos x="27" y="3"/>
                  </a:cxn>
                  <a:cxn ang="0">
                    <a:pos x="27" y="5"/>
                  </a:cxn>
                  <a:cxn ang="0">
                    <a:pos x="29" y="9"/>
                  </a:cxn>
                  <a:cxn ang="0">
                    <a:pos x="32" y="14"/>
                  </a:cxn>
                  <a:cxn ang="0">
                    <a:pos x="32" y="15"/>
                  </a:cxn>
                  <a:cxn ang="0">
                    <a:pos x="32" y="17"/>
                  </a:cxn>
                  <a:cxn ang="0">
                    <a:pos x="31" y="17"/>
                  </a:cxn>
                  <a:cxn ang="0">
                    <a:pos x="29" y="17"/>
                  </a:cxn>
                  <a:cxn ang="0">
                    <a:pos x="25" y="24"/>
                  </a:cxn>
                  <a:cxn ang="0">
                    <a:pos x="24" y="33"/>
                  </a:cxn>
                  <a:cxn ang="0">
                    <a:pos x="18" y="39"/>
                  </a:cxn>
                  <a:cxn ang="0">
                    <a:pos x="15" y="43"/>
                  </a:cxn>
                  <a:cxn ang="0">
                    <a:pos x="15" y="39"/>
                  </a:cxn>
                  <a:cxn ang="0">
                    <a:pos x="15" y="38"/>
                  </a:cxn>
                  <a:cxn ang="0">
                    <a:pos x="15" y="41"/>
                  </a:cxn>
                  <a:cxn ang="0">
                    <a:pos x="8" y="36"/>
                  </a:cxn>
                  <a:cxn ang="0">
                    <a:pos x="6" y="33"/>
                  </a:cxn>
                  <a:cxn ang="0">
                    <a:pos x="8" y="29"/>
                  </a:cxn>
                  <a:cxn ang="0">
                    <a:pos x="12" y="26"/>
                  </a:cxn>
                </a:cxnLst>
                <a:rect l="0" t="0" r="r" b="b"/>
                <a:pathLst>
                  <a:path w="32" h="43">
                    <a:moveTo>
                      <a:pt x="12" y="26"/>
                    </a:moveTo>
                    <a:lnTo>
                      <a:pt x="15" y="17"/>
                    </a:lnTo>
                    <a:lnTo>
                      <a:pt x="10" y="14"/>
                    </a:lnTo>
                    <a:lnTo>
                      <a:pt x="10" y="12"/>
                    </a:lnTo>
                    <a:lnTo>
                      <a:pt x="10" y="14"/>
                    </a:lnTo>
                    <a:lnTo>
                      <a:pt x="10" y="15"/>
                    </a:lnTo>
                    <a:lnTo>
                      <a:pt x="6" y="15"/>
                    </a:lnTo>
                    <a:lnTo>
                      <a:pt x="5" y="17"/>
                    </a:lnTo>
                    <a:lnTo>
                      <a:pt x="0" y="15"/>
                    </a:lnTo>
                    <a:lnTo>
                      <a:pt x="0" y="12"/>
                    </a:lnTo>
                    <a:lnTo>
                      <a:pt x="1" y="7"/>
                    </a:lnTo>
                    <a:lnTo>
                      <a:pt x="6" y="3"/>
                    </a:lnTo>
                    <a:lnTo>
                      <a:pt x="10" y="0"/>
                    </a:lnTo>
                    <a:lnTo>
                      <a:pt x="15" y="0"/>
                    </a:lnTo>
                    <a:lnTo>
                      <a:pt x="20" y="2"/>
                    </a:lnTo>
                    <a:lnTo>
                      <a:pt x="27" y="3"/>
                    </a:lnTo>
                    <a:lnTo>
                      <a:pt x="27" y="5"/>
                    </a:lnTo>
                    <a:lnTo>
                      <a:pt x="29" y="9"/>
                    </a:lnTo>
                    <a:lnTo>
                      <a:pt x="32" y="14"/>
                    </a:lnTo>
                    <a:lnTo>
                      <a:pt x="32" y="15"/>
                    </a:lnTo>
                    <a:lnTo>
                      <a:pt x="32" y="17"/>
                    </a:lnTo>
                    <a:lnTo>
                      <a:pt x="31" y="17"/>
                    </a:lnTo>
                    <a:lnTo>
                      <a:pt x="29" y="17"/>
                    </a:lnTo>
                    <a:lnTo>
                      <a:pt x="25" y="24"/>
                    </a:lnTo>
                    <a:lnTo>
                      <a:pt x="24" y="33"/>
                    </a:lnTo>
                    <a:lnTo>
                      <a:pt x="18" y="39"/>
                    </a:lnTo>
                    <a:lnTo>
                      <a:pt x="15" y="43"/>
                    </a:lnTo>
                    <a:lnTo>
                      <a:pt x="15" y="39"/>
                    </a:lnTo>
                    <a:lnTo>
                      <a:pt x="15" y="38"/>
                    </a:lnTo>
                    <a:lnTo>
                      <a:pt x="15" y="41"/>
                    </a:lnTo>
                    <a:lnTo>
                      <a:pt x="8" y="36"/>
                    </a:lnTo>
                    <a:lnTo>
                      <a:pt x="6" y="33"/>
                    </a:lnTo>
                    <a:lnTo>
                      <a:pt x="8" y="29"/>
                    </a:lnTo>
                    <a:lnTo>
                      <a:pt x="12"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8" name="Freeform 247"/>
              <p:cNvSpPr>
                <a:spLocks/>
              </p:cNvSpPr>
              <p:nvPr/>
            </p:nvSpPr>
            <p:spPr bwMode="auto">
              <a:xfrm>
                <a:off x="7346157" y="3189288"/>
                <a:ext cx="49213" cy="42862"/>
              </a:xfrm>
              <a:custGeom>
                <a:avLst/>
                <a:gdLst/>
                <a:ahLst/>
                <a:cxnLst>
                  <a:cxn ang="0">
                    <a:pos x="26" y="17"/>
                  </a:cxn>
                  <a:cxn ang="0">
                    <a:pos x="21" y="15"/>
                  </a:cxn>
                  <a:cxn ang="0">
                    <a:pos x="19" y="13"/>
                  </a:cxn>
                  <a:cxn ang="0">
                    <a:pos x="12" y="22"/>
                  </a:cxn>
                  <a:cxn ang="0">
                    <a:pos x="7" y="27"/>
                  </a:cxn>
                  <a:cxn ang="0">
                    <a:pos x="4" y="24"/>
                  </a:cxn>
                  <a:cxn ang="0">
                    <a:pos x="4" y="19"/>
                  </a:cxn>
                  <a:cxn ang="0">
                    <a:pos x="0" y="15"/>
                  </a:cxn>
                  <a:cxn ang="0">
                    <a:pos x="0" y="13"/>
                  </a:cxn>
                  <a:cxn ang="0">
                    <a:pos x="4" y="10"/>
                  </a:cxn>
                  <a:cxn ang="0">
                    <a:pos x="9" y="7"/>
                  </a:cxn>
                  <a:cxn ang="0">
                    <a:pos x="17" y="3"/>
                  </a:cxn>
                  <a:cxn ang="0">
                    <a:pos x="26" y="0"/>
                  </a:cxn>
                  <a:cxn ang="0">
                    <a:pos x="31" y="1"/>
                  </a:cxn>
                  <a:cxn ang="0">
                    <a:pos x="31" y="8"/>
                  </a:cxn>
                  <a:cxn ang="0">
                    <a:pos x="28" y="13"/>
                  </a:cxn>
                  <a:cxn ang="0">
                    <a:pos x="26" y="17"/>
                  </a:cxn>
                </a:cxnLst>
                <a:rect l="0" t="0" r="r" b="b"/>
                <a:pathLst>
                  <a:path w="31" h="27">
                    <a:moveTo>
                      <a:pt x="26" y="17"/>
                    </a:moveTo>
                    <a:lnTo>
                      <a:pt x="21" y="15"/>
                    </a:lnTo>
                    <a:lnTo>
                      <a:pt x="19" y="13"/>
                    </a:lnTo>
                    <a:lnTo>
                      <a:pt x="12" y="22"/>
                    </a:lnTo>
                    <a:lnTo>
                      <a:pt x="7" y="27"/>
                    </a:lnTo>
                    <a:lnTo>
                      <a:pt x="4" y="24"/>
                    </a:lnTo>
                    <a:lnTo>
                      <a:pt x="4" y="19"/>
                    </a:lnTo>
                    <a:lnTo>
                      <a:pt x="0" y="15"/>
                    </a:lnTo>
                    <a:lnTo>
                      <a:pt x="0" y="13"/>
                    </a:lnTo>
                    <a:lnTo>
                      <a:pt x="4" y="10"/>
                    </a:lnTo>
                    <a:lnTo>
                      <a:pt x="9" y="7"/>
                    </a:lnTo>
                    <a:lnTo>
                      <a:pt x="17" y="3"/>
                    </a:lnTo>
                    <a:lnTo>
                      <a:pt x="26" y="0"/>
                    </a:lnTo>
                    <a:lnTo>
                      <a:pt x="31" y="1"/>
                    </a:lnTo>
                    <a:lnTo>
                      <a:pt x="31" y="8"/>
                    </a:lnTo>
                    <a:lnTo>
                      <a:pt x="28" y="13"/>
                    </a:lnTo>
                    <a:lnTo>
                      <a:pt x="26"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9" name="Freeform 248"/>
              <p:cNvSpPr>
                <a:spLocks/>
              </p:cNvSpPr>
              <p:nvPr/>
            </p:nvSpPr>
            <p:spPr bwMode="auto">
              <a:xfrm>
                <a:off x="7312819" y="3003550"/>
                <a:ext cx="257175" cy="209550"/>
              </a:xfrm>
              <a:custGeom>
                <a:avLst/>
                <a:gdLst/>
                <a:ahLst/>
                <a:cxnLst>
                  <a:cxn ang="0">
                    <a:pos x="62" y="125"/>
                  </a:cxn>
                  <a:cxn ang="0">
                    <a:pos x="62" y="118"/>
                  </a:cxn>
                  <a:cxn ang="0">
                    <a:pos x="56" y="111"/>
                  </a:cxn>
                  <a:cxn ang="0">
                    <a:pos x="45" y="111"/>
                  </a:cxn>
                  <a:cxn ang="0">
                    <a:pos x="38" y="113"/>
                  </a:cxn>
                  <a:cxn ang="0">
                    <a:pos x="21" y="120"/>
                  </a:cxn>
                  <a:cxn ang="0">
                    <a:pos x="2" y="122"/>
                  </a:cxn>
                  <a:cxn ang="0">
                    <a:pos x="2" y="118"/>
                  </a:cxn>
                  <a:cxn ang="0">
                    <a:pos x="13" y="110"/>
                  </a:cxn>
                  <a:cxn ang="0">
                    <a:pos x="25" y="98"/>
                  </a:cxn>
                  <a:cxn ang="0">
                    <a:pos x="43" y="98"/>
                  </a:cxn>
                  <a:cxn ang="0">
                    <a:pos x="57" y="98"/>
                  </a:cxn>
                  <a:cxn ang="0">
                    <a:pos x="69" y="94"/>
                  </a:cxn>
                  <a:cxn ang="0">
                    <a:pos x="78" y="84"/>
                  </a:cxn>
                  <a:cxn ang="0">
                    <a:pos x="86" y="75"/>
                  </a:cxn>
                  <a:cxn ang="0">
                    <a:pos x="88" y="70"/>
                  </a:cxn>
                  <a:cxn ang="0">
                    <a:pos x="88" y="75"/>
                  </a:cxn>
                  <a:cxn ang="0">
                    <a:pos x="99" y="74"/>
                  </a:cxn>
                  <a:cxn ang="0">
                    <a:pos x="114" y="63"/>
                  </a:cxn>
                  <a:cxn ang="0">
                    <a:pos x="131" y="41"/>
                  </a:cxn>
                  <a:cxn ang="0">
                    <a:pos x="133" y="25"/>
                  </a:cxn>
                  <a:cxn ang="0">
                    <a:pos x="131" y="15"/>
                  </a:cxn>
                  <a:cxn ang="0">
                    <a:pos x="138" y="5"/>
                  </a:cxn>
                  <a:cxn ang="0">
                    <a:pos x="143" y="5"/>
                  </a:cxn>
                  <a:cxn ang="0">
                    <a:pos x="148" y="5"/>
                  </a:cxn>
                  <a:cxn ang="0">
                    <a:pos x="147" y="0"/>
                  </a:cxn>
                  <a:cxn ang="0">
                    <a:pos x="154" y="3"/>
                  </a:cxn>
                  <a:cxn ang="0">
                    <a:pos x="155" y="13"/>
                  </a:cxn>
                  <a:cxn ang="0">
                    <a:pos x="162" y="31"/>
                  </a:cxn>
                  <a:cxn ang="0">
                    <a:pos x="155" y="46"/>
                  </a:cxn>
                  <a:cxn ang="0">
                    <a:pos x="155" y="50"/>
                  </a:cxn>
                  <a:cxn ang="0">
                    <a:pos x="150" y="51"/>
                  </a:cxn>
                  <a:cxn ang="0">
                    <a:pos x="145" y="60"/>
                  </a:cxn>
                  <a:cxn ang="0">
                    <a:pos x="147" y="74"/>
                  </a:cxn>
                  <a:cxn ang="0">
                    <a:pos x="142" y="87"/>
                  </a:cxn>
                  <a:cxn ang="0">
                    <a:pos x="143" y="98"/>
                  </a:cxn>
                  <a:cxn ang="0">
                    <a:pos x="131" y="108"/>
                  </a:cxn>
                  <a:cxn ang="0">
                    <a:pos x="131" y="99"/>
                  </a:cxn>
                  <a:cxn ang="0">
                    <a:pos x="117" y="111"/>
                  </a:cxn>
                  <a:cxn ang="0">
                    <a:pos x="111" y="110"/>
                  </a:cxn>
                  <a:cxn ang="0">
                    <a:pos x="100" y="115"/>
                  </a:cxn>
                  <a:cxn ang="0">
                    <a:pos x="85" y="106"/>
                  </a:cxn>
                  <a:cxn ang="0">
                    <a:pos x="83" y="110"/>
                  </a:cxn>
                  <a:cxn ang="0">
                    <a:pos x="88" y="118"/>
                  </a:cxn>
                  <a:cxn ang="0">
                    <a:pos x="83" y="118"/>
                  </a:cxn>
                  <a:cxn ang="0">
                    <a:pos x="71" y="132"/>
                  </a:cxn>
                  <a:cxn ang="0">
                    <a:pos x="62" y="127"/>
                  </a:cxn>
                </a:cxnLst>
                <a:rect l="0" t="0" r="r" b="b"/>
                <a:pathLst>
                  <a:path w="162" h="132">
                    <a:moveTo>
                      <a:pt x="62" y="127"/>
                    </a:moveTo>
                    <a:lnTo>
                      <a:pt x="62" y="125"/>
                    </a:lnTo>
                    <a:lnTo>
                      <a:pt x="62" y="124"/>
                    </a:lnTo>
                    <a:lnTo>
                      <a:pt x="62" y="118"/>
                    </a:lnTo>
                    <a:lnTo>
                      <a:pt x="64" y="115"/>
                    </a:lnTo>
                    <a:lnTo>
                      <a:pt x="56" y="111"/>
                    </a:lnTo>
                    <a:lnTo>
                      <a:pt x="49" y="110"/>
                    </a:lnTo>
                    <a:lnTo>
                      <a:pt x="45" y="111"/>
                    </a:lnTo>
                    <a:lnTo>
                      <a:pt x="45" y="113"/>
                    </a:lnTo>
                    <a:lnTo>
                      <a:pt x="38" y="113"/>
                    </a:lnTo>
                    <a:lnTo>
                      <a:pt x="33" y="115"/>
                    </a:lnTo>
                    <a:lnTo>
                      <a:pt x="21" y="120"/>
                    </a:lnTo>
                    <a:lnTo>
                      <a:pt x="7" y="124"/>
                    </a:lnTo>
                    <a:lnTo>
                      <a:pt x="2" y="122"/>
                    </a:lnTo>
                    <a:lnTo>
                      <a:pt x="0" y="120"/>
                    </a:lnTo>
                    <a:lnTo>
                      <a:pt x="2" y="118"/>
                    </a:lnTo>
                    <a:lnTo>
                      <a:pt x="6" y="117"/>
                    </a:lnTo>
                    <a:lnTo>
                      <a:pt x="13" y="110"/>
                    </a:lnTo>
                    <a:lnTo>
                      <a:pt x="19" y="105"/>
                    </a:lnTo>
                    <a:lnTo>
                      <a:pt x="25" y="98"/>
                    </a:lnTo>
                    <a:lnTo>
                      <a:pt x="35" y="98"/>
                    </a:lnTo>
                    <a:lnTo>
                      <a:pt x="43" y="98"/>
                    </a:lnTo>
                    <a:lnTo>
                      <a:pt x="50" y="98"/>
                    </a:lnTo>
                    <a:lnTo>
                      <a:pt x="57" y="98"/>
                    </a:lnTo>
                    <a:lnTo>
                      <a:pt x="66" y="98"/>
                    </a:lnTo>
                    <a:lnTo>
                      <a:pt x="69" y="94"/>
                    </a:lnTo>
                    <a:lnTo>
                      <a:pt x="74" y="89"/>
                    </a:lnTo>
                    <a:lnTo>
                      <a:pt x="78" y="84"/>
                    </a:lnTo>
                    <a:lnTo>
                      <a:pt x="83" y="82"/>
                    </a:lnTo>
                    <a:lnTo>
                      <a:pt x="86" y="75"/>
                    </a:lnTo>
                    <a:lnTo>
                      <a:pt x="92" y="68"/>
                    </a:lnTo>
                    <a:lnTo>
                      <a:pt x="88" y="70"/>
                    </a:lnTo>
                    <a:lnTo>
                      <a:pt x="88" y="74"/>
                    </a:lnTo>
                    <a:lnTo>
                      <a:pt x="88" y="75"/>
                    </a:lnTo>
                    <a:lnTo>
                      <a:pt x="92" y="77"/>
                    </a:lnTo>
                    <a:lnTo>
                      <a:pt x="99" y="74"/>
                    </a:lnTo>
                    <a:lnTo>
                      <a:pt x="105" y="70"/>
                    </a:lnTo>
                    <a:lnTo>
                      <a:pt x="114" y="63"/>
                    </a:lnTo>
                    <a:lnTo>
                      <a:pt x="123" y="53"/>
                    </a:lnTo>
                    <a:lnTo>
                      <a:pt x="131" y="41"/>
                    </a:lnTo>
                    <a:lnTo>
                      <a:pt x="135" y="29"/>
                    </a:lnTo>
                    <a:lnTo>
                      <a:pt x="133" y="25"/>
                    </a:lnTo>
                    <a:lnTo>
                      <a:pt x="131" y="22"/>
                    </a:lnTo>
                    <a:lnTo>
                      <a:pt x="131" y="15"/>
                    </a:lnTo>
                    <a:lnTo>
                      <a:pt x="135" y="10"/>
                    </a:lnTo>
                    <a:lnTo>
                      <a:pt x="138" y="5"/>
                    </a:lnTo>
                    <a:lnTo>
                      <a:pt x="143" y="3"/>
                    </a:lnTo>
                    <a:lnTo>
                      <a:pt x="143" y="5"/>
                    </a:lnTo>
                    <a:lnTo>
                      <a:pt x="150" y="5"/>
                    </a:lnTo>
                    <a:lnTo>
                      <a:pt x="148" y="5"/>
                    </a:lnTo>
                    <a:lnTo>
                      <a:pt x="145" y="1"/>
                    </a:lnTo>
                    <a:lnTo>
                      <a:pt x="147" y="0"/>
                    </a:lnTo>
                    <a:lnTo>
                      <a:pt x="152" y="0"/>
                    </a:lnTo>
                    <a:lnTo>
                      <a:pt x="154" y="3"/>
                    </a:lnTo>
                    <a:lnTo>
                      <a:pt x="154" y="8"/>
                    </a:lnTo>
                    <a:lnTo>
                      <a:pt x="155" y="13"/>
                    </a:lnTo>
                    <a:lnTo>
                      <a:pt x="159" y="22"/>
                    </a:lnTo>
                    <a:lnTo>
                      <a:pt x="162" y="31"/>
                    </a:lnTo>
                    <a:lnTo>
                      <a:pt x="159" y="38"/>
                    </a:lnTo>
                    <a:lnTo>
                      <a:pt x="155" y="46"/>
                    </a:lnTo>
                    <a:lnTo>
                      <a:pt x="155" y="48"/>
                    </a:lnTo>
                    <a:lnTo>
                      <a:pt x="155" y="50"/>
                    </a:lnTo>
                    <a:lnTo>
                      <a:pt x="152" y="50"/>
                    </a:lnTo>
                    <a:lnTo>
                      <a:pt x="150" y="51"/>
                    </a:lnTo>
                    <a:lnTo>
                      <a:pt x="147" y="53"/>
                    </a:lnTo>
                    <a:lnTo>
                      <a:pt x="145" y="60"/>
                    </a:lnTo>
                    <a:lnTo>
                      <a:pt x="145" y="67"/>
                    </a:lnTo>
                    <a:lnTo>
                      <a:pt x="147" y="74"/>
                    </a:lnTo>
                    <a:lnTo>
                      <a:pt x="143" y="79"/>
                    </a:lnTo>
                    <a:lnTo>
                      <a:pt x="142" y="87"/>
                    </a:lnTo>
                    <a:lnTo>
                      <a:pt x="142" y="93"/>
                    </a:lnTo>
                    <a:lnTo>
                      <a:pt x="143" y="98"/>
                    </a:lnTo>
                    <a:lnTo>
                      <a:pt x="136" y="101"/>
                    </a:lnTo>
                    <a:lnTo>
                      <a:pt x="131" y="108"/>
                    </a:lnTo>
                    <a:lnTo>
                      <a:pt x="129" y="103"/>
                    </a:lnTo>
                    <a:lnTo>
                      <a:pt x="131" y="99"/>
                    </a:lnTo>
                    <a:lnTo>
                      <a:pt x="123" y="105"/>
                    </a:lnTo>
                    <a:lnTo>
                      <a:pt x="117" y="111"/>
                    </a:lnTo>
                    <a:lnTo>
                      <a:pt x="116" y="110"/>
                    </a:lnTo>
                    <a:lnTo>
                      <a:pt x="111" y="110"/>
                    </a:lnTo>
                    <a:lnTo>
                      <a:pt x="105" y="111"/>
                    </a:lnTo>
                    <a:lnTo>
                      <a:pt x="100" y="115"/>
                    </a:lnTo>
                    <a:lnTo>
                      <a:pt x="90" y="110"/>
                    </a:lnTo>
                    <a:lnTo>
                      <a:pt x="85" y="106"/>
                    </a:lnTo>
                    <a:lnTo>
                      <a:pt x="83" y="108"/>
                    </a:lnTo>
                    <a:lnTo>
                      <a:pt x="83" y="110"/>
                    </a:lnTo>
                    <a:lnTo>
                      <a:pt x="85" y="115"/>
                    </a:lnTo>
                    <a:lnTo>
                      <a:pt x="88" y="118"/>
                    </a:lnTo>
                    <a:lnTo>
                      <a:pt x="85" y="118"/>
                    </a:lnTo>
                    <a:lnTo>
                      <a:pt x="83" y="118"/>
                    </a:lnTo>
                    <a:lnTo>
                      <a:pt x="76" y="122"/>
                    </a:lnTo>
                    <a:lnTo>
                      <a:pt x="71" y="132"/>
                    </a:lnTo>
                    <a:lnTo>
                      <a:pt x="66" y="129"/>
                    </a:lnTo>
                    <a:lnTo>
                      <a:pt x="62" y="12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0" name="Freeform 249"/>
              <p:cNvSpPr>
                <a:spLocks/>
              </p:cNvSpPr>
              <p:nvPr/>
            </p:nvSpPr>
            <p:spPr bwMode="auto">
              <a:xfrm>
                <a:off x="7520782" y="2887663"/>
                <a:ext cx="131763" cy="112712"/>
              </a:xfrm>
              <a:custGeom>
                <a:avLst/>
                <a:gdLst/>
                <a:ahLst/>
                <a:cxnLst>
                  <a:cxn ang="0">
                    <a:pos x="11" y="38"/>
                  </a:cxn>
                  <a:cxn ang="0">
                    <a:pos x="12" y="38"/>
                  </a:cxn>
                  <a:cxn ang="0">
                    <a:pos x="16" y="38"/>
                  </a:cxn>
                  <a:cxn ang="0">
                    <a:pos x="19" y="35"/>
                  </a:cxn>
                  <a:cxn ang="0">
                    <a:pos x="24" y="28"/>
                  </a:cxn>
                  <a:cxn ang="0">
                    <a:pos x="26" y="18"/>
                  </a:cxn>
                  <a:cxn ang="0">
                    <a:pos x="28" y="13"/>
                  </a:cxn>
                  <a:cxn ang="0">
                    <a:pos x="26" y="9"/>
                  </a:cxn>
                  <a:cxn ang="0">
                    <a:pos x="26" y="7"/>
                  </a:cxn>
                  <a:cxn ang="0">
                    <a:pos x="26" y="2"/>
                  </a:cxn>
                  <a:cxn ang="0">
                    <a:pos x="29" y="0"/>
                  </a:cxn>
                  <a:cxn ang="0">
                    <a:pos x="38" y="7"/>
                  </a:cxn>
                  <a:cxn ang="0">
                    <a:pos x="47" y="16"/>
                  </a:cxn>
                  <a:cxn ang="0">
                    <a:pos x="55" y="23"/>
                  </a:cxn>
                  <a:cxn ang="0">
                    <a:pos x="69" y="26"/>
                  </a:cxn>
                  <a:cxn ang="0">
                    <a:pos x="74" y="25"/>
                  </a:cxn>
                  <a:cxn ang="0">
                    <a:pos x="79" y="25"/>
                  </a:cxn>
                  <a:cxn ang="0">
                    <a:pos x="76" y="28"/>
                  </a:cxn>
                  <a:cxn ang="0">
                    <a:pos x="76" y="31"/>
                  </a:cxn>
                  <a:cxn ang="0">
                    <a:pos x="78" y="35"/>
                  </a:cxn>
                  <a:cxn ang="0">
                    <a:pos x="83" y="38"/>
                  </a:cxn>
                  <a:cxn ang="0">
                    <a:pos x="74" y="40"/>
                  </a:cxn>
                  <a:cxn ang="0">
                    <a:pos x="67" y="42"/>
                  </a:cxn>
                  <a:cxn ang="0">
                    <a:pos x="54" y="49"/>
                  </a:cxn>
                  <a:cxn ang="0">
                    <a:pos x="48" y="61"/>
                  </a:cxn>
                  <a:cxn ang="0">
                    <a:pos x="36" y="54"/>
                  </a:cxn>
                  <a:cxn ang="0">
                    <a:pos x="26" y="49"/>
                  </a:cxn>
                  <a:cxn ang="0">
                    <a:pos x="23" y="49"/>
                  </a:cxn>
                  <a:cxn ang="0">
                    <a:pos x="23" y="52"/>
                  </a:cxn>
                  <a:cxn ang="0">
                    <a:pos x="12" y="50"/>
                  </a:cxn>
                  <a:cxn ang="0">
                    <a:pos x="7" y="56"/>
                  </a:cxn>
                  <a:cxn ang="0">
                    <a:pos x="11" y="59"/>
                  </a:cxn>
                  <a:cxn ang="0">
                    <a:pos x="17" y="64"/>
                  </a:cxn>
                  <a:cxn ang="0">
                    <a:pos x="11" y="68"/>
                  </a:cxn>
                  <a:cxn ang="0">
                    <a:pos x="5" y="71"/>
                  </a:cxn>
                  <a:cxn ang="0">
                    <a:pos x="2" y="71"/>
                  </a:cxn>
                  <a:cxn ang="0">
                    <a:pos x="2" y="64"/>
                  </a:cxn>
                  <a:cxn ang="0">
                    <a:pos x="2" y="59"/>
                  </a:cxn>
                  <a:cxn ang="0">
                    <a:pos x="0" y="56"/>
                  </a:cxn>
                  <a:cxn ang="0">
                    <a:pos x="0" y="54"/>
                  </a:cxn>
                  <a:cxn ang="0">
                    <a:pos x="4" y="47"/>
                  </a:cxn>
                  <a:cxn ang="0">
                    <a:pos x="9" y="42"/>
                  </a:cxn>
                  <a:cxn ang="0">
                    <a:pos x="9" y="38"/>
                  </a:cxn>
                  <a:cxn ang="0">
                    <a:pos x="11" y="38"/>
                  </a:cxn>
                  <a:cxn ang="0">
                    <a:pos x="12" y="40"/>
                  </a:cxn>
                  <a:cxn ang="0">
                    <a:pos x="11" y="38"/>
                  </a:cxn>
                </a:cxnLst>
                <a:rect l="0" t="0" r="r" b="b"/>
                <a:pathLst>
                  <a:path w="83" h="71">
                    <a:moveTo>
                      <a:pt x="11" y="38"/>
                    </a:moveTo>
                    <a:lnTo>
                      <a:pt x="12" y="38"/>
                    </a:lnTo>
                    <a:lnTo>
                      <a:pt x="16" y="38"/>
                    </a:lnTo>
                    <a:lnTo>
                      <a:pt x="19" y="35"/>
                    </a:lnTo>
                    <a:lnTo>
                      <a:pt x="24" y="28"/>
                    </a:lnTo>
                    <a:lnTo>
                      <a:pt x="26" y="18"/>
                    </a:lnTo>
                    <a:lnTo>
                      <a:pt x="28" y="13"/>
                    </a:lnTo>
                    <a:lnTo>
                      <a:pt x="26" y="9"/>
                    </a:lnTo>
                    <a:lnTo>
                      <a:pt x="26" y="7"/>
                    </a:lnTo>
                    <a:lnTo>
                      <a:pt x="26" y="2"/>
                    </a:lnTo>
                    <a:lnTo>
                      <a:pt x="29" y="0"/>
                    </a:lnTo>
                    <a:lnTo>
                      <a:pt x="38" y="7"/>
                    </a:lnTo>
                    <a:lnTo>
                      <a:pt x="47" y="16"/>
                    </a:lnTo>
                    <a:lnTo>
                      <a:pt x="55" y="23"/>
                    </a:lnTo>
                    <a:lnTo>
                      <a:pt x="69" y="26"/>
                    </a:lnTo>
                    <a:lnTo>
                      <a:pt x="74" y="25"/>
                    </a:lnTo>
                    <a:lnTo>
                      <a:pt x="79" y="25"/>
                    </a:lnTo>
                    <a:lnTo>
                      <a:pt x="76" y="28"/>
                    </a:lnTo>
                    <a:lnTo>
                      <a:pt x="76" y="31"/>
                    </a:lnTo>
                    <a:lnTo>
                      <a:pt x="78" y="35"/>
                    </a:lnTo>
                    <a:lnTo>
                      <a:pt x="83" y="38"/>
                    </a:lnTo>
                    <a:lnTo>
                      <a:pt x="74" y="40"/>
                    </a:lnTo>
                    <a:lnTo>
                      <a:pt x="67" y="42"/>
                    </a:lnTo>
                    <a:lnTo>
                      <a:pt x="54" y="49"/>
                    </a:lnTo>
                    <a:lnTo>
                      <a:pt x="48" y="61"/>
                    </a:lnTo>
                    <a:lnTo>
                      <a:pt x="36" y="54"/>
                    </a:lnTo>
                    <a:lnTo>
                      <a:pt x="26" y="49"/>
                    </a:lnTo>
                    <a:lnTo>
                      <a:pt x="23" y="49"/>
                    </a:lnTo>
                    <a:lnTo>
                      <a:pt x="23" y="52"/>
                    </a:lnTo>
                    <a:lnTo>
                      <a:pt x="12" y="50"/>
                    </a:lnTo>
                    <a:lnTo>
                      <a:pt x="7" y="56"/>
                    </a:lnTo>
                    <a:lnTo>
                      <a:pt x="11" y="59"/>
                    </a:lnTo>
                    <a:lnTo>
                      <a:pt x="17" y="64"/>
                    </a:lnTo>
                    <a:lnTo>
                      <a:pt x="11" y="68"/>
                    </a:lnTo>
                    <a:lnTo>
                      <a:pt x="5" y="71"/>
                    </a:lnTo>
                    <a:lnTo>
                      <a:pt x="2" y="71"/>
                    </a:lnTo>
                    <a:lnTo>
                      <a:pt x="2" y="64"/>
                    </a:lnTo>
                    <a:lnTo>
                      <a:pt x="2" y="59"/>
                    </a:lnTo>
                    <a:lnTo>
                      <a:pt x="0" y="56"/>
                    </a:lnTo>
                    <a:lnTo>
                      <a:pt x="0" y="54"/>
                    </a:lnTo>
                    <a:lnTo>
                      <a:pt x="4" y="47"/>
                    </a:lnTo>
                    <a:lnTo>
                      <a:pt x="9" y="42"/>
                    </a:lnTo>
                    <a:lnTo>
                      <a:pt x="9" y="38"/>
                    </a:lnTo>
                    <a:lnTo>
                      <a:pt x="11" y="38"/>
                    </a:lnTo>
                    <a:lnTo>
                      <a:pt x="12" y="40"/>
                    </a:lnTo>
                    <a:lnTo>
                      <a:pt x="11" y="3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1" name="Freeform 250"/>
              <p:cNvSpPr>
                <a:spLocks/>
              </p:cNvSpPr>
              <p:nvPr/>
            </p:nvSpPr>
            <p:spPr bwMode="auto">
              <a:xfrm>
                <a:off x="7649369" y="2916238"/>
                <a:ext cx="22225" cy="20637"/>
              </a:xfrm>
              <a:custGeom>
                <a:avLst/>
                <a:gdLst/>
                <a:ahLst/>
                <a:cxnLst>
                  <a:cxn ang="0">
                    <a:pos x="10" y="0"/>
                  </a:cxn>
                  <a:cxn ang="0">
                    <a:pos x="14" y="1"/>
                  </a:cxn>
                  <a:cxn ang="0">
                    <a:pos x="7" y="8"/>
                  </a:cxn>
                  <a:cxn ang="0">
                    <a:pos x="0" y="13"/>
                  </a:cxn>
                  <a:cxn ang="0">
                    <a:pos x="0" y="10"/>
                  </a:cxn>
                  <a:cxn ang="0">
                    <a:pos x="0" y="8"/>
                  </a:cxn>
                  <a:cxn ang="0">
                    <a:pos x="5" y="3"/>
                  </a:cxn>
                  <a:cxn ang="0">
                    <a:pos x="12" y="1"/>
                  </a:cxn>
                  <a:cxn ang="0">
                    <a:pos x="10" y="0"/>
                  </a:cxn>
                </a:cxnLst>
                <a:rect l="0" t="0" r="r" b="b"/>
                <a:pathLst>
                  <a:path w="14" h="13">
                    <a:moveTo>
                      <a:pt x="10" y="0"/>
                    </a:moveTo>
                    <a:lnTo>
                      <a:pt x="14" y="1"/>
                    </a:lnTo>
                    <a:lnTo>
                      <a:pt x="7" y="8"/>
                    </a:lnTo>
                    <a:lnTo>
                      <a:pt x="0" y="13"/>
                    </a:lnTo>
                    <a:lnTo>
                      <a:pt x="0" y="10"/>
                    </a:lnTo>
                    <a:lnTo>
                      <a:pt x="0" y="8"/>
                    </a:lnTo>
                    <a:lnTo>
                      <a:pt x="5" y="3"/>
                    </a:lnTo>
                    <a:lnTo>
                      <a:pt x="12" y="1"/>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2" name="Freeform 251"/>
              <p:cNvSpPr>
                <a:spLocks/>
              </p:cNvSpPr>
              <p:nvPr/>
            </p:nvSpPr>
            <p:spPr bwMode="auto">
              <a:xfrm>
                <a:off x="7693819" y="2887663"/>
                <a:ext cx="28575" cy="22225"/>
              </a:xfrm>
              <a:custGeom>
                <a:avLst/>
                <a:gdLst/>
                <a:ahLst/>
                <a:cxnLst>
                  <a:cxn ang="0">
                    <a:pos x="18" y="4"/>
                  </a:cxn>
                  <a:cxn ang="0">
                    <a:pos x="8" y="9"/>
                  </a:cxn>
                  <a:cxn ang="0">
                    <a:pos x="0" y="14"/>
                  </a:cxn>
                  <a:cxn ang="0">
                    <a:pos x="0" y="13"/>
                  </a:cxn>
                  <a:cxn ang="0">
                    <a:pos x="0" y="11"/>
                  </a:cxn>
                  <a:cxn ang="0">
                    <a:pos x="3" y="6"/>
                  </a:cxn>
                  <a:cxn ang="0">
                    <a:pos x="12" y="0"/>
                  </a:cxn>
                  <a:cxn ang="0">
                    <a:pos x="15" y="0"/>
                  </a:cxn>
                  <a:cxn ang="0">
                    <a:pos x="18" y="0"/>
                  </a:cxn>
                  <a:cxn ang="0">
                    <a:pos x="18" y="4"/>
                  </a:cxn>
                </a:cxnLst>
                <a:rect l="0" t="0" r="r" b="b"/>
                <a:pathLst>
                  <a:path w="18" h="14">
                    <a:moveTo>
                      <a:pt x="18" y="4"/>
                    </a:moveTo>
                    <a:lnTo>
                      <a:pt x="8" y="9"/>
                    </a:lnTo>
                    <a:lnTo>
                      <a:pt x="0" y="14"/>
                    </a:lnTo>
                    <a:lnTo>
                      <a:pt x="0" y="13"/>
                    </a:lnTo>
                    <a:lnTo>
                      <a:pt x="0" y="11"/>
                    </a:lnTo>
                    <a:lnTo>
                      <a:pt x="3" y="6"/>
                    </a:lnTo>
                    <a:lnTo>
                      <a:pt x="12" y="0"/>
                    </a:lnTo>
                    <a:lnTo>
                      <a:pt x="15" y="0"/>
                    </a:lnTo>
                    <a:lnTo>
                      <a:pt x="18" y="0"/>
                    </a:lnTo>
                    <a:lnTo>
                      <a:pt x="18"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3" name="Freeform 252"/>
              <p:cNvSpPr>
                <a:spLocks/>
              </p:cNvSpPr>
              <p:nvPr/>
            </p:nvSpPr>
            <p:spPr bwMode="auto">
              <a:xfrm>
                <a:off x="7747794" y="2863850"/>
                <a:ext cx="15875" cy="15875"/>
              </a:xfrm>
              <a:custGeom>
                <a:avLst/>
                <a:gdLst/>
                <a:ahLst/>
                <a:cxnLst>
                  <a:cxn ang="0">
                    <a:pos x="2" y="7"/>
                  </a:cxn>
                  <a:cxn ang="0">
                    <a:pos x="2" y="5"/>
                  </a:cxn>
                  <a:cxn ang="0">
                    <a:pos x="2" y="3"/>
                  </a:cxn>
                  <a:cxn ang="0">
                    <a:pos x="5" y="0"/>
                  </a:cxn>
                  <a:cxn ang="0">
                    <a:pos x="10" y="0"/>
                  </a:cxn>
                  <a:cxn ang="0">
                    <a:pos x="5" y="5"/>
                  </a:cxn>
                  <a:cxn ang="0">
                    <a:pos x="2" y="10"/>
                  </a:cxn>
                  <a:cxn ang="0">
                    <a:pos x="0" y="9"/>
                  </a:cxn>
                  <a:cxn ang="0">
                    <a:pos x="2" y="7"/>
                  </a:cxn>
                </a:cxnLst>
                <a:rect l="0" t="0" r="r" b="b"/>
                <a:pathLst>
                  <a:path w="10" h="10">
                    <a:moveTo>
                      <a:pt x="2" y="7"/>
                    </a:moveTo>
                    <a:lnTo>
                      <a:pt x="2" y="5"/>
                    </a:lnTo>
                    <a:lnTo>
                      <a:pt x="2" y="3"/>
                    </a:lnTo>
                    <a:lnTo>
                      <a:pt x="5" y="0"/>
                    </a:lnTo>
                    <a:lnTo>
                      <a:pt x="10" y="0"/>
                    </a:lnTo>
                    <a:lnTo>
                      <a:pt x="5" y="5"/>
                    </a:lnTo>
                    <a:lnTo>
                      <a:pt x="2" y="10"/>
                    </a:lnTo>
                    <a:lnTo>
                      <a:pt x="0" y="9"/>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4" name="Freeform 253"/>
              <p:cNvSpPr>
                <a:spLocks/>
              </p:cNvSpPr>
              <p:nvPr/>
            </p:nvSpPr>
            <p:spPr bwMode="auto">
              <a:xfrm>
                <a:off x="7562057" y="2617788"/>
                <a:ext cx="65088" cy="250825"/>
              </a:xfrm>
              <a:custGeom>
                <a:avLst/>
                <a:gdLst/>
                <a:ahLst/>
                <a:cxnLst>
                  <a:cxn ang="0">
                    <a:pos x="29" y="98"/>
                  </a:cxn>
                  <a:cxn ang="0">
                    <a:pos x="21" y="100"/>
                  </a:cxn>
                  <a:cxn ang="0">
                    <a:pos x="17" y="107"/>
                  </a:cxn>
                  <a:cxn ang="0">
                    <a:pos x="15" y="115"/>
                  </a:cxn>
                  <a:cxn ang="0">
                    <a:pos x="15" y="127"/>
                  </a:cxn>
                  <a:cxn ang="0">
                    <a:pos x="21" y="140"/>
                  </a:cxn>
                  <a:cxn ang="0">
                    <a:pos x="29" y="153"/>
                  </a:cxn>
                  <a:cxn ang="0">
                    <a:pos x="28" y="153"/>
                  </a:cxn>
                  <a:cxn ang="0">
                    <a:pos x="24" y="150"/>
                  </a:cxn>
                  <a:cxn ang="0">
                    <a:pos x="22" y="148"/>
                  </a:cxn>
                  <a:cxn ang="0">
                    <a:pos x="19" y="148"/>
                  </a:cxn>
                  <a:cxn ang="0">
                    <a:pos x="17" y="148"/>
                  </a:cxn>
                  <a:cxn ang="0">
                    <a:pos x="10" y="153"/>
                  </a:cxn>
                  <a:cxn ang="0">
                    <a:pos x="5" y="158"/>
                  </a:cxn>
                  <a:cxn ang="0">
                    <a:pos x="3" y="152"/>
                  </a:cxn>
                  <a:cxn ang="0">
                    <a:pos x="5" y="145"/>
                  </a:cxn>
                  <a:cxn ang="0">
                    <a:pos x="5" y="133"/>
                  </a:cxn>
                  <a:cxn ang="0">
                    <a:pos x="7" y="122"/>
                  </a:cxn>
                  <a:cxn ang="0">
                    <a:pos x="5" y="114"/>
                  </a:cxn>
                  <a:cxn ang="0">
                    <a:pos x="5" y="107"/>
                  </a:cxn>
                  <a:cxn ang="0">
                    <a:pos x="5" y="98"/>
                  </a:cxn>
                  <a:cxn ang="0">
                    <a:pos x="7" y="91"/>
                  </a:cxn>
                  <a:cxn ang="0">
                    <a:pos x="7" y="76"/>
                  </a:cxn>
                  <a:cxn ang="0">
                    <a:pos x="7" y="62"/>
                  </a:cxn>
                  <a:cxn ang="0">
                    <a:pos x="3" y="52"/>
                  </a:cxn>
                  <a:cxn ang="0">
                    <a:pos x="0" y="43"/>
                  </a:cxn>
                  <a:cxn ang="0">
                    <a:pos x="0" y="35"/>
                  </a:cxn>
                  <a:cxn ang="0">
                    <a:pos x="2" y="26"/>
                  </a:cxn>
                  <a:cxn ang="0">
                    <a:pos x="3" y="19"/>
                  </a:cxn>
                  <a:cxn ang="0">
                    <a:pos x="10" y="17"/>
                  </a:cxn>
                  <a:cxn ang="0">
                    <a:pos x="10" y="14"/>
                  </a:cxn>
                  <a:cxn ang="0">
                    <a:pos x="12" y="11"/>
                  </a:cxn>
                  <a:cxn ang="0">
                    <a:pos x="12" y="5"/>
                  </a:cxn>
                  <a:cxn ang="0">
                    <a:pos x="12" y="0"/>
                  </a:cxn>
                  <a:cxn ang="0">
                    <a:pos x="14" y="0"/>
                  </a:cxn>
                  <a:cxn ang="0">
                    <a:pos x="15" y="0"/>
                  </a:cxn>
                  <a:cxn ang="0">
                    <a:pos x="17" y="12"/>
                  </a:cxn>
                  <a:cxn ang="0">
                    <a:pos x="22" y="24"/>
                  </a:cxn>
                  <a:cxn ang="0">
                    <a:pos x="21" y="33"/>
                  </a:cxn>
                  <a:cxn ang="0">
                    <a:pos x="24" y="43"/>
                  </a:cxn>
                  <a:cxn ang="0">
                    <a:pos x="24" y="55"/>
                  </a:cxn>
                  <a:cxn ang="0">
                    <a:pos x="24" y="62"/>
                  </a:cxn>
                  <a:cxn ang="0">
                    <a:pos x="28" y="69"/>
                  </a:cxn>
                  <a:cxn ang="0">
                    <a:pos x="34" y="86"/>
                  </a:cxn>
                  <a:cxn ang="0">
                    <a:pos x="41" y="103"/>
                  </a:cxn>
                  <a:cxn ang="0">
                    <a:pos x="34" y="98"/>
                  </a:cxn>
                  <a:cxn ang="0">
                    <a:pos x="29" y="98"/>
                  </a:cxn>
                </a:cxnLst>
                <a:rect l="0" t="0" r="r" b="b"/>
                <a:pathLst>
                  <a:path w="41" h="158">
                    <a:moveTo>
                      <a:pt x="29" y="98"/>
                    </a:moveTo>
                    <a:lnTo>
                      <a:pt x="21" y="100"/>
                    </a:lnTo>
                    <a:lnTo>
                      <a:pt x="17" y="107"/>
                    </a:lnTo>
                    <a:lnTo>
                      <a:pt x="15" y="115"/>
                    </a:lnTo>
                    <a:lnTo>
                      <a:pt x="15" y="127"/>
                    </a:lnTo>
                    <a:lnTo>
                      <a:pt x="21" y="140"/>
                    </a:lnTo>
                    <a:lnTo>
                      <a:pt x="29" y="153"/>
                    </a:lnTo>
                    <a:lnTo>
                      <a:pt x="28" y="153"/>
                    </a:lnTo>
                    <a:lnTo>
                      <a:pt x="24" y="150"/>
                    </a:lnTo>
                    <a:lnTo>
                      <a:pt x="22" y="148"/>
                    </a:lnTo>
                    <a:lnTo>
                      <a:pt x="19" y="148"/>
                    </a:lnTo>
                    <a:lnTo>
                      <a:pt x="17" y="148"/>
                    </a:lnTo>
                    <a:lnTo>
                      <a:pt x="10" y="153"/>
                    </a:lnTo>
                    <a:lnTo>
                      <a:pt x="5" y="158"/>
                    </a:lnTo>
                    <a:lnTo>
                      <a:pt x="3" y="152"/>
                    </a:lnTo>
                    <a:lnTo>
                      <a:pt x="5" y="145"/>
                    </a:lnTo>
                    <a:lnTo>
                      <a:pt x="5" y="133"/>
                    </a:lnTo>
                    <a:lnTo>
                      <a:pt x="7" y="122"/>
                    </a:lnTo>
                    <a:lnTo>
                      <a:pt x="5" y="114"/>
                    </a:lnTo>
                    <a:lnTo>
                      <a:pt x="5" y="107"/>
                    </a:lnTo>
                    <a:lnTo>
                      <a:pt x="5" y="98"/>
                    </a:lnTo>
                    <a:lnTo>
                      <a:pt x="7" y="91"/>
                    </a:lnTo>
                    <a:lnTo>
                      <a:pt x="7" y="76"/>
                    </a:lnTo>
                    <a:lnTo>
                      <a:pt x="7" y="62"/>
                    </a:lnTo>
                    <a:lnTo>
                      <a:pt x="3" y="52"/>
                    </a:lnTo>
                    <a:lnTo>
                      <a:pt x="0" y="43"/>
                    </a:lnTo>
                    <a:lnTo>
                      <a:pt x="0" y="35"/>
                    </a:lnTo>
                    <a:lnTo>
                      <a:pt x="2" y="26"/>
                    </a:lnTo>
                    <a:lnTo>
                      <a:pt x="3" y="19"/>
                    </a:lnTo>
                    <a:lnTo>
                      <a:pt x="10" y="17"/>
                    </a:lnTo>
                    <a:lnTo>
                      <a:pt x="10" y="14"/>
                    </a:lnTo>
                    <a:lnTo>
                      <a:pt x="12" y="11"/>
                    </a:lnTo>
                    <a:lnTo>
                      <a:pt x="12" y="5"/>
                    </a:lnTo>
                    <a:lnTo>
                      <a:pt x="12" y="0"/>
                    </a:lnTo>
                    <a:lnTo>
                      <a:pt x="14" y="0"/>
                    </a:lnTo>
                    <a:lnTo>
                      <a:pt x="15" y="0"/>
                    </a:lnTo>
                    <a:lnTo>
                      <a:pt x="17" y="12"/>
                    </a:lnTo>
                    <a:lnTo>
                      <a:pt x="22" y="24"/>
                    </a:lnTo>
                    <a:lnTo>
                      <a:pt x="21" y="33"/>
                    </a:lnTo>
                    <a:lnTo>
                      <a:pt x="24" y="43"/>
                    </a:lnTo>
                    <a:lnTo>
                      <a:pt x="24" y="55"/>
                    </a:lnTo>
                    <a:lnTo>
                      <a:pt x="24" y="62"/>
                    </a:lnTo>
                    <a:lnTo>
                      <a:pt x="28" y="69"/>
                    </a:lnTo>
                    <a:lnTo>
                      <a:pt x="34" y="86"/>
                    </a:lnTo>
                    <a:lnTo>
                      <a:pt x="41" y="103"/>
                    </a:lnTo>
                    <a:lnTo>
                      <a:pt x="34" y="98"/>
                    </a:lnTo>
                    <a:lnTo>
                      <a:pt x="29" y="9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5" name="Freeform 254"/>
              <p:cNvSpPr>
                <a:spLocks/>
              </p:cNvSpPr>
              <p:nvPr/>
            </p:nvSpPr>
            <p:spPr bwMode="auto">
              <a:xfrm>
                <a:off x="5487194" y="1744663"/>
                <a:ext cx="403225" cy="295275"/>
              </a:xfrm>
              <a:custGeom>
                <a:avLst/>
                <a:gdLst/>
                <a:ahLst/>
                <a:cxnLst>
                  <a:cxn ang="0">
                    <a:pos x="77" y="177"/>
                  </a:cxn>
                  <a:cxn ang="0">
                    <a:pos x="60" y="162"/>
                  </a:cxn>
                  <a:cxn ang="0">
                    <a:pos x="58" y="138"/>
                  </a:cxn>
                  <a:cxn ang="0">
                    <a:pos x="69" y="113"/>
                  </a:cxn>
                  <a:cxn ang="0">
                    <a:pos x="88" y="93"/>
                  </a:cxn>
                  <a:cxn ang="0">
                    <a:pos x="108" y="81"/>
                  </a:cxn>
                  <a:cxn ang="0">
                    <a:pos x="124" y="72"/>
                  </a:cxn>
                  <a:cxn ang="0">
                    <a:pos x="134" y="64"/>
                  </a:cxn>
                  <a:cxn ang="0">
                    <a:pos x="149" y="57"/>
                  </a:cxn>
                  <a:cxn ang="0">
                    <a:pos x="167" y="46"/>
                  </a:cxn>
                  <a:cxn ang="0">
                    <a:pos x="189" y="43"/>
                  </a:cxn>
                  <a:cxn ang="0">
                    <a:pos x="206" y="36"/>
                  </a:cxn>
                  <a:cxn ang="0">
                    <a:pos x="223" y="31"/>
                  </a:cxn>
                  <a:cxn ang="0">
                    <a:pos x="248" y="22"/>
                  </a:cxn>
                  <a:cxn ang="0">
                    <a:pos x="251" y="7"/>
                  </a:cxn>
                  <a:cxn ang="0">
                    <a:pos x="239" y="0"/>
                  </a:cxn>
                  <a:cxn ang="0">
                    <a:pos x="223" y="0"/>
                  </a:cxn>
                  <a:cxn ang="0">
                    <a:pos x="205" y="9"/>
                  </a:cxn>
                  <a:cxn ang="0">
                    <a:pos x="186" y="19"/>
                  </a:cxn>
                  <a:cxn ang="0">
                    <a:pos x="167" y="26"/>
                  </a:cxn>
                  <a:cxn ang="0">
                    <a:pos x="149" y="26"/>
                  </a:cxn>
                  <a:cxn ang="0">
                    <a:pos x="132" y="26"/>
                  </a:cxn>
                  <a:cxn ang="0">
                    <a:pos x="112" y="33"/>
                  </a:cxn>
                  <a:cxn ang="0">
                    <a:pos x="89" y="48"/>
                  </a:cxn>
                  <a:cxn ang="0">
                    <a:pos x="70" y="55"/>
                  </a:cxn>
                  <a:cxn ang="0">
                    <a:pos x="55" y="58"/>
                  </a:cxn>
                  <a:cxn ang="0">
                    <a:pos x="57" y="65"/>
                  </a:cxn>
                  <a:cxn ang="0">
                    <a:pos x="53" y="79"/>
                  </a:cxn>
                  <a:cxn ang="0">
                    <a:pos x="36" y="95"/>
                  </a:cxn>
                  <a:cxn ang="0">
                    <a:pos x="36" y="105"/>
                  </a:cxn>
                  <a:cxn ang="0">
                    <a:pos x="31" y="113"/>
                  </a:cxn>
                  <a:cxn ang="0">
                    <a:pos x="17" y="120"/>
                  </a:cxn>
                  <a:cxn ang="0">
                    <a:pos x="15" y="132"/>
                  </a:cxn>
                  <a:cxn ang="0">
                    <a:pos x="12" y="139"/>
                  </a:cxn>
                  <a:cxn ang="0">
                    <a:pos x="2" y="146"/>
                  </a:cxn>
                  <a:cxn ang="0">
                    <a:pos x="5" y="162"/>
                  </a:cxn>
                  <a:cxn ang="0">
                    <a:pos x="12" y="165"/>
                  </a:cxn>
                  <a:cxn ang="0">
                    <a:pos x="20" y="165"/>
                  </a:cxn>
                  <a:cxn ang="0">
                    <a:pos x="31" y="170"/>
                  </a:cxn>
                  <a:cxn ang="0">
                    <a:pos x="38" y="182"/>
                  </a:cxn>
                  <a:cxn ang="0">
                    <a:pos x="46" y="184"/>
                  </a:cxn>
                  <a:cxn ang="0">
                    <a:pos x="88" y="186"/>
                  </a:cxn>
                  <a:cxn ang="0">
                    <a:pos x="82" y="181"/>
                  </a:cxn>
                </a:cxnLst>
                <a:rect l="0" t="0" r="r" b="b"/>
                <a:pathLst>
                  <a:path w="254" h="186">
                    <a:moveTo>
                      <a:pt x="88" y="186"/>
                    </a:moveTo>
                    <a:lnTo>
                      <a:pt x="77" y="177"/>
                    </a:lnTo>
                    <a:lnTo>
                      <a:pt x="69" y="170"/>
                    </a:lnTo>
                    <a:lnTo>
                      <a:pt x="60" y="162"/>
                    </a:lnTo>
                    <a:lnTo>
                      <a:pt x="58" y="151"/>
                    </a:lnTo>
                    <a:lnTo>
                      <a:pt x="58" y="138"/>
                    </a:lnTo>
                    <a:lnTo>
                      <a:pt x="63" y="126"/>
                    </a:lnTo>
                    <a:lnTo>
                      <a:pt x="69" y="113"/>
                    </a:lnTo>
                    <a:lnTo>
                      <a:pt x="79" y="103"/>
                    </a:lnTo>
                    <a:lnTo>
                      <a:pt x="88" y="93"/>
                    </a:lnTo>
                    <a:lnTo>
                      <a:pt x="98" y="86"/>
                    </a:lnTo>
                    <a:lnTo>
                      <a:pt x="108" y="81"/>
                    </a:lnTo>
                    <a:lnTo>
                      <a:pt x="120" y="77"/>
                    </a:lnTo>
                    <a:lnTo>
                      <a:pt x="124" y="72"/>
                    </a:lnTo>
                    <a:lnTo>
                      <a:pt x="129" y="69"/>
                    </a:lnTo>
                    <a:lnTo>
                      <a:pt x="134" y="64"/>
                    </a:lnTo>
                    <a:lnTo>
                      <a:pt x="144" y="64"/>
                    </a:lnTo>
                    <a:lnTo>
                      <a:pt x="149" y="57"/>
                    </a:lnTo>
                    <a:lnTo>
                      <a:pt x="155" y="52"/>
                    </a:lnTo>
                    <a:lnTo>
                      <a:pt x="167" y="46"/>
                    </a:lnTo>
                    <a:lnTo>
                      <a:pt x="179" y="45"/>
                    </a:lnTo>
                    <a:lnTo>
                      <a:pt x="189" y="43"/>
                    </a:lnTo>
                    <a:lnTo>
                      <a:pt x="203" y="40"/>
                    </a:lnTo>
                    <a:lnTo>
                      <a:pt x="206" y="36"/>
                    </a:lnTo>
                    <a:lnTo>
                      <a:pt x="215" y="34"/>
                    </a:lnTo>
                    <a:lnTo>
                      <a:pt x="223" y="31"/>
                    </a:lnTo>
                    <a:lnTo>
                      <a:pt x="232" y="29"/>
                    </a:lnTo>
                    <a:lnTo>
                      <a:pt x="248" y="22"/>
                    </a:lnTo>
                    <a:lnTo>
                      <a:pt x="254" y="12"/>
                    </a:lnTo>
                    <a:lnTo>
                      <a:pt x="251" y="7"/>
                    </a:lnTo>
                    <a:lnTo>
                      <a:pt x="246" y="3"/>
                    </a:lnTo>
                    <a:lnTo>
                      <a:pt x="239" y="0"/>
                    </a:lnTo>
                    <a:lnTo>
                      <a:pt x="234" y="0"/>
                    </a:lnTo>
                    <a:lnTo>
                      <a:pt x="223" y="0"/>
                    </a:lnTo>
                    <a:lnTo>
                      <a:pt x="213" y="3"/>
                    </a:lnTo>
                    <a:lnTo>
                      <a:pt x="205" y="9"/>
                    </a:lnTo>
                    <a:lnTo>
                      <a:pt x="196" y="14"/>
                    </a:lnTo>
                    <a:lnTo>
                      <a:pt x="186" y="19"/>
                    </a:lnTo>
                    <a:lnTo>
                      <a:pt x="177" y="24"/>
                    </a:lnTo>
                    <a:lnTo>
                      <a:pt x="167" y="26"/>
                    </a:lnTo>
                    <a:lnTo>
                      <a:pt x="158" y="29"/>
                    </a:lnTo>
                    <a:lnTo>
                      <a:pt x="149" y="26"/>
                    </a:lnTo>
                    <a:lnTo>
                      <a:pt x="143" y="22"/>
                    </a:lnTo>
                    <a:lnTo>
                      <a:pt x="132" y="26"/>
                    </a:lnTo>
                    <a:lnTo>
                      <a:pt x="127" y="29"/>
                    </a:lnTo>
                    <a:lnTo>
                      <a:pt x="112" y="33"/>
                    </a:lnTo>
                    <a:lnTo>
                      <a:pt x="101" y="41"/>
                    </a:lnTo>
                    <a:lnTo>
                      <a:pt x="89" y="48"/>
                    </a:lnTo>
                    <a:lnTo>
                      <a:pt x="81" y="53"/>
                    </a:lnTo>
                    <a:lnTo>
                      <a:pt x="70" y="55"/>
                    </a:lnTo>
                    <a:lnTo>
                      <a:pt x="60" y="57"/>
                    </a:lnTo>
                    <a:lnTo>
                      <a:pt x="55" y="58"/>
                    </a:lnTo>
                    <a:lnTo>
                      <a:pt x="55" y="62"/>
                    </a:lnTo>
                    <a:lnTo>
                      <a:pt x="57" y="65"/>
                    </a:lnTo>
                    <a:lnTo>
                      <a:pt x="58" y="71"/>
                    </a:lnTo>
                    <a:lnTo>
                      <a:pt x="53" y="79"/>
                    </a:lnTo>
                    <a:lnTo>
                      <a:pt x="45" y="88"/>
                    </a:lnTo>
                    <a:lnTo>
                      <a:pt x="36" y="95"/>
                    </a:lnTo>
                    <a:lnTo>
                      <a:pt x="33" y="101"/>
                    </a:lnTo>
                    <a:lnTo>
                      <a:pt x="36" y="105"/>
                    </a:lnTo>
                    <a:lnTo>
                      <a:pt x="39" y="113"/>
                    </a:lnTo>
                    <a:lnTo>
                      <a:pt x="31" y="113"/>
                    </a:lnTo>
                    <a:lnTo>
                      <a:pt x="24" y="117"/>
                    </a:lnTo>
                    <a:lnTo>
                      <a:pt x="17" y="120"/>
                    </a:lnTo>
                    <a:lnTo>
                      <a:pt x="15" y="127"/>
                    </a:lnTo>
                    <a:lnTo>
                      <a:pt x="15" y="132"/>
                    </a:lnTo>
                    <a:lnTo>
                      <a:pt x="15" y="134"/>
                    </a:lnTo>
                    <a:lnTo>
                      <a:pt x="12" y="139"/>
                    </a:lnTo>
                    <a:lnTo>
                      <a:pt x="7" y="143"/>
                    </a:lnTo>
                    <a:lnTo>
                      <a:pt x="2" y="146"/>
                    </a:lnTo>
                    <a:lnTo>
                      <a:pt x="0" y="155"/>
                    </a:lnTo>
                    <a:lnTo>
                      <a:pt x="5" y="162"/>
                    </a:lnTo>
                    <a:lnTo>
                      <a:pt x="10" y="165"/>
                    </a:lnTo>
                    <a:lnTo>
                      <a:pt x="12" y="165"/>
                    </a:lnTo>
                    <a:lnTo>
                      <a:pt x="17" y="165"/>
                    </a:lnTo>
                    <a:lnTo>
                      <a:pt x="20" y="165"/>
                    </a:lnTo>
                    <a:lnTo>
                      <a:pt x="26" y="165"/>
                    </a:lnTo>
                    <a:lnTo>
                      <a:pt x="31" y="170"/>
                    </a:lnTo>
                    <a:lnTo>
                      <a:pt x="33" y="182"/>
                    </a:lnTo>
                    <a:lnTo>
                      <a:pt x="38" y="182"/>
                    </a:lnTo>
                    <a:lnTo>
                      <a:pt x="45" y="182"/>
                    </a:lnTo>
                    <a:lnTo>
                      <a:pt x="46" y="184"/>
                    </a:lnTo>
                    <a:lnTo>
                      <a:pt x="48" y="186"/>
                    </a:lnTo>
                    <a:lnTo>
                      <a:pt x="88" y="186"/>
                    </a:lnTo>
                    <a:lnTo>
                      <a:pt x="84" y="181"/>
                    </a:lnTo>
                    <a:lnTo>
                      <a:pt x="82" y="181"/>
                    </a:lnTo>
                    <a:lnTo>
                      <a:pt x="88" y="1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6" name="Freeform 255"/>
              <p:cNvSpPr>
                <a:spLocks/>
              </p:cNvSpPr>
              <p:nvPr/>
            </p:nvSpPr>
            <p:spPr bwMode="auto">
              <a:xfrm>
                <a:off x="4102894" y="2519363"/>
                <a:ext cx="884238" cy="633412"/>
              </a:xfrm>
              <a:custGeom>
                <a:avLst/>
                <a:gdLst/>
                <a:ahLst/>
                <a:cxnLst>
                  <a:cxn ang="0">
                    <a:pos x="530" y="291"/>
                  </a:cxn>
                  <a:cxn ang="0">
                    <a:pos x="540" y="313"/>
                  </a:cxn>
                  <a:cxn ang="0">
                    <a:pos x="492" y="315"/>
                  </a:cxn>
                  <a:cxn ang="0">
                    <a:pos x="461" y="325"/>
                  </a:cxn>
                  <a:cxn ang="0">
                    <a:pos x="466" y="349"/>
                  </a:cxn>
                  <a:cxn ang="0">
                    <a:pos x="478" y="367"/>
                  </a:cxn>
                  <a:cxn ang="0">
                    <a:pos x="462" y="370"/>
                  </a:cxn>
                  <a:cxn ang="0">
                    <a:pos x="445" y="380"/>
                  </a:cxn>
                  <a:cxn ang="0">
                    <a:pos x="437" y="358"/>
                  </a:cxn>
                  <a:cxn ang="0">
                    <a:pos x="411" y="312"/>
                  </a:cxn>
                  <a:cxn ang="0">
                    <a:pos x="373" y="274"/>
                  </a:cxn>
                  <a:cxn ang="0">
                    <a:pos x="339" y="245"/>
                  </a:cxn>
                  <a:cxn ang="0">
                    <a:pos x="308" y="241"/>
                  </a:cxn>
                  <a:cxn ang="0">
                    <a:pos x="328" y="270"/>
                  </a:cxn>
                  <a:cxn ang="0">
                    <a:pos x="361" y="300"/>
                  </a:cxn>
                  <a:cxn ang="0">
                    <a:pos x="387" y="329"/>
                  </a:cxn>
                  <a:cxn ang="0">
                    <a:pos x="373" y="349"/>
                  </a:cxn>
                  <a:cxn ang="0">
                    <a:pos x="361" y="356"/>
                  </a:cxn>
                  <a:cxn ang="0">
                    <a:pos x="337" y="317"/>
                  </a:cxn>
                  <a:cxn ang="0">
                    <a:pos x="299" y="293"/>
                  </a:cxn>
                  <a:cxn ang="0">
                    <a:pos x="253" y="258"/>
                  </a:cxn>
                  <a:cxn ang="0">
                    <a:pos x="182" y="275"/>
                  </a:cxn>
                  <a:cxn ang="0">
                    <a:pos x="139" y="325"/>
                  </a:cxn>
                  <a:cxn ang="0">
                    <a:pos x="117" y="375"/>
                  </a:cxn>
                  <a:cxn ang="0">
                    <a:pos x="89" y="387"/>
                  </a:cxn>
                  <a:cxn ang="0">
                    <a:pos x="38" y="382"/>
                  </a:cxn>
                  <a:cxn ang="0">
                    <a:pos x="7" y="367"/>
                  </a:cxn>
                  <a:cxn ang="0">
                    <a:pos x="5" y="330"/>
                  </a:cxn>
                  <a:cxn ang="0">
                    <a:pos x="5" y="277"/>
                  </a:cxn>
                  <a:cxn ang="0">
                    <a:pos x="55" y="270"/>
                  </a:cxn>
                  <a:cxn ang="0">
                    <a:pos x="108" y="274"/>
                  </a:cxn>
                  <a:cxn ang="0">
                    <a:pos x="120" y="238"/>
                  </a:cxn>
                  <a:cxn ang="0">
                    <a:pos x="105" y="205"/>
                  </a:cxn>
                  <a:cxn ang="0">
                    <a:pos x="69" y="186"/>
                  </a:cxn>
                  <a:cxn ang="0">
                    <a:pos x="93" y="179"/>
                  </a:cxn>
                  <a:cxn ang="0">
                    <a:pos x="110" y="164"/>
                  </a:cxn>
                  <a:cxn ang="0">
                    <a:pos x="139" y="160"/>
                  </a:cxn>
                  <a:cxn ang="0">
                    <a:pos x="168" y="134"/>
                  </a:cxn>
                  <a:cxn ang="0">
                    <a:pos x="198" y="107"/>
                  </a:cxn>
                  <a:cxn ang="0">
                    <a:pos x="235" y="86"/>
                  </a:cxn>
                  <a:cxn ang="0">
                    <a:pos x="263" y="74"/>
                  </a:cxn>
                  <a:cxn ang="0">
                    <a:pos x="249" y="31"/>
                  </a:cxn>
                  <a:cxn ang="0">
                    <a:pos x="278" y="12"/>
                  </a:cxn>
                  <a:cxn ang="0">
                    <a:pos x="284" y="30"/>
                  </a:cxn>
                  <a:cxn ang="0">
                    <a:pos x="277" y="64"/>
                  </a:cxn>
                  <a:cxn ang="0">
                    <a:pos x="301" y="73"/>
                  </a:cxn>
                  <a:cxn ang="0">
                    <a:pos x="328" y="74"/>
                  </a:cxn>
                  <a:cxn ang="0">
                    <a:pos x="371" y="61"/>
                  </a:cxn>
                  <a:cxn ang="0">
                    <a:pos x="407" y="64"/>
                  </a:cxn>
                  <a:cxn ang="0">
                    <a:pos x="466" y="64"/>
                  </a:cxn>
                  <a:cxn ang="0">
                    <a:pos x="473" y="122"/>
                  </a:cxn>
                  <a:cxn ang="0">
                    <a:pos x="459" y="183"/>
                  </a:cxn>
                  <a:cxn ang="0">
                    <a:pos x="507" y="181"/>
                  </a:cxn>
                  <a:cxn ang="0">
                    <a:pos x="540" y="227"/>
                  </a:cxn>
                  <a:cxn ang="0">
                    <a:pos x="557" y="234"/>
                  </a:cxn>
                </a:cxnLst>
                <a:rect l="0" t="0" r="r" b="b"/>
                <a:pathLst>
                  <a:path w="557" h="399">
                    <a:moveTo>
                      <a:pt x="547" y="248"/>
                    </a:moveTo>
                    <a:lnTo>
                      <a:pt x="545" y="253"/>
                    </a:lnTo>
                    <a:lnTo>
                      <a:pt x="543" y="255"/>
                    </a:lnTo>
                    <a:lnTo>
                      <a:pt x="543" y="269"/>
                    </a:lnTo>
                    <a:lnTo>
                      <a:pt x="535" y="277"/>
                    </a:lnTo>
                    <a:lnTo>
                      <a:pt x="530" y="291"/>
                    </a:lnTo>
                    <a:lnTo>
                      <a:pt x="531" y="296"/>
                    </a:lnTo>
                    <a:lnTo>
                      <a:pt x="536" y="303"/>
                    </a:lnTo>
                    <a:lnTo>
                      <a:pt x="542" y="306"/>
                    </a:lnTo>
                    <a:lnTo>
                      <a:pt x="547" y="312"/>
                    </a:lnTo>
                    <a:lnTo>
                      <a:pt x="543" y="312"/>
                    </a:lnTo>
                    <a:lnTo>
                      <a:pt x="540" y="313"/>
                    </a:lnTo>
                    <a:lnTo>
                      <a:pt x="533" y="313"/>
                    </a:lnTo>
                    <a:lnTo>
                      <a:pt x="528" y="315"/>
                    </a:lnTo>
                    <a:lnTo>
                      <a:pt x="519" y="320"/>
                    </a:lnTo>
                    <a:lnTo>
                      <a:pt x="512" y="325"/>
                    </a:lnTo>
                    <a:lnTo>
                      <a:pt x="502" y="320"/>
                    </a:lnTo>
                    <a:lnTo>
                      <a:pt x="492" y="315"/>
                    </a:lnTo>
                    <a:lnTo>
                      <a:pt x="481" y="317"/>
                    </a:lnTo>
                    <a:lnTo>
                      <a:pt x="475" y="322"/>
                    </a:lnTo>
                    <a:lnTo>
                      <a:pt x="475" y="327"/>
                    </a:lnTo>
                    <a:lnTo>
                      <a:pt x="475" y="332"/>
                    </a:lnTo>
                    <a:lnTo>
                      <a:pt x="466" y="329"/>
                    </a:lnTo>
                    <a:lnTo>
                      <a:pt x="461" y="325"/>
                    </a:lnTo>
                    <a:lnTo>
                      <a:pt x="457" y="327"/>
                    </a:lnTo>
                    <a:lnTo>
                      <a:pt x="456" y="330"/>
                    </a:lnTo>
                    <a:lnTo>
                      <a:pt x="466" y="343"/>
                    </a:lnTo>
                    <a:lnTo>
                      <a:pt x="464" y="344"/>
                    </a:lnTo>
                    <a:lnTo>
                      <a:pt x="464" y="348"/>
                    </a:lnTo>
                    <a:lnTo>
                      <a:pt x="466" y="349"/>
                    </a:lnTo>
                    <a:lnTo>
                      <a:pt x="471" y="355"/>
                    </a:lnTo>
                    <a:lnTo>
                      <a:pt x="476" y="358"/>
                    </a:lnTo>
                    <a:lnTo>
                      <a:pt x="481" y="361"/>
                    </a:lnTo>
                    <a:lnTo>
                      <a:pt x="481" y="363"/>
                    </a:lnTo>
                    <a:lnTo>
                      <a:pt x="483" y="367"/>
                    </a:lnTo>
                    <a:lnTo>
                      <a:pt x="478" y="367"/>
                    </a:lnTo>
                    <a:lnTo>
                      <a:pt x="475" y="370"/>
                    </a:lnTo>
                    <a:lnTo>
                      <a:pt x="475" y="370"/>
                    </a:lnTo>
                    <a:lnTo>
                      <a:pt x="464" y="365"/>
                    </a:lnTo>
                    <a:lnTo>
                      <a:pt x="461" y="361"/>
                    </a:lnTo>
                    <a:lnTo>
                      <a:pt x="461" y="367"/>
                    </a:lnTo>
                    <a:lnTo>
                      <a:pt x="462" y="370"/>
                    </a:lnTo>
                    <a:lnTo>
                      <a:pt x="464" y="375"/>
                    </a:lnTo>
                    <a:lnTo>
                      <a:pt x="461" y="380"/>
                    </a:lnTo>
                    <a:lnTo>
                      <a:pt x="464" y="387"/>
                    </a:lnTo>
                    <a:lnTo>
                      <a:pt x="459" y="387"/>
                    </a:lnTo>
                    <a:lnTo>
                      <a:pt x="456" y="387"/>
                    </a:lnTo>
                    <a:lnTo>
                      <a:pt x="445" y="380"/>
                    </a:lnTo>
                    <a:lnTo>
                      <a:pt x="442" y="370"/>
                    </a:lnTo>
                    <a:lnTo>
                      <a:pt x="444" y="365"/>
                    </a:lnTo>
                    <a:lnTo>
                      <a:pt x="447" y="361"/>
                    </a:lnTo>
                    <a:lnTo>
                      <a:pt x="442" y="361"/>
                    </a:lnTo>
                    <a:lnTo>
                      <a:pt x="438" y="361"/>
                    </a:lnTo>
                    <a:lnTo>
                      <a:pt x="437" y="358"/>
                    </a:lnTo>
                    <a:lnTo>
                      <a:pt x="437" y="356"/>
                    </a:lnTo>
                    <a:lnTo>
                      <a:pt x="430" y="346"/>
                    </a:lnTo>
                    <a:lnTo>
                      <a:pt x="425" y="341"/>
                    </a:lnTo>
                    <a:lnTo>
                      <a:pt x="414" y="330"/>
                    </a:lnTo>
                    <a:lnTo>
                      <a:pt x="411" y="318"/>
                    </a:lnTo>
                    <a:lnTo>
                      <a:pt x="411" y="312"/>
                    </a:lnTo>
                    <a:lnTo>
                      <a:pt x="411" y="306"/>
                    </a:lnTo>
                    <a:lnTo>
                      <a:pt x="404" y="293"/>
                    </a:lnTo>
                    <a:lnTo>
                      <a:pt x="394" y="284"/>
                    </a:lnTo>
                    <a:lnTo>
                      <a:pt x="382" y="279"/>
                    </a:lnTo>
                    <a:lnTo>
                      <a:pt x="378" y="274"/>
                    </a:lnTo>
                    <a:lnTo>
                      <a:pt x="373" y="274"/>
                    </a:lnTo>
                    <a:lnTo>
                      <a:pt x="371" y="274"/>
                    </a:lnTo>
                    <a:lnTo>
                      <a:pt x="361" y="270"/>
                    </a:lnTo>
                    <a:lnTo>
                      <a:pt x="354" y="263"/>
                    </a:lnTo>
                    <a:lnTo>
                      <a:pt x="347" y="253"/>
                    </a:lnTo>
                    <a:lnTo>
                      <a:pt x="347" y="245"/>
                    </a:lnTo>
                    <a:lnTo>
                      <a:pt x="339" y="245"/>
                    </a:lnTo>
                    <a:lnTo>
                      <a:pt x="332" y="245"/>
                    </a:lnTo>
                    <a:lnTo>
                      <a:pt x="327" y="238"/>
                    </a:lnTo>
                    <a:lnTo>
                      <a:pt x="325" y="231"/>
                    </a:lnTo>
                    <a:lnTo>
                      <a:pt x="313" y="234"/>
                    </a:lnTo>
                    <a:lnTo>
                      <a:pt x="308" y="239"/>
                    </a:lnTo>
                    <a:lnTo>
                      <a:pt x="308" y="241"/>
                    </a:lnTo>
                    <a:lnTo>
                      <a:pt x="311" y="243"/>
                    </a:lnTo>
                    <a:lnTo>
                      <a:pt x="309" y="246"/>
                    </a:lnTo>
                    <a:lnTo>
                      <a:pt x="309" y="251"/>
                    </a:lnTo>
                    <a:lnTo>
                      <a:pt x="311" y="260"/>
                    </a:lnTo>
                    <a:lnTo>
                      <a:pt x="320" y="265"/>
                    </a:lnTo>
                    <a:lnTo>
                      <a:pt x="328" y="270"/>
                    </a:lnTo>
                    <a:lnTo>
                      <a:pt x="332" y="281"/>
                    </a:lnTo>
                    <a:lnTo>
                      <a:pt x="337" y="291"/>
                    </a:lnTo>
                    <a:lnTo>
                      <a:pt x="342" y="298"/>
                    </a:lnTo>
                    <a:lnTo>
                      <a:pt x="352" y="300"/>
                    </a:lnTo>
                    <a:lnTo>
                      <a:pt x="363" y="300"/>
                    </a:lnTo>
                    <a:lnTo>
                      <a:pt x="361" y="300"/>
                    </a:lnTo>
                    <a:lnTo>
                      <a:pt x="361" y="303"/>
                    </a:lnTo>
                    <a:lnTo>
                      <a:pt x="364" y="308"/>
                    </a:lnTo>
                    <a:lnTo>
                      <a:pt x="375" y="313"/>
                    </a:lnTo>
                    <a:lnTo>
                      <a:pt x="389" y="320"/>
                    </a:lnTo>
                    <a:lnTo>
                      <a:pt x="395" y="332"/>
                    </a:lnTo>
                    <a:lnTo>
                      <a:pt x="387" y="329"/>
                    </a:lnTo>
                    <a:lnTo>
                      <a:pt x="380" y="325"/>
                    </a:lnTo>
                    <a:lnTo>
                      <a:pt x="371" y="327"/>
                    </a:lnTo>
                    <a:lnTo>
                      <a:pt x="368" y="334"/>
                    </a:lnTo>
                    <a:lnTo>
                      <a:pt x="371" y="339"/>
                    </a:lnTo>
                    <a:lnTo>
                      <a:pt x="376" y="348"/>
                    </a:lnTo>
                    <a:lnTo>
                      <a:pt x="373" y="349"/>
                    </a:lnTo>
                    <a:lnTo>
                      <a:pt x="371" y="351"/>
                    </a:lnTo>
                    <a:lnTo>
                      <a:pt x="366" y="360"/>
                    </a:lnTo>
                    <a:lnTo>
                      <a:pt x="359" y="367"/>
                    </a:lnTo>
                    <a:lnTo>
                      <a:pt x="354" y="365"/>
                    </a:lnTo>
                    <a:lnTo>
                      <a:pt x="354" y="361"/>
                    </a:lnTo>
                    <a:lnTo>
                      <a:pt x="361" y="356"/>
                    </a:lnTo>
                    <a:lnTo>
                      <a:pt x="363" y="349"/>
                    </a:lnTo>
                    <a:lnTo>
                      <a:pt x="359" y="339"/>
                    </a:lnTo>
                    <a:lnTo>
                      <a:pt x="358" y="334"/>
                    </a:lnTo>
                    <a:lnTo>
                      <a:pt x="349" y="327"/>
                    </a:lnTo>
                    <a:lnTo>
                      <a:pt x="344" y="318"/>
                    </a:lnTo>
                    <a:lnTo>
                      <a:pt x="337" y="317"/>
                    </a:lnTo>
                    <a:lnTo>
                      <a:pt x="333" y="313"/>
                    </a:lnTo>
                    <a:lnTo>
                      <a:pt x="321" y="310"/>
                    </a:lnTo>
                    <a:lnTo>
                      <a:pt x="316" y="306"/>
                    </a:lnTo>
                    <a:lnTo>
                      <a:pt x="311" y="301"/>
                    </a:lnTo>
                    <a:lnTo>
                      <a:pt x="306" y="298"/>
                    </a:lnTo>
                    <a:lnTo>
                      <a:pt x="299" y="293"/>
                    </a:lnTo>
                    <a:lnTo>
                      <a:pt x="294" y="288"/>
                    </a:lnTo>
                    <a:lnTo>
                      <a:pt x="287" y="277"/>
                    </a:lnTo>
                    <a:lnTo>
                      <a:pt x="282" y="267"/>
                    </a:lnTo>
                    <a:lnTo>
                      <a:pt x="273" y="258"/>
                    </a:lnTo>
                    <a:lnTo>
                      <a:pt x="263" y="257"/>
                    </a:lnTo>
                    <a:lnTo>
                      <a:pt x="253" y="258"/>
                    </a:lnTo>
                    <a:lnTo>
                      <a:pt x="249" y="265"/>
                    </a:lnTo>
                    <a:lnTo>
                      <a:pt x="235" y="272"/>
                    </a:lnTo>
                    <a:lnTo>
                      <a:pt x="222" y="279"/>
                    </a:lnTo>
                    <a:lnTo>
                      <a:pt x="206" y="275"/>
                    </a:lnTo>
                    <a:lnTo>
                      <a:pt x="192" y="272"/>
                    </a:lnTo>
                    <a:lnTo>
                      <a:pt x="182" y="275"/>
                    </a:lnTo>
                    <a:lnTo>
                      <a:pt x="177" y="286"/>
                    </a:lnTo>
                    <a:lnTo>
                      <a:pt x="180" y="296"/>
                    </a:lnTo>
                    <a:lnTo>
                      <a:pt x="170" y="306"/>
                    </a:lnTo>
                    <a:lnTo>
                      <a:pt x="155" y="313"/>
                    </a:lnTo>
                    <a:lnTo>
                      <a:pt x="146" y="317"/>
                    </a:lnTo>
                    <a:lnTo>
                      <a:pt x="139" y="325"/>
                    </a:lnTo>
                    <a:lnTo>
                      <a:pt x="132" y="336"/>
                    </a:lnTo>
                    <a:lnTo>
                      <a:pt x="131" y="346"/>
                    </a:lnTo>
                    <a:lnTo>
                      <a:pt x="132" y="351"/>
                    </a:lnTo>
                    <a:lnTo>
                      <a:pt x="136" y="353"/>
                    </a:lnTo>
                    <a:lnTo>
                      <a:pt x="127" y="365"/>
                    </a:lnTo>
                    <a:lnTo>
                      <a:pt x="117" y="375"/>
                    </a:lnTo>
                    <a:lnTo>
                      <a:pt x="112" y="377"/>
                    </a:lnTo>
                    <a:lnTo>
                      <a:pt x="108" y="382"/>
                    </a:lnTo>
                    <a:lnTo>
                      <a:pt x="103" y="386"/>
                    </a:lnTo>
                    <a:lnTo>
                      <a:pt x="98" y="387"/>
                    </a:lnTo>
                    <a:lnTo>
                      <a:pt x="98" y="387"/>
                    </a:lnTo>
                    <a:lnTo>
                      <a:pt x="89" y="387"/>
                    </a:lnTo>
                    <a:lnTo>
                      <a:pt x="82" y="389"/>
                    </a:lnTo>
                    <a:lnTo>
                      <a:pt x="67" y="394"/>
                    </a:lnTo>
                    <a:lnTo>
                      <a:pt x="53" y="399"/>
                    </a:lnTo>
                    <a:lnTo>
                      <a:pt x="48" y="396"/>
                    </a:lnTo>
                    <a:lnTo>
                      <a:pt x="45" y="389"/>
                    </a:lnTo>
                    <a:lnTo>
                      <a:pt x="38" y="382"/>
                    </a:lnTo>
                    <a:lnTo>
                      <a:pt x="33" y="380"/>
                    </a:lnTo>
                    <a:lnTo>
                      <a:pt x="20" y="382"/>
                    </a:lnTo>
                    <a:lnTo>
                      <a:pt x="12" y="384"/>
                    </a:lnTo>
                    <a:lnTo>
                      <a:pt x="7" y="380"/>
                    </a:lnTo>
                    <a:lnTo>
                      <a:pt x="7" y="379"/>
                    </a:lnTo>
                    <a:lnTo>
                      <a:pt x="7" y="367"/>
                    </a:lnTo>
                    <a:lnTo>
                      <a:pt x="7" y="360"/>
                    </a:lnTo>
                    <a:lnTo>
                      <a:pt x="2" y="356"/>
                    </a:lnTo>
                    <a:lnTo>
                      <a:pt x="0" y="353"/>
                    </a:lnTo>
                    <a:lnTo>
                      <a:pt x="2" y="344"/>
                    </a:lnTo>
                    <a:lnTo>
                      <a:pt x="5" y="341"/>
                    </a:lnTo>
                    <a:lnTo>
                      <a:pt x="5" y="330"/>
                    </a:lnTo>
                    <a:lnTo>
                      <a:pt x="7" y="320"/>
                    </a:lnTo>
                    <a:lnTo>
                      <a:pt x="8" y="310"/>
                    </a:lnTo>
                    <a:lnTo>
                      <a:pt x="10" y="301"/>
                    </a:lnTo>
                    <a:lnTo>
                      <a:pt x="7" y="291"/>
                    </a:lnTo>
                    <a:lnTo>
                      <a:pt x="3" y="282"/>
                    </a:lnTo>
                    <a:lnTo>
                      <a:pt x="5" y="277"/>
                    </a:lnTo>
                    <a:lnTo>
                      <a:pt x="12" y="274"/>
                    </a:lnTo>
                    <a:lnTo>
                      <a:pt x="19" y="269"/>
                    </a:lnTo>
                    <a:lnTo>
                      <a:pt x="24" y="269"/>
                    </a:lnTo>
                    <a:lnTo>
                      <a:pt x="27" y="269"/>
                    </a:lnTo>
                    <a:lnTo>
                      <a:pt x="33" y="270"/>
                    </a:lnTo>
                    <a:lnTo>
                      <a:pt x="55" y="270"/>
                    </a:lnTo>
                    <a:lnTo>
                      <a:pt x="58" y="272"/>
                    </a:lnTo>
                    <a:lnTo>
                      <a:pt x="63" y="274"/>
                    </a:lnTo>
                    <a:lnTo>
                      <a:pt x="88" y="274"/>
                    </a:lnTo>
                    <a:lnTo>
                      <a:pt x="94" y="274"/>
                    </a:lnTo>
                    <a:lnTo>
                      <a:pt x="101" y="275"/>
                    </a:lnTo>
                    <a:lnTo>
                      <a:pt x="108" y="274"/>
                    </a:lnTo>
                    <a:lnTo>
                      <a:pt x="115" y="274"/>
                    </a:lnTo>
                    <a:lnTo>
                      <a:pt x="119" y="262"/>
                    </a:lnTo>
                    <a:lnTo>
                      <a:pt x="122" y="250"/>
                    </a:lnTo>
                    <a:lnTo>
                      <a:pt x="120" y="243"/>
                    </a:lnTo>
                    <a:lnTo>
                      <a:pt x="120" y="236"/>
                    </a:lnTo>
                    <a:lnTo>
                      <a:pt x="120" y="238"/>
                    </a:lnTo>
                    <a:lnTo>
                      <a:pt x="120" y="232"/>
                    </a:lnTo>
                    <a:lnTo>
                      <a:pt x="122" y="229"/>
                    </a:lnTo>
                    <a:lnTo>
                      <a:pt x="120" y="226"/>
                    </a:lnTo>
                    <a:lnTo>
                      <a:pt x="119" y="222"/>
                    </a:lnTo>
                    <a:lnTo>
                      <a:pt x="106" y="215"/>
                    </a:lnTo>
                    <a:lnTo>
                      <a:pt x="105" y="205"/>
                    </a:lnTo>
                    <a:lnTo>
                      <a:pt x="101" y="202"/>
                    </a:lnTo>
                    <a:lnTo>
                      <a:pt x="100" y="202"/>
                    </a:lnTo>
                    <a:lnTo>
                      <a:pt x="89" y="198"/>
                    </a:lnTo>
                    <a:lnTo>
                      <a:pt x="81" y="195"/>
                    </a:lnTo>
                    <a:lnTo>
                      <a:pt x="72" y="189"/>
                    </a:lnTo>
                    <a:lnTo>
                      <a:pt x="69" y="186"/>
                    </a:lnTo>
                    <a:lnTo>
                      <a:pt x="69" y="184"/>
                    </a:lnTo>
                    <a:lnTo>
                      <a:pt x="70" y="181"/>
                    </a:lnTo>
                    <a:lnTo>
                      <a:pt x="76" y="179"/>
                    </a:lnTo>
                    <a:lnTo>
                      <a:pt x="81" y="176"/>
                    </a:lnTo>
                    <a:lnTo>
                      <a:pt x="88" y="176"/>
                    </a:lnTo>
                    <a:lnTo>
                      <a:pt x="93" y="179"/>
                    </a:lnTo>
                    <a:lnTo>
                      <a:pt x="101" y="181"/>
                    </a:lnTo>
                    <a:lnTo>
                      <a:pt x="106" y="179"/>
                    </a:lnTo>
                    <a:lnTo>
                      <a:pt x="113" y="177"/>
                    </a:lnTo>
                    <a:lnTo>
                      <a:pt x="113" y="174"/>
                    </a:lnTo>
                    <a:lnTo>
                      <a:pt x="110" y="169"/>
                    </a:lnTo>
                    <a:lnTo>
                      <a:pt x="110" y="164"/>
                    </a:lnTo>
                    <a:lnTo>
                      <a:pt x="110" y="160"/>
                    </a:lnTo>
                    <a:lnTo>
                      <a:pt x="115" y="160"/>
                    </a:lnTo>
                    <a:lnTo>
                      <a:pt x="122" y="164"/>
                    </a:lnTo>
                    <a:lnTo>
                      <a:pt x="131" y="167"/>
                    </a:lnTo>
                    <a:lnTo>
                      <a:pt x="136" y="164"/>
                    </a:lnTo>
                    <a:lnTo>
                      <a:pt x="139" y="160"/>
                    </a:lnTo>
                    <a:lnTo>
                      <a:pt x="148" y="157"/>
                    </a:lnTo>
                    <a:lnTo>
                      <a:pt x="155" y="152"/>
                    </a:lnTo>
                    <a:lnTo>
                      <a:pt x="158" y="143"/>
                    </a:lnTo>
                    <a:lnTo>
                      <a:pt x="162" y="136"/>
                    </a:lnTo>
                    <a:lnTo>
                      <a:pt x="165" y="134"/>
                    </a:lnTo>
                    <a:lnTo>
                      <a:pt x="168" y="134"/>
                    </a:lnTo>
                    <a:lnTo>
                      <a:pt x="172" y="131"/>
                    </a:lnTo>
                    <a:lnTo>
                      <a:pt x="180" y="129"/>
                    </a:lnTo>
                    <a:lnTo>
                      <a:pt x="189" y="126"/>
                    </a:lnTo>
                    <a:lnTo>
                      <a:pt x="194" y="124"/>
                    </a:lnTo>
                    <a:lnTo>
                      <a:pt x="196" y="116"/>
                    </a:lnTo>
                    <a:lnTo>
                      <a:pt x="198" y="107"/>
                    </a:lnTo>
                    <a:lnTo>
                      <a:pt x="199" y="104"/>
                    </a:lnTo>
                    <a:lnTo>
                      <a:pt x="201" y="102"/>
                    </a:lnTo>
                    <a:lnTo>
                      <a:pt x="211" y="91"/>
                    </a:lnTo>
                    <a:lnTo>
                      <a:pt x="229" y="86"/>
                    </a:lnTo>
                    <a:lnTo>
                      <a:pt x="232" y="86"/>
                    </a:lnTo>
                    <a:lnTo>
                      <a:pt x="235" y="86"/>
                    </a:lnTo>
                    <a:lnTo>
                      <a:pt x="235" y="85"/>
                    </a:lnTo>
                    <a:lnTo>
                      <a:pt x="239" y="83"/>
                    </a:lnTo>
                    <a:lnTo>
                      <a:pt x="244" y="81"/>
                    </a:lnTo>
                    <a:lnTo>
                      <a:pt x="251" y="83"/>
                    </a:lnTo>
                    <a:lnTo>
                      <a:pt x="258" y="79"/>
                    </a:lnTo>
                    <a:lnTo>
                      <a:pt x="263" y="74"/>
                    </a:lnTo>
                    <a:lnTo>
                      <a:pt x="261" y="67"/>
                    </a:lnTo>
                    <a:lnTo>
                      <a:pt x="260" y="62"/>
                    </a:lnTo>
                    <a:lnTo>
                      <a:pt x="256" y="52"/>
                    </a:lnTo>
                    <a:lnTo>
                      <a:pt x="253" y="45"/>
                    </a:lnTo>
                    <a:lnTo>
                      <a:pt x="249" y="38"/>
                    </a:lnTo>
                    <a:lnTo>
                      <a:pt x="249" y="31"/>
                    </a:lnTo>
                    <a:lnTo>
                      <a:pt x="251" y="18"/>
                    </a:lnTo>
                    <a:lnTo>
                      <a:pt x="260" y="11"/>
                    </a:lnTo>
                    <a:lnTo>
                      <a:pt x="270" y="6"/>
                    </a:lnTo>
                    <a:lnTo>
                      <a:pt x="282" y="0"/>
                    </a:lnTo>
                    <a:lnTo>
                      <a:pt x="282" y="6"/>
                    </a:lnTo>
                    <a:lnTo>
                      <a:pt x="278" y="12"/>
                    </a:lnTo>
                    <a:lnTo>
                      <a:pt x="278" y="19"/>
                    </a:lnTo>
                    <a:lnTo>
                      <a:pt x="280" y="23"/>
                    </a:lnTo>
                    <a:lnTo>
                      <a:pt x="287" y="24"/>
                    </a:lnTo>
                    <a:lnTo>
                      <a:pt x="287" y="26"/>
                    </a:lnTo>
                    <a:lnTo>
                      <a:pt x="287" y="28"/>
                    </a:lnTo>
                    <a:lnTo>
                      <a:pt x="284" y="30"/>
                    </a:lnTo>
                    <a:lnTo>
                      <a:pt x="282" y="33"/>
                    </a:lnTo>
                    <a:lnTo>
                      <a:pt x="273" y="40"/>
                    </a:lnTo>
                    <a:lnTo>
                      <a:pt x="270" y="52"/>
                    </a:lnTo>
                    <a:lnTo>
                      <a:pt x="272" y="57"/>
                    </a:lnTo>
                    <a:lnTo>
                      <a:pt x="277" y="62"/>
                    </a:lnTo>
                    <a:lnTo>
                      <a:pt x="277" y="64"/>
                    </a:lnTo>
                    <a:lnTo>
                      <a:pt x="277" y="67"/>
                    </a:lnTo>
                    <a:lnTo>
                      <a:pt x="282" y="67"/>
                    </a:lnTo>
                    <a:lnTo>
                      <a:pt x="289" y="69"/>
                    </a:lnTo>
                    <a:lnTo>
                      <a:pt x="289" y="73"/>
                    </a:lnTo>
                    <a:lnTo>
                      <a:pt x="292" y="76"/>
                    </a:lnTo>
                    <a:lnTo>
                      <a:pt x="301" y="73"/>
                    </a:lnTo>
                    <a:lnTo>
                      <a:pt x="309" y="69"/>
                    </a:lnTo>
                    <a:lnTo>
                      <a:pt x="316" y="66"/>
                    </a:lnTo>
                    <a:lnTo>
                      <a:pt x="327" y="66"/>
                    </a:lnTo>
                    <a:lnTo>
                      <a:pt x="325" y="67"/>
                    </a:lnTo>
                    <a:lnTo>
                      <a:pt x="325" y="71"/>
                    </a:lnTo>
                    <a:lnTo>
                      <a:pt x="328" y="74"/>
                    </a:lnTo>
                    <a:lnTo>
                      <a:pt x="332" y="78"/>
                    </a:lnTo>
                    <a:lnTo>
                      <a:pt x="337" y="74"/>
                    </a:lnTo>
                    <a:lnTo>
                      <a:pt x="342" y="73"/>
                    </a:lnTo>
                    <a:lnTo>
                      <a:pt x="352" y="69"/>
                    </a:lnTo>
                    <a:lnTo>
                      <a:pt x="364" y="67"/>
                    </a:lnTo>
                    <a:lnTo>
                      <a:pt x="371" y="61"/>
                    </a:lnTo>
                    <a:lnTo>
                      <a:pt x="383" y="57"/>
                    </a:lnTo>
                    <a:lnTo>
                      <a:pt x="392" y="57"/>
                    </a:lnTo>
                    <a:lnTo>
                      <a:pt x="401" y="59"/>
                    </a:lnTo>
                    <a:lnTo>
                      <a:pt x="399" y="62"/>
                    </a:lnTo>
                    <a:lnTo>
                      <a:pt x="399" y="66"/>
                    </a:lnTo>
                    <a:lnTo>
                      <a:pt x="407" y="64"/>
                    </a:lnTo>
                    <a:lnTo>
                      <a:pt x="416" y="64"/>
                    </a:lnTo>
                    <a:lnTo>
                      <a:pt x="425" y="62"/>
                    </a:lnTo>
                    <a:lnTo>
                      <a:pt x="435" y="62"/>
                    </a:lnTo>
                    <a:lnTo>
                      <a:pt x="447" y="62"/>
                    </a:lnTo>
                    <a:lnTo>
                      <a:pt x="461" y="62"/>
                    </a:lnTo>
                    <a:lnTo>
                      <a:pt x="466" y="64"/>
                    </a:lnTo>
                    <a:lnTo>
                      <a:pt x="471" y="73"/>
                    </a:lnTo>
                    <a:lnTo>
                      <a:pt x="475" y="81"/>
                    </a:lnTo>
                    <a:lnTo>
                      <a:pt x="476" y="91"/>
                    </a:lnTo>
                    <a:lnTo>
                      <a:pt x="473" y="100"/>
                    </a:lnTo>
                    <a:lnTo>
                      <a:pt x="469" y="109"/>
                    </a:lnTo>
                    <a:lnTo>
                      <a:pt x="473" y="122"/>
                    </a:lnTo>
                    <a:lnTo>
                      <a:pt x="478" y="136"/>
                    </a:lnTo>
                    <a:lnTo>
                      <a:pt x="473" y="141"/>
                    </a:lnTo>
                    <a:lnTo>
                      <a:pt x="468" y="147"/>
                    </a:lnTo>
                    <a:lnTo>
                      <a:pt x="461" y="159"/>
                    </a:lnTo>
                    <a:lnTo>
                      <a:pt x="459" y="176"/>
                    </a:lnTo>
                    <a:lnTo>
                      <a:pt x="459" y="183"/>
                    </a:lnTo>
                    <a:lnTo>
                      <a:pt x="464" y="186"/>
                    </a:lnTo>
                    <a:lnTo>
                      <a:pt x="471" y="186"/>
                    </a:lnTo>
                    <a:lnTo>
                      <a:pt x="481" y="188"/>
                    </a:lnTo>
                    <a:lnTo>
                      <a:pt x="490" y="186"/>
                    </a:lnTo>
                    <a:lnTo>
                      <a:pt x="500" y="184"/>
                    </a:lnTo>
                    <a:lnTo>
                      <a:pt x="507" y="181"/>
                    </a:lnTo>
                    <a:lnTo>
                      <a:pt x="518" y="181"/>
                    </a:lnTo>
                    <a:lnTo>
                      <a:pt x="524" y="184"/>
                    </a:lnTo>
                    <a:lnTo>
                      <a:pt x="528" y="193"/>
                    </a:lnTo>
                    <a:lnTo>
                      <a:pt x="531" y="202"/>
                    </a:lnTo>
                    <a:lnTo>
                      <a:pt x="540" y="207"/>
                    </a:lnTo>
                    <a:lnTo>
                      <a:pt x="540" y="227"/>
                    </a:lnTo>
                    <a:lnTo>
                      <a:pt x="540" y="229"/>
                    </a:lnTo>
                    <a:lnTo>
                      <a:pt x="543" y="231"/>
                    </a:lnTo>
                    <a:lnTo>
                      <a:pt x="545" y="234"/>
                    </a:lnTo>
                    <a:lnTo>
                      <a:pt x="550" y="232"/>
                    </a:lnTo>
                    <a:lnTo>
                      <a:pt x="557" y="231"/>
                    </a:lnTo>
                    <a:lnTo>
                      <a:pt x="557" y="234"/>
                    </a:lnTo>
                    <a:lnTo>
                      <a:pt x="557" y="239"/>
                    </a:lnTo>
                    <a:lnTo>
                      <a:pt x="550" y="241"/>
                    </a:lnTo>
                    <a:lnTo>
                      <a:pt x="547" y="2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7" name="Freeform 256"/>
              <p:cNvSpPr>
                <a:spLocks/>
              </p:cNvSpPr>
              <p:nvPr/>
            </p:nvSpPr>
            <p:spPr bwMode="auto">
              <a:xfrm>
                <a:off x="4429919" y="2020888"/>
                <a:ext cx="598488" cy="574675"/>
              </a:xfrm>
              <a:custGeom>
                <a:avLst/>
                <a:gdLst/>
                <a:ahLst/>
                <a:cxnLst>
                  <a:cxn ang="0">
                    <a:pos x="66" y="278"/>
                  </a:cxn>
                  <a:cxn ang="0">
                    <a:pos x="23" y="299"/>
                  </a:cxn>
                  <a:cxn ang="0">
                    <a:pos x="9" y="283"/>
                  </a:cxn>
                  <a:cxn ang="0">
                    <a:pos x="2" y="277"/>
                  </a:cxn>
                  <a:cxn ang="0">
                    <a:pos x="2" y="246"/>
                  </a:cxn>
                  <a:cxn ang="0">
                    <a:pos x="12" y="215"/>
                  </a:cxn>
                  <a:cxn ang="0">
                    <a:pos x="45" y="187"/>
                  </a:cxn>
                  <a:cxn ang="0">
                    <a:pos x="52" y="180"/>
                  </a:cxn>
                  <a:cxn ang="0">
                    <a:pos x="98" y="146"/>
                  </a:cxn>
                  <a:cxn ang="0">
                    <a:pos x="107" y="125"/>
                  </a:cxn>
                  <a:cxn ang="0">
                    <a:pos x="136" y="93"/>
                  </a:cxn>
                  <a:cxn ang="0">
                    <a:pos x="164" y="60"/>
                  </a:cxn>
                  <a:cxn ang="0">
                    <a:pos x="145" y="62"/>
                  </a:cxn>
                  <a:cxn ang="0">
                    <a:pos x="145" y="53"/>
                  </a:cxn>
                  <a:cxn ang="0">
                    <a:pos x="153" y="51"/>
                  </a:cxn>
                  <a:cxn ang="0">
                    <a:pos x="176" y="55"/>
                  </a:cxn>
                  <a:cxn ang="0">
                    <a:pos x="176" y="41"/>
                  </a:cxn>
                  <a:cxn ang="0">
                    <a:pos x="191" y="36"/>
                  </a:cxn>
                  <a:cxn ang="0">
                    <a:pos x="212" y="36"/>
                  </a:cxn>
                  <a:cxn ang="0">
                    <a:pos x="241" y="19"/>
                  </a:cxn>
                  <a:cxn ang="0">
                    <a:pos x="251" y="5"/>
                  </a:cxn>
                  <a:cxn ang="0">
                    <a:pos x="274" y="7"/>
                  </a:cxn>
                  <a:cxn ang="0">
                    <a:pos x="289" y="10"/>
                  </a:cxn>
                  <a:cxn ang="0">
                    <a:pos x="306" y="8"/>
                  </a:cxn>
                  <a:cxn ang="0">
                    <a:pos x="329" y="7"/>
                  </a:cxn>
                  <a:cxn ang="0">
                    <a:pos x="349" y="7"/>
                  </a:cxn>
                  <a:cxn ang="0">
                    <a:pos x="344" y="27"/>
                  </a:cxn>
                  <a:cxn ang="0">
                    <a:pos x="355" y="38"/>
                  </a:cxn>
                  <a:cxn ang="0">
                    <a:pos x="339" y="63"/>
                  </a:cxn>
                  <a:cxn ang="0">
                    <a:pos x="351" y="89"/>
                  </a:cxn>
                  <a:cxn ang="0">
                    <a:pos x="353" y="132"/>
                  </a:cxn>
                  <a:cxn ang="0">
                    <a:pos x="363" y="160"/>
                  </a:cxn>
                  <a:cxn ang="0">
                    <a:pos x="370" y="182"/>
                  </a:cxn>
                  <a:cxn ang="0">
                    <a:pos x="342" y="232"/>
                  </a:cxn>
                  <a:cxn ang="0">
                    <a:pos x="301" y="252"/>
                  </a:cxn>
                  <a:cxn ang="0">
                    <a:pos x="255" y="261"/>
                  </a:cxn>
                  <a:cxn ang="0">
                    <a:pos x="232" y="230"/>
                  </a:cxn>
                  <a:cxn ang="0">
                    <a:pos x="227" y="203"/>
                  </a:cxn>
                  <a:cxn ang="0">
                    <a:pos x="263" y="168"/>
                  </a:cxn>
                  <a:cxn ang="0">
                    <a:pos x="289" y="137"/>
                  </a:cxn>
                  <a:cxn ang="0">
                    <a:pos x="250" y="132"/>
                  </a:cxn>
                  <a:cxn ang="0">
                    <a:pos x="232" y="158"/>
                  </a:cxn>
                  <a:cxn ang="0">
                    <a:pos x="207" y="184"/>
                  </a:cxn>
                  <a:cxn ang="0">
                    <a:pos x="174" y="218"/>
                  </a:cxn>
                  <a:cxn ang="0">
                    <a:pos x="174" y="247"/>
                  </a:cxn>
                  <a:cxn ang="0">
                    <a:pos x="196" y="266"/>
                  </a:cxn>
                  <a:cxn ang="0">
                    <a:pos x="176" y="287"/>
                  </a:cxn>
                  <a:cxn ang="0">
                    <a:pos x="162" y="313"/>
                  </a:cxn>
                  <a:cxn ang="0">
                    <a:pos x="160" y="335"/>
                  </a:cxn>
                  <a:cxn ang="0">
                    <a:pos x="140" y="345"/>
                  </a:cxn>
                  <a:cxn ang="0">
                    <a:pos x="115" y="362"/>
                  </a:cxn>
                  <a:cxn ang="0">
                    <a:pos x="105" y="338"/>
                  </a:cxn>
                  <a:cxn ang="0">
                    <a:pos x="95" y="306"/>
                  </a:cxn>
                  <a:cxn ang="0">
                    <a:pos x="88" y="278"/>
                  </a:cxn>
                </a:cxnLst>
                <a:rect l="0" t="0" r="r" b="b"/>
                <a:pathLst>
                  <a:path w="377" h="362">
                    <a:moveTo>
                      <a:pt x="88" y="280"/>
                    </a:moveTo>
                    <a:lnTo>
                      <a:pt x="81" y="275"/>
                    </a:lnTo>
                    <a:lnTo>
                      <a:pt x="78" y="268"/>
                    </a:lnTo>
                    <a:lnTo>
                      <a:pt x="66" y="278"/>
                    </a:lnTo>
                    <a:lnTo>
                      <a:pt x="55" y="290"/>
                    </a:lnTo>
                    <a:lnTo>
                      <a:pt x="43" y="299"/>
                    </a:lnTo>
                    <a:lnTo>
                      <a:pt x="29" y="302"/>
                    </a:lnTo>
                    <a:lnTo>
                      <a:pt x="23" y="299"/>
                    </a:lnTo>
                    <a:lnTo>
                      <a:pt x="16" y="295"/>
                    </a:lnTo>
                    <a:lnTo>
                      <a:pt x="7" y="290"/>
                    </a:lnTo>
                    <a:lnTo>
                      <a:pt x="5" y="289"/>
                    </a:lnTo>
                    <a:lnTo>
                      <a:pt x="9" y="283"/>
                    </a:lnTo>
                    <a:lnTo>
                      <a:pt x="14" y="280"/>
                    </a:lnTo>
                    <a:lnTo>
                      <a:pt x="14" y="273"/>
                    </a:lnTo>
                    <a:lnTo>
                      <a:pt x="7" y="273"/>
                    </a:lnTo>
                    <a:lnTo>
                      <a:pt x="2" y="277"/>
                    </a:lnTo>
                    <a:lnTo>
                      <a:pt x="4" y="270"/>
                    </a:lnTo>
                    <a:lnTo>
                      <a:pt x="9" y="263"/>
                    </a:lnTo>
                    <a:lnTo>
                      <a:pt x="4" y="254"/>
                    </a:lnTo>
                    <a:lnTo>
                      <a:pt x="2" y="246"/>
                    </a:lnTo>
                    <a:lnTo>
                      <a:pt x="0" y="235"/>
                    </a:lnTo>
                    <a:lnTo>
                      <a:pt x="0" y="227"/>
                    </a:lnTo>
                    <a:lnTo>
                      <a:pt x="4" y="218"/>
                    </a:lnTo>
                    <a:lnTo>
                      <a:pt x="12" y="215"/>
                    </a:lnTo>
                    <a:lnTo>
                      <a:pt x="21" y="203"/>
                    </a:lnTo>
                    <a:lnTo>
                      <a:pt x="35" y="197"/>
                    </a:lnTo>
                    <a:lnTo>
                      <a:pt x="40" y="192"/>
                    </a:lnTo>
                    <a:lnTo>
                      <a:pt x="45" y="187"/>
                    </a:lnTo>
                    <a:lnTo>
                      <a:pt x="52" y="184"/>
                    </a:lnTo>
                    <a:lnTo>
                      <a:pt x="64" y="184"/>
                    </a:lnTo>
                    <a:lnTo>
                      <a:pt x="57" y="182"/>
                    </a:lnTo>
                    <a:lnTo>
                      <a:pt x="52" y="180"/>
                    </a:lnTo>
                    <a:lnTo>
                      <a:pt x="66" y="173"/>
                    </a:lnTo>
                    <a:lnTo>
                      <a:pt x="78" y="165"/>
                    </a:lnTo>
                    <a:lnTo>
                      <a:pt x="86" y="154"/>
                    </a:lnTo>
                    <a:lnTo>
                      <a:pt x="98" y="146"/>
                    </a:lnTo>
                    <a:lnTo>
                      <a:pt x="100" y="139"/>
                    </a:lnTo>
                    <a:lnTo>
                      <a:pt x="103" y="132"/>
                    </a:lnTo>
                    <a:lnTo>
                      <a:pt x="103" y="127"/>
                    </a:lnTo>
                    <a:lnTo>
                      <a:pt x="107" y="125"/>
                    </a:lnTo>
                    <a:lnTo>
                      <a:pt x="109" y="118"/>
                    </a:lnTo>
                    <a:lnTo>
                      <a:pt x="112" y="113"/>
                    </a:lnTo>
                    <a:lnTo>
                      <a:pt x="122" y="99"/>
                    </a:lnTo>
                    <a:lnTo>
                      <a:pt x="136" y="93"/>
                    </a:lnTo>
                    <a:lnTo>
                      <a:pt x="143" y="86"/>
                    </a:lnTo>
                    <a:lnTo>
                      <a:pt x="152" y="77"/>
                    </a:lnTo>
                    <a:lnTo>
                      <a:pt x="158" y="68"/>
                    </a:lnTo>
                    <a:lnTo>
                      <a:pt x="164" y="60"/>
                    </a:lnTo>
                    <a:lnTo>
                      <a:pt x="148" y="65"/>
                    </a:lnTo>
                    <a:lnTo>
                      <a:pt x="134" y="70"/>
                    </a:lnTo>
                    <a:lnTo>
                      <a:pt x="138" y="65"/>
                    </a:lnTo>
                    <a:lnTo>
                      <a:pt x="145" y="62"/>
                    </a:lnTo>
                    <a:lnTo>
                      <a:pt x="138" y="60"/>
                    </a:lnTo>
                    <a:lnTo>
                      <a:pt x="136" y="60"/>
                    </a:lnTo>
                    <a:lnTo>
                      <a:pt x="138" y="55"/>
                    </a:lnTo>
                    <a:lnTo>
                      <a:pt x="145" y="53"/>
                    </a:lnTo>
                    <a:lnTo>
                      <a:pt x="148" y="55"/>
                    </a:lnTo>
                    <a:lnTo>
                      <a:pt x="150" y="50"/>
                    </a:lnTo>
                    <a:lnTo>
                      <a:pt x="153" y="48"/>
                    </a:lnTo>
                    <a:lnTo>
                      <a:pt x="153" y="51"/>
                    </a:lnTo>
                    <a:lnTo>
                      <a:pt x="153" y="56"/>
                    </a:lnTo>
                    <a:lnTo>
                      <a:pt x="162" y="58"/>
                    </a:lnTo>
                    <a:lnTo>
                      <a:pt x="170" y="62"/>
                    </a:lnTo>
                    <a:lnTo>
                      <a:pt x="176" y="55"/>
                    </a:lnTo>
                    <a:lnTo>
                      <a:pt x="179" y="50"/>
                    </a:lnTo>
                    <a:lnTo>
                      <a:pt x="176" y="48"/>
                    </a:lnTo>
                    <a:lnTo>
                      <a:pt x="172" y="48"/>
                    </a:lnTo>
                    <a:lnTo>
                      <a:pt x="176" y="41"/>
                    </a:lnTo>
                    <a:lnTo>
                      <a:pt x="184" y="39"/>
                    </a:lnTo>
                    <a:lnTo>
                      <a:pt x="188" y="39"/>
                    </a:lnTo>
                    <a:lnTo>
                      <a:pt x="193" y="39"/>
                    </a:lnTo>
                    <a:lnTo>
                      <a:pt x="191" y="36"/>
                    </a:lnTo>
                    <a:lnTo>
                      <a:pt x="189" y="36"/>
                    </a:lnTo>
                    <a:lnTo>
                      <a:pt x="198" y="29"/>
                    </a:lnTo>
                    <a:lnTo>
                      <a:pt x="212" y="29"/>
                    </a:lnTo>
                    <a:lnTo>
                      <a:pt x="212" y="36"/>
                    </a:lnTo>
                    <a:lnTo>
                      <a:pt x="219" y="27"/>
                    </a:lnTo>
                    <a:lnTo>
                      <a:pt x="231" y="22"/>
                    </a:lnTo>
                    <a:lnTo>
                      <a:pt x="231" y="29"/>
                    </a:lnTo>
                    <a:lnTo>
                      <a:pt x="241" y="19"/>
                    </a:lnTo>
                    <a:lnTo>
                      <a:pt x="255" y="15"/>
                    </a:lnTo>
                    <a:lnTo>
                      <a:pt x="248" y="12"/>
                    </a:lnTo>
                    <a:lnTo>
                      <a:pt x="246" y="10"/>
                    </a:lnTo>
                    <a:lnTo>
                      <a:pt x="251" y="5"/>
                    </a:lnTo>
                    <a:lnTo>
                      <a:pt x="258" y="1"/>
                    </a:lnTo>
                    <a:lnTo>
                      <a:pt x="262" y="7"/>
                    </a:lnTo>
                    <a:lnTo>
                      <a:pt x="269" y="10"/>
                    </a:lnTo>
                    <a:lnTo>
                      <a:pt x="274" y="7"/>
                    </a:lnTo>
                    <a:lnTo>
                      <a:pt x="284" y="3"/>
                    </a:lnTo>
                    <a:lnTo>
                      <a:pt x="291" y="0"/>
                    </a:lnTo>
                    <a:lnTo>
                      <a:pt x="294" y="3"/>
                    </a:lnTo>
                    <a:lnTo>
                      <a:pt x="289" y="10"/>
                    </a:lnTo>
                    <a:lnTo>
                      <a:pt x="284" y="20"/>
                    </a:lnTo>
                    <a:lnTo>
                      <a:pt x="294" y="13"/>
                    </a:lnTo>
                    <a:lnTo>
                      <a:pt x="306" y="5"/>
                    </a:lnTo>
                    <a:lnTo>
                      <a:pt x="306" y="8"/>
                    </a:lnTo>
                    <a:lnTo>
                      <a:pt x="308" y="13"/>
                    </a:lnTo>
                    <a:lnTo>
                      <a:pt x="318" y="5"/>
                    </a:lnTo>
                    <a:lnTo>
                      <a:pt x="329" y="0"/>
                    </a:lnTo>
                    <a:lnTo>
                      <a:pt x="329" y="7"/>
                    </a:lnTo>
                    <a:lnTo>
                      <a:pt x="334" y="12"/>
                    </a:lnTo>
                    <a:lnTo>
                      <a:pt x="336" y="5"/>
                    </a:lnTo>
                    <a:lnTo>
                      <a:pt x="341" y="3"/>
                    </a:lnTo>
                    <a:lnTo>
                      <a:pt x="349" y="7"/>
                    </a:lnTo>
                    <a:lnTo>
                      <a:pt x="358" y="12"/>
                    </a:lnTo>
                    <a:lnTo>
                      <a:pt x="349" y="20"/>
                    </a:lnTo>
                    <a:lnTo>
                      <a:pt x="337" y="24"/>
                    </a:lnTo>
                    <a:lnTo>
                      <a:pt x="344" y="27"/>
                    </a:lnTo>
                    <a:lnTo>
                      <a:pt x="348" y="31"/>
                    </a:lnTo>
                    <a:lnTo>
                      <a:pt x="355" y="32"/>
                    </a:lnTo>
                    <a:lnTo>
                      <a:pt x="363" y="34"/>
                    </a:lnTo>
                    <a:lnTo>
                      <a:pt x="355" y="38"/>
                    </a:lnTo>
                    <a:lnTo>
                      <a:pt x="348" y="44"/>
                    </a:lnTo>
                    <a:lnTo>
                      <a:pt x="339" y="50"/>
                    </a:lnTo>
                    <a:lnTo>
                      <a:pt x="337" y="60"/>
                    </a:lnTo>
                    <a:lnTo>
                      <a:pt x="339" y="63"/>
                    </a:lnTo>
                    <a:lnTo>
                      <a:pt x="346" y="68"/>
                    </a:lnTo>
                    <a:lnTo>
                      <a:pt x="353" y="72"/>
                    </a:lnTo>
                    <a:lnTo>
                      <a:pt x="356" y="80"/>
                    </a:lnTo>
                    <a:lnTo>
                      <a:pt x="351" y="89"/>
                    </a:lnTo>
                    <a:lnTo>
                      <a:pt x="348" y="101"/>
                    </a:lnTo>
                    <a:lnTo>
                      <a:pt x="351" y="113"/>
                    </a:lnTo>
                    <a:lnTo>
                      <a:pt x="356" y="125"/>
                    </a:lnTo>
                    <a:lnTo>
                      <a:pt x="353" y="132"/>
                    </a:lnTo>
                    <a:lnTo>
                      <a:pt x="351" y="141"/>
                    </a:lnTo>
                    <a:lnTo>
                      <a:pt x="353" y="146"/>
                    </a:lnTo>
                    <a:lnTo>
                      <a:pt x="358" y="153"/>
                    </a:lnTo>
                    <a:lnTo>
                      <a:pt x="363" y="160"/>
                    </a:lnTo>
                    <a:lnTo>
                      <a:pt x="367" y="166"/>
                    </a:lnTo>
                    <a:lnTo>
                      <a:pt x="363" y="170"/>
                    </a:lnTo>
                    <a:lnTo>
                      <a:pt x="361" y="173"/>
                    </a:lnTo>
                    <a:lnTo>
                      <a:pt x="370" y="182"/>
                    </a:lnTo>
                    <a:lnTo>
                      <a:pt x="377" y="194"/>
                    </a:lnTo>
                    <a:lnTo>
                      <a:pt x="370" y="206"/>
                    </a:lnTo>
                    <a:lnTo>
                      <a:pt x="358" y="220"/>
                    </a:lnTo>
                    <a:lnTo>
                      <a:pt x="342" y="232"/>
                    </a:lnTo>
                    <a:lnTo>
                      <a:pt x="332" y="244"/>
                    </a:lnTo>
                    <a:lnTo>
                      <a:pt x="324" y="249"/>
                    </a:lnTo>
                    <a:lnTo>
                      <a:pt x="313" y="252"/>
                    </a:lnTo>
                    <a:lnTo>
                      <a:pt x="301" y="252"/>
                    </a:lnTo>
                    <a:lnTo>
                      <a:pt x="294" y="254"/>
                    </a:lnTo>
                    <a:lnTo>
                      <a:pt x="277" y="259"/>
                    </a:lnTo>
                    <a:lnTo>
                      <a:pt x="263" y="263"/>
                    </a:lnTo>
                    <a:lnTo>
                      <a:pt x="255" y="261"/>
                    </a:lnTo>
                    <a:lnTo>
                      <a:pt x="251" y="256"/>
                    </a:lnTo>
                    <a:lnTo>
                      <a:pt x="236" y="251"/>
                    </a:lnTo>
                    <a:lnTo>
                      <a:pt x="231" y="237"/>
                    </a:lnTo>
                    <a:lnTo>
                      <a:pt x="232" y="230"/>
                    </a:lnTo>
                    <a:lnTo>
                      <a:pt x="238" y="227"/>
                    </a:lnTo>
                    <a:lnTo>
                      <a:pt x="229" y="218"/>
                    </a:lnTo>
                    <a:lnTo>
                      <a:pt x="227" y="208"/>
                    </a:lnTo>
                    <a:lnTo>
                      <a:pt x="227" y="203"/>
                    </a:lnTo>
                    <a:lnTo>
                      <a:pt x="227" y="197"/>
                    </a:lnTo>
                    <a:lnTo>
                      <a:pt x="241" y="192"/>
                    </a:lnTo>
                    <a:lnTo>
                      <a:pt x="253" y="182"/>
                    </a:lnTo>
                    <a:lnTo>
                      <a:pt x="263" y="168"/>
                    </a:lnTo>
                    <a:lnTo>
                      <a:pt x="274" y="161"/>
                    </a:lnTo>
                    <a:lnTo>
                      <a:pt x="286" y="154"/>
                    </a:lnTo>
                    <a:lnTo>
                      <a:pt x="293" y="146"/>
                    </a:lnTo>
                    <a:lnTo>
                      <a:pt x="289" y="137"/>
                    </a:lnTo>
                    <a:lnTo>
                      <a:pt x="282" y="134"/>
                    </a:lnTo>
                    <a:lnTo>
                      <a:pt x="272" y="132"/>
                    </a:lnTo>
                    <a:lnTo>
                      <a:pt x="263" y="132"/>
                    </a:lnTo>
                    <a:lnTo>
                      <a:pt x="250" y="132"/>
                    </a:lnTo>
                    <a:lnTo>
                      <a:pt x="241" y="136"/>
                    </a:lnTo>
                    <a:lnTo>
                      <a:pt x="234" y="141"/>
                    </a:lnTo>
                    <a:lnTo>
                      <a:pt x="232" y="151"/>
                    </a:lnTo>
                    <a:lnTo>
                      <a:pt x="232" y="158"/>
                    </a:lnTo>
                    <a:lnTo>
                      <a:pt x="232" y="163"/>
                    </a:lnTo>
                    <a:lnTo>
                      <a:pt x="227" y="170"/>
                    </a:lnTo>
                    <a:lnTo>
                      <a:pt x="219" y="179"/>
                    </a:lnTo>
                    <a:lnTo>
                      <a:pt x="207" y="184"/>
                    </a:lnTo>
                    <a:lnTo>
                      <a:pt x="198" y="191"/>
                    </a:lnTo>
                    <a:lnTo>
                      <a:pt x="184" y="196"/>
                    </a:lnTo>
                    <a:lnTo>
                      <a:pt x="176" y="208"/>
                    </a:lnTo>
                    <a:lnTo>
                      <a:pt x="174" y="218"/>
                    </a:lnTo>
                    <a:lnTo>
                      <a:pt x="169" y="228"/>
                    </a:lnTo>
                    <a:lnTo>
                      <a:pt x="169" y="237"/>
                    </a:lnTo>
                    <a:lnTo>
                      <a:pt x="172" y="242"/>
                    </a:lnTo>
                    <a:lnTo>
                      <a:pt x="174" y="247"/>
                    </a:lnTo>
                    <a:lnTo>
                      <a:pt x="179" y="249"/>
                    </a:lnTo>
                    <a:lnTo>
                      <a:pt x="188" y="254"/>
                    </a:lnTo>
                    <a:lnTo>
                      <a:pt x="193" y="259"/>
                    </a:lnTo>
                    <a:lnTo>
                      <a:pt x="196" y="266"/>
                    </a:lnTo>
                    <a:lnTo>
                      <a:pt x="193" y="271"/>
                    </a:lnTo>
                    <a:lnTo>
                      <a:pt x="188" y="278"/>
                    </a:lnTo>
                    <a:lnTo>
                      <a:pt x="179" y="283"/>
                    </a:lnTo>
                    <a:lnTo>
                      <a:pt x="176" y="287"/>
                    </a:lnTo>
                    <a:lnTo>
                      <a:pt x="169" y="289"/>
                    </a:lnTo>
                    <a:lnTo>
                      <a:pt x="164" y="295"/>
                    </a:lnTo>
                    <a:lnTo>
                      <a:pt x="162" y="304"/>
                    </a:lnTo>
                    <a:lnTo>
                      <a:pt x="162" y="313"/>
                    </a:lnTo>
                    <a:lnTo>
                      <a:pt x="164" y="320"/>
                    </a:lnTo>
                    <a:lnTo>
                      <a:pt x="169" y="321"/>
                    </a:lnTo>
                    <a:lnTo>
                      <a:pt x="164" y="328"/>
                    </a:lnTo>
                    <a:lnTo>
                      <a:pt x="160" y="335"/>
                    </a:lnTo>
                    <a:lnTo>
                      <a:pt x="155" y="338"/>
                    </a:lnTo>
                    <a:lnTo>
                      <a:pt x="153" y="345"/>
                    </a:lnTo>
                    <a:lnTo>
                      <a:pt x="145" y="345"/>
                    </a:lnTo>
                    <a:lnTo>
                      <a:pt x="140" y="345"/>
                    </a:lnTo>
                    <a:lnTo>
                      <a:pt x="133" y="347"/>
                    </a:lnTo>
                    <a:lnTo>
                      <a:pt x="129" y="354"/>
                    </a:lnTo>
                    <a:lnTo>
                      <a:pt x="122" y="359"/>
                    </a:lnTo>
                    <a:lnTo>
                      <a:pt x="115" y="362"/>
                    </a:lnTo>
                    <a:lnTo>
                      <a:pt x="112" y="357"/>
                    </a:lnTo>
                    <a:lnTo>
                      <a:pt x="109" y="350"/>
                    </a:lnTo>
                    <a:lnTo>
                      <a:pt x="105" y="342"/>
                    </a:lnTo>
                    <a:lnTo>
                      <a:pt x="105" y="338"/>
                    </a:lnTo>
                    <a:lnTo>
                      <a:pt x="105" y="335"/>
                    </a:lnTo>
                    <a:lnTo>
                      <a:pt x="105" y="333"/>
                    </a:lnTo>
                    <a:lnTo>
                      <a:pt x="97" y="320"/>
                    </a:lnTo>
                    <a:lnTo>
                      <a:pt x="95" y="306"/>
                    </a:lnTo>
                    <a:lnTo>
                      <a:pt x="88" y="297"/>
                    </a:lnTo>
                    <a:lnTo>
                      <a:pt x="85" y="287"/>
                    </a:lnTo>
                    <a:lnTo>
                      <a:pt x="86" y="282"/>
                    </a:lnTo>
                    <a:lnTo>
                      <a:pt x="88" y="278"/>
                    </a:lnTo>
                    <a:lnTo>
                      <a:pt x="88" y="2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8" name="Freeform 257"/>
              <p:cNvSpPr>
                <a:spLocks/>
              </p:cNvSpPr>
              <p:nvPr/>
            </p:nvSpPr>
            <p:spPr bwMode="auto">
              <a:xfrm>
                <a:off x="4763294" y="1717675"/>
                <a:ext cx="3906838" cy="1449387"/>
              </a:xfrm>
              <a:custGeom>
                <a:avLst/>
                <a:gdLst/>
                <a:ahLst/>
                <a:cxnLst>
                  <a:cxn ang="0">
                    <a:pos x="1720" y="708"/>
                  </a:cxn>
                  <a:cxn ang="0">
                    <a:pos x="1734" y="571"/>
                  </a:cxn>
                  <a:cxn ang="0">
                    <a:pos x="1744" y="488"/>
                  </a:cxn>
                  <a:cxn ang="0">
                    <a:pos x="1906" y="464"/>
                  </a:cxn>
                  <a:cxn ang="0">
                    <a:pos x="2002" y="416"/>
                  </a:cxn>
                  <a:cxn ang="0">
                    <a:pos x="2086" y="409"/>
                  </a:cxn>
                  <a:cxn ang="0">
                    <a:pos x="1976" y="507"/>
                  </a:cxn>
                  <a:cxn ang="0">
                    <a:pos x="2011" y="584"/>
                  </a:cxn>
                  <a:cxn ang="0">
                    <a:pos x="2091" y="452"/>
                  </a:cxn>
                  <a:cxn ang="0">
                    <a:pos x="2257" y="399"/>
                  </a:cxn>
                  <a:cxn ang="0">
                    <a:pos x="2324" y="328"/>
                  </a:cxn>
                  <a:cxn ang="0">
                    <a:pos x="2425" y="333"/>
                  </a:cxn>
                  <a:cxn ang="0">
                    <a:pos x="2355" y="261"/>
                  </a:cxn>
                  <a:cxn ang="0">
                    <a:pos x="2177" y="234"/>
                  </a:cxn>
                  <a:cxn ang="0">
                    <a:pos x="1978" y="184"/>
                  </a:cxn>
                  <a:cxn ang="0">
                    <a:pos x="1835" y="143"/>
                  </a:cxn>
                  <a:cxn ang="0">
                    <a:pos x="1696" y="179"/>
                  </a:cxn>
                  <a:cxn ang="0">
                    <a:pos x="1582" y="173"/>
                  </a:cxn>
                  <a:cxn ang="0">
                    <a:pos x="1436" y="130"/>
                  </a:cxn>
                  <a:cxn ang="0">
                    <a:pos x="1266" y="122"/>
                  </a:cxn>
                  <a:cxn ang="0">
                    <a:pos x="1233" y="2"/>
                  </a:cxn>
                  <a:cxn ang="0">
                    <a:pos x="1106" y="48"/>
                  </a:cxn>
                  <a:cxn ang="0">
                    <a:pos x="958" y="106"/>
                  </a:cxn>
                  <a:cxn ang="0">
                    <a:pos x="863" y="156"/>
                  </a:cxn>
                  <a:cxn ang="0">
                    <a:pos x="790" y="148"/>
                  </a:cxn>
                  <a:cxn ang="0">
                    <a:pos x="769" y="251"/>
                  </a:cxn>
                  <a:cxn ang="0">
                    <a:pos x="731" y="137"/>
                  </a:cxn>
                  <a:cxn ang="0">
                    <a:pos x="704" y="256"/>
                  </a:cxn>
                  <a:cxn ang="0">
                    <a:pos x="585" y="247"/>
                  </a:cxn>
                  <a:cxn ang="0">
                    <a:pos x="470" y="247"/>
                  </a:cxn>
                  <a:cxn ang="0">
                    <a:pos x="363" y="247"/>
                  </a:cxn>
                  <a:cxn ang="0">
                    <a:pos x="294" y="335"/>
                  </a:cxn>
                  <a:cxn ang="0">
                    <a:pos x="237" y="311"/>
                  </a:cxn>
                  <a:cxn ang="0">
                    <a:pos x="225" y="244"/>
                  </a:cxn>
                  <a:cxn ang="0">
                    <a:pos x="136" y="259"/>
                  </a:cxn>
                  <a:cxn ang="0">
                    <a:pos x="153" y="361"/>
                  </a:cxn>
                  <a:cxn ang="0">
                    <a:pos x="107" y="464"/>
                  </a:cxn>
                  <a:cxn ang="0">
                    <a:pos x="41" y="500"/>
                  </a:cxn>
                  <a:cxn ang="0">
                    <a:pos x="45" y="567"/>
                  </a:cxn>
                  <a:cxn ang="0">
                    <a:pos x="43" y="688"/>
                  </a:cxn>
                  <a:cxn ang="0">
                    <a:pos x="124" y="734"/>
                  </a:cxn>
                  <a:cxn ang="0">
                    <a:pos x="212" y="755"/>
                  </a:cxn>
                  <a:cxn ang="0">
                    <a:pos x="253" y="713"/>
                  </a:cxn>
                  <a:cxn ang="0">
                    <a:pos x="270" y="765"/>
                  </a:cxn>
                  <a:cxn ang="0">
                    <a:pos x="353" y="829"/>
                  </a:cxn>
                  <a:cxn ang="0">
                    <a:pos x="415" y="851"/>
                  </a:cxn>
                  <a:cxn ang="0">
                    <a:pos x="403" y="727"/>
                  </a:cxn>
                  <a:cxn ang="0">
                    <a:pos x="492" y="729"/>
                  </a:cxn>
                  <a:cxn ang="0">
                    <a:pos x="473" y="811"/>
                  </a:cxn>
                  <a:cxn ang="0">
                    <a:pos x="494" y="880"/>
                  </a:cxn>
                  <a:cxn ang="0">
                    <a:pos x="599" y="889"/>
                  </a:cxn>
                  <a:cxn ang="0">
                    <a:pos x="666" y="875"/>
                  </a:cxn>
                  <a:cxn ang="0">
                    <a:pos x="747" y="872"/>
                  </a:cxn>
                  <a:cxn ang="0">
                    <a:pos x="798" y="825"/>
                  </a:cxn>
                  <a:cxn ang="0">
                    <a:pos x="932" y="710"/>
                  </a:cxn>
                  <a:cxn ang="0">
                    <a:pos x="1030" y="648"/>
                  </a:cxn>
                  <a:cxn ang="0">
                    <a:pos x="1152" y="612"/>
                  </a:cxn>
                  <a:cxn ang="0">
                    <a:pos x="1268" y="653"/>
                  </a:cxn>
                  <a:cxn ang="0">
                    <a:pos x="1422" y="653"/>
                  </a:cxn>
                  <a:cxn ang="0">
                    <a:pos x="1546" y="629"/>
                  </a:cxn>
                  <a:cxn ang="0">
                    <a:pos x="1649" y="682"/>
                  </a:cxn>
                  <a:cxn ang="0">
                    <a:pos x="1610" y="780"/>
                  </a:cxn>
                </a:cxnLst>
                <a:rect l="0" t="0" r="r" b="b"/>
                <a:pathLst>
                  <a:path w="2461" h="913">
                    <a:moveTo>
                      <a:pt x="1608" y="786"/>
                    </a:moveTo>
                    <a:lnTo>
                      <a:pt x="1612" y="786"/>
                    </a:lnTo>
                    <a:lnTo>
                      <a:pt x="1620" y="787"/>
                    </a:lnTo>
                    <a:lnTo>
                      <a:pt x="1631" y="789"/>
                    </a:lnTo>
                    <a:lnTo>
                      <a:pt x="1644" y="791"/>
                    </a:lnTo>
                    <a:lnTo>
                      <a:pt x="1653" y="787"/>
                    </a:lnTo>
                    <a:lnTo>
                      <a:pt x="1663" y="780"/>
                    </a:lnTo>
                    <a:lnTo>
                      <a:pt x="1674" y="768"/>
                    </a:lnTo>
                    <a:lnTo>
                      <a:pt x="1684" y="756"/>
                    </a:lnTo>
                    <a:lnTo>
                      <a:pt x="1692" y="743"/>
                    </a:lnTo>
                    <a:lnTo>
                      <a:pt x="1703" y="729"/>
                    </a:lnTo>
                    <a:lnTo>
                      <a:pt x="1711" y="717"/>
                    </a:lnTo>
                    <a:lnTo>
                      <a:pt x="1720" y="708"/>
                    </a:lnTo>
                    <a:lnTo>
                      <a:pt x="1725" y="700"/>
                    </a:lnTo>
                    <a:lnTo>
                      <a:pt x="1734" y="691"/>
                    </a:lnTo>
                    <a:lnTo>
                      <a:pt x="1737" y="681"/>
                    </a:lnTo>
                    <a:lnTo>
                      <a:pt x="1742" y="670"/>
                    </a:lnTo>
                    <a:lnTo>
                      <a:pt x="1742" y="660"/>
                    </a:lnTo>
                    <a:lnTo>
                      <a:pt x="1742" y="652"/>
                    </a:lnTo>
                    <a:lnTo>
                      <a:pt x="1742" y="641"/>
                    </a:lnTo>
                    <a:lnTo>
                      <a:pt x="1748" y="633"/>
                    </a:lnTo>
                    <a:lnTo>
                      <a:pt x="1753" y="621"/>
                    </a:lnTo>
                    <a:lnTo>
                      <a:pt x="1758" y="605"/>
                    </a:lnTo>
                    <a:lnTo>
                      <a:pt x="1753" y="591"/>
                    </a:lnTo>
                    <a:lnTo>
                      <a:pt x="1744" y="579"/>
                    </a:lnTo>
                    <a:lnTo>
                      <a:pt x="1734" y="571"/>
                    </a:lnTo>
                    <a:lnTo>
                      <a:pt x="1725" y="572"/>
                    </a:lnTo>
                    <a:lnTo>
                      <a:pt x="1713" y="578"/>
                    </a:lnTo>
                    <a:lnTo>
                      <a:pt x="1705" y="578"/>
                    </a:lnTo>
                    <a:lnTo>
                      <a:pt x="1694" y="576"/>
                    </a:lnTo>
                    <a:lnTo>
                      <a:pt x="1689" y="574"/>
                    </a:lnTo>
                    <a:lnTo>
                      <a:pt x="1680" y="562"/>
                    </a:lnTo>
                    <a:lnTo>
                      <a:pt x="1679" y="557"/>
                    </a:lnTo>
                    <a:lnTo>
                      <a:pt x="1682" y="545"/>
                    </a:lnTo>
                    <a:lnTo>
                      <a:pt x="1692" y="535"/>
                    </a:lnTo>
                    <a:lnTo>
                      <a:pt x="1705" y="524"/>
                    </a:lnTo>
                    <a:lnTo>
                      <a:pt x="1717" y="516"/>
                    </a:lnTo>
                    <a:lnTo>
                      <a:pt x="1729" y="502"/>
                    </a:lnTo>
                    <a:lnTo>
                      <a:pt x="1744" y="488"/>
                    </a:lnTo>
                    <a:lnTo>
                      <a:pt x="1760" y="474"/>
                    </a:lnTo>
                    <a:lnTo>
                      <a:pt x="1775" y="468"/>
                    </a:lnTo>
                    <a:lnTo>
                      <a:pt x="1784" y="464"/>
                    </a:lnTo>
                    <a:lnTo>
                      <a:pt x="1796" y="464"/>
                    </a:lnTo>
                    <a:lnTo>
                      <a:pt x="1809" y="461"/>
                    </a:lnTo>
                    <a:lnTo>
                      <a:pt x="1825" y="461"/>
                    </a:lnTo>
                    <a:lnTo>
                      <a:pt x="1837" y="459"/>
                    </a:lnTo>
                    <a:lnTo>
                      <a:pt x="1851" y="457"/>
                    </a:lnTo>
                    <a:lnTo>
                      <a:pt x="1861" y="457"/>
                    </a:lnTo>
                    <a:lnTo>
                      <a:pt x="1871" y="457"/>
                    </a:lnTo>
                    <a:lnTo>
                      <a:pt x="1885" y="457"/>
                    </a:lnTo>
                    <a:lnTo>
                      <a:pt x="1895" y="462"/>
                    </a:lnTo>
                    <a:lnTo>
                      <a:pt x="1906" y="464"/>
                    </a:lnTo>
                    <a:lnTo>
                      <a:pt x="1916" y="468"/>
                    </a:lnTo>
                    <a:lnTo>
                      <a:pt x="1920" y="468"/>
                    </a:lnTo>
                    <a:lnTo>
                      <a:pt x="1925" y="468"/>
                    </a:lnTo>
                    <a:lnTo>
                      <a:pt x="1932" y="468"/>
                    </a:lnTo>
                    <a:lnTo>
                      <a:pt x="1944" y="468"/>
                    </a:lnTo>
                    <a:lnTo>
                      <a:pt x="1945" y="454"/>
                    </a:lnTo>
                    <a:lnTo>
                      <a:pt x="1949" y="445"/>
                    </a:lnTo>
                    <a:lnTo>
                      <a:pt x="1954" y="435"/>
                    </a:lnTo>
                    <a:lnTo>
                      <a:pt x="1961" y="428"/>
                    </a:lnTo>
                    <a:lnTo>
                      <a:pt x="1968" y="421"/>
                    </a:lnTo>
                    <a:lnTo>
                      <a:pt x="1978" y="418"/>
                    </a:lnTo>
                    <a:lnTo>
                      <a:pt x="1988" y="416"/>
                    </a:lnTo>
                    <a:lnTo>
                      <a:pt x="2002" y="416"/>
                    </a:lnTo>
                    <a:lnTo>
                      <a:pt x="2007" y="414"/>
                    </a:lnTo>
                    <a:lnTo>
                      <a:pt x="2012" y="414"/>
                    </a:lnTo>
                    <a:lnTo>
                      <a:pt x="2019" y="414"/>
                    </a:lnTo>
                    <a:lnTo>
                      <a:pt x="2031" y="416"/>
                    </a:lnTo>
                    <a:lnTo>
                      <a:pt x="2024" y="423"/>
                    </a:lnTo>
                    <a:lnTo>
                      <a:pt x="2028" y="433"/>
                    </a:lnTo>
                    <a:lnTo>
                      <a:pt x="2031" y="433"/>
                    </a:lnTo>
                    <a:lnTo>
                      <a:pt x="2042" y="428"/>
                    </a:lnTo>
                    <a:lnTo>
                      <a:pt x="2055" y="416"/>
                    </a:lnTo>
                    <a:lnTo>
                      <a:pt x="2074" y="397"/>
                    </a:lnTo>
                    <a:lnTo>
                      <a:pt x="2081" y="397"/>
                    </a:lnTo>
                    <a:lnTo>
                      <a:pt x="2088" y="404"/>
                    </a:lnTo>
                    <a:lnTo>
                      <a:pt x="2086" y="409"/>
                    </a:lnTo>
                    <a:lnTo>
                      <a:pt x="2085" y="416"/>
                    </a:lnTo>
                    <a:lnTo>
                      <a:pt x="2078" y="423"/>
                    </a:lnTo>
                    <a:lnTo>
                      <a:pt x="2067" y="433"/>
                    </a:lnTo>
                    <a:lnTo>
                      <a:pt x="2057" y="437"/>
                    </a:lnTo>
                    <a:lnTo>
                      <a:pt x="2047" y="438"/>
                    </a:lnTo>
                    <a:lnTo>
                      <a:pt x="2038" y="442"/>
                    </a:lnTo>
                    <a:lnTo>
                      <a:pt x="2031" y="450"/>
                    </a:lnTo>
                    <a:lnTo>
                      <a:pt x="2023" y="461"/>
                    </a:lnTo>
                    <a:lnTo>
                      <a:pt x="2016" y="474"/>
                    </a:lnTo>
                    <a:lnTo>
                      <a:pt x="2005" y="483"/>
                    </a:lnTo>
                    <a:lnTo>
                      <a:pt x="1997" y="493"/>
                    </a:lnTo>
                    <a:lnTo>
                      <a:pt x="1985" y="498"/>
                    </a:lnTo>
                    <a:lnTo>
                      <a:pt x="1976" y="507"/>
                    </a:lnTo>
                    <a:lnTo>
                      <a:pt x="1968" y="517"/>
                    </a:lnTo>
                    <a:lnTo>
                      <a:pt x="1966" y="535"/>
                    </a:lnTo>
                    <a:lnTo>
                      <a:pt x="1966" y="541"/>
                    </a:lnTo>
                    <a:lnTo>
                      <a:pt x="1966" y="553"/>
                    </a:lnTo>
                    <a:lnTo>
                      <a:pt x="1968" y="567"/>
                    </a:lnTo>
                    <a:lnTo>
                      <a:pt x="1971" y="583"/>
                    </a:lnTo>
                    <a:lnTo>
                      <a:pt x="1973" y="595"/>
                    </a:lnTo>
                    <a:lnTo>
                      <a:pt x="1976" y="609"/>
                    </a:lnTo>
                    <a:lnTo>
                      <a:pt x="1981" y="617"/>
                    </a:lnTo>
                    <a:lnTo>
                      <a:pt x="1987" y="626"/>
                    </a:lnTo>
                    <a:lnTo>
                      <a:pt x="1993" y="610"/>
                    </a:lnTo>
                    <a:lnTo>
                      <a:pt x="2000" y="596"/>
                    </a:lnTo>
                    <a:lnTo>
                      <a:pt x="2011" y="584"/>
                    </a:lnTo>
                    <a:lnTo>
                      <a:pt x="2024" y="578"/>
                    </a:lnTo>
                    <a:lnTo>
                      <a:pt x="2026" y="567"/>
                    </a:lnTo>
                    <a:lnTo>
                      <a:pt x="2033" y="562"/>
                    </a:lnTo>
                    <a:lnTo>
                      <a:pt x="2040" y="555"/>
                    </a:lnTo>
                    <a:lnTo>
                      <a:pt x="2045" y="550"/>
                    </a:lnTo>
                    <a:lnTo>
                      <a:pt x="2047" y="538"/>
                    </a:lnTo>
                    <a:lnTo>
                      <a:pt x="2054" y="531"/>
                    </a:lnTo>
                    <a:lnTo>
                      <a:pt x="2059" y="524"/>
                    </a:lnTo>
                    <a:lnTo>
                      <a:pt x="2062" y="519"/>
                    </a:lnTo>
                    <a:lnTo>
                      <a:pt x="2059" y="509"/>
                    </a:lnTo>
                    <a:lnTo>
                      <a:pt x="2062" y="497"/>
                    </a:lnTo>
                    <a:lnTo>
                      <a:pt x="2076" y="469"/>
                    </a:lnTo>
                    <a:lnTo>
                      <a:pt x="2091" y="452"/>
                    </a:lnTo>
                    <a:lnTo>
                      <a:pt x="2105" y="443"/>
                    </a:lnTo>
                    <a:lnTo>
                      <a:pt x="2119" y="442"/>
                    </a:lnTo>
                    <a:lnTo>
                      <a:pt x="2129" y="443"/>
                    </a:lnTo>
                    <a:lnTo>
                      <a:pt x="2140" y="449"/>
                    </a:lnTo>
                    <a:lnTo>
                      <a:pt x="2148" y="452"/>
                    </a:lnTo>
                    <a:lnTo>
                      <a:pt x="2157" y="455"/>
                    </a:lnTo>
                    <a:lnTo>
                      <a:pt x="2172" y="452"/>
                    </a:lnTo>
                    <a:lnTo>
                      <a:pt x="2188" y="445"/>
                    </a:lnTo>
                    <a:lnTo>
                      <a:pt x="2202" y="435"/>
                    </a:lnTo>
                    <a:lnTo>
                      <a:pt x="2217" y="426"/>
                    </a:lnTo>
                    <a:lnTo>
                      <a:pt x="2229" y="414"/>
                    </a:lnTo>
                    <a:lnTo>
                      <a:pt x="2243" y="406"/>
                    </a:lnTo>
                    <a:lnTo>
                      <a:pt x="2257" y="399"/>
                    </a:lnTo>
                    <a:lnTo>
                      <a:pt x="2272" y="397"/>
                    </a:lnTo>
                    <a:lnTo>
                      <a:pt x="2293" y="394"/>
                    </a:lnTo>
                    <a:lnTo>
                      <a:pt x="2305" y="390"/>
                    </a:lnTo>
                    <a:lnTo>
                      <a:pt x="2308" y="385"/>
                    </a:lnTo>
                    <a:lnTo>
                      <a:pt x="2308" y="380"/>
                    </a:lnTo>
                    <a:lnTo>
                      <a:pt x="2301" y="373"/>
                    </a:lnTo>
                    <a:lnTo>
                      <a:pt x="2294" y="366"/>
                    </a:lnTo>
                    <a:lnTo>
                      <a:pt x="2289" y="361"/>
                    </a:lnTo>
                    <a:lnTo>
                      <a:pt x="2288" y="359"/>
                    </a:lnTo>
                    <a:lnTo>
                      <a:pt x="2291" y="345"/>
                    </a:lnTo>
                    <a:lnTo>
                      <a:pt x="2303" y="339"/>
                    </a:lnTo>
                    <a:lnTo>
                      <a:pt x="2313" y="333"/>
                    </a:lnTo>
                    <a:lnTo>
                      <a:pt x="2324" y="328"/>
                    </a:lnTo>
                    <a:lnTo>
                      <a:pt x="2324" y="316"/>
                    </a:lnTo>
                    <a:lnTo>
                      <a:pt x="2331" y="311"/>
                    </a:lnTo>
                    <a:lnTo>
                      <a:pt x="2341" y="311"/>
                    </a:lnTo>
                    <a:lnTo>
                      <a:pt x="2353" y="316"/>
                    </a:lnTo>
                    <a:lnTo>
                      <a:pt x="2363" y="323"/>
                    </a:lnTo>
                    <a:lnTo>
                      <a:pt x="2374" y="332"/>
                    </a:lnTo>
                    <a:lnTo>
                      <a:pt x="2382" y="339"/>
                    </a:lnTo>
                    <a:lnTo>
                      <a:pt x="2392" y="345"/>
                    </a:lnTo>
                    <a:lnTo>
                      <a:pt x="2403" y="351"/>
                    </a:lnTo>
                    <a:lnTo>
                      <a:pt x="2413" y="354"/>
                    </a:lnTo>
                    <a:lnTo>
                      <a:pt x="2417" y="351"/>
                    </a:lnTo>
                    <a:lnTo>
                      <a:pt x="2422" y="344"/>
                    </a:lnTo>
                    <a:lnTo>
                      <a:pt x="2425" y="333"/>
                    </a:lnTo>
                    <a:lnTo>
                      <a:pt x="2430" y="328"/>
                    </a:lnTo>
                    <a:lnTo>
                      <a:pt x="2435" y="321"/>
                    </a:lnTo>
                    <a:lnTo>
                      <a:pt x="2442" y="320"/>
                    </a:lnTo>
                    <a:lnTo>
                      <a:pt x="2451" y="316"/>
                    </a:lnTo>
                    <a:lnTo>
                      <a:pt x="2461" y="314"/>
                    </a:lnTo>
                    <a:lnTo>
                      <a:pt x="2451" y="304"/>
                    </a:lnTo>
                    <a:lnTo>
                      <a:pt x="2439" y="297"/>
                    </a:lnTo>
                    <a:lnTo>
                      <a:pt x="2425" y="289"/>
                    </a:lnTo>
                    <a:lnTo>
                      <a:pt x="2411" y="284"/>
                    </a:lnTo>
                    <a:lnTo>
                      <a:pt x="2394" y="277"/>
                    </a:lnTo>
                    <a:lnTo>
                      <a:pt x="2380" y="271"/>
                    </a:lnTo>
                    <a:lnTo>
                      <a:pt x="2365" y="266"/>
                    </a:lnTo>
                    <a:lnTo>
                      <a:pt x="2355" y="261"/>
                    </a:lnTo>
                    <a:lnTo>
                      <a:pt x="2337" y="251"/>
                    </a:lnTo>
                    <a:lnTo>
                      <a:pt x="2320" y="242"/>
                    </a:lnTo>
                    <a:lnTo>
                      <a:pt x="2301" y="234"/>
                    </a:lnTo>
                    <a:lnTo>
                      <a:pt x="2284" y="227"/>
                    </a:lnTo>
                    <a:lnTo>
                      <a:pt x="2263" y="220"/>
                    </a:lnTo>
                    <a:lnTo>
                      <a:pt x="2243" y="216"/>
                    </a:lnTo>
                    <a:lnTo>
                      <a:pt x="2222" y="213"/>
                    </a:lnTo>
                    <a:lnTo>
                      <a:pt x="2202" y="213"/>
                    </a:lnTo>
                    <a:lnTo>
                      <a:pt x="2190" y="213"/>
                    </a:lnTo>
                    <a:lnTo>
                      <a:pt x="2181" y="215"/>
                    </a:lnTo>
                    <a:lnTo>
                      <a:pt x="2176" y="216"/>
                    </a:lnTo>
                    <a:lnTo>
                      <a:pt x="2176" y="222"/>
                    </a:lnTo>
                    <a:lnTo>
                      <a:pt x="2177" y="234"/>
                    </a:lnTo>
                    <a:lnTo>
                      <a:pt x="2177" y="241"/>
                    </a:lnTo>
                    <a:lnTo>
                      <a:pt x="2172" y="242"/>
                    </a:lnTo>
                    <a:lnTo>
                      <a:pt x="2169" y="239"/>
                    </a:lnTo>
                    <a:lnTo>
                      <a:pt x="2153" y="227"/>
                    </a:lnTo>
                    <a:lnTo>
                      <a:pt x="2143" y="222"/>
                    </a:lnTo>
                    <a:lnTo>
                      <a:pt x="2026" y="220"/>
                    </a:lnTo>
                    <a:lnTo>
                      <a:pt x="2023" y="210"/>
                    </a:lnTo>
                    <a:lnTo>
                      <a:pt x="2019" y="203"/>
                    </a:lnTo>
                    <a:lnTo>
                      <a:pt x="2012" y="196"/>
                    </a:lnTo>
                    <a:lnTo>
                      <a:pt x="2007" y="191"/>
                    </a:lnTo>
                    <a:lnTo>
                      <a:pt x="1999" y="186"/>
                    </a:lnTo>
                    <a:lnTo>
                      <a:pt x="1990" y="184"/>
                    </a:lnTo>
                    <a:lnTo>
                      <a:pt x="1978" y="184"/>
                    </a:lnTo>
                    <a:lnTo>
                      <a:pt x="1968" y="184"/>
                    </a:lnTo>
                    <a:lnTo>
                      <a:pt x="1952" y="184"/>
                    </a:lnTo>
                    <a:lnTo>
                      <a:pt x="1937" y="186"/>
                    </a:lnTo>
                    <a:lnTo>
                      <a:pt x="1921" y="186"/>
                    </a:lnTo>
                    <a:lnTo>
                      <a:pt x="1911" y="182"/>
                    </a:lnTo>
                    <a:lnTo>
                      <a:pt x="1904" y="173"/>
                    </a:lnTo>
                    <a:lnTo>
                      <a:pt x="1899" y="167"/>
                    </a:lnTo>
                    <a:lnTo>
                      <a:pt x="1892" y="160"/>
                    </a:lnTo>
                    <a:lnTo>
                      <a:pt x="1885" y="156"/>
                    </a:lnTo>
                    <a:lnTo>
                      <a:pt x="1871" y="151"/>
                    </a:lnTo>
                    <a:lnTo>
                      <a:pt x="1859" y="148"/>
                    </a:lnTo>
                    <a:lnTo>
                      <a:pt x="1847" y="144"/>
                    </a:lnTo>
                    <a:lnTo>
                      <a:pt x="1835" y="143"/>
                    </a:lnTo>
                    <a:lnTo>
                      <a:pt x="1821" y="141"/>
                    </a:lnTo>
                    <a:lnTo>
                      <a:pt x="1808" y="139"/>
                    </a:lnTo>
                    <a:lnTo>
                      <a:pt x="1794" y="139"/>
                    </a:lnTo>
                    <a:lnTo>
                      <a:pt x="1780" y="139"/>
                    </a:lnTo>
                    <a:lnTo>
                      <a:pt x="1765" y="139"/>
                    </a:lnTo>
                    <a:lnTo>
                      <a:pt x="1756" y="143"/>
                    </a:lnTo>
                    <a:lnTo>
                      <a:pt x="1748" y="146"/>
                    </a:lnTo>
                    <a:lnTo>
                      <a:pt x="1742" y="151"/>
                    </a:lnTo>
                    <a:lnTo>
                      <a:pt x="1734" y="163"/>
                    </a:lnTo>
                    <a:lnTo>
                      <a:pt x="1732" y="179"/>
                    </a:lnTo>
                    <a:lnTo>
                      <a:pt x="1717" y="179"/>
                    </a:lnTo>
                    <a:lnTo>
                      <a:pt x="1706" y="179"/>
                    </a:lnTo>
                    <a:lnTo>
                      <a:pt x="1696" y="179"/>
                    </a:lnTo>
                    <a:lnTo>
                      <a:pt x="1687" y="179"/>
                    </a:lnTo>
                    <a:lnTo>
                      <a:pt x="1668" y="179"/>
                    </a:lnTo>
                    <a:lnTo>
                      <a:pt x="1651" y="179"/>
                    </a:lnTo>
                    <a:lnTo>
                      <a:pt x="1641" y="175"/>
                    </a:lnTo>
                    <a:lnTo>
                      <a:pt x="1636" y="172"/>
                    </a:lnTo>
                    <a:lnTo>
                      <a:pt x="1627" y="168"/>
                    </a:lnTo>
                    <a:lnTo>
                      <a:pt x="1619" y="167"/>
                    </a:lnTo>
                    <a:lnTo>
                      <a:pt x="1615" y="172"/>
                    </a:lnTo>
                    <a:lnTo>
                      <a:pt x="1613" y="180"/>
                    </a:lnTo>
                    <a:lnTo>
                      <a:pt x="1610" y="186"/>
                    </a:lnTo>
                    <a:lnTo>
                      <a:pt x="1606" y="189"/>
                    </a:lnTo>
                    <a:lnTo>
                      <a:pt x="1591" y="184"/>
                    </a:lnTo>
                    <a:lnTo>
                      <a:pt x="1582" y="173"/>
                    </a:lnTo>
                    <a:lnTo>
                      <a:pt x="1576" y="160"/>
                    </a:lnTo>
                    <a:lnTo>
                      <a:pt x="1576" y="149"/>
                    </a:lnTo>
                    <a:lnTo>
                      <a:pt x="1579" y="143"/>
                    </a:lnTo>
                    <a:lnTo>
                      <a:pt x="1582" y="132"/>
                    </a:lnTo>
                    <a:lnTo>
                      <a:pt x="1576" y="125"/>
                    </a:lnTo>
                    <a:lnTo>
                      <a:pt x="1565" y="118"/>
                    </a:lnTo>
                    <a:lnTo>
                      <a:pt x="1543" y="113"/>
                    </a:lnTo>
                    <a:lnTo>
                      <a:pt x="1512" y="112"/>
                    </a:lnTo>
                    <a:lnTo>
                      <a:pt x="1502" y="110"/>
                    </a:lnTo>
                    <a:lnTo>
                      <a:pt x="1496" y="113"/>
                    </a:lnTo>
                    <a:lnTo>
                      <a:pt x="1491" y="118"/>
                    </a:lnTo>
                    <a:lnTo>
                      <a:pt x="1491" y="130"/>
                    </a:lnTo>
                    <a:lnTo>
                      <a:pt x="1436" y="130"/>
                    </a:lnTo>
                    <a:lnTo>
                      <a:pt x="1426" y="127"/>
                    </a:lnTo>
                    <a:lnTo>
                      <a:pt x="1410" y="125"/>
                    </a:lnTo>
                    <a:lnTo>
                      <a:pt x="1391" y="122"/>
                    </a:lnTo>
                    <a:lnTo>
                      <a:pt x="1374" y="118"/>
                    </a:lnTo>
                    <a:lnTo>
                      <a:pt x="1355" y="113"/>
                    </a:lnTo>
                    <a:lnTo>
                      <a:pt x="1338" y="108"/>
                    </a:lnTo>
                    <a:lnTo>
                      <a:pt x="1326" y="103"/>
                    </a:lnTo>
                    <a:lnTo>
                      <a:pt x="1319" y="98"/>
                    </a:lnTo>
                    <a:lnTo>
                      <a:pt x="1297" y="113"/>
                    </a:lnTo>
                    <a:lnTo>
                      <a:pt x="1283" y="124"/>
                    </a:lnTo>
                    <a:lnTo>
                      <a:pt x="1273" y="127"/>
                    </a:lnTo>
                    <a:lnTo>
                      <a:pt x="1268" y="129"/>
                    </a:lnTo>
                    <a:lnTo>
                      <a:pt x="1266" y="122"/>
                    </a:lnTo>
                    <a:lnTo>
                      <a:pt x="1268" y="118"/>
                    </a:lnTo>
                    <a:lnTo>
                      <a:pt x="1278" y="108"/>
                    </a:lnTo>
                    <a:lnTo>
                      <a:pt x="1299" y="100"/>
                    </a:lnTo>
                    <a:lnTo>
                      <a:pt x="1321" y="88"/>
                    </a:lnTo>
                    <a:lnTo>
                      <a:pt x="1343" y="75"/>
                    </a:lnTo>
                    <a:lnTo>
                      <a:pt x="1355" y="62"/>
                    </a:lnTo>
                    <a:lnTo>
                      <a:pt x="1359" y="50"/>
                    </a:lnTo>
                    <a:lnTo>
                      <a:pt x="1345" y="38"/>
                    </a:lnTo>
                    <a:lnTo>
                      <a:pt x="1312" y="27"/>
                    </a:lnTo>
                    <a:lnTo>
                      <a:pt x="1257" y="27"/>
                    </a:lnTo>
                    <a:lnTo>
                      <a:pt x="1252" y="17"/>
                    </a:lnTo>
                    <a:lnTo>
                      <a:pt x="1245" y="8"/>
                    </a:lnTo>
                    <a:lnTo>
                      <a:pt x="1233" y="2"/>
                    </a:lnTo>
                    <a:lnTo>
                      <a:pt x="1219" y="0"/>
                    </a:lnTo>
                    <a:lnTo>
                      <a:pt x="1209" y="0"/>
                    </a:lnTo>
                    <a:lnTo>
                      <a:pt x="1201" y="2"/>
                    </a:lnTo>
                    <a:lnTo>
                      <a:pt x="1194" y="5"/>
                    </a:lnTo>
                    <a:lnTo>
                      <a:pt x="1189" y="10"/>
                    </a:lnTo>
                    <a:lnTo>
                      <a:pt x="1178" y="19"/>
                    </a:lnTo>
                    <a:lnTo>
                      <a:pt x="1170" y="29"/>
                    </a:lnTo>
                    <a:lnTo>
                      <a:pt x="1163" y="31"/>
                    </a:lnTo>
                    <a:lnTo>
                      <a:pt x="1152" y="36"/>
                    </a:lnTo>
                    <a:lnTo>
                      <a:pt x="1140" y="41"/>
                    </a:lnTo>
                    <a:lnTo>
                      <a:pt x="1128" y="46"/>
                    </a:lnTo>
                    <a:lnTo>
                      <a:pt x="1115" y="46"/>
                    </a:lnTo>
                    <a:lnTo>
                      <a:pt x="1106" y="48"/>
                    </a:lnTo>
                    <a:lnTo>
                      <a:pt x="1099" y="45"/>
                    </a:lnTo>
                    <a:lnTo>
                      <a:pt x="1099" y="39"/>
                    </a:lnTo>
                    <a:lnTo>
                      <a:pt x="1089" y="39"/>
                    </a:lnTo>
                    <a:lnTo>
                      <a:pt x="1077" y="43"/>
                    </a:lnTo>
                    <a:lnTo>
                      <a:pt x="1060" y="45"/>
                    </a:lnTo>
                    <a:lnTo>
                      <a:pt x="1044" y="50"/>
                    </a:lnTo>
                    <a:lnTo>
                      <a:pt x="1023" y="55"/>
                    </a:lnTo>
                    <a:lnTo>
                      <a:pt x="1006" y="62"/>
                    </a:lnTo>
                    <a:lnTo>
                      <a:pt x="987" y="70"/>
                    </a:lnTo>
                    <a:lnTo>
                      <a:pt x="974" y="82"/>
                    </a:lnTo>
                    <a:lnTo>
                      <a:pt x="968" y="89"/>
                    </a:lnTo>
                    <a:lnTo>
                      <a:pt x="963" y="100"/>
                    </a:lnTo>
                    <a:lnTo>
                      <a:pt x="958" y="106"/>
                    </a:lnTo>
                    <a:lnTo>
                      <a:pt x="953" y="112"/>
                    </a:lnTo>
                    <a:lnTo>
                      <a:pt x="943" y="110"/>
                    </a:lnTo>
                    <a:lnTo>
                      <a:pt x="932" y="110"/>
                    </a:lnTo>
                    <a:lnTo>
                      <a:pt x="919" y="110"/>
                    </a:lnTo>
                    <a:lnTo>
                      <a:pt x="905" y="112"/>
                    </a:lnTo>
                    <a:lnTo>
                      <a:pt x="891" y="112"/>
                    </a:lnTo>
                    <a:lnTo>
                      <a:pt x="881" y="117"/>
                    </a:lnTo>
                    <a:lnTo>
                      <a:pt x="874" y="122"/>
                    </a:lnTo>
                    <a:lnTo>
                      <a:pt x="872" y="134"/>
                    </a:lnTo>
                    <a:lnTo>
                      <a:pt x="874" y="143"/>
                    </a:lnTo>
                    <a:lnTo>
                      <a:pt x="881" y="155"/>
                    </a:lnTo>
                    <a:lnTo>
                      <a:pt x="872" y="156"/>
                    </a:lnTo>
                    <a:lnTo>
                      <a:pt x="863" y="156"/>
                    </a:lnTo>
                    <a:lnTo>
                      <a:pt x="857" y="155"/>
                    </a:lnTo>
                    <a:lnTo>
                      <a:pt x="850" y="155"/>
                    </a:lnTo>
                    <a:lnTo>
                      <a:pt x="839" y="155"/>
                    </a:lnTo>
                    <a:lnTo>
                      <a:pt x="829" y="155"/>
                    </a:lnTo>
                    <a:lnTo>
                      <a:pt x="817" y="163"/>
                    </a:lnTo>
                    <a:lnTo>
                      <a:pt x="810" y="168"/>
                    </a:lnTo>
                    <a:lnTo>
                      <a:pt x="805" y="168"/>
                    </a:lnTo>
                    <a:lnTo>
                      <a:pt x="803" y="165"/>
                    </a:lnTo>
                    <a:lnTo>
                      <a:pt x="798" y="156"/>
                    </a:lnTo>
                    <a:lnTo>
                      <a:pt x="798" y="149"/>
                    </a:lnTo>
                    <a:lnTo>
                      <a:pt x="796" y="143"/>
                    </a:lnTo>
                    <a:lnTo>
                      <a:pt x="795" y="139"/>
                    </a:lnTo>
                    <a:lnTo>
                      <a:pt x="790" y="148"/>
                    </a:lnTo>
                    <a:lnTo>
                      <a:pt x="784" y="156"/>
                    </a:lnTo>
                    <a:lnTo>
                      <a:pt x="776" y="161"/>
                    </a:lnTo>
                    <a:lnTo>
                      <a:pt x="769" y="168"/>
                    </a:lnTo>
                    <a:lnTo>
                      <a:pt x="772" y="179"/>
                    </a:lnTo>
                    <a:lnTo>
                      <a:pt x="781" y="191"/>
                    </a:lnTo>
                    <a:lnTo>
                      <a:pt x="783" y="201"/>
                    </a:lnTo>
                    <a:lnTo>
                      <a:pt x="779" y="215"/>
                    </a:lnTo>
                    <a:lnTo>
                      <a:pt x="776" y="227"/>
                    </a:lnTo>
                    <a:lnTo>
                      <a:pt x="783" y="244"/>
                    </a:lnTo>
                    <a:lnTo>
                      <a:pt x="786" y="258"/>
                    </a:lnTo>
                    <a:lnTo>
                      <a:pt x="783" y="265"/>
                    </a:lnTo>
                    <a:lnTo>
                      <a:pt x="774" y="259"/>
                    </a:lnTo>
                    <a:lnTo>
                      <a:pt x="769" y="251"/>
                    </a:lnTo>
                    <a:lnTo>
                      <a:pt x="764" y="237"/>
                    </a:lnTo>
                    <a:lnTo>
                      <a:pt x="760" y="223"/>
                    </a:lnTo>
                    <a:lnTo>
                      <a:pt x="757" y="206"/>
                    </a:lnTo>
                    <a:lnTo>
                      <a:pt x="755" y="192"/>
                    </a:lnTo>
                    <a:lnTo>
                      <a:pt x="755" y="179"/>
                    </a:lnTo>
                    <a:lnTo>
                      <a:pt x="755" y="172"/>
                    </a:lnTo>
                    <a:lnTo>
                      <a:pt x="759" y="160"/>
                    </a:lnTo>
                    <a:lnTo>
                      <a:pt x="764" y="151"/>
                    </a:lnTo>
                    <a:lnTo>
                      <a:pt x="762" y="146"/>
                    </a:lnTo>
                    <a:lnTo>
                      <a:pt x="760" y="144"/>
                    </a:lnTo>
                    <a:lnTo>
                      <a:pt x="753" y="141"/>
                    </a:lnTo>
                    <a:lnTo>
                      <a:pt x="741" y="139"/>
                    </a:lnTo>
                    <a:lnTo>
                      <a:pt x="731" y="137"/>
                    </a:lnTo>
                    <a:lnTo>
                      <a:pt x="721" y="141"/>
                    </a:lnTo>
                    <a:lnTo>
                      <a:pt x="710" y="146"/>
                    </a:lnTo>
                    <a:lnTo>
                      <a:pt x="700" y="155"/>
                    </a:lnTo>
                    <a:lnTo>
                      <a:pt x="690" y="161"/>
                    </a:lnTo>
                    <a:lnTo>
                      <a:pt x="683" y="172"/>
                    </a:lnTo>
                    <a:lnTo>
                      <a:pt x="678" y="180"/>
                    </a:lnTo>
                    <a:lnTo>
                      <a:pt x="678" y="189"/>
                    </a:lnTo>
                    <a:lnTo>
                      <a:pt x="678" y="204"/>
                    </a:lnTo>
                    <a:lnTo>
                      <a:pt x="683" y="218"/>
                    </a:lnTo>
                    <a:lnTo>
                      <a:pt x="690" y="229"/>
                    </a:lnTo>
                    <a:lnTo>
                      <a:pt x="700" y="241"/>
                    </a:lnTo>
                    <a:lnTo>
                      <a:pt x="705" y="251"/>
                    </a:lnTo>
                    <a:lnTo>
                      <a:pt x="704" y="256"/>
                    </a:lnTo>
                    <a:lnTo>
                      <a:pt x="697" y="256"/>
                    </a:lnTo>
                    <a:lnTo>
                      <a:pt x="686" y="253"/>
                    </a:lnTo>
                    <a:lnTo>
                      <a:pt x="673" y="246"/>
                    </a:lnTo>
                    <a:lnTo>
                      <a:pt x="659" y="239"/>
                    </a:lnTo>
                    <a:lnTo>
                      <a:pt x="643" y="232"/>
                    </a:lnTo>
                    <a:lnTo>
                      <a:pt x="635" y="229"/>
                    </a:lnTo>
                    <a:lnTo>
                      <a:pt x="612" y="222"/>
                    </a:lnTo>
                    <a:lnTo>
                      <a:pt x="597" y="222"/>
                    </a:lnTo>
                    <a:lnTo>
                      <a:pt x="588" y="220"/>
                    </a:lnTo>
                    <a:lnTo>
                      <a:pt x="585" y="225"/>
                    </a:lnTo>
                    <a:lnTo>
                      <a:pt x="585" y="230"/>
                    </a:lnTo>
                    <a:lnTo>
                      <a:pt x="588" y="237"/>
                    </a:lnTo>
                    <a:lnTo>
                      <a:pt x="585" y="247"/>
                    </a:lnTo>
                    <a:lnTo>
                      <a:pt x="583" y="254"/>
                    </a:lnTo>
                    <a:lnTo>
                      <a:pt x="580" y="254"/>
                    </a:lnTo>
                    <a:lnTo>
                      <a:pt x="576" y="256"/>
                    </a:lnTo>
                    <a:lnTo>
                      <a:pt x="568" y="249"/>
                    </a:lnTo>
                    <a:lnTo>
                      <a:pt x="561" y="246"/>
                    </a:lnTo>
                    <a:lnTo>
                      <a:pt x="545" y="247"/>
                    </a:lnTo>
                    <a:lnTo>
                      <a:pt x="528" y="254"/>
                    </a:lnTo>
                    <a:lnTo>
                      <a:pt x="518" y="256"/>
                    </a:lnTo>
                    <a:lnTo>
                      <a:pt x="507" y="258"/>
                    </a:lnTo>
                    <a:lnTo>
                      <a:pt x="497" y="256"/>
                    </a:lnTo>
                    <a:lnTo>
                      <a:pt x="490" y="256"/>
                    </a:lnTo>
                    <a:lnTo>
                      <a:pt x="482" y="247"/>
                    </a:lnTo>
                    <a:lnTo>
                      <a:pt x="470" y="247"/>
                    </a:lnTo>
                    <a:lnTo>
                      <a:pt x="454" y="253"/>
                    </a:lnTo>
                    <a:lnTo>
                      <a:pt x="439" y="263"/>
                    </a:lnTo>
                    <a:lnTo>
                      <a:pt x="420" y="273"/>
                    </a:lnTo>
                    <a:lnTo>
                      <a:pt x="406" y="284"/>
                    </a:lnTo>
                    <a:lnTo>
                      <a:pt x="392" y="290"/>
                    </a:lnTo>
                    <a:lnTo>
                      <a:pt x="384" y="294"/>
                    </a:lnTo>
                    <a:lnTo>
                      <a:pt x="373" y="290"/>
                    </a:lnTo>
                    <a:lnTo>
                      <a:pt x="370" y="284"/>
                    </a:lnTo>
                    <a:lnTo>
                      <a:pt x="370" y="273"/>
                    </a:lnTo>
                    <a:lnTo>
                      <a:pt x="372" y="265"/>
                    </a:lnTo>
                    <a:lnTo>
                      <a:pt x="370" y="254"/>
                    </a:lnTo>
                    <a:lnTo>
                      <a:pt x="368" y="251"/>
                    </a:lnTo>
                    <a:lnTo>
                      <a:pt x="363" y="247"/>
                    </a:lnTo>
                    <a:lnTo>
                      <a:pt x="358" y="253"/>
                    </a:lnTo>
                    <a:lnTo>
                      <a:pt x="351" y="263"/>
                    </a:lnTo>
                    <a:lnTo>
                      <a:pt x="344" y="285"/>
                    </a:lnTo>
                    <a:lnTo>
                      <a:pt x="347" y="290"/>
                    </a:lnTo>
                    <a:lnTo>
                      <a:pt x="353" y="301"/>
                    </a:lnTo>
                    <a:lnTo>
                      <a:pt x="347" y="308"/>
                    </a:lnTo>
                    <a:lnTo>
                      <a:pt x="337" y="311"/>
                    </a:lnTo>
                    <a:lnTo>
                      <a:pt x="323" y="308"/>
                    </a:lnTo>
                    <a:lnTo>
                      <a:pt x="311" y="311"/>
                    </a:lnTo>
                    <a:lnTo>
                      <a:pt x="306" y="313"/>
                    </a:lnTo>
                    <a:lnTo>
                      <a:pt x="303" y="320"/>
                    </a:lnTo>
                    <a:lnTo>
                      <a:pt x="298" y="327"/>
                    </a:lnTo>
                    <a:lnTo>
                      <a:pt x="294" y="335"/>
                    </a:lnTo>
                    <a:lnTo>
                      <a:pt x="287" y="340"/>
                    </a:lnTo>
                    <a:lnTo>
                      <a:pt x="277" y="344"/>
                    </a:lnTo>
                    <a:lnTo>
                      <a:pt x="263" y="344"/>
                    </a:lnTo>
                    <a:lnTo>
                      <a:pt x="246" y="339"/>
                    </a:lnTo>
                    <a:lnTo>
                      <a:pt x="246" y="359"/>
                    </a:lnTo>
                    <a:lnTo>
                      <a:pt x="234" y="356"/>
                    </a:lnTo>
                    <a:lnTo>
                      <a:pt x="227" y="352"/>
                    </a:lnTo>
                    <a:lnTo>
                      <a:pt x="222" y="345"/>
                    </a:lnTo>
                    <a:lnTo>
                      <a:pt x="220" y="340"/>
                    </a:lnTo>
                    <a:lnTo>
                      <a:pt x="215" y="323"/>
                    </a:lnTo>
                    <a:lnTo>
                      <a:pt x="210" y="311"/>
                    </a:lnTo>
                    <a:lnTo>
                      <a:pt x="224" y="311"/>
                    </a:lnTo>
                    <a:lnTo>
                      <a:pt x="237" y="311"/>
                    </a:lnTo>
                    <a:lnTo>
                      <a:pt x="249" y="311"/>
                    </a:lnTo>
                    <a:lnTo>
                      <a:pt x="265" y="316"/>
                    </a:lnTo>
                    <a:lnTo>
                      <a:pt x="275" y="316"/>
                    </a:lnTo>
                    <a:lnTo>
                      <a:pt x="289" y="313"/>
                    </a:lnTo>
                    <a:lnTo>
                      <a:pt x="299" y="308"/>
                    </a:lnTo>
                    <a:lnTo>
                      <a:pt x="308" y="301"/>
                    </a:lnTo>
                    <a:lnTo>
                      <a:pt x="308" y="290"/>
                    </a:lnTo>
                    <a:lnTo>
                      <a:pt x="303" y="282"/>
                    </a:lnTo>
                    <a:lnTo>
                      <a:pt x="287" y="271"/>
                    </a:lnTo>
                    <a:lnTo>
                      <a:pt x="263" y="261"/>
                    </a:lnTo>
                    <a:lnTo>
                      <a:pt x="251" y="256"/>
                    </a:lnTo>
                    <a:lnTo>
                      <a:pt x="239" y="251"/>
                    </a:lnTo>
                    <a:lnTo>
                      <a:pt x="225" y="244"/>
                    </a:lnTo>
                    <a:lnTo>
                      <a:pt x="212" y="239"/>
                    </a:lnTo>
                    <a:lnTo>
                      <a:pt x="196" y="234"/>
                    </a:lnTo>
                    <a:lnTo>
                      <a:pt x="184" y="229"/>
                    </a:lnTo>
                    <a:lnTo>
                      <a:pt x="174" y="225"/>
                    </a:lnTo>
                    <a:lnTo>
                      <a:pt x="167" y="225"/>
                    </a:lnTo>
                    <a:lnTo>
                      <a:pt x="163" y="223"/>
                    </a:lnTo>
                    <a:lnTo>
                      <a:pt x="153" y="225"/>
                    </a:lnTo>
                    <a:lnTo>
                      <a:pt x="145" y="229"/>
                    </a:lnTo>
                    <a:lnTo>
                      <a:pt x="138" y="235"/>
                    </a:lnTo>
                    <a:lnTo>
                      <a:pt x="129" y="241"/>
                    </a:lnTo>
                    <a:lnTo>
                      <a:pt x="127" y="251"/>
                    </a:lnTo>
                    <a:lnTo>
                      <a:pt x="129" y="254"/>
                    </a:lnTo>
                    <a:lnTo>
                      <a:pt x="136" y="259"/>
                    </a:lnTo>
                    <a:lnTo>
                      <a:pt x="143" y="263"/>
                    </a:lnTo>
                    <a:lnTo>
                      <a:pt x="146" y="271"/>
                    </a:lnTo>
                    <a:lnTo>
                      <a:pt x="141" y="280"/>
                    </a:lnTo>
                    <a:lnTo>
                      <a:pt x="138" y="292"/>
                    </a:lnTo>
                    <a:lnTo>
                      <a:pt x="141" y="304"/>
                    </a:lnTo>
                    <a:lnTo>
                      <a:pt x="146" y="316"/>
                    </a:lnTo>
                    <a:lnTo>
                      <a:pt x="143" y="323"/>
                    </a:lnTo>
                    <a:lnTo>
                      <a:pt x="141" y="332"/>
                    </a:lnTo>
                    <a:lnTo>
                      <a:pt x="143" y="337"/>
                    </a:lnTo>
                    <a:lnTo>
                      <a:pt x="148" y="344"/>
                    </a:lnTo>
                    <a:lnTo>
                      <a:pt x="153" y="351"/>
                    </a:lnTo>
                    <a:lnTo>
                      <a:pt x="157" y="357"/>
                    </a:lnTo>
                    <a:lnTo>
                      <a:pt x="153" y="361"/>
                    </a:lnTo>
                    <a:lnTo>
                      <a:pt x="151" y="364"/>
                    </a:lnTo>
                    <a:lnTo>
                      <a:pt x="160" y="373"/>
                    </a:lnTo>
                    <a:lnTo>
                      <a:pt x="167" y="385"/>
                    </a:lnTo>
                    <a:lnTo>
                      <a:pt x="160" y="397"/>
                    </a:lnTo>
                    <a:lnTo>
                      <a:pt x="148" y="411"/>
                    </a:lnTo>
                    <a:lnTo>
                      <a:pt x="132" y="423"/>
                    </a:lnTo>
                    <a:lnTo>
                      <a:pt x="122" y="435"/>
                    </a:lnTo>
                    <a:lnTo>
                      <a:pt x="127" y="442"/>
                    </a:lnTo>
                    <a:lnTo>
                      <a:pt x="134" y="454"/>
                    </a:lnTo>
                    <a:lnTo>
                      <a:pt x="127" y="455"/>
                    </a:lnTo>
                    <a:lnTo>
                      <a:pt x="120" y="459"/>
                    </a:lnTo>
                    <a:lnTo>
                      <a:pt x="112" y="462"/>
                    </a:lnTo>
                    <a:lnTo>
                      <a:pt x="107" y="464"/>
                    </a:lnTo>
                    <a:lnTo>
                      <a:pt x="95" y="462"/>
                    </a:lnTo>
                    <a:lnTo>
                      <a:pt x="81" y="461"/>
                    </a:lnTo>
                    <a:lnTo>
                      <a:pt x="69" y="461"/>
                    </a:lnTo>
                    <a:lnTo>
                      <a:pt x="59" y="466"/>
                    </a:lnTo>
                    <a:lnTo>
                      <a:pt x="50" y="471"/>
                    </a:lnTo>
                    <a:lnTo>
                      <a:pt x="52" y="478"/>
                    </a:lnTo>
                    <a:lnTo>
                      <a:pt x="64" y="493"/>
                    </a:lnTo>
                    <a:lnTo>
                      <a:pt x="65" y="504"/>
                    </a:lnTo>
                    <a:lnTo>
                      <a:pt x="62" y="509"/>
                    </a:lnTo>
                    <a:lnTo>
                      <a:pt x="59" y="512"/>
                    </a:lnTo>
                    <a:lnTo>
                      <a:pt x="52" y="509"/>
                    </a:lnTo>
                    <a:lnTo>
                      <a:pt x="46" y="505"/>
                    </a:lnTo>
                    <a:lnTo>
                      <a:pt x="41" y="500"/>
                    </a:lnTo>
                    <a:lnTo>
                      <a:pt x="38" y="498"/>
                    </a:lnTo>
                    <a:lnTo>
                      <a:pt x="29" y="502"/>
                    </a:lnTo>
                    <a:lnTo>
                      <a:pt x="24" y="511"/>
                    </a:lnTo>
                    <a:lnTo>
                      <a:pt x="17" y="523"/>
                    </a:lnTo>
                    <a:lnTo>
                      <a:pt x="17" y="535"/>
                    </a:lnTo>
                    <a:lnTo>
                      <a:pt x="14" y="545"/>
                    </a:lnTo>
                    <a:lnTo>
                      <a:pt x="9" y="552"/>
                    </a:lnTo>
                    <a:lnTo>
                      <a:pt x="2" y="557"/>
                    </a:lnTo>
                    <a:lnTo>
                      <a:pt x="0" y="569"/>
                    </a:lnTo>
                    <a:lnTo>
                      <a:pt x="9" y="567"/>
                    </a:lnTo>
                    <a:lnTo>
                      <a:pt x="19" y="567"/>
                    </a:lnTo>
                    <a:lnTo>
                      <a:pt x="31" y="567"/>
                    </a:lnTo>
                    <a:lnTo>
                      <a:pt x="45" y="567"/>
                    </a:lnTo>
                    <a:lnTo>
                      <a:pt x="50" y="569"/>
                    </a:lnTo>
                    <a:lnTo>
                      <a:pt x="55" y="578"/>
                    </a:lnTo>
                    <a:lnTo>
                      <a:pt x="59" y="586"/>
                    </a:lnTo>
                    <a:lnTo>
                      <a:pt x="60" y="596"/>
                    </a:lnTo>
                    <a:lnTo>
                      <a:pt x="57" y="605"/>
                    </a:lnTo>
                    <a:lnTo>
                      <a:pt x="53" y="614"/>
                    </a:lnTo>
                    <a:lnTo>
                      <a:pt x="57" y="627"/>
                    </a:lnTo>
                    <a:lnTo>
                      <a:pt x="62" y="641"/>
                    </a:lnTo>
                    <a:lnTo>
                      <a:pt x="57" y="646"/>
                    </a:lnTo>
                    <a:lnTo>
                      <a:pt x="52" y="652"/>
                    </a:lnTo>
                    <a:lnTo>
                      <a:pt x="45" y="664"/>
                    </a:lnTo>
                    <a:lnTo>
                      <a:pt x="43" y="681"/>
                    </a:lnTo>
                    <a:lnTo>
                      <a:pt x="43" y="688"/>
                    </a:lnTo>
                    <a:lnTo>
                      <a:pt x="48" y="691"/>
                    </a:lnTo>
                    <a:lnTo>
                      <a:pt x="55" y="691"/>
                    </a:lnTo>
                    <a:lnTo>
                      <a:pt x="65" y="693"/>
                    </a:lnTo>
                    <a:lnTo>
                      <a:pt x="74" y="691"/>
                    </a:lnTo>
                    <a:lnTo>
                      <a:pt x="84" y="689"/>
                    </a:lnTo>
                    <a:lnTo>
                      <a:pt x="91" y="686"/>
                    </a:lnTo>
                    <a:lnTo>
                      <a:pt x="102" y="686"/>
                    </a:lnTo>
                    <a:lnTo>
                      <a:pt x="108" y="689"/>
                    </a:lnTo>
                    <a:lnTo>
                      <a:pt x="112" y="698"/>
                    </a:lnTo>
                    <a:lnTo>
                      <a:pt x="115" y="707"/>
                    </a:lnTo>
                    <a:lnTo>
                      <a:pt x="124" y="712"/>
                    </a:lnTo>
                    <a:lnTo>
                      <a:pt x="124" y="732"/>
                    </a:lnTo>
                    <a:lnTo>
                      <a:pt x="124" y="734"/>
                    </a:lnTo>
                    <a:lnTo>
                      <a:pt x="127" y="736"/>
                    </a:lnTo>
                    <a:lnTo>
                      <a:pt x="129" y="739"/>
                    </a:lnTo>
                    <a:lnTo>
                      <a:pt x="134" y="737"/>
                    </a:lnTo>
                    <a:lnTo>
                      <a:pt x="141" y="736"/>
                    </a:lnTo>
                    <a:lnTo>
                      <a:pt x="146" y="731"/>
                    </a:lnTo>
                    <a:lnTo>
                      <a:pt x="153" y="727"/>
                    </a:lnTo>
                    <a:lnTo>
                      <a:pt x="157" y="722"/>
                    </a:lnTo>
                    <a:lnTo>
                      <a:pt x="165" y="720"/>
                    </a:lnTo>
                    <a:lnTo>
                      <a:pt x="172" y="725"/>
                    </a:lnTo>
                    <a:lnTo>
                      <a:pt x="184" y="739"/>
                    </a:lnTo>
                    <a:lnTo>
                      <a:pt x="196" y="751"/>
                    </a:lnTo>
                    <a:lnTo>
                      <a:pt x="205" y="758"/>
                    </a:lnTo>
                    <a:lnTo>
                      <a:pt x="212" y="755"/>
                    </a:lnTo>
                    <a:lnTo>
                      <a:pt x="222" y="751"/>
                    </a:lnTo>
                    <a:lnTo>
                      <a:pt x="232" y="746"/>
                    </a:lnTo>
                    <a:lnTo>
                      <a:pt x="239" y="743"/>
                    </a:lnTo>
                    <a:lnTo>
                      <a:pt x="236" y="741"/>
                    </a:lnTo>
                    <a:lnTo>
                      <a:pt x="232" y="741"/>
                    </a:lnTo>
                    <a:lnTo>
                      <a:pt x="227" y="741"/>
                    </a:lnTo>
                    <a:lnTo>
                      <a:pt x="225" y="741"/>
                    </a:lnTo>
                    <a:lnTo>
                      <a:pt x="220" y="739"/>
                    </a:lnTo>
                    <a:lnTo>
                      <a:pt x="217" y="732"/>
                    </a:lnTo>
                    <a:lnTo>
                      <a:pt x="222" y="727"/>
                    </a:lnTo>
                    <a:lnTo>
                      <a:pt x="237" y="720"/>
                    </a:lnTo>
                    <a:lnTo>
                      <a:pt x="244" y="717"/>
                    </a:lnTo>
                    <a:lnTo>
                      <a:pt x="253" y="713"/>
                    </a:lnTo>
                    <a:lnTo>
                      <a:pt x="261" y="710"/>
                    </a:lnTo>
                    <a:lnTo>
                      <a:pt x="268" y="710"/>
                    </a:lnTo>
                    <a:lnTo>
                      <a:pt x="263" y="713"/>
                    </a:lnTo>
                    <a:lnTo>
                      <a:pt x="258" y="719"/>
                    </a:lnTo>
                    <a:lnTo>
                      <a:pt x="260" y="722"/>
                    </a:lnTo>
                    <a:lnTo>
                      <a:pt x="261" y="729"/>
                    </a:lnTo>
                    <a:lnTo>
                      <a:pt x="260" y="732"/>
                    </a:lnTo>
                    <a:lnTo>
                      <a:pt x="258" y="736"/>
                    </a:lnTo>
                    <a:lnTo>
                      <a:pt x="251" y="739"/>
                    </a:lnTo>
                    <a:lnTo>
                      <a:pt x="244" y="743"/>
                    </a:lnTo>
                    <a:lnTo>
                      <a:pt x="248" y="751"/>
                    </a:lnTo>
                    <a:lnTo>
                      <a:pt x="258" y="760"/>
                    </a:lnTo>
                    <a:lnTo>
                      <a:pt x="270" y="765"/>
                    </a:lnTo>
                    <a:lnTo>
                      <a:pt x="284" y="772"/>
                    </a:lnTo>
                    <a:lnTo>
                      <a:pt x="294" y="777"/>
                    </a:lnTo>
                    <a:lnTo>
                      <a:pt x="304" y="784"/>
                    </a:lnTo>
                    <a:lnTo>
                      <a:pt x="311" y="793"/>
                    </a:lnTo>
                    <a:lnTo>
                      <a:pt x="315" y="808"/>
                    </a:lnTo>
                    <a:lnTo>
                      <a:pt x="317" y="808"/>
                    </a:lnTo>
                    <a:lnTo>
                      <a:pt x="322" y="805"/>
                    </a:lnTo>
                    <a:lnTo>
                      <a:pt x="327" y="805"/>
                    </a:lnTo>
                    <a:lnTo>
                      <a:pt x="335" y="805"/>
                    </a:lnTo>
                    <a:lnTo>
                      <a:pt x="341" y="810"/>
                    </a:lnTo>
                    <a:lnTo>
                      <a:pt x="344" y="817"/>
                    </a:lnTo>
                    <a:lnTo>
                      <a:pt x="347" y="825"/>
                    </a:lnTo>
                    <a:lnTo>
                      <a:pt x="353" y="829"/>
                    </a:lnTo>
                    <a:lnTo>
                      <a:pt x="360" y="834"/>
                    </a:lnTo>
                    <a:lnTo>
                      <a:pt x="365" y="837"/>
                    </a:lnTo>
                    <a:lnTo>
                      <a:pt x="370" y="844"/>
                    </a:lnTo>
                    <a:lnTo>
                      <a:pt x="375" y="849"/>
                    </a:lnTo>
                    <a:lnTo>
                      <a:pt x="385" y="853"/>
                    </a:lnTo>
                    <a:lnTo>
                      <a:pt x="394" y="846"/>
                    </a:lnTo>
                    <a:lnTo>
                      <a:pt x="403" y="841"/>
                    </a:lnTo>
                    <a:lnTo>
                      <a:pt x="406" y="839"/>
                    </a:lnTo>
                    <a:lnTo>
                      <a:pt x="411" y="839"/>
                    </a:lnTo>
                    <a:lnTo>
                      <a:pt x="411" y="842"/>
                    </a:lnTo>
                    <a:lnTo>
                      <a:pt x="415" y="848"/>
                    </a:lnTo>
                    <a:lnTo>
                      <a:pt x="413" y="849"/>
                    </a:lnTo>
                    <a:lnTo>
                      <a:pt x="415" y="851"/>
                    </a:lnTo>
                    <a:lnTo>
                      <a:pt x="421" y="853"/>
                    </a:lnTo>
                    <a:lnTo>
                      <a:pt x="427" y="837"/>
                    </a:lnTo>
                    <a:lnTo>
                      <a:pt x="435" y="827"/>
                    </a:lnTo>
                    <a:lnTo>
                      <a:pt x="423" y="817"/>
                    </a:lnTo>
                    <a:lnTo>
                      <a:pt x="413" y="803"/>
                    </a:lnTo>
                    <a:lnTo>
                      <a:pt x="404" y="786"/>
                    </a:lnTo>
                    <a:lnTo>
                      <a:pt x="401" y="772"/>
                    </a:lnTo>
                    <a:lnTo>
                      <a:pt x="394" y="762"/>
                    </a:lnTo>
                    <a:lnTo>
                      <a:pt x="389" y="753"/>
                    </a:lnTo>
                    <a:lnTo>
                      <a:pt x="389" y="746"/>
                    </a:lnTo>
                    <a:lnTo>
                      <a:pt x="394" y="739"/>
                    </a:lnTo>
                    <a:lnTo>
                      <a:pt x="397" y="731"/>
                    </a:lnTo>
                    <a:lnTo>
                      <a:pt x="403" y="727"/>
                    </a:lnTo>
                    <a:lnTo>
                      <a:pt x="404" y="725"/>
                    </a:lnTo>
                    <a:lnTo>
                      <a:pt x="411" y="724"/>
                    </a:lnTo>
                    <a:lnTo>
                      <a:pt x="416" y="720"/>
                    </a:lnTo>
                    <a:lnTo>
                      <a:pt x="421" y="720"/>
                    </a:lnTo>
                    <a:lnTo>
                      <a:pt x="428" y="715"/>
                    </a:lnTo>
                    <a:lnTo>
                      <a:pt x="437" y="713"/>
                    </a:lnTo>
                    <a:lnTo>
                      <a:pt x="447" y="712"/>
                    </a:lnTo>
                    <a:lnTo>
                      <a:pt x="459" y="712"/>
                    </a:lnTo>
                    <a:lnTo>
                      <a:pt x="468" y="712"/>
                    </a:lnTo>
                    <a:lnTo>
                      <a:pt x="475" y="713"/>
                    </a:lnTo>
                    <a:lnTo>
                      <a:pt x="480" y="715"/>
                    </a:lnTo>
                    <a:lnTo>
                      <a:pt x="485" y="720"/>
                    </a:lnTo>
                    <a:lnTo>
                      <a:pt x="492" y="729"/>
                    </a:lnTo>
                    <a:lnTo>
                      <a:pt x="501" y="739"/>
                    </a:lnTo>
                    <a:lnTo>
                      <a:pt x="487" y="743"/>
                    </a:lnTo>
                    <a:lnTo>
                      <a:pt x="475" y="741"/>
                    </a:lnTo>
                    <a:lnTo>
                      <a:pt x="463" y="741"/>
                    </a:lnTo>
                    <a:lnTo>
                      <a:pt x="451" y="746"/>
                    </a:lnTo>
                    <a:lnTo>
                      <a:pt x="442" y="750"/>
                    </a:lnTo>
                    <a:lnTo>
                      <a:pt x="439" y="753"/>
                    </a:lnTo>
                    <a:lnTo>
                      <a:pt x="442" y="762"/>
                    </a:lnTo>
                    <a:lnTo>
                      <a:pt x="451" y="768"/>
                    </a:lnTo>
                    <a:lnTo>
                      <a:pt x="456" y="779"/>
                    </a:lnTo>
                    <a:lnTo>
                      <a:pt x="464" y="789"/>
                    </a:lnTo>
                    <a:lnTo>
                      <a:pt x="470" y="798"/>
                    </a:lnTo>
                    <a:lnTo>
                      <a:pt x="473" y="811"/>
                    </a:lnTo>
                    <a:lnTo>
                      <a:pt x="482" y="806"/>
                    </a:lnTo>
                    <a:lnTo>
                      <a:pt x="490" y="805"/>
                    </a:lnTo>
                    <a:lnTo>
                      <a:pt x="494" y="813"/>
                    </a:lnTo>
                    <a:lnTo>
                      <a:pt x="499" y="823"/>
                    </a:lnTo>
                    <a:lnTo>
                      <a:pt x="485" y="823"/>
                    </a:lnTo>
                    <a:lnTo>
                      <a:pt x="476" y="827"/>
                    </a:lnTo>
                    <a:lnTo>
                      <a:pt x="475" y="835"/>
                    </a:lnTo>
                    <a:lnTo>
                      <a:pt x="487" y="842"/>
                    </a:lnTo>
                    <a:lnTo>
                      <a:pt x="492" y="858"/>
                    </a:lnTo>
                    <a:lnTo>
                      <a:pt x="490" y="863"/>
                    </a:lnTo>
                    <a:lnTo>
                      <a:pt x="489" y="868"/>
                    </a:lnTo>
                    <a:lnTo>
                      <a:pt x="490" y="875"/>
                    </a:lnTo>
                    <a:lnTo>
                      <a:pt x="494" y="880"/>
                    </a:lnTo>
                    <a:lnTo>
                      <a:pt x="495" y="875"/>
                    </a:lnTo>
                    <a:lnTo>
                      <a:pt x="504" y="873"/>
                    </a:lnTo>
                    <a:lnTo>
                      <a:pt x="509" y="870"/>
                    </a:lnTo>
                    <a:lnTo>
                      <a:pt x="514" y="866"/>
                    </a:lnTo>
                    <a:lnTo>
                      <a:pt x="525" y="863"/>
                    </a:lnTo>
                    <a:lnTo>
                      <a:pt x="537" y="860"/>
                    </a:lnTo>
                    <a:lnTo>
                      <a:pt x="550" y="865"/>
                    </a:lnTo>
                    <a:lnTo>
                      <a:pt x="566" y="872"/>
                    </a:lnTo>
                    <a:lnTo>
                      <a:pt x="573" y="875"/>
                    </a:lnTo>
                    <a:lnTo>
                      <a:pt x="580" y="878"/>
                    </a:lnTo>
                    <a:lnTo>
                      <a:pt x="585" y="882"/>
                    </a:lnTo>
                    <a:lnTo>
                      <a:pt x="597" y="885"/>
                    </a:lnTo>
                    <a:lnTo>
                      <a:pt x="599" y="889"/>
                    </a:lnTo>
                    <a:lnTo>
                      <a:pt x="600" y="892"/>
                    </a:lnTo>
                    <a:lnTo>
                      <a:pt x="600" y="901"/>
                    </a:lnTo>
                    <a:lnTo>
                      <a:pt x="602" y="911"/>
                    </a:lnTo>
                    <a:lnTo>
                      <a:pt x="609" y="909"/>
                    </a:lnTo>
                    <a:lnTo>
                      <a:pt x="618" y="913"/>
                    </a:lnTo>
                    <a:lnTo>
                      <a:pt x="624" y="909"/>
                    </a:lnTo>
                    <a:lnTo>
                      <a:pt x="630" y="904"/>
                    </a:lnTo>
                    <a:lnTo>
                      <a:pt x="636" y="901"/>
                    </a:lnTo>
                    <a:lnTo>
                      <a:pt x="643" y="897"/>
                    </a:lnTo>
                    <a:lnTo>
                      <a:pt x="647" y="889"/>
                    </a:lnTo>
                    <a:lnTo>
                      <a:pt x="652" y="882"/>
                    </a:lnTo>
                    <a:lnTo>
                      <a:pt x="657" y="877"/>
                    </a:lnTo>
                    <a:lnTo>
                      <a:pt x="666" y="875"/>
                    </a:lnTo>
                    <a:lnTo>
                      <a:pt x="669" y="875"/>
                    </a:lnTo>
                    <a:lnTo>
                      <a:pt x="674" y="877"/>
                    </a:lnTo>
                    <a:lnTo>
                      <a:pt x="681" y="880"/>
                    </a:lnTo>
                    <a:lnTo>
                      <a:pt x="690" y="878"/>
                    </a:lnTo>
                    <a:lnTo>
                      <a:pt x="695" y="880"/>
                    </a:lnTo>
                    <a:lnTo>
                      <a:pt x="700" y="884"/>
                    </a:lnTo>
                    <a:lnTo>
                      <a:pt x="712" y="880"/>
                    </a:lnTo>
                    <a:lnTo>
                      <a:pt x="722" y="872"/>
                    </a:lnTo>
                    <a:lnTo>
                      <a:pt x="724" y="872"/>
                    </a:lnTo>
                    <a:lnTo>
                      <a:pt x="729" y="865"/>
                    </a:lnTo>
                    <a:lnTo>
                      <a:pt x="741" y="860"/>
                    </a:lnTo>
                    <a:lnTo>
                      <a:pt x="745" y="863"/>
                    </a:lnTo>
                    <a:lnTo>
                      <a:pt x="747" y="872"/>
                    </a:lnTo>
                    <a:lnTo>
                      <a:pt x="747" y="880"/>
                    </a:lnTo>
                    <a:lnTo>
                      <a:pt x="753" y="885"/>
                    </a:lnTo>
                    <a:lnTo>
                      <a:pt x="765" y="880"/>
                    </a:lnTo>
                    <a:lnTo>
                      <a:pt x="779" y="877"/>
                    </a:lnTo>
                    <a:lnTo>
                      <a:pt x="788" y="877"/>
                    </a:lnTo>
                    <a:lnTo>
                      <a:pt x="796" y="878"/>
                    </a:lnTo>
                    <a:lnTo>
                      <a:pt x="796" y="877"/>
                    </a:lnTo>
                    <a:lnTo>
                      <a:pt x="791" y="863"/>
                    </a:lnTo>
                    <a:lnTo>
                      <a:pt x="779" y="858"/>
                    </a:lnTo>
                    <a:lnTo>
                      <a:pt x="781" y="848"/>
                    </a:lnTo>
                    <a:lnTo>
                      <a:pt x="786" y="837"/>
                    </a:lnTo>
                    <a:lnTo>
                      <a:pt x="791" y="829"/>
                    </a:lnTo>
                    <a:lnTo>
                      <a:pt x="798" y="825"/>
                    </a:lnTo>
                    <a:lnTo>
                      <a:pt x="814" y="823"/>
                    </a:lnTo>
                    <a:lnTo>
                      <a:pt x="829" y="820"/>
                    </a:lnTo>
                    <a:lnTo>
                      <a:pt x="843" y="813"/>
                    </a:lnTo>
                    <a:lnTo>
                      <a:pt x="855" y="805"/>
                    </a:lnTo>
                    <a:lnTo>
                      <a:pt x="863" y="793"/>
                    </a:lnTo>
                    <a:lnTo>
                      <a:pt x="870" y="779"/>
                    </a:lnTo>
                    <a:lnTo>
                      <a:pt x="874" y="763"/>
                    </a:lnTo>
                    <a:lnTo>
                      <a:pt x="877" y="744"/>
                    </a:lnTo>
                    <a:lnTo>
                      <a:pt x="891" y="737"/>
                    </a:lnTo>
                    <a:lnTo>
                      <a:pt x="901" y="725"/>
                    </a:lnTo>
                    <a:lnTo>
                      <a:pt x="910" y="713"/>
                    </a:lnTo>
                    <a:lnTo>
                      <a:pt x="920" y="712"/>
                    </a:lnTo>
                    <a:lnTo>
                      <a:pt x="932" y="710"/>
                    </a:lnTo>
                    <a:lnTo>
                      <a:pt x="941" y="708"/>
                    </a:lnTo>
                    <a:lnTo>
                      <a:pt x="944" y="703"/>
                    </a:lnTo>
                    <a:lnTo>
                      <a:pt x="949" y="700"/>
                    </a:lnTo>
                    <a:lnTo>
                      <a:pt x="949" y="688"/>
                    </a:lnTo>
                    <a:lnTo>
                      <a:pt x="953" y="681"/>
                    </a:lnTo>
                    <a:lnTo>
                      <a:pt x="960" y="674"/>
                    </a:lnTo>
                    <a:lnTo>
                      <a:pt x="968" y="669"/>
                    </a:lnTo>
                    <a:lnTo>
                      <a:pt x="979" y="665"/>
                    </a:lnTo>
                    <a:lnTo>
                      <a:pt x="989" y="664"/>
                    </a:lnTo>
                    <a:lnTo>
                      <a:pt x="999" y="658"/>
                    </a:lnTo>
                    <a:lnTo>
                      <a:pt x="1010" y="655"/>
                    </a:lnTo>
                    <a:lnTo>
                      <a:pt x="1020" y="652"/>
                    </a:lnTo>
                    <a:lnTo>
                      <a:pt x="1030" y="648"/>
                    </a:lnTo>
                    <a:lnTo>
                      <a:pt x="1037" y="641"/>
                    </a:lnTo>
                    <a:lnTo>
                      <a:pt x="1049" y="636"/>
                    </a:lnTo>
                    <a:lnTo>
                      <a:pt x="1060" y="638"/>
                    </a:lnTo>
                    <a:lnTo>
                      <a:pt x="1075" y="643"/>
                    </a:lnTo>
                    <a:lnTo>
                      <a:pt x="1089" y="648"/>
                    </a:lnTo>
                    <a:lnTo>
                      <a:pt x="1106" y="652"/>
                    </a:lnTo>
                    <a:lnTo>
                      <a:pt x="1113" y="648"/>
                    </a:lnTo>
                    <a:lnTo>
                      <a:pt x="1120" y="645"/>
                    </a:lnTo>
                    <a:lnTo>
                      <a:pt x="1123" y="638"/>
                    </a:lnTo>
                    <a:lnTo>
                      <a:pt x="1128" y="631"/>
                    </a:lnTo>
                    <a:lnTo>
                      <a:pt x="1133" y="617"/>
                    </a:lnTo>
                    <a:lnTo>
                      <a:pt x="1144" y="612"/>
                    </a:lnTo>
                    <a:lnTo>
                      <a:pt x="1152" y="612"/>
                    </a:lnTo>
                    <a:lnTo>
                      <a:pt x="1168" y="615"/>
                    </a:lnTo>
                    <a:lnTo>
                      <a:pt x="1180" y="619"/>
                    </a:lnTo>
                    <a:lnTo>
                      <a:pt x="1187" y="626"/>
                    </a:lnTo>
                    <a:lnTo>
                      <a:pt x="1190" y="634"/>
                    </a:lnTo>
                    <a:lnTo>
                      <a:pt x="1195" y="639"/>
                    </a:lnTo>
                    <a:lnTo>
                      <a:pt x="1202" y="643"/>
                    </a:lnTo>
                    <a:lnTo>
                      <a:pt x="1209" y="645"/>
                    </a:lnTo>
                    <a:lnTo>
                      <a:pt x="1221" y="643"/>
                    </a:lnTo>
                    <a:lnTo>
                      <a:pt x="1233" y="641"/>
                    </a:lnTo>
                    <a:lnTo>
                      <a:pt x="1242" y="641"/>
                    </a:lnTo>
                    <a:lnTo>
                      <a:pt x="1252" y="645"/>
                    </a:lnTo>
                    <a:lnTo>
                      <a:pt x="1259" y="648"/>
                    </a:lnTo>
                    <a:lnTo>
                      <a:pt x="1268" y="653"/>
                    </a:lnTo>
                    <a:lnTo>
                      <a:pt x="1275" y="657"/>
                    </a:lnTo>
                    <a:lnTo>
                      <a:pt x="1283" y="660"/>
                    </a:lnTo>
                    <a:lnTo>
                      <a:pt x="1293" y="664"/>
                    </a:lnTo>
                    <a:lnTo>
                      <a:pt x="1305" y="665"/>
                    </a:lnTo>
                    <a:lnTo>
                      <a:pt x="1316" y="664"/>
                    </a:lnTo>
                    <a:lnTo>
                      <a:pt x="1328" y="660"/>
                    </a:lnTo>
                    <a:lnTo>
                      <a:pt x="1340" y="657"/>
                    </a:lnTo>
                    <a:lnTo>
                      <a:pt x="1354" y="653"/>
                    </a:lnTo>
                    <a:lnTo>
                      <a:pt x="1366" y="648"/>
                    </a:lnTo>
                    <a:lnTo>
                      <a:pt x="1379" y="648"/>
                    </a:lnTo>
                    <a:lnTo>
                      <a:pt x="1393" y="648"/>
                    </a:lnTo>
                    <a:lnTo>
                      <a:pt x="1409" y="653"/>
                    </a:lnTo>
                    <a:lnTo>
                      <a:pt x="1422" y="653"/>
                    </a:lnTo>
                    <a:lnTo>
                      <a:pt x="1433" y="650"/>
                    </a:lnTo>
                    <a:lnTo>
                      <a:pt x="1440" y="639"/>
                    </a:lnTo>
                    <a:lnTo>
                      <a:pt x="1447" y="627"/>
                    </a:lnTo>
                    <a:lnTo>
                      <a:pt x="1452" y="612"/>
                    </a:lnTo>
                    <a:lnTo>
                      <a:pt x="1460" y="600"/>
                    </a:lnTo>
                    <a:lnTo>
                      <a:pt x="1474" y="591"/>
                    </a:lnTo>
                    <a:lnTo>
                      <a:pt x="1496" y="588"/>
                    </a:lnTo>
                    <a:lnTo>
                      <a:pt x="1510" y="588"/>
                    </a:lnTo>
                    <a:lnTo>
                      <a:pt x="1520" y="593"/>
                    </a:lnTo>
                    <a:lnTo>
                      <a:pt x="1529" y="598"/>
                    </a:lnTo>
                    <a:lnTo>
                      <a:pt x="1536" y="609"/>
                    </a:lnTo>
                    <a:lnTo>
                      <a:pt x="1541" y="617"/>
                    </a:lnTo>
                    <a:lnTo>
                      <a:pt x="1546" y="629"/>
                    </a:lnTo>
                    <a:lnTo>
                      <a:pt x="1551" y="639"/>
                    </a:lnTo>
                    <a:lnTo>
                      <a:pt x="1558" y="652"/>
                    </a:lnTo>
                    <a:lnTo>
                      <a:pt x="1563" y="657"/>
                    </a:lnTo>
                    <a:lnTo>
                      <a:pt x="1576" y="660"/>
                    </a:lnTo>
                    <a:lnTo>
                      <a:pt x="1586" y="664"/>
                    </a:lnTo>
                    <a:lnTo>
                      <a:pt x="1596" y="670"/>
                    </a:lnTo>
                    <a:lnTo>
                      <a:pt x="1600" y="676"/>
                    </a:lnTo>
                    <a:lnTo>
                      <a:pt x="1606" y="686"/>
                    </a:lnTo>
                    <a:lnTo>
                      <a:pt x="1612" y="693"/>
                    </a:lnTo>
                    <a:lnTo>
                      <a:pt x="1624" y="696"/>
                    </a:lnTo>
                    <a:lnTo>
                      <a:pt x="1632" y="693"/>
                    </a:lnTo>
                    <a:lnTo>
                      <a:pt x="1641" y="688"/>
                    </a:lnTo>
                    <a:lnTo>
                      <a:pt x="1649" y="682"/>
                    </a:lnTo>
                    <a:lnTo>
                      <a:pt x="1665" y="681"/>
                    </a:lnTo>
                    <a:lnTo>
                      <a:pt x="1665" y="694"/>
                    </a:lnTo>
                    <a:lnTo>
                      <a:pt x="1656" y="703"/>
                    </a:lnTo>
                    <a:lnTo>
                      <a:pt x="1649" y="717"/>
                    </a:lnTo>
                    <a:lnTo>
                      <a:pt x="1643" y="731"/>
                    </a:lnTo>
                    <a:lnTo>
                      <a:pt x="1636" y="739"/>
                    </a:lnTo>
                    <a:lnTo>
                      <a:pt x="1625" y="743"/>
                    </a:lnTo>
                    <a:lnTo>
                      <a:pt x="1615" y="746"/>
                    </a:lnTo>
                    <a:lnTo>
                      <a:pt x="1608" y="748"/>
                    </a:lnTo>
                    <a:lnTo>
                      <a:pt x="1610" y="753"/>
                    </a:lnTo>
                    <a:lnTo>
                      <a:pt x="1615" y="762"/>
                    </a:lnTo>
                    <a:lnTo>
                      <a:pt x="1615" y="772"/>
                    </a:lnTo>
                    <a:lnTo>
                      <a:pt x="1610" y="780"/>
                    </a:lnTo>
                    <a:lnTo>
                      <a:pt x="1608" y="7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9" name="Freeform 258"/>
              <p:cNvSpPr>
                <a:spLocks/>
              </p:cNvSpPr>
              <p:nvPr/>
            </p:nvSpPr>
            <p:spPr bwMode="auto">
              <a:xfrm>
                <a:off x="5999957" y="2651125"/>
                <a:ext cx="1406525" cy="887412"/>
              </a:xfrm>
              <a:custGeom>
                <a:avLst/>
                <a:gdLst/>
                <a:ahLst/>
                <a:cxnLst>
                  <a:cxn ang="0">
                    <a:pos x="659" y="330"/>
                  </a:cxn>
                  <a:cxn ang="0">
                    <a:pos x="707" y="294"/>
                  </a:cxn>
                  <a:cxn ang="0">
                    <a:pos x="669" y="294"/>
                  </a:cxn>
                  <a:cxn ang="0">
                    <a:pos x="635" y="270"/>
                  </a:cxn>
                  <a:cxn ang="0">
                    <a:pos x="680" y="239"/>
                  </a:cxn>
                  <a:cxn ang="0">
                    <a:pos x="686" y="263"/>
                  </a:cxn>
                  <a:cxn ang="0">
                    <a:pos x="745" y="254"/>
                  </a:cxn>
                  <a:cxn ang="0">
                    <a:pos x="745" y="284"/>
                  </a:cxn>
                  <a:cxn ang="0">
                    <a:pos x="757" y="299"/>
                  </a:cxn>
                  <a:cxn ang="0">
                    <a:pos x="762" y="320"/>
                  </a:cxn>
                  <a:cxn ang="0">
                    <a:pos x="767" y="339"/>
                  </a:cxn>
                  <a:cxn ang="0">
                    <a:pos x="793" y="328"/>
                  </a:cxn>
                  <a:cxn ang="0">
                    <a:pos x="784" y="266"/>
                  </a:cxn>
                  <a:cxn ang="0">
                    <a:pos x="807" y="229"/>
                  </a:cxn>
                  <a:cxn ang="0">
                    <a:pos x="836" y="184"/>
                  </a:cxn>
                  <a:cxn ang="0">
                    <a:pos x="857" y="151"/>
                  </a:cxn>
                  <a:cxn ang="0">
                    <a:pos x="870" y="94"/>
                  </a:cxn>
                  <a:cxn ang="0">
                    <a:pos x="821" y="88"/>
                  </a:cxn>
                  <a:cxn ang="0">
                    <a:pos x="772" y="51"/>
                  </a:cxn>
                  <a:cxn ang="0">
                    <a:pos x="731" y="0"/>
                  </a:cxn>
                  <a:cxn ang="0">
                    <a:pos x="661" y="51"/>
                  </a:cxn>
                  <a:cxn ang="0">
                    <a:pos x="587" y="60"/>
                  </a:cxn>
                  <a:cxn ang="0">
                    <a:pos x="514" y="76"/>
                  </a:cxn>
                  <a:cxn ang="0">
                    <a:pos x="463" y="53"/>
                  </a:cxn>
                  <a:cxn ang="0">
                    <a:pos x="411" y="46"/>
                  </a:cxn>
                  <a:cxn ang="0">
                    <a:pos x="354" y="29"/>
                  </a:cxn>
                  <a:cxn ang="0">
                    <a:pos x="310" y="60"/>
                  </a:cxn>
                  <a:cxn ang="0">
                    <a:pos x="241" y="64"/>
                  </a:cxn>
                  <a:cxn ang="0">
                    <a:pos x="181" y="86"/>
                  </a:cxn>
                  <a:cxn ang="0">
                    <a:pos x="153" y="122"/>
                  </a:cxn>
                  <a:cxn ang="0">
                    <a:pos x="95" y="175"/>
                  </a:cxn>
                  <a:cxn ang="0">
                    <a:pos x="35" y="235"/>
                  </a:cxn>
                  <a:cxn ang="0">
                    <a:pos x="12" y="275"/>
                  </a:cxn>
                  <a:cxn ang="0">
                    <a:pos x="35" y="311"/>
                  </a:cxn>
                  <a:cxn ang="0">
                    <a:pos x="95" y="327"/>
                  </a:cxn>
                  <a:cxn ang="0">
                    <a:pos x="84" y="364"/>
                  </a:cxn>
                  <a:cxn ang="0">
                    <a:pos x="78" y="392"/>
                  </a:cxn>
                  <a:cxn ang="0">
                    <a:pos x="134" y="414"/>
                  </a:cxn>
                  <a:cxn ang="0">
                    <a:pos x="169" y="437"/>
                  </a:cxn>
                  <a:cxn ang="0">
                    <a:pos x="217" y="442"/>
                  </a:cxn>
                  <a:cxn ang="0">
                    <a:pos x="272" y="440"/>
                  </a:cxn>
                  <a:cxn ang="0">
                    <a:pos x="306" y="419"/>
                  </a:cxn>
                  <a:cxn ang="0">
                    <a:pos x="341" y="431"/>
                  </a:cxn>
                  <a:cxn ang="0">
                    <a:pos x="351" y="485"/>
                  </a:cxn>
                  <a:cxn ang="0">
                    <a:pos x="365" y="504"/>
                  </a:cxn>
                  <a:cxn ang="0">
                    <a:pos x="392" y="536"/>
                  </a:cxn>
                  <a:cxn ang="0">
                    <a:pos x="406" y="538"/>
                  </a:cxn>
                  <a:cxn ang="0">
                    <a:pos x="446" y="517"/>
                  </a:cxn>
                  <a:cxn ang="0">
                    <a:pos x="508" y="542"/>
                  </a:cxn>
                  <a:cxn ang="0">
                    <a:pos x="539" y="542"/>
                  </a:cxn>
                  <a:cxn ang="0">
                    <a:pos x="585" y="524"/>
                  </a:cxn>
                  <a:cxn ang="0">
                    <a:pos x="638" y="500"/>
                  </a:cxn>
                  <a:cxn ang="0">
                    <a:pos x="666" y="457"/>
                  </a:cxn>
                  <a:cxn ang="0">
                    <a:pos x="692" y="416"/>
                  </a:cxn>
                  <a:cxn ang="0">
                    <a:pos x="676" y="358"/>
                  </a:cxn>
                </a:cxnLst>
                <a:rect l="0" t="0" r="r" b="b"/>
                <a:pathLst>
                  <a:path w="886" h="559">
                    <a:moveTo>
                      <a:pt x="674" y="352"/>
                    </a:moveTo>
                    <a:lnTo>
                      <a:pt x="673" y="352"/>
                    </a:lnTo>
                    <a:lnTo>
                      <a:pt x="673" y="347"/>
                    </a:lnTo>
                    <a:lnTo>
                      <a:pt x="673" y="342"/>
                    </a:lnTo>
                    <a:lnTo>
                      <a:pt x="664" y="339"/>
                    </a:lnTo>
                    <a:lnTo>
                      <a:pt x="659" y="330"/>
                    </a:lnTo>
                    <a:lnTo>
                      <a:pt x="662" y="323"/>
                    </a:lnTo>
                    <a:lnTo>
                      <a:pt x="669" y="318"/>
                    </a:lnTo>
                    <a:lnTo>
                      <a:pt x="674" y="309"/>
                    </a:lnTo>
                    <a:lnTo>
                      <a:pt x="685" y="304"/>
                    </a:lnTo>
                    <a:lnTo>
                      <a:pt x="697" y="299"/>
                    </a:lnTo>
                    <a:lnTo>
                      <a:pt x="707" y="294"/>
                    </a:lnTo>
                    <a:lnTo>
                      <a:pt x="697" y="290"/>
                    </a:lnTo>
                    <a:lnTo>
                      <a:pt x="688" y="289"/>
                    </a:lnTo>
                    <a:lnTo>
                      <a:pt x="681" y="285"/>
                    </a:lnTo>
                    <a:lnTo>
                      <a:pt x="676" y="284"/>
                    </a:lnTo>
                    <a:lnTo>
                      <a:pt x="673" y="289"/>
                    </a:lnTo>
                    <a:lnTo>
                      <a:pt x="669" y="294"/>
                    </a:lnTo>
                    <a:lnTo>
                      <a:pt x="662" y="294"/>
                    </a:lnTo>
                    <a:lnTo>
                      <a:pt x="655" y="292"/>
                    </a:lnTo>
                    <a:lnTo>
                      <a:pt x="650" y="285"/>
                    </a:lnTo>
                    <a:lnTo>
                      <a:pt x="647" y="278"/>
                    </a:lnTo>
                    <a:lnTo>
                      <a:pt x="638" y="275"/>
                    </a:lnTo>
                    <a:lnTo>
                      <a:pt x="635" y="270"/>
                    </a:lnTo>
                    <a:lnTo>
                      <a:pt x="637" y="263"/>
                    </a:lnTo>
                    <a:lnTo>
                      <a:pt x="643" y="261"/>
                    </a:lnTo>
                    <a:lnTo>
                      <a:pt x="650" y="260"/>
                    </a:lnTo>
                    <a:lnTo>
                      <a:pt x="657" y="258"/>
                    </a:lnTo>
                    <a:lnTo>
                      <a:pt x="668" y="249"/>
                    </a:lnTo>
                    <a:lnTo>
                      <a:pt x="680" y="239"/>
                    </a:lnTo>
                    <a:lnTo>
                      <a:pt x="680" y="235"/>
                    </a:lnTo>
                    <a:lnTo>
                      <a:pt x="686" y="234"/>
                    </a:lnTo>
                    <a:lnTo>
                      <a:pt x="693" y="235"/>
                    </a:lnTo>
                    <a:lnTo>
                      <a:pt x="697" y="242"/>
                    </a:lnTo>
                    <a:lnTo>
                      <a:pt x="692" y="253"/>
                    </a:lnTo>
                    <a:lnTo>
                      <a:pt x="686" y="263"/>
                    </a:lnTo>
                    <a:lnTo>
                      <a:pt x="697" y="260"/>
                    </a:lnTo>
                    <a:lnTo>
                      <a:pt x="707" y="254"/>
                    </a:lnTo>
                    <a:lnTo>
                      <a:pt x="717" y="249"/>
                    </a:lnTo>
                    <a:lnTo>
                      <a:pt x="729" y="247"/>
                    </a:lnTo>
                    <a:lnTo>
                      <a:pt x="736" y="251"/>
                    </a:lnTo>
                    <a:lnTo>
                      <a:pt x="745" y="254"/>
                    </a:lnTo>
                    <a:lnTo>
                      <a:pt x="743" y="260"/>
                    </a:lnTo>
                    <a:lnTo>
                      <a:pt x="745" y="265"/>
                    </a:lnTo>
                    <a:lnTo>
                      <a:pt x="741" y="270"/>
                    </a:lnTo>
                    <a:lnTo>
                      <a:pt x="740" y="275"/>
                    </a:lnTo>
                    <a:lnTo>
                      <a:pt x="740" y="280"/>
                    </a:lnTo>
                    <a:lnTo>
                      <a:pt x="745" y="284"/>
                    </a:lnTo>
                    <a:lnTo>
                      <a:pt x="747" y="282"/>
                    </a:lnTo>
                    <a:lnTo>
                      <a:pt x="752" y="282"/>
                    </a:lnTo>
                    <a:lnTo>
                      <a:pt x="760" y="284"/>
                    </a:lnTo>
                    <a:lnTo>
                      <a:pt x="766" y="292"/>
                    </a:lnTo>
                    <a:lnTo>
                      <a:pt x="762" y="296"/>
                    </a:lnTo>
                    <a:lnTo>
                      <a:pt x="757" y="299"/>
                    </a:lnTo>
                    <a:lnTo>
                      <a:pt x="757" y="304"/>
                    </a:lnTo>
                    <a:lnTo>
                      <a:pt x="759" y="304"/>
                    </a:lnTo>
                    <a:lnTo>
                      <a:pt x="762" y="308"/>
                    </a:lnTo>
                    <a:lnTo>
                      <a:pt x="764" y="311"/>
                    </a:lnTo>
                    <a:lnTo>
                      <a:pt x="766" y="316"/>
                    </a:lnTo>
                    <a:lnTo>
                      <a:pt x="762" y="320"/>
                    </a:lnTo>
                    <a:lnTo>
                      <a:pt x="760" y="327"/>
                    </a:lnTo>
                    <a:lnTo>
                      <a:pt x="760" y="330"/>
                    </a:lnTo>
                    <a:lnTo>
                      <a:pt x="764" y="332"/>
                    </a:lnTo>
                    <a:lnTo>
                      <a:pt x="760" y="335"/>
                    </a:lnTo>
                    <a:lnTo>
                      <a:pt x="760" y="339"/>
                    </a:lnTo>
                    <a:lnTo>
                      <a:pt x="767" y="339"/>
                    </a:lnTo>
                    <a:lnTo>
                      <a:pt x="771" y="335"/>
                    </a:lnTo>
                    <a:lnTo>
                      <a:pt x="778" y="335"/>
                    </a:lnTo>
                    <a:lnTo>
                      <a:pt x="779" y="330"/>
                    </a:lnTo>
                    <a:lnTo>
                      <a:pt x="784" y="330"/>
                    </a:lnTo>
                    <a:lnTo>
                      <a:pt x="788" y="328"/>
                    </a:lnTo>
                    <a:lnTo>
                      <a:pt x="793" y="328"/>
                    </a:lnTo>
                    <a:lnTo>
                      <a:pt x="800" y="321"/>
                    </a:lnTo>
                    <a:lnTo>
                      <a:pt x="803" y="309"/>
                    </a:lnTo>
                    <a:lnTo>
                      <a:pt x="802" y="294"/>
                    </a:lnTo>
                    <a:lnTo>
                      <a:pt x="798" y="284"/>
                    </a:lnTo>
                    <a:lnTo>
                      <a:pt x="791" y="273"/>
                    </a:lnTo>
                    <a:lnTo>
                      <a:pt x="784" y="266"/>
                    </a:lnTo>
                    <a:lnTo>
                      <a:pt x="778" y="258"/>
                    </a:lnTo>
                    <a:lnTo>
                      <a:pt x="776" y="249"/>
                    </a:lnTo>
                    <a:lnTo>
                      <a:pt x="784" y="246"/>
                    </a:lnTo>
                    <a:lnTo>
                      <a:pt x="791" y="241"/>
                    </a:lnTo>
                    <a:lnTo>
                      <a:pt x="798" y="234"/>
                    </a:lnTo>
                    <a:lnTo>
                      <a:pt x="807" y="229"/>
                    </a:lnTo>
                    <a:lnTo>
                      <a:pt x="810" y="218"/>
                    </a:lnTo>
                    <a:lnTo>
                      <a:pt x="815" y="210"/>
                    </a:lnTo>
                    <a:lnTo>
                      <a:pt x="821" y="203"/>
                    </a:lnTo>
                    <a:lnTo>
                      <a:pt x="829" y="198"/>
                    </a:lnTo>
                    <a:lnTo>
                      <a:pt x="831" y="192"/>
                    </a:lnTo>
                    <a:lnTo>
                      <a:pt x="836" y="184"/>
                    </a:lnTo>
                    <a:lnTo>
                      <a:pt x="836" y="174"/>
                    </a:lnTo>
                    <a:lnTo>
                      <a:pt x="831" y="165"/>
                    </a:lnTo>
                    <a:lnTo>
                      <a:pt x="829" y="160"/>
                    </a:lnTo>
                    <a:lnTo>
                      <a:pt x="836" y="158"/>
                    </a:lnTo>
                    <a:lnTo>
                      <a:pt x="846" y="155"/>
                    </a:lnTo>
                    <a:lnTo>
                      <a:pt x="857" y="151"/>
                    </a:lnTo>
                    <a:lnTo>
                      <a:pt x="864" y="143"/>
                    </a:lnTo>
                    <a:lnTo>
                      <a:pt x="870" y="129"/>
                    </a:lnTo>
                    <a:lnTo>
                      <a:pt x="877" y="115"/>
                    </a:lnTo>
                    <a:lnTo>
                      <a:pt x="886" y="106"/>
                    </a:lnTo>
                    <a:lnTo>
                      <a:pt x="886" y="93"/>
                    </a:lnTo>
                    <a:lnTo>
                      <a:pt x="870" y="94"/>
                    </a:lnTo>
                    <a:lnTo>
                      <a:pt x="862" y="100"/>
                    </a:lnTo>
                    <a:lnTo>
                      <a:pt x="853" y="105"/>
                    </a:lnTo>
                    <a:lnTo>
                      <a:pt x="845" y="108"/>
                    </a:lnTo>
                    <a:lnTo>
                      <a:pt x="833" y="105"/>
                    </a:lnTo>
                    <a:lnTo>
                      <a:pt x="827" y="98"/>
                    </a:lnTo>
                    <a:lnTo>
                      <a:pt x="821" y="88"/>
                    </a:lnTo>
                    <a:lnTo>
                      <a:pt x="817" y="82"/>
                    </a:lnTo>
                    <a:lnTo>
                      <a:pt x="807" y="76"/>
                    </a:lnTo>
                    <a:lnTo>
                      <a:pt x="797" y="72"/>
                    </a:lnTo>
                    <a:lnTo>
                      <a:pt x="784" y="69"/>
                    </a:lnTo>
                    <a:lnTo>
                      <a:pt x="779" y="64"/>
                    </a:lnTo>
                    <a:lnTo>
                      <a:pt x="772" y="51"/>
                    </a:lnTo>
                    <a:lnTo>
                      <a:pt x="767" y="41"/>
                    </a:lnTo>
                    <a:lnTo>
                      <a:pt x="762" y="29"/>
                    </a:lnTo>
                    <a:lnTo>
                      <a:pt x="757" y="21"/>
                    </a:lnTo>
                    <a:lnTo>
                      <a:pt x="750" y="10"/>
                    </a:lnTo>
                    <a:lnTo>
                      <a:pt x="741" y="5"/>
                    </a:lnTo>
                    <a:lnTo>
                      <a:pt x="731" y="0"/>
                    </a:lnTo>
                    <a:lnTo>
                      <a:pt x="717" y="0"/>
                    </a:lnTo>
                    <a:lnTo>
                      <a:pt x="695" y="3"/>
                    </a:lnTo>
                    <a:lnTo>
                      <a:pt x="681" y="12"/>
                    </a:lnTo>
                    <a:lnTo>
                      <a:pt x="673" y="24"/>
                    </a:lnTo>
                    <a:lnTo>
                      <a:pt x="668" y="39"/>
                    </a:lnTo>
                    <a:lnTo>
                      <a:pt x="661" y="51"/>
                    </a:lnTo>
                    <a:lnTo>
                      <a:pt x="654" y="62"/>
                    </a:lnTo>
                    <a:lnTo>
                      <a:pt x="643" y="65"/>
                    </a:lnTo>
                    <a:lnTo>
                      <a:pt x="630" y="65"/>
                    </a:lnTo>
                    <a:lnTo>
                      <a:pt x="614" y="60"/>
                    </a:lnTo>
                    <a:lnTo>
                      <a:pt x="600" y="60"/>
                    </a:lnTo>
                    <a:lnTo>
                      <a:pt x="587" y="60"/>
                    </a:lnTo>
                    <a:lnTo>
                      <a:pt x="575" y="65"/>
                    </a:lnTo>
                    <a:lnTo>
                      <a:pt x="561" y="69"/>
                    </a:lnTo>
                    <a:lnTo>
                      <a:pt x="549" y="72"/>
                    </a:lnTo>
                    <a:lnTo>
                      <a:pt x="537" y="76"/>
                    </a:lnTo>
                    <a:lnTo>
                      <a:pt x="526" y="77"/>
                    </a:lnTo>
                    <a:lnTo>
                      <a:pt x="514" y="76"/>
                    </a:lnTo>
                    <a:lnTo>
                      <a:pt x="504" y="72"/>
                    </a:lnTo>
                    <a:lnTo>
                      <a:pt x="496" y="69"/>
                    </a:lnTo>
                    <a:lnTo>
                      <a:pt x="489" y="65"/>
                    </a:lnTo>
                    <a:lnTo>
                      <a:pt x="480" y="60"/>
                    </a:lnTo>
                    <a:lnTo>
                      <a:pt x="473" y="57"/>
                    </a:lnTo>
                    <a:lnTo>
                      <a:pt x="463" y="53"/>
                    </a:lnTo>
                    <a:lnTo>
                      <a:pt x="454" y="53"/>
                    </a:lnTo>
                    <a:lnTo>
                      <a:pt x="442" y="55"/>
                    </a:lnTo>
                    <a:lnTo>
                      <a:pt x="430" y="57"/>
                    </a:lnTo>
                    <a:lnTo>
                      <a:pt x="423" y="55"/>
                    </a:lnTo>
                    <a:lnTo>
                      <a:pt x="416" y="51"/>
                    </a:lnTo>
                    <a:lnTo>
                      <a:pt x="411" y="46"/>
                    </a:lnTo>
                    <a:lnTo>
                      <a:pt x="408" y="38"/>
                    </a:lnTo>
                    <a:lnTo>
                      <a:pt x="401" y="31"/>
                    </a:lnTo>
                    <a:lnTo>
                      <a:pt x="389" y="27"/>
                    </a:lnTo>
                    <a:lnTo>
                      <a:pt x="373" y="24"/>
                    </a:lnTo>
                    <a:lnTo>
                      <a:pt x="365" y="24"/>
                    </a:lnTo>
                    <a:lnTo>
                      <a:pt x="354" y="29"/>
                    </a:lnTo>
                    <a:lnTo>
                      <a:pt x="349" y="43"/>
                    </a:lnTo>
                    <a:lnTo>
                      <a:pt x="344" y="50"/>
                    </a:lnTo>
                    <a:lnTo>
                      <a:pt x="341" y="57"/>
                    </a:lnTo>
                    <a:lnTo>
                      <a:pt x="334" y="60"/>
                    </a:lnTo>
                    <a:lnTo>
                      <a:pt x="327" y="64"/>
                    </a:lnTo>
                    <a:lnTo>
                      <a:pt x="310" y="60"/>
                    </a:lnTo>
                    <a:lnTo>
                      <a:pt x="296" y="55"/>
                    </a:lnTo>
                    <a:lnTo>
                      <a:pt x="281" y="50"/>
                    </a:lnTo>
                    <a:lnTo>
                      <a:pt x="270" y="48"/>
                    </a:lnTo>
                    <a:lnTo>
                      <a:pt x="258" y="53"/>
                    </a:lnTo>
                    <a:lnTo>
                      <a:pt x="251" y="60"/>
                    </a:lnTo>
                    <a:lnTo>
                      <a:pt x="241" y="64"/>
                    </a:lnTo>
                    <a:lnTo>
                      <a:pt x="231" y="67"/>
                    </a:lnTo>
                    <a:lnTo>
                      <a:pt x="220" y="70"/>
                    </a:lnTo>
                    <a:lnTo>
                      <a:pt x="210" y="76"/>
                    </a:lnTo>
                    <a:lnTo>
                      <a:pt x="200" y="77"/>
                    </a:lnTo>
                    <a:lnTo>
                      <a:pt x="189" y="81"/>
                    </a:lnTo>
                    <a:lnTo>
                      <a:pt x="181" y="86"/>
                    </a:lnTo>
                    <a:lnTo>
                      <a:pt x="174" y="93"/>
                    </a:lnTo>
                    <a:lnTo>
                      <a:pt x="170" y="100"/>
                    </a:lnTo>
                    <a:lnTo>
                      <a:pt x="170" y="112"/>
                    </a:lnTo>
                    <a:lnTo>
                      <a:pt x="165" y="115"/>
                    </a:lnTo>
                    <a:lnTo>
                      <a:pt x="162" y="120"/>
                    </a:lnTo>
                    <a:lnTo>
                      <a:pt x="153" y="122"/>
                    </a:lnTo>
                    <a:lnTo>
                      <a:pt x="141" y="124"/>
                    </a:lnTo>
                    <a:lnTo>
                      <a:pt x="131" y="125"/>
                    </a:lnTo>
                    <a:lnTo>
                      <a:pt x="122" y="137"/>
                    </a:lnTo>
                    <a:lnTo>
                      <a:pt x="112" y="149"/>
                    </a:lnTo>
                    <a:lnTo>
                      <a:pt x="98" y="156"/>
                    </a:lnTo>
                    <a:lnTo>
                      <a:pt x="95" y="175"/>
                    </a:lnTo>
                    <a:lnTo>
                      <a:pt x="91" y="191"/>
                    </a:lnTo>
                    <a:lnTo>
                      <a:pt x="84" y="205"/>
                    </a:lnTo>
                    <a:lnTo>
                      <a:pt x="76" y="217"/>
                    </a:lnTo>
                    <a:lnTo>
                      <a:pt x="64" y="225"/>
                    </a:lnTo>
                    <a:lnTo>
                      <a:pt x="50" y="232"/>
                    </a:lnTo>
                    <a:lnTo>
                      <a:pt x="35" y="235"/>
                    </a:lnTo>
                    <a:lnTo>
                      <a:pt x="19" y="237"/>
                    </a:lnTo>
                    <a:lnTo>
                      <a:pt x="12" y="241"/>
                    </a:lnTo>
                    <a:lnTo>
                      <a:pt x="7" y="249"/>
                    </a:lnTo>
                    <a:lnTo>
                      <a:pt x="2" y="260"/>
                    </a:lnTo>
                    <a:lnTo>
                      <a:pt x="0" y="270"/>
                    </a:lnTo>
                    <a:lnTo>
                      <a:pt x="12" y="275"/>
                    </a:lnTo>
                    <a:lnTo>
                      <a:pt x="17" y="289"/>
                    </a:lnTo>
                    <a:lnTo>
                      <a:pt x="17" y="290"/>
                    </a:lnTo>
                    <a:lnTo>
                      <a:pt x="19" y="297"/>
                    </a:lnTo>
                    <a:lnTo>
                      <a:pt x="29" y="299"/>
                    </a:lnTo>
                    <a:lnTo>
                      <a:pt x="33" y="304"/>
                    </a:lnTo>
                    <a:lnTo>
                      <a:pt x="35" y="311"/>
                    </a:lnTo>
                    <a:lnTo>
                      <a:pt x="45" y="316"/>
                    </a:lnTo>
                    <a:lnTo>
                      <a:pt x="59" y="321"/>
                    </a:lnTo>
                    <a:lnTo>
                      <a:pt x="69" y="316"/>
                    </a:lnTo>
                    <a:lnTo>
                      <a:pt x="79" y="313"/>
                    </a:lnTo>
                    <a:lnTo>
                      <a:pt x="88" y="316"/>
                    </a:lnTo>
                    <a:lnTo>
                      <a:pt x="95" y="327"/>
                    </a:lnTo>
                    <a:lnTo>
                      <a:pt x="91" y="333"/>
                    </a:lnTo>
                    <a:lnTo>
                      <a:pt x="84" y="339"/>
                    </a:lnTo>
                    <a:lnTo>
                      <a:pt x="78" y="342"/>
                    </a:lnTo>
                    <a:lnTo>
                      <a:pt x="76" y="351"/>
                    </a:lnTo>
                    <a:lnTo>
                      <a:pt x="79" y="358"/>
                    </a:lnTo>
                    <a:lnTo>
                      <a:pt x="84" y="364"/>
                    </a:lnTo>
                    <a:lnTo>
                      <a:pt x="79" y="368"/>
                    </a:lnTo>
                    <a:lnTo>
                      <a:pt x="72" y="370"/>
                    </a:lnTo>
                    <a:lnTo>
                      <a:pt x="72" y="375"/>
                    </a:lnTo>
                    <a:lnTo>
                      <a:pt x="74" y="382"/>
                    </a:lnTo>
                    <a:lnTo>
                      <a:pt x="76" y="390"/>
                    </a:lnTo>
                    <a:lnTo>
                      <a:pt x="78" y="392"/>
                    </a:lnTo>
                    <a:lnTo>
                      <a:pt x="83" y="394"/>
                    </a:lnTo>
                    <a:lnTo>
                      <a:pt x="93" y="399"/>
                    </a:lnTo>
                    <a:lnTo>
                      <a:pt x="105" y="406"/>
                    </a:lnTo>
                    <a:lnTo>
                      <a:pt x="117" y="406"/>
                    </a:lnTo>
                    <a:lnTo>
                      <a:pt x="127" y="411"/>
                    </a:lnTo>
                    <a:lnTo>
                      <a:pt x="134" y="414"/>
                    </a:lnTo>
                    <a:lnTo>
                      <a:pt x="146" y="418"/>
                    </a:lnTo>
                    <a:lnTo>
                      <a:pt x="148" y="421"/>
                    </a:lnTo>
                    <a:lnTo>
                      <a:pt x="152" y="428"/>
                    </a:lnTo>
                    <a:lnTo>
                      <a:pt x="155" y="428"/>
                    </a:lnTo>
                    <a:lnTo>
                      <a:pt x="160" y="428"/>
                    </a:lnTo>
                    <a:lnTo>
                      <a:pt x="169" y="437"/>
                    </a:lnTo>
                    <a:lnTo>
                      <a:pt x="184" y="442"/>
                    </a:lnTo>
                    <a:lnTo>
                      <a:pt x="195" y="442"/>
                    </a:lnTo>
                    <a:lnTo>
                      <a:pt x="205" y="442"/>
                    </a:lnTo>
                    <a:lnTo>
                      <a:pt x="210" y="440"/>
                    </a:lnTo>
                    <a:lnTo>
                      <a:pt x="215" y="438"/>
                    </a:lnTo>
                    <a:lnTo>
                      <a:pt x="217" y="442"/>
                    </a:lnTo>
                    <a:lnTo>
                      <a:pt x="219" y="450"/>
                    </a:lnTo>
                    <a:lnTo>
                      <a:pt x="227" y="442"/>
                    </a:lnTo>
                    <a:lnTo>
                      <a:pt x="241" y="437"/>
                    </a:lnTo>
                    <a:lnTo>
                      <a:pt x="255" y="440"/>
                    </a:lnTo>
                    <a:lnTo>
                      <a:pt x="267" y="444"/>
                    </a:lnTo>
                    <a:lnTo>
                      <a:pt x="272" y="440"/>
                    </a:lnTo>
                    <a:lnTo>
                      <a:pt x="281" y="435"/>
                    </a:lnTo>
                    <a:lnTo>
                      <a:pt x="287" y="430"/>
                    </a:lnTo>
                    <a:lnTo>
                      <a:pt x="294" y="428"/>
                    </a:lnTo>
                    <a:lnTo>
                      <a:pt x="296" y="423"/>
                    </a:lnTo>
                    <a:lnTo>
                      <a:pt x="299" y="421"/>
                    </a:lnTo>
                    <a:lnTo>
                      <a:pt x="306" y="419"/>
                    </a:lnTo>
                    <a:lnTo>
                      <a:pt x="317" y="421"/>
                    </a:lnTo>
                    <a:lnTo>
                      <a:pt x="320" y="416"/>
                    </a:lnTo>
                    <a:lnTo>
                      <a:pt x="324" y="416"/>
                    </a:lnTo>
                    <a:lnTo>
                      <a:pt x="327" y="423"/>
                    </a:lnTo>
                    <a:lnTo>
                      <a:pt x="334" y="430"/>
                    </a:lnTo>
                    <a:lnTo>
                      <a:pt x="341" y="431"/>
                    </a:lnTo>
                    <a:lnTo>
                      <a:pt x="351" y="437"/>
                    </a:lnTo>
                    <a:lnTo>
                      <a:pt x="358" y="447"/>
                    </a:lnTo>
                    <a:lnTo>
                      <a:pt x="363" y="459"/>
                    </a:lnTo>
                    <a:lnTo>
                      <a:pt x="360" y="471"/>
                    </a:lnTo>
                    <a:lnTo>
                      <a:pt x="356" y="478"/>
                    </a:lnTo>
                    <a:lnTo>
                      <a:pt x="351" y="485"/>
                    </a:lnTo>
                    <a:lnTo>
                      <a:pt x="349" y="499"/>
                    </a:lnTo>
                    <a:lnTo>
                      <a:pt x="349" y="500"/>
                    </a:lnTo>
                    <a:lnTo>
                      <a:pt x="351" y="504"/>
                    </a:lnTo>
                    <a:lnTo>
                      <a:pt x="356" y="502"/>
                    </a:lnTo>
                    <a:lnTo>
                      <a:pt x="363" y="502"/>
                    </a:lnTo>
                    <a:lnTo>
                      <a:pt x="365" y="504"/>
                    </a:lnTo>
                    <a:lnTo>
                      <a:pt x="367" y="509"/>
                    </a:lnTo>
                    <a:lnTo>
                      <a:pt x="368" y="512"/>
                    </a:lnTo>
                    <a:lnTo>
                      <a:pt x="373" y="516"/>
                    </a:lnTo>
                    <a:lnTo>
                      <a:pt x="377" y="529"/>
                    </a:lnTo>
                    <a:lnTo>
                      <a:pt x="389" y="538"/>
                    </a:lnTo>
                    <a:lnTo>
                      <a:pt x="392" y="536"/>
                    </a:lnTo>
                    <a:lnTo>
                      <a:pt x="397" y="536"/>
                    </a:lnTo>
                    <a:lnTo>
                      <a:pt x="401" y="536"/>
                    </a:lnTo>
                    <a:lnTo>
                      <a:pt x="401" y="540"/>
                    </a:lnTo>
                    <a:lnTo>
                      <a:pt x="404" y="542"/>
                    </a:lnTo>
                    <a:lnTo>
                      <a:pt x="404" y="540"/>
                    </a:lnTo>
                    <a:lnTo>
                      <a:pt x="406" y="538"/>
                    </a:lnTo>
                    <a:lnTo>
                      <a:pt x="406" y="531"/>
                    </a:lnTo>
                    <a:lnTo>
                      <a:pt x="406" y="524"/>
                    </a:lnTo>
                    <a:lnTo>
                      <a:pt x="411" y="523"/>
                    </a:lnTo>
                    <a:lnTo>
                      <a:pt x="420" y="521"/>
                    </a:lnTo>
                    <a:lnTo>
                      <a:pt x="435" y="521"/>
                    </a:lnTo>
                    <a:lnTo>
                      <a:pt x="446" y="517"/>
                    </a:lnTo>
                    <a:lnTo>
                      <a:pt x="456" y="514"/>
                    </a:lnTo>
                    <a:lnTo>
                      <a:pt x="466" y="517"/>
                    </a:lnTo>
                    <a:lnTo>
                      <a:pt x="478" y="521"/>
                    </a:lnTo>
                    <a:lnTo>
                      <a:pt x="483" y="533"/>
                    </a:lnTo>
                    <a:lnTo>
                      <a:pt x="496" y="540"/>
                    </a:lnTo>
                    <a:lnTo>
                      <a:pt x="508" y="542"/>
                    </a:lnTo>
                    <a:lnTo>
                      <a:pt x="520" y="545"/>
                    </a:lnTo>
                    <a:lnTo>
                      <a:pt x="518" y="552"/>
                    </a:lnTo>
                    <a:lnTo>
                      <a:pt x="523" y="559"/>
                    </a:lnTo>
                    <a:lnTo>
                      <a:pt x="526" y="554"/>
                    </a:lnTo>
                    <a:lnTo>
                      <a:pt x="530" y="547"/>
                    </a:lnTo>
                    <a:lnTo>
                      <a:pt x="539" y="542"/>
                    </a:lnTo>
                    <a:lnTo>
                      <a:pt x="547" y="540"/>
                    </a:lnTo>
                    <a:lnTo>
                      <a:pt x="561" y="536"/>
                    </a:lnTo>
                    <a:lnTo>
                      <a:pt x="573" y="531"/>
                    </a:lnTo>
                    <a:lnTo>
                      <a:pt x="575" y="526"/>
                    </a:lnTo>
                    <a:lnTo>
                      <a:pt x="578" y="523"/>
                    </a:lnTo>
                    <a:lnTo>
                      <a:pt x="585" y="524"/>
                    </a:lnTo>
                    <a:lnTo>
                      <a:pt x="592" y="526"/>
                    </a:lnTo>
                    <a:lnTo>
                      <a:pt x="604" y="523"/>
                    </a:lnTo>
                    <a:lnTo>
                      <a:pt x="616" y="517"/>
                    </a:lnTo>
                    <a:lnTo>
                      <a:pt x="623" y="509"/>
                    </a:lnTo>
                    <a:lnTo>
                      <a:pt x="635" y="504"/>
                    </a:lnTo>
                    <a:lnTo>
                      <a:pt x="638" y="500"/>
                    </a:lnTo>
                    <a:lnTo>
                      <a:pt x="642" y="495"/>
                    </a:lnTo>
                    <a:lnTo>
                      <a:pt x="647" y="492"/>
                    </a:lnTo>
                    <a:lnTo>
                      <a:pt x="654" y="483"/>
                    </a:lnTo>
                    <a:lnTo>
                      <a:pt x="657" y="474"/>
                    </a:lnTo>
                    <a:lnTo>
                      <a:pt x="662" y="466"/>
                    </a:lnTo>
                    <a:lnTo>
                      <a:pt x="666" y="457"/>
                    </a:lnTo>
                    <a:lnTo>
                      <a:pt x="673" y="450"/>
                    </a:lnTo>
                    <a:lnTo>
                      <a:pt x="680" y="442"/>
                    </a:lnTo>
                    <a:lnTo>
                      <a:pt x="686" y="438"/>
                    </a:lnTo>
                    <a:lnTo>
                      <a:pt x="686" y="430"/>
                    </a:lnTo>
                    <a:lnTo>
                      <a:pt x="690" y="425"/>
                    </a:lnTo>
                    <a:lnTo>
                      <a:pt x="692" y="416"/>
                    </a:lnTo>
                    <a:lnTo>
                      <a:pt x="695" y="407"/>
                    </a:lnTo>
                    <a:lnTo>
                      <a:pt x="693" y="392"/>
                    </a:lnTo>
                    <a:lnTo>
                      <a:pt x="690" y="382"/>
                    </a:lnTo>
                    <a:lnTo>
                      <a:pt x="685" y="373"/>
                    </a:lnTo>
                    <a:lnTo>
                      <a:pt x="680" y="364"/>
                    </a:lnTo>
                    <a:lnTo>
                      <a:pt x="676" y="358"/>
                    </a:lnTo>
                    <a:lnTo>
                      <a:pt x="674" y="352"/>
                    </a:lnTo>
                    <a:lnTo>
                      <a:pt x="674" y="3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0" name="Freeform 259"/>
              <p:cNvSpPr>
                <a:spLocks/>
              </p:cNvSpPr>
              <p:nvPr/>
            </p:nvSpPr>
            <p:spPr bwMode="auto">
              <a:xfrm>
                <a:off x="8405019" y="1987550"/>
                <a:ext cx="82550" cy="34925"/>
              </a:xfrm>
              <a:custGeom>
                <a:avLst/>
                <a:gdLst/>
                <a:ahLst/>
                <a:cxnLst>
                  <a:cxn ang="0">
                    <a:pos x="6" y="22"/>
                  </a:cxn>
                  <a:cxn ang="0">
                    <a:pos x="0" y="19"/>
                  </a:cxn>
                  <a:cxn ang="0">
                    <a:pos x="0" y="17"/>
                  </a:cxn>
                  <a:cxn ang="0">
                    <a:pos x="2" y="10"/>
                  </a:cxn>
                  <a:cxn ang="0">
                    <a:pos x="9" y="5"/>
                  </a:cxn>
                  <a:cxn ang="0">
                    <a:pos x="16" y="0"/>
                  </a:cxn>
                  <a:cxn ang="0">
                    <a:pos x="25" y="0"/>
                  </a:cxn>
                  <a:cxn ang="0">
                    <a:pos x="31" y="0"/>
                  </a:cxn>
                  <a:cxn ang="0">
                    <a:pos x="40" y="3"/>
                  </a:cxn>
                  <a:cxn ang="0">
                    <a:pos x="49" y="7"/>
                  </a:cxn>
                  <a:cxn ang="0">
                    <a:pos x="52" y="12"/>
                  </a:cxn>
                  <a:cxn ang="0">
                    <a:pos x="45" y="16"/>
                  </a:cxn>
                  <a:cxn ang="0">
                    <a:pos x="30" y="19"/>
                  </a:cxn>
                  <a:cxn ang="0">
                    <a:pos x="14" y="21"/>
                  </a:cxn>
                  <a:cxn ang="0">
                    <a:pos x="6" y="22"/>
                  </a:cxn>
                </a:cxnLst>
                <a:rect l="0" t="0" r="r" b="b"/>
                <a:pathLst>
                  <a:path w="52" h="22">
                    <a:moveTo>
                      <a:pt x="6" y="22"/>
                    </a:moveTo>
                    <a:lnTo>
                      <a:pt x="0" y="19"/>
                    </a:lnTo>
                    <a:lnTo>
                      <a:pt x="0" y="17"/>
                    </a:lnTo>
                    <a:lnTo>
                      <a:pt x="2" y="10"/>
                    </a:lnTo>
                    <a:lnTo>
                      <a:pt x="9" y="5"/>
                    </a:lnTo>
                    <a:lnTo>
                      <a:pt x="16" y="0"/>
                    </a:lnTo>
                    <a:lnTo>
                      <a:pt x="25" y="0"/>
                    </a:lnTo>
                    <a:lnTo>
                      <a:pt x="31" y="0"/>
                    </a:lnTo>
                    <a:lnTo>
                      <a:pt x="40" y="3"/>
                    </a:lnTo>
                    <a:lnTo>
                      <a:pt x="49" y="7"/>
                    </a:lnTo>
                    <a:lnTo>
                      <a:pt x="52" y="12"/>
                    </a:lnTo>
                    <a:lnTo>
                      <a:pt x="45" y="16"/>
                    </a:lnTo>
                    <a:lnTo>
                      <a:pt x="30" y="19"/>
                    </a:lnTo>
                    <a:lnTo>
                      <a:pt x="14" y="21"/>
                    </a:lnTo>
                    <a:lnTo>
                      <a:pt x="6"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1" name="Freeform 260"/>
              <p:cNvSpPr>
                <a:spLocks/>
              </p:cNvSpPr>
              <p:nvPr/>
            </p:nvSpPr>
            <p:spPr bwMode="auto">
              <a:xfrm>
                <a:off x="8162132" y="2055813"/>
                <a:ext cx="33338" cy="15875"/>
              </a:xfrm>
              <a:custGeom>
                <a:avLst/>
                <a:gdLst/>
                <a:ahLst/>
                <a:cxnLst>
                  <a:cxn ang="0">
                    <a:pos x="16" y="10"/>
                  </a:cxn>
                  <a:cxn ang="0">
                    <a:pos x="18" y="7"/>
                  </a:cxn>
                  <a:cxn ang="0">
                    <a:pos x="21" y="5"/>
                  </a:cxn>
                  <a:cxn ang="0">
                    <a:pos x="19" y="2"/>
                  </a:cxn>
                  <a:cxn ang="0">
                    <a:pos x="18" y="0"/>
                  </a:cxn>
                  <a:cxn ang="0">
                    <a:pos x="0" y="0"/>
                  </a:cxn>
                  <a:cxn ang="0">
                    <a:pos x="6" y="7"/>
                  </a:cxn>
                  <a:cxn ang="0">
                    <a:pos x="16" y="10"/>
                  </a:cxn>
                </a:cxnLst>
                <a:rect l="0" t="0" r="r" b="b"/>
                <a:pathLst>
                  <a:path w="21" h="10">
                    <a:moveTo>
                      <a:pt x="16" y="10"/>
                    </a:moveTo>
                    <a:lnTo>
                      <a:pt x="18" y="7"/>
                    </a:lnTo>
                    <a:lnTo>
                      <a:pt x="21" y="5"/>
                    </a:lnTo>
                    <a:lnTo>
                      <a:pt x="19" y="2"/>
                    </a:lnTo>
                    <a:lnTo>
                      <a:pt x="18" y="0"/>
                    </a:lnTo>
                    <a:lnTo>
                      <a:pt x="0" y="0"/>
                    </a:lnTo>
                    <a:lnTo>
                      <a:pt x="6" y="7"/>
                    </a:lnTo>
                    <a:lnTo>
                      <a:pt x="16"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2" name="Freeform 261"/>
              <p:cNvSpPr>
                <a:spLocks/>
              </p:cNvSpPr>
              <p:nvPr/>
            </p:nvSpPr>
            <p:spPr bwMode="auto">
              <a:xfrm>
                <a:off x="7411244" y="1798638"/>
                <a:ext cx="17463" cy="19050"/>
              </a:xfrm>
              <a:custGeom>
                <a:avLst/>
                <a:gdLst/>
                <a:ahLst/>
                <a:cxnLst>
                  <a:cxn ang="0">
                    <a:pos x="11" y="6"/>
                  </a:cxn>
                  <a:cxn ang="0">
                    <a:pos x="6" y="0"/>
                  </a:cxn>
                  <a:cxn ang="0">
                    <a:pos x="2" y="2"/>
                  </a:cxn>
                  <a:cxn ang="0">
                    <a:pos x="0" y="7"/>
                  </a:cxn>
                  <a:cxn ang="0">
                    <a:pos x="0" y="11"/>
                  </a:cxn>
                  <a:cxn ang="0">
                    <a:pos x="6" y="12"/>
                  </a:cxn>
                  <a:cxn ang="0">
                    <a:pos x="7" y="9"/>
                  </a:cxn>
                  <a:cxn ang="0">
                    <a:pos x="11" y="4"/>
                  </a:cxn>
                  <a:cxn ang="0">
                    <a:pos x="9" y="4"/>
                  </a:cxn>
                  <a:cxn ang="0">
                    <a:pos x="11" y="6"/>
                  </a:cxn>
                </a:cxnLst>
                <a:rect l="0" t="0" r="r" b="b"/>
                <a:pathLst>
                  <a:path w="11" h="12">
                    <a:moveTo>
                      <a:pt x="11" y="6"/>
                    </a:moveTo>
                    <a:lnTo>
                      <a:pt x="6" y="0"/>
                    </a:lnTo>
                    <a:lnTo>
                      <a:pt x="2" y="2"/>
                    </a:lnTo>
                    <a:lnTo>
                      <a:pt x="0" y="7"/>
                    </a:lnTo>
                    <a:lnTo>
                      <a:pt x="0" y="11"/>
                    </a:lnTo>
                    <a:lnTo>
                      <a:pt x="6" y="12"/>
                    </a:lnTo>
                    <a:lnTo>
                      <a:pt x="7" y="9"/>
                    </a:lnTo>
                    <a:lnTo>
                      <a:pt x="11" y="4"/>
                    </a:lnTo>
                    <a:lnTo>
                      <a:pt x="9" y="4"/>
                    </a:lnTo>
                    <a:lnTo>
                      <a:pt x="11"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3" name="Freeform 262"/>
              <p:cNvSpPr>
                <a:spLocks/>
              </p:cNvSpPr>
              <p:nvPr/>
            </p:nvSpPr>
            <p:spPr bwMode="auto">
              <a:xfrm>
                <a:off x="6871494" y="1857375"/>
                <a:ext cx="34925" cy="20637"/>
              </a:xfrm>
              <a:custGeom>
                <a:avLst/>
                <a:gdLst/>
                <a:ahLst/>
                <a:cxnLst>
                  <a:cxn ang="0">
                    <a:pos x="22" y="10"/>
                  </a:cxn>
                  <a:cxn ang="0">
                    <a:pos x="17" y="12"/>
                  </a:cxn>
                  <a:cxn ang="0">
                    <a:pos x="12" y="13"/>
                  </a:cxn>
                  <a:cxn ang="0">
                    <a:pos x="3" y="12"/>
                  </a:cxn>
                  <a:cxn ang="0">
                    <a:pos x="0" y="8"/>
                  </a:cxn>
                  <a:cxn ang="0">
                    <a:pos x="3" y="1"/>
                  </a:cxn>
                  <a:cxn ang="0">
                    <a:pos x="12" y="0"/>
                  </a:cxn>
                  <a:cxn ang="0">
                    <a:pos x="19" y="1"/>
                  </a:cxn>
                  <a:cxn ang="0">
                    <a:pos x="22" y="8"/>
                  </a:cxn>
                  <a:cxn ang="0">
                    <a:pos x="20" y="10"/>
                  </a:cxn>
                  <a:cxn ang="0">
                    <a:pos x="19" y="13"/>
                  </a:cxn>
                  <a:cxn ang="0">
                    <a:pos x="22" y="10"/>
                  </a:cxn>
                </a:cxnLst>
                <a:rect l="0" t="0" r="r" b="b"/>
                <a:pathLst>
                  <a:path w="22" h="13">
                    <a:moveTo>
                      <a:pt x="22" y="10"/>
                    </a:moveTo>
                    <a:lnTo>
                      <a:pt x="17" y="12"/>
                    </a:lnTo>
                    <a:lnTo>
                      <a:pt x="12" y="13"/>
                    </a:lnTo>
                    <a:lnTo>
                      <a:pt x="3" y="12"/>
                    </a:lnTo>
                    <a:lnTo>
                      <a:pt x="0" y="8"/>
                    </a:lnTo>
                    <a:lnTo>
                      <a:pt x="3" y="1"/>
                    </a:lnTo>
                    <a:lnTo>
                      <a:pt x="12" y="0"/>
                    </a:lnTo>
                    <a:lnTo>
                      <a:pt x="19" y="1"/>
                    </a:lnTo>
                    <a:lnTo>
                      <a:pt x="22" y="8"/>
                    </a:lnTo>
                    <a:lnTo>
                      <a:pt x="20" y="10"/>
                    </a:lnTo>
                    <a:lnTo>
                      <a:pt x="19" y="13"/>
                    </a:lnTo>
                    <a:lnTo>
                      <a:pt x="22"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4" name="Freeform 263"/>
              <p:cNvSpPr>
                <a:spLocks/>
              </p:cNvSpPr>
              <p:nvPr/>
            </p:nvSpPr>
            <p:spPr bwMode="auto">
              <a:xfrm>
                <a:off x="6587332" y="1624013"/>
                <a:ext cx="139700" cy="76200"/>
              </a:xfrm>
              <a:custGeom>
                <a:avLst/>
                <a:gdLst/>
                <a:ahLst/>
                <a:cxnLst>
                  <a:cxn ang="0">
                    <a:pos x="7" y="48"/>
                  </a:cxn>
                  <a:cxn ang="0">
                    <a:pos x="0" y="47"/>
                  </a:cxn>
                  <a:cxn ang="0">
                    <a:pos x="0" y="42"/>
                  </a:cxn>
                  <a:cxn ang="0">
                    <a:pos x="3" y="33"/>
                  </a:cxn>
                  <a:cxn ang="0">
                    <a:pos x="9" y="31"/>
                  </a:cxn>
                  <a:cxn ang="0">
                    <a:pos x="15" y="21"/>
                  </a:cxn>
                  <a:cxn ang="0">
                    <a:pos x="24" y="11"/>
                  </a:cxn>
                  <a:cxn ang="0">
                    <a:pos x="33" y="2"/>
                  </a:cxn>
                  <a:cxn ang="0">
                    <a:pos x="46" y="0"/>
                  </a:cxn>
                  <a:cxn ang="0">
                    <a:pos x="48" y="0"/>
                  </a:cxn>
                  <a:cxn ang="0">
                    <a:pos x="52" y="0"/>
                  </a:cxn>
                  <a:cxn ang="0">
                    <a:pos x="52" y="6"/>
                  </a:cxn>
                  <a:cxn ang="0">
                    <a:pos x="52" y="11"/>
                  </a:cxn>
                  <a:cxn ang="0">
                    <a:pos x="55" y="7"/>
                  </a:cxn>
                  <a:cxn ang="0">
                    <a:pos x="60" y="6"/>
                  </a:cxn>
                  <a:cxn ang="0">
                    <a:pos x="67" y="7"/>
                  </a:cxn>
                  <a:cxn ang="0">
                    <a:pos x="76" y="12"/>
                  </a:cxn>
                  <a:cxn ang="0">
                    <a:pos x="84" y="19"/>
                  </a:cxn>
                  <a:cxn ang="0">
                    <a:pos x="88" y="26"/>
                  </a:cxn>
                  <a:cxn ang="0">
                    <a:pos x="83" y="31"/>
                  </a:cxn>
                  <a:cxn ang="0">
                    <a:pos x="72" y="36"/>
                  </a:cxn>
                  <a:cxn ang="0">
                    <a:pos x="60" y="36"/>
                  </a:cxn>
                  <a:cxn ang="0">
                    <a:pos x="52" y="38"/>
                  </a:cxn>
                  <a:cxn ang="0">
                    <a:pos x="46" y="38"/>
                  </a:cxn>
                  <a:cxn ang="0">
                    <a:pos x="41" y="40"/>
                  </a:cxn>
                  <a:cxn ang="0">
                    <a:pos x="36" y="40"/>
                  </a:cxn>
                  <a:cxn ang="0">
                    <a:pos x="34" y="42"/>
                  </a:cxn>
                  <a:cxn ang="0">
                    <a:pos x="7" y="48"/>
                  </a:cxn>
                </a:cxnLst>
                <a:rect l="0" t="0" r="r" b="b"/>
                <a:pathLst>
                  <a:path w="88" h="48">
                    <a:moveTo>
                      <a:pt x="7" y="48"/>
                    </a:moveTo>
                    <a:lnTo>
                      <a:pt x="0" y="47"/>
                    </a:lnTo>
                    <a:lnTo>
                      <a:pt x="0" y="42"/>
                    </a:lnTo>
                    <a:lnTo>
                      <a:pt x="3" y="33"/>
                    </a:lnTo>
                    <a:lnTo>
                      <a:pt x="9" y="31"/>
                    </a:lnTo>
                    <a:lnTo>
                      <a:pt x="15" y="21"/>
                    </a:lnTo>
                    <a:lnTo>
                      <a:pt x="24" y="11"/>
                    </a:lnTo>
                    <a:lnTo>
                      <a:pt x="33" y="2"/>
                    </a:lnTo>
                    <a:lnTo>
                      <a:pt x="46" y="0"/>
                    </a:lnTo>
                    <a:lnTo>
                      <a:pt x="48" y="0"/>
                    </a:lnTo>
                    <a:lnTo>
                      <a:pt x="52" y="0"/>
                    </a:lnTo>
                    <a:lnTo>
                      <a:pt x="52" y="6"/>
                    </a:lnTo>
                    <a:lnTo>
                      <a:pt x="52" y="11"/>
                    </a:lnTo>
                    <a:lnTo>
                      <a:pt x="55" y="7"/>
                    </a:lnTo>
                    <a:lnTo>
                      <a:pt x="60" y="6"/>
                    </a:lnTo>
                    <a:lnTo>
                      <a:pt x="67" y="7"/>
                    </a:lnTo>
                    <a:lnTo>
                      <a:pt x="76" y="12"/>
                    </a:lnTo>
                    <a:lnTo>
                      <a:pt x="84" y="19"/>
                    </a:lnTo>
                    <a:lnTo>
                      <a:pt x="88" y="26"/>
                    </a:lnTo>
                    <a:lnTo>
                      <a:pt x="83" y="31"/>
                    </a:lnTo>
                    <a:lnTo>
                      <a:pt x="72" y="36"/>
                    </a:lnTo>
                    <a:lnTo>
                      <a:pt x="60" y="36"/>
                    </a:lnTo>
                    <a:lnTo>
                      <a:pt x="52" y="38"/>
                    </a:lnTo>
                    <a:lnTo>
                      <a:pt x="46" y="38"/>
                    </a:lnTo>
                    <a:lnTo>
                      <a:pt x="41" y="40"/>
                    </a:lnTo>
                    <a:lnTo>
                      <a:pt x="36" y="40"/>
                    </a:lnTo>
                    <a:lnTo>
                      <a:pt x="34" y="42"/>
                    </a:lnTo>
                    <a:lnTo>
                      <a:pt x="7" y="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5" name="Freeform 264"/>
              <p:cNvSpPr>
                <a:spLocks/>
              </p:cNvSpPr>
              <p:nvPr/>
            </p:nvSpPr>
            <p:spPr bwMode="auto">
              <a:xfrm>
                <a:off x="6393657" y="1585913"/>
                <a:ext cx="52388" cy="26987"/>
              </a:xfrm>
              <a:custGeom>
                <a:avLst/>
                <a:gdLst/>
                <a:ahLst/>
                <a:cxnLst>
                  <a:cxn ang="0">
                    <a:pos x="14" y="0"/>
                  </a:cxn>
                  <a:cxn ang="0">
                    <a:pos x="15" y="0"/>
                  </a:cxn>
                  <a:cxn ang="0">
                    <a:pos x="22" y="4"/>
                  </a:cxn>
                  <a:cxn ang="0">
                    <a:pos x="27" y="5"/>
                  </a:cxn>
                  <a:cxn ang="0">
                    <a:pos x="33" y="7"/>
                  </a:cxn>
                  <a:cxn ang="0">
                    <a:pos x="29" y="11"/>
                  </a:cxn>
                  <a:cxn ang="0">
                    <a:pos x="22" y="14"/>
                  </a:cxn>
                  <a:cxn ang="0">
                    <a:pos x="14" y="16"/>
                  </a:cxn>
                  <a:cxn ang="0">
                    <a:pos x="10" y="17"/>
                  </a:cxn>
                  <a:cxn ang="0">
                    <a:pos x="3" y="12"/>
                  </a:cxn>
                  <a:cxn ang="0">
                    <a:pos x="0" y="5"/>
                  </a:cxn>
                  <a:cxn ang="0">
                    <a:pos x="5" y="0"/>
                  </a:cxn>
                  <a:cxn ang="0">
                    <a:pos x="14" y="0"/>
                  </a:cxn>
                </a:cxnLst>
                <a:rect l="0" t="0" r="r" b="b"/>
                <a:pathLst>
                  <a:path w="33" h="17">
                    <a:moveTo>
                      <a:pt x="14" y="0"/>
                    </a:moveTo>
                    <a:lnTo>
                      <a:pt x="15" y="0"/>
                    </a:lnTo>
                    <a:lnTo>
                      <a:pt x="22" y="4"/>
                    </a:lnTo>
                    <a:lnTo>
                      <a:pt x="27" y="5"/>
                    </a:lnTo>
                    <a:lnTo>
                      <a:pt x="33" y="7"/>
                    </a:lnTo>
                    <a:lnTo>
                      <a:pt x="29" y="11"/>
                    </a:lnTo>
                    <a:lnTo>
                      <a:pt x="22" y="14"/>
                    </a:lnTo>
                    <a:lnTo>
                      <a:pt x="14" y="16"/>
                    </a:lnTo>
                    <a:lnTo>
                      <a:pt x="10" y="17"/>
                    </a:lnTo>
                    <a:lnTo>
                      <a:pt x="3" y="12"/>
                    </a:lnTo>
                    <a:lnTo>
                      <a:pt x="0" y="5"/>
                    </a:lnTo>
                    <a:lnTo>
                      <a:pt x="5"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6" name="Freeform 265"/>
              <p:cNvSpPr>
                <a:spLocks/>
              </p:cNvSpPr>
              <p:nvPr/>
            </p:nvSpPr>
            <p:spPr bwMode="auto">
              <a:xfrm>
                <a:off x="6409532" y="1525588"/>
                <a:ext cx="192088" cy="134937"/>
              </a:xfrm>
              <a:custGeom>
                <a:avLst/>
                <a:gdLst/>
                <a:ahLst/>
                <a:cxnLst>
                  <a:cxn ang="0">
                    <a:pos x="115" y="78"/>
                  </a:cxn>
                  <a:cxn ang="0">
                    <a:pos x="110" y="81"/>
                  </a:cxn>
                  <a:cxn ang="0">
                    <a:pos x="105" y="85"/>
                  </a:cxn>
                  <a:cxn ang="0">
                    <a:pos x="88" y="81"/>
                  </a:cxn>
                  <a:cxn ang="0">
                    <a:pos x="74" y="80"/>
                  </a:cxn>
                  <a:cxn ang="0">
                    <a:pos x="60" y="76"/>
                  </a:cxn>
                  <a:cxn ang="0">
                    <a:pos x="48" y="76"/>
                  </a:cxn>
                  <a:cxn ang="0">
                    <a:pos x="41" y="73"/>
                  </a:cxn>
                  <a:cxn ang="0">
                    <a:pos x="35" y="68"/>
                  </a:cxn>
                  <a:cxn ang="0">
                    <a:pos x="26" y="61"/>
                  </a:cxn>
                  <a:cxn ang="0">
                    <a:pos x="21" y="57"/>
                  </a:cxn>
                  <a:cxn ang="0">
                    <a:pos x="31" y="52"/>
                  </a:cxn>
                  <a:cxn ang="0">
                    <a:pos x="40" y="49"/>
                  </a:cxn>
                  <a:cxn ang="0">
                    <a:pos x="47" y="45"/>
                  </a:cxn>
                  <a:cxn ang="0">
                    <a:pos x="59" y="42"/>
                  </a:cxn>
                  <a:cxn ang="0">
                    <a:pos x="52" y="40"/>
                  </a:cxn>
                  <a:cxn ang="0">
                    <a:pos x="47" y="40"/>
                  </a:cxn>
                  <a:cxn ang="0">
                    <a:pos x="40" y="40"/>
                  </a:cxn>
                  <a:cxn ang="0">
                    <a:pos x="38" y="40"/>
                  </a:cxn>
                  <a:cxn ang="0">
                    <a:pos x="26" y="38"/>
                  </a:cxn>
                  <a:cxn ang="0">
                    <a:pos x="17" y="37"/>
                  </a:cxn>
                  <a:cxn ang="0">
                    <a:pos x="9" y="33"/>
                  </a:cxn>
                  <a:cxn ang="0">
                    <a:pos x="0" y="30"/>
                  </a:cxn>
                  <a:cxn ang="0">
                    <a:pos x="12" y="21"/>
                  </a:cxn>
                  <a:cxn ang="0">
                    <a:pos x="26" y="12"/>
                  </a:cxn>
                  <a:cxn ang="0">
                    <a:pos x="36" y="4"/>
                  </a:cxn>
                  <a:cxn ang="0">
                    <a:pos x="53" y="0"/>
                  </a:cxn>
                  <a:cxn ang="0">
                    <a:pos x="62" y="2"/>
                  </a:cxn>
                  <a:cxn ang="0">
                    <a:pos x="71" y="7"/>
                  </a:cxn>
                  <a:cxn ang="0">
                    <a:pos x="78" y="12"/>
                  </a:cxn>
                  <a:cxn ang="0">
                    <a:pos x="84" y="19"/>
                  </a:cxn>
                  <a:cxn ang="0">
                    <a:pos x="79" y="19"/>
                  </a:cxn>
                  <a:cxn ang="0">
                    <a:pos x="78" y="19"/>
                  </a:cxn>
                  <a:cxn ang="0">
                    <a:pos x="78" y="26"/>
                  </a:cxn>
                  <a:cxn ang="0">
                    <a:pos x="78" y="30"/>
                  </a:cxn>
                  <a:cxn ang="0">
                    <a:pos x="74" y="35"/>
                  </a:cxn>
                  <a:cxn ang="0">
                    <a:pos x="69" y="40"/>
                  </a:cxn>
                  <a:cxn ang="0">
                    <a:pos x="74" y="38"/>
                  </a:cxn>
                  <a:cxn ang="0">
                    <a:pos x="79" y="40"/>
                  </a:cxn>
                  <a:cxn ang="0">
                    <a:pos x="86" y="42"/>
                  </a:cxn>
                  <a:cxn ang="0">
                    <a:pos x="95" y="45"/>
                  </a:cxn>
                  <a:cxn ang="0">
                    <a:pos x="100" y="45"/>
                  </a:cxn>
                  <a:cxn ang="0">
                    <a:pos x="105" y="45"/>
                  </a:cxn>
                  <a:cxn ang="0">
                    <a:pos x="114" y="47"/>
                  </a:cxn>
                  <a:cxn ang="0">
                    <a:pos x="121" y="54"/>
                  </a:cxn>
                  <a:cxn ang="0">
                    <a:pos x="115" y="59"/>
                  </a:cxn>
                  <a:cxn ang="0">
                    <a:pos x="117" y="64"/>
                  </a:cxn>
                  <a:cxn ang="0">
                    <a:pos x="112" y="68"/>
                  </a:cxn>
                  <a:cxn ang="0">
                    <a:pos x="107" y="71"/>
                  </a:cxn>
                  <a:cxn ang="0">
                    <a:pos x="112" y="73"/>
                  </a:cxn>
                  <a:cxn ang="0">
                    <a:pos x="115" y="78"/>
                  </a:cxn>
                </a:cxnLst>
                <a:rect l="0" t="0" r="r" b="b"/>
                <a:pathLst>
                  <a:path w="121" h="85">
                    <a:moveTo>
                      <a:pt x="115" y="78"/>
                    </a:moveTo>
                    <a:lnTo>
                      <a:pt x="110" y="81"/>
                    </a:lnTo>
                    <a:lnTo>
                      <a:pt x="105" y="85"/>
                    </a:lnTo>
                    <a:lnTo>
                      <a:pt x="88" y="81"/>
                    </a:lnTo>
                    <a:lnTo>
                      <a:pt x="74" y="80"/>
                    </a:lnTo>
                    <a:lnTo>
                      <a:pt x="60" y="76"/>
                    </a:lnTo>
                    <a:lnTo>
                      <a:pt x="48" y="76"/>
                    </a:lnTo>
                    <a:lnTo>
                      <a:pt x="41" y="73"/>
                    </a:lnTo>
                    <a:lnTo>
                      <a:pt x="35" y="68"/>
                    </a:lnTo>
                    <a:lnTo>
                      <a:pt x="26" y="61"/>
                    </a:lnTo>
                    <a:lnTo>
                      <a:pt x="21" y="57"/>
                    </a:lnTo>
                    <a:lnTo>
                      <a:pt x="31" y="52"/>
                    </a:lnTo>
                    <a:lnTo>
                      <a:pt x="40" y="49"/>
                    </a:lnTo>
                    <a:lnTo>
                      <a:pt x="47" y="45"/>
                    </a:lnTo>
                    <a:lnTo>
                      <a:pt x="59" y="42"/>
                    </a:lnTo>
                    <a:lnTo>
                      <a:pt x="52" y="40"/>
                    </a:lnTo>
                    <a:lnTo>
                      <a:pt x="47" y="40"/>
                    </a:lnTo>
                    <a:lnTo>
                      <a:pt x="40" y="40"/>
                    </a:lnTo>
                    <a:lnTo>
                      <a:pt x="38" y="40"/>
                    </a:lnTo>
                    <a:lnTo>
                      <a:pt x="26" y="38"/>
                    </a:lnTo>
                    <a:lnTo>
                      <a:pt x="17" y="37"/>
                    </a:lnTo>
                    <a:lnTo>
                      <a:pt x="9" y="33"/>
                    </a:lnTo>
                    <a:lnTo>
                      <a:pt x="0" y="30"/>
                    </a:lnTo>
                    <a:lnTo>
                      <a:pt x="12" y="21"/>
                    </a:lnTo>
                    <a:lnTo>
                      <a:pt x="26" y="12"/>
                    </a:lnTo>
                    <a:lnTo>
                      <a:pt x="36" y="4"/>
                    </a:lnTo>
                    <a:lnTo>
                      <a:pt x="53" y="0"/>
                    </a:lnTo>
                    <a:lnTo>
                      <a:pt x="62" y="2"/>
                    </a:lnTo>
                    <a:lnTo>
                      <a:pt x="71" y="7"/>
                    </a:lnTo>
                    <a:lnTo>
                      <a:pt x="78" y="12"/>
                    </a:lnTo>
                    <a:lnTo>
                      <a:pt x="84" y="19"/>
                    </a:lnTo>
                    <a:lnTo>
                      <a:pt x="79" y="19"/>
                    </a:lnTo>
                    <a:lnTo>
                      <a:pt x="78" y="19"/>
                    </a:lnTo>
                    <a:lnTo>
                      <a:pt x="78" y="26"/>
                    </a:lnTo>
                    <a:lnTo>
                      <a:pt x="78" y="30"/>
                    </a:lnTo>
                    <a:lnTo>
                      <a:pt x="74" y="35"/>
                    </a:lnTo>
                    <a:lnTo>
                      <a:pt x="69" y="40"/>
                    </a:lnTo>
                    <a:lnTo>
                      <a:pt x="74" y="38"/>
                    </a:lnTo>
                    <a:lnTo>
                      <a:pt x="79" y="40"/>
                    </a:lnTo>
                    <a:lnTo>
                      <a:pt x="86" y="42"/>
                    </a:lnTo>
                    <a:lnTo>
                      <a:pt x="95" y="45"/>
                    </a:lnTo>
                    <a:lnTo>
                      <a:pt x="100" y="45"/>
                    </a:lnTo>
                    <a:lnTo>
                      <a:pt x="105" y="45"/>
                    </a:lnTo>
                    <a:lnTo>
                      <a:pt x="114" y="47"/>
                    </a:lnTo>
                    <a:lnTo>
                      <a:pt x="121" y="54"/>
                    </a:lnTo>
                    <a:lnTo>
                      <a:pt x="115" y="59"/>
                    </a:lnTo>
                    <a:lnTo>
                      <a:pt x="117" y="64"/>
                    </a:lnTo>
                    <a:lnTo>
                      <a:pt x="112" y="68"/>
                    </a:lnTo>
                    <a:lnTo>
                      <a:pt x="107" y="71"/>
                    </a:lnTo>
                    <a:lnTo>
                      <a:pt x="112" y="73"/>
                    </a:lnTo>
                    <a:lnTo>
                      <a:pt x="11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7" name="Freeform 266"/>
              <p:cNvSpPr>
                <a:spLocks/>
              </p:cNvSpPr>
              <p:nvPr/>
            </p:nvSpPr>
            <p:spPr bwMode="auto">
              <a:xfrm>
                <a:off x="6493669" y="1739900"/>
                <a:ext cx="22225" cy="15875"/>
              </a:xfrm>
              <a:custGeom>
                <a:avLst/>
                <a:gdLst/>
                <a:ahLst/>
                <a:cxnLst>
                  <a:cxn ang="0">
                    <a:pos x="0" y="5"/>
                  </a:cxn>
                  <a:cxn ang="0">
                    <a:pos x="4" y="1"/>
                  </a:cxn>
                  <a:cxn ang="0">
                    <a:pos x="7" y="0"/>
                  </a:cxn>
                  <a:cxn ang="0">
                    <a:pos x="14" y="0"/>
                  </a:cxn>
                  <a:cxn ang="0">
                    <a:pos x="11" y="6"/>
                  </a:cxn>
                  <a:cxn ang="0">
                    <a:pos x="4" y="10"/>
                  </a:cxn>
                  <a:cxn ang="0">
                    <a:pos x="0" y="6"/>
                  </a:cxn>
                  <a:cxn ang="0">
                    <a:pos x="0" y="5"/>
                  </a:cxn>
                </a:cxnLst>
                <a:rect l="0" t="0" r="r" b="b"/>
                <a:pathLst>
                  <a:path w="14" h="10">
                    <a:moveTo>
                      <a:pt x="0" y="5"/>
                    </a:moveTo>
                    <a:lnTo>
                      <a:pt x="4" y="1"/>
                    </a:lnTo>
                    <a:lnTo>
                      <a:pt x="7" y="0"/>
                    </a:lnTo>
                    <a:lnTo>
                      <a:pt x="14" y="0"/>
                    </a:lnTo>
                    <a:lnTo>
                      <a:pt x="11" y="6"/>
                    </a:lnTo>
                    <a:lnTo>
                      <a:pt x="4" y="10"/>
                    </a:lnTo>
                    <a:lnTo>
                      <a:pt x="0" y="6"/>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8" name="Freeform 267"/>
              <p:cNvSpPr>
                <a:spLocks/>
              </p:cNvSpPr>
              <p:nvPr/>
            </p:nvSpPr>
            <p:spPr bwMode="auto">
              <a:xfrm>
                <a:off x="6371432" y="1528763"/>
                <a:ext cx="33338" cy="6350"/>
              </a:xfrm>
              <a:custGeom>
                <a:avLst/>
                <a:gdLst/>
                <a:ahLst/>
                <a:cxnLst>
                  <a:cxn ang="0">
                    <a:pos x="21" y="4"/>
                  </a:cxn>
                  <a:cxn ang="0">
                    <a:pos x="9" y="4"/>
                  </a:cxn>
                  <a:cxn ang="0">
                    <a:pos x="0" y="0"/>
                  </a:cxn>
                  <a:cxn ang="0">
                    <a:pos x="19" y="0"/>
                  </a:cxn>
                  <a:cxn ang="0">
                    <a:pos x="21" y="4"/>
                  </a:cxn>
                </a:cxnLst>
                <a:rect l="0" t="0" r="r" b="b"/>
                <a:pathLst>
                  <a:path w="21" h="4">
                    <a:moveTo>
                      <a:pt x="21" y="4"/>
                    </a:moveTo>
                    <a:lnTo>
                      <a:pt x="9" y="4"/>
                    </a:lnTo>
                    <a:lnTo>
                      <a:pt x="0" y="0"/>
                    </a:lnTo>
                    <a:lnTo>
                      <a:pt x="19" y="0"/>
                    </a:lnTo>
                    <a:lnTo>
                      <a:pt x="21"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9" name="Freeform 268"/>
              <p:cNvSpPr>
                <a:spLocks/>
              </p:cNvSpPr>
              <p:nvPr/>
            </p:nvSpPr>
            <p:spPr bwMode="auto">
              <a:xfrm>
                <a:off x="6754019" y="1684338"/>
                <a:ext cx="23813" cy="11112"/>
              </a:xfrm>
              <a:custGeom>
                <a:avLst/>
                <a:gdLst/>
                <a:ahLst/>
                <a:cxnLst>
                  <a:cxn ang="0">
                    <a:pos x="15" y="0"/>
                  </a:cxn>
                  <a:cxn ang="0">
                    <a:pos x="14" y="4"/>
                  </a:cxn>
                  <a:cxn ang="0">
                    <a:pos x="8" y="7"/>
                  </a:cxn>
                  <a:cxn ang="0">
                    <a:pos x="2" y="4"/>
                  </a:cxn>
                  <a:cxn ang="0">
                    <a:pos x="0" y="2"/>
                  </a:cxn>
                  <a:cxn ang="0">
                    <a:pos x="10" y="0"/>
                  </a:cxn>
                  <a:cxn ang="0">
                    <a:pos x="15" y="0"/>
                  </a:cxn>
                </a:cxnLst>
                <a:rect l="0" t="0" r="r" b="b"/>
                <a:pathLst>
                  <a:path w="15" h="7">
                    <a:moveTo>
                      <a:pt x="15" y="0"/>
                    </a:moveTo>
                    <a:lnTo>
                      <a:pt x="14" y="4"/>
                    </a:lnTo>
                    <a:lnTo>
                      <a:pt x="8" y="7"/>
                    </a:lnTo>
                    <a:lnTo>
                      <a:pt x="2" y="4"/>
                    </a:lnTo>
                    <a:lnTo>
                      <a:pt x="0" y="2"/>
                    </a:lnTo>
                    <a:lnTo>
                      <a:pt x="10"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0" name="Freeform 269"/>
              <p:cNvSpPr>
                <a:spLocks/>
              </p:cNvSpPr>
              <p:nvPr/>
            </p:nvSpPr>
            <p:spPr bwMode="auto">
              <a:xfrm>
                <a:off x="5320507" y="1547813"/>
                <a:ext cx="163513" cy="49212"/>
              </a:xfrm>
              <a:custGeom>
                <a:avLst/>
                <a:gdLst/>
                <a:ahLst/>
                <a:cxnLst>
                  <a:cxn ang="0">
                    <a:pos x="88" y="16"/>
                  </a:cxn>
                  <a:cxn ang="0">
                    <a:pos x="76" y="17"/>
                  </a:cxn>
                  <a:cxn ang="0">
                    <a:pos x="67" y="21"/>
                  </a:cxn>
                  <a:cxn ang="0">
                    <a:pos x="60" y="26"/>
                  </a:cxn>
                  <a:cxn ang="0">
                    <a:pos x="57" y="31"/>
                  </a:cxn>
                  <a:cxn ang="0">
                    <a:pos x="52" y="28"/>
                  </a:cxn>
                  <a:cxn ang="0">
                    <a:pos x="52" y="26"/>
                  </a:cxn>
                  <a:cxn ang="0">
                    <a:pos x="52" y="26"/>
                  </a:cxn>
                  <a:cxn ang="0">
                    <a:pos x="41" y="24"/>
                  </a:cxn>
                  <a:cxn ang="0">
                    <a:pos x="38" y="21"/>
                  </a:cxn>
                  <a:cxn ang="0">
                    <a:pos x="41" y="17"/>
                  </a:cxn>
                  <a:cxn ang="0">
                    <a:pos x="48" y="16"/>
                  </a:cxn>
                  <a:cxn ang="0">
                    <a:pos x="41" y="16"/>
                  </a:cxn>
                  <a:cxn ang="0">
                    <a:pos x="38" y="16"/>
                  </a:cxn>
                  <a:cxn ang="0">
                    <a:pos x="41" y="12"/>
                  </a:cxn>
                  <a:cxn ang="0">
                    <a:pos x="46" y="11"/>
                  </a:cxn>
                  <a:cxn ang="0">
                    <a:pos x="39" y="7"/>
                  </a:cxn>
                  <a:cxn ang="0">
                    <a:pos x="34" y="5"/>
                  </a:cxn>
                  <a:cxn ang="0">
                    <a:pos x="22" y="9"/>
                  </a:cxn>
                  <a:cxn ang="0">
                    <a:pos x="12" y="12"/>
                  </a:cxn>
                  <a:cxn ang="0">
                    <a:pos x="5" y="11"/>
                  </a:cxn>
                  <a:cxn ang="0">
                    <a:pos x="0" y="11"/>
                  </a:cxn>
                  <a:cxn ang="0">
                    <a:pos x="5" y="4"/>
                  </a:cxn>
                  <a:cxn ang="0">
                    <a:pos x="17" y="2"/>
                  </a:cxn>
                  <a:cxn ang="0">
                    <a:pos x="29" y="0"/>
                  </a:cxn>
                  <a:cxn ang="0">
                    <a:pos x="39" y="0"/>
                  </a:cxn>
                  <a:cxn ang="0">
                    <a:pos x="55" y="4"/>
                  </a:cxn>
                  <a:cxn ang="0">
                    <a:pos x="69" y="7"/>
                  </a:cxn>
                  <a:cxn ang="0">
                    <a:pos x="77" y="4"/>
                  </a:cxn>
                  <a:cxn ang="0">
                    <a:pos x="88" y="0"/>
                  </a:cxn>
                  <a:cxn ang="0">
                    <a:pos x="96" y="2"/>
                  </a:cxn>
                  <a:cxn ang="0">
                    <a:pos x="103" y="5"/>
                  </a:cxn>
                  <a:cxn ang="0">
                    <a:pos x="96" y="12"/>
                  </a:cxn>
                  <a:cxn ang="0">
                    <a:pos x="89" y="16"/>
                  </a:cxn>
                  <a:cxn ang="0">
                    <a:pos x="86" y="16"/>
                  </a:cxn>
                  <a:cxn ang="0">
                    <a:pos x="84" y="16"/>
                  </a:cxn>
                  <a:cxn ang="0">
                    <a:pos x="84" y="21"/>
                  </a:cxn>
                  <a:cxn ang="0">
                    <a:pos x="88" y="16"/>
                  </a:cxn>
                </a:cxnLst>
                <a:rect l="0" t="0" r="r" b="b"/>
                <a:pathLst>
                  <a:path w="103" h="31">
                    <a:moveTo>
                      <a:pt x="88" y="16"/>
                    </a:moveTo>
                    <a:lnTo>
                      <a:pt x="76" y="17"/>
                    </a:lnTo>
                    <a:lnTo>
                      <a:pt x="67" y="21"/>
                    </a:lnTo>
                    <a:lnTo>
                      <a:pt x="60" y="26"/>
                    </a:lnTo>
                    <a:lnTo>
                      <a:pt x="57" y="31"/>
                    </a:lnTo>
                    <a:lnTo>
                      <a:pt x="52" y="28"/>
                    </a:lnTo>
                    <a:lnTo>
                      <a:pt x="52" y="26"/>
                    </a:lnTo>
                    <a:lnTo>
                      <a:pt x="52" y="26"/>
                    </a:lnTo>
                    <a:lnTo>
                      <a:pt x="41" y="24"/>
                    </a:lnTo>
                    <a:lnTo>
                      <a:pt x="38" y="21"/>
                    </a:lnTo>
                    <a:lnTo>
                      <a:pt x="41" y="17"/>
                    </a:lnTo>
                    <a:lnTo>
                      <a:pt x="48" y="16"/>
                    </a:lnTo>
                    <a:lnTo>
                      <a:pt x="41" y="16"/>
                    </a:lnTo>
                    <a:lnTo>
                      <a:pt x="38" y="16"/>
                    </a:lnTo>
                    <a:lnTo>
                      <a:pt x="41" y="12"/>
                    </a:lnTo>
                    <a:lnTo>
                      <a:pt x="46" y="11"/>
                    </a:lnTo>
                    <a:lnTo>
                      <a:pt x="39" y="7"/>
                    </a:lnTo>
                    <a:lnTo>
                      <a:pt x="34" y="5"/>
                    </a:lnTo>
                    <a:lnTo>
                      <a:pt x="22" y="9"/>
                    </a:lnTo>
                    <a:lnTo>
                      <a:pt x="12" y="12"/>
                    </a:lnTo>
                    <a:lnTo>
                      <a:pt x="5" y="11"/>
                    </a:lnTo>
                    <a:lnTo>
                      <a:pt x="0" y="11"/>
                    </a:lnTo>
                    <a:lnTo>
                      <a:pt x="5" y="4"/>
                    </a:lnTo>
                    <a:lnTo>
                      <a:pt x="17" y="2"/>
                    </a:lnTo>
                    <a:lnTo>
                      <a:pt x="29" y="0"/>
                    </a:lnTo>
                    <a:lnTo>
                      <a:pt x="39" y="0"/>
                    </a:lnTo>
                    <a:lnTo>
                      <a:pt x="55" y="4"/>
                    </a:lnTo>
                    <a:lnTo>
                      <a:pt x="69" y="7"/>
                    </a:lnTo>
                    <a:lnTo>
                      <a:pt x="77" y="4"/>
                    </a:lnTo>
                    <a:lnTo>
                      <a:pt x="88" y="0"/>
                    </a:lnTo>
                    <a:lnTo>
                      <a:pt x="96" y="2"/>
                    </a:lnTo>
                    <a:lnTo>
                      <a:pt x="103" y="5"/>
                    </a:lnTo>
                    <a:lnTo>
                      <a:pt x="96" y="12"/>
                    </a:lnTo>
                    <a:lnTo>
                      <a:pt x="89" y="16"/>
                    </a:lnTo>
                    <a:lnTo>
                      <a:pt x="86" y="16"/>
                    </a:lnTo>
                    <a:lnTo>
                      <a:pt x="84" y="16"/>
                    </a:lnTo>
                    <a:lnTo>
                      <a:pt x="84" y="21"/>
                    </a:lnTo>
                    <a:lnTo>
                      <a:pt x="88"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1" name="Freeform 270"/>
              <p:cNvSpPr>
                <a:spLocks/>
              </p:cNvSpPr>
              <p:nvPr/>
            </p:nvSpPr>
            <p:spPr bwMode="auto">
              <a:xfrm>
                <a:off x="5744369" y="1517650"/>
                <a:ext cx="57150" cy="36512"/>
              </a:xfrm>
              <a:custGeom>
                <a:avLst/>
                <a:gdLst/>
                <a:ahLst/>
                <a:cxnLst>
                  <a:cxn ang="0">
                    <a:pos x="8" y="23"/>
                  </a:cxn>
                  <a:cxn ang="0">
                    <a:pos x="1" y="19"/>
                  </a:cxn>
                  <a:cxn ang="0">
                    <a:pos x="0" y="14"/>
                  </a:cxn>
                  <a:cxn ang="0">
                    <a:pos x="1" y="9"/>
                  </a:cxn>
                  <a:cxn ang="0">
                    <a:pos x="10" y="4"/>
                  </a:cxn>
                  <a:cxn ang="0">
                    <a:pos x="18" y="0"/>
                  </a:cxn>
                  <a:cxn ang="0">
                    <a:pos x="29" y="0"/>
                  </a:cxn>
                  <a:cxn ang="0">
                    <a:pos x="36" y="16"/>
                  </a:cxn>
                  <a:cxn ang="0">
                    <a:pos x="29" y="17"/>
                  </a:cxn>
                  <a:cxn ang="0">
                    <a:pos x="22" y="19"/>
                  </a:cxn>
                  <a:cxn ang="0">
                    <a:pos x="12" y="21"/>
                  </a:cxn>
                  <a:cxn ang="0">
                    <a:pos x="8" y="23"/>
                  </a:cxn>
                </a:cxnLst>
                <a:rect l="0" t="0" r="r" b="b"/>
                <a:pathLst>
                  <a:path w="36" h="23">
                    <a:moveTo>
                      <a:pt x="8" y="23"/>
                    </a:moveTo>
                    <a:lnTo>
                      <a:pt x="1" y="19"/>
                    </a:lnTo>
                    <a:lnTo>
                      <a:pt x="0" y="14"/>
                    </a:lnTo>
                    <a:lnTo>
                      <a:pt x="1" y="9"/>
                    </a:lnTo>
                    <a:lnTo>
                      <a:pt x="10" y="4"/>
                    </a:lnTo>
                    <a:lnTo>
                      <a:pt x="18" y="0"/>
                    </a:lnTo>
                    <a:lnTo>
                      <a:pt x="29" y="0"/>
                    </a:lnTo>
                    <a:lnTo>
                      <a:pt x="36" y="16"/>
                    </a:lnTo>
                    <a:lnTo>
                      <a:pt x="29" y="17"/>
                    </a:lnTo>
                    <a:lnTo>
                      <a:pt x="22" y="19"/>
                    </a:lnTo>
                    <a:lnTo>
                      <a:pt x="12" y="21"/>
                    </a:lnTo>
                    <a:lnTo>
                      <a:pt x="8"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2" name="Freeform 271"/>
              <p:cNvSpPr>
                <a:spLocks/>
              </p:cNvSpPr>
              <p:nvPr/>
            </p:nvSpPr>
            <p:spPr bwMode="auto">
              <a:xfrm>
                <a:off x="5669757" y="1539875"/>
                <a:ext cx="60325" cy="34925"/>
              </a:xfrm>
              <a:custGeom>
                <a:avLst/>
                <a:gdLst/>
                <a:ahLst/>
                <a:cxnLst>
                  <a:cxn ang="0">
                    <a:pos x="38" y="5"/>
                  </a:cxn>
                  <a:cxn ang="0">
                    <a:pos x="38" y="9"/>
                  </a:cxn>
                  <a:cxn ang="0">
                    <a:pos x="38" y="12"/>
                  </a:cxn>
                  <a:cxn ang="0">
                    <a:pos x="31" y="16"/>
                  </a:cxn>
                  <a:cxn ang="0">
                    <a:pos x="26" y="16"/>
                  </a:cxn>
                  <a:cxn ang="0">
                    <a:pos x="28" y="21"/>
                  </a:cxn>
                  <a:cxn ang="0">
                    <a:pos x="21" y="21"/>
                  </a:cxn>
                  <a:cxn ang="0">
                    <a:pos x="12" y="22"/>
                  </a:cxn>
                  <a:cxn ang="0">
                    <a:pos x="4" y="21"/>
                  </a:cxn>
                  <a:cxn ang="0">
                    <a:pos x="0" y="21"/>
                  </a:cxn>
                  <a:cxn ang="0">
                    <a:pos x="2" y="10"/>
                  </a:cxn>
                  <a:cxn ang="0">
                    <a:pos x="10" y="7"/>
                  </a:cxn>
                  <a:cxn ang="0">
                    <a:pos x="9" y="2"/>
                  </a:cxn>
                  <a:cxn ang="0">
                    <a:pos x="10" y="0"/>
                  </a:cxn>
                  <a:cxn ang="0">
                    <a:pos x="26" y="0"/>
                  </a:cxn>
                  <a:cxn ang="0">
                    <a:pos x="24" y="3"/>
                  </a:cxn>
                  <a:cxn ang="0">
                    <a:pos x="22" y="5"/>
                  </a:cxn>
                  <a:cxn ang="0">
                    <a:pos x="28" y="5"/>
                  </a:cxn>
                  <a:cxn ang="0">
                    <a:pos x="38" y="5"/>
                  </a:cxn>
                </a:cxnLst>
                <a:rect l="0" t="0" r="r" b="b"/>
                <a:pathLst>
                  <a:path w="38" h="22">
                    <a:moveTo>
                      <a:pt x="38" y="5"/>
                    </a:moveTo>
                    <a:lnTo>
                      <a:pt x="38" y="9"/>
                    </a:lnTo>
                    <a:lnTo>
                      <a:pt x="38" y="12"/>
                    </a:lnTo>
                    <a:lnTo>
                      <a:pt x="31" y="16"/>
                    </a:lnTo>
                    <a:lnTo>
                      <a:pt x="26" y="16"/>
                    </a:lnTo>
                    <a:lnTo>
                      <a:pt x="28" y="21"/>
                    </a:lnTo>
                    <a:lnTo>
                      <a:pt x="21" y="21"/>
                    </a:lnTo>
                    <a:lnTo>
                      <a:pt x="12" y="22"/>
                    </a:lnTo>
                    <a:lnTo>
                      <a:pt x="4" y="21"/>
                    </a:lnTo>
                    <a:lnTo>
                      <a:pt x="0" y="21"/>
                    </a:lnTo>
                    <a:lnTo>
                      <a:pt x="2" y="10"/>
                    </a:lnTo>
                    <a:lnTo>
                      <a:pt x="10" y="7"/>
                    </a:lnTo>
                    <a:lnTo>
                      <a:pt x="9" y="2"/>
                    </a:lnTo>
                    <a:lnTo>
                      <a:pt x="10" y="0"/>
                    </a:lnTo>
                    <a:lnTo>
                      <a:pt x="26" y="0"/>
                    </a:lnTo>
                    <a:lnTo>
                      <a:pt x="24" y="3"/>
                    </a:lnTo>
                    <a:lnTo>
                      <a:pt x="22" y="5"/>
                    </a:lnTo>
                    <a:lnTo>
                      <a:pt x="28" y="5"/>
                    </a:lnTo>
                    <a:lnTo>
                      <a:pt x="3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3" name="Freeform 272"/>
              <p:cNvSpPr>
                <a:spLocks/>
              </p:cNvSpPr>
              <p:nvPr/>
            </p:nvSpPr>
            <p:spPr bwMode="auto">
              <a:xfrm>
                <a:off x="5587207" y="1573213"/>
                <a:ext cx="63500" cy="20637"/>
              </a:xfrm>
              <a:custGeom>
                <a:avLst/>
                <a:gdLst/>
                <a:ahLst/>
                <a:cxnLst>
                  <a:cxn ang="0">
                    <a:pos x="23" y="13"/>
                  </a:cxn>
                  <a:cxn ang="0">
                    <a:pos x="18" y="10"/>
                  </a:cxn>
                  <a:cxn ang="0">
                    <a:pos x="14" y="8"/>
                  </a:cxn>
                  <a:cxn ang="0">
                    <a:pos x="11" y="12"/>
                  </a:cxn>
                  <a:cxn ang="0">
                    <a:pos x="6" y="13"/>
                  </a:cxn>
                  <a:cxn ang="0">
                    <a:pos x="2" y="12"/>
                  </a:cxn>
                  <a:cxn ang="0">
                    <a:pos x="0" y="10"/>
                  </a:cxn>
                  <a:cxn ang="0">
                    <a:pos x="2" y="3"/>
                  </a:cxn>
                  <a:cxn ang="0">
                    <a:pos x="11" y="1"/>
                  </a:cxn>
                  <a:cxn ang="0">
                    <a:pos x="18" y="0"/>
                  </a:cxn>
                  <a:cxn ang="0">
                    <a:pos x="26" y="0"/>
                  </a:cxn>
                  <a:cxn ang="0">
                    <a:pos x="35" y="0"/>
                  </a:cxn>
                  <a:cxn ang="0">
                    <a:pos x="40" y="5"/>
                  </a:cxn>
                  <a:cxn ang="0">
                    <a:pos x="30" y="8"/>
                  </a:cxn>
                  <a:cxn ang="0">
                    <a:pos x="23" y="13"/>
                  </a:cxn>
                </a:cxnLst>
                <a:rect l="0" t="0" r="r" b="b"/>
                <a:pathLst>
                  <a:path w="40" h="13">
                    <a:moveTo>
                      <a:pt x="23" y="13"/>
                    </a:moveTo>
                    <a:lnTo>
                      <a:pt x="18" y="10"/>
                    </a:lnTo>
                    <a:lnTo>
                      <a:pt x="14" y="8"/>
                    </a:lnTo>
                    <a:lnTo>
                      <a:pt x="11" y="12"/>
                    </a:lnTo>
                    <a:lnTo>
                      <a:pt x="6" y="13"/>
                    </a:lnTo>
                    <a:lnTo>
                      <a:pt x="2" y="12"/>
                    </a:lnTo>
                    <a:lnTo>
                      <a:pt x="0" y="10"/>
                    </a:lnTo>
                    <a:lnTo>
                      <a:pt x="2" y="3"/>
                    </a:lnTo>
                    <a:lnTo>
                      <a:pt x="11" y="1"/>
                    </a:lnTo>
                    <a:lnTo>
                      <a:pt x="18" y="0"/>
                    </a:lnTo>
                    <a:lnTo>
                      <a:pt x="26" y="0"/>
                    </a:lnTo>
                    <a:lnTo>
                      <a:pt x="35" y="0"/>
                    </a:lnTo>
                    <a:lnTo>
                      <a:pt x="40" y="5"/>
                    </a:lnTo>
                    <a:lnTo>
                      <a:pt x="30" y="8"/>
                    </a:lnTo>
                    <a:lnTo>
                      <a:pt x="23"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4" name="Freeform 273"/>
              <p:cNvSpPr>
                <a:spLocks/>
              </p:cNvSpPr>
              <p:nvPr/>
            </p:nvSpPr>
            <p:spPr bwMode="auto">
              <a:xfrm>
                <a:off x="5552282" y="1498600"/>
                <a:ext cx="95250" cy="66675"/>
              </a:xfrm>
              <a:custGeom>
                <a:avLst/>
                <a:gdLst/>
                <a:ahLst/>
                <a:cxnLst>
                  <a:cxn ang="0">
                    <a:pos x="45" y="36"/>
                  </a:cxn>
                  <a:cxn ang="0">
                    <a:pos x="35" y="38"/>
                  </a:cxn>
                  <a:cxn ang="0">
                    <a:pos x="26" y="42"/>
                  </a:cxn>
                  <a:cxn ang="0">
                    <a:pos x="19" y="38"/>
                  </a:cxn>
                  <a:cxn ang="0">
                    <a:pos x="12" y="36"/>
                  </a:cxn>
                  <a:cxn ang="0">
                    <a:pos x="4" y="33"/>
                  </a:cxn>
                  <a:cxn ang="0">
                    <a:pos x="0" y="33"/>
                  </a:cxn>
                  <a:cxn ang="0">
                    <a:pos x="4" y="29"/>
                  </a:cxn>
                  <a:cxn ang="0">
                    <a:pos x="7" y="26"/>
                  </a:cxn>
                  <a:cxn ang="0">
                    <a:pos x="28" y="26"/>
                  </a:cxn>
                  <a:cxn ang="0">
                    <a:pos x="22" y="23"/>
                  </a:cxn>
                  <a:cxn ang="0">
                    <a:pos x="19" y="26"/>
                  </a:cxn>
                  <a:cxn ang="0">
                    <a:pos x="19" y="19"/>
                  </a:cxn>
                  <a:cxn ang="0">
                    <a:pos x="26" y="16"/>
                  </a:cxn>
                  <a:cxn ang="0">
                    <a:pos x="35" y="14"/>
                  </a:cxn>
                  <a:cxn ang="0">
                    <a:pos x="40" y="9"/>
                  </a:cxn>
                  <a:cxn ang="0">
                    <a:pos x="50" y="9"/>
                  </a:cxn>
                  <a:cxn ang="0">
                    <a:pos x="52" y="2"/>
                  </a:cxn>
                  <a:cxn ang="0">
                    <a:pos x="59" y="0"/>
                  </a:cxn>
                  <a:cxn ang="0">
                    <a:pos x="59" y="2"/>
                  </a:cxn>
                  <a:cxn ang="0">
                    <a:pos x="60" y="7"/>
                  </a:cxn>
                  <a:cxn ang="0">
                    <a:pos x="57" y="9"/>
                  </a:cxn>
                  <a:cxn ang="0">
                    <a:pos x="55" y="12"/>
                  </a:cxn>
                  <a:cxn ang="0">
                    <a:pos x="41" y="19"/>
                  </a:cxn>
                  <a:cxn ang="0">
                    <a:pos x="33" y="26"/>
                  </a:cxn>
                  <a:cxn ang="0">
                    <a:pos x="40" y="26"/>
                  </a:cxn>
                  <a:cxn ang="0">
                    <a:pos x="47" y="28"/>
                  </a:cxn>
                  <a:cxn ang="0">
                    <a:pos x="53" y="29"/>
                  </a:cxn>
                  <a:cxn ang="0">
                    <a:pos x="60" y="35"/>
                  </a:cxn>
                  <a:cxn ang="0">
                    <a:pos x="53" y="35"/>
                  </a:cxn>
                  <a:cxn ang="0">
                    <a:pos x="45" y="36"/>
                  </a:cxn>
                </a:cxnLst>
                <a:rect l="0" t="0" r="r" b="b"/>
                <a:pathLst>
                  <a:path w="60" h="42">
                    <a:moveTo>
                      <a:pt x="45" y="36"/>
                    </a:moveTo>
                    <a:lnTo>
                      <a:pt x="35" y="38"/>
                    </a:lnTo>
                    <a:lnTo>
                      <a:pt x="26" y="42"/>
                    </a:lnTo>
                    <a:lnTo>
                      <a:pt x="19" y="38"/>
                    </a:lnTo>
                    <a:lnTo>
                      <a:pt x="12" y="36"/>
                    </a:lnTo>
                    <a:lnTo>
                      <a:pt x="4" y="33"/>
                    </a:lnTo>
                    <a:lnTo>
                      <a:pt x="0" y="33"/>
                    </a:lnTo>
                    <a:lnTo>
                      <a:pt x="4" y="29"/>
                    </a:lnTo>
                    <a:lnTo>
                      <a:pt x="7" y="26"/>
                    </a:lnTo>
                    <a:lnTo>
                      <a:pt x="28" y="26"/>
                    </a:lnTo>
                    <a:lnTo>
                      <a:pt x="22" y="23"/>
                    </a:lnTo>
                    <a:lnTo>
                      <a:pt x="19" y="26"/>
                    </a:lnTo>
                    <a:lnTo>
                      <a:pt x="19" y="19"/>
                    </a:lnTo>
                    <a:lnTo>
                      <a:pt x="26" y="16"/>
                    </a:lnTo>
                    <a:lnTo>
                      <a:pt x="35" y="14"/>
                    </a:lnTo>
                    <a:lnTo>
                      <a:pt x="40" y="9"/>
                    </a:lnTo>
                    <a:lnTo>
                      <a:pt x="50" y="9"/>
                    </a:lnTo>
                    <a:lnTo>
                      <a:pt x="52" y="2"/>
                    </a:lnTo>
                    <a:lnTo>
                      <a:pt x="59" y="0"/>
                    </a:lnTo>
                    <a:lnTo>
                      <a:pt x="59" y="2"/>
                    </a:lnTo>
                    <a:lnTo>
                      <a:pt x="60" y="7"/>
                    </a:lnTo>
                    <a:lnTo>
                      <a:pt x="57" y="9"/>
                    </a:lnTo>
                    <a:lnTo>
                      <a:pt x="55" y="12"/>
                    </a:lnTo>
                    <a:lnTo>
                      <a:pt x="41" y="19"/>
                    </a:lnTo>
                    <a:lnTo>
                      <a:pt x="33" y="26"/>
                    </a:lnTo>
                    <a:lnTo>
                      <a:pt x="40" y="26"/>
                    </a:lnTo>
                    <a:lnTo>
                      <a:pt x="47" y="28"/>
                    </a:lnTo>
                    <a:lnTo>
                      <a:pt x="53" y="29"/>
                    </a:lnTo>
                    <a:lnTo>
                      <a:pt x="60" y="35"/>
                    </a:lnTo>
                    <a:lnTo>
                      <a:pt x="53" y="35"/>
                    </a:lnTo>
                    <a:lnTo>
                      <a:pt x="45"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5" name="Freeform 274"/>
              <p:cNvSpPr>
                <a:spLocks/>
              </p:cNvSpPr>
              <p:nvPr/>
            </p:nvSpPr>
            <p:spPr bwMode="auto">
              <a:xfrm>
                <a:off x="4553744" y="1597025"/>
                <a:ext cx="322263" cy="174625"/>
              </a:xfrm>
              <a:custGeom>
                <a:avLst/>
                <a:gdLst/>
                <a:ahLst/>
                <a:cxnLst>
                  <a:cxn ang="0">
                    <a:pos x="168" y="84"/>
                  </a:cxn>
                  <a:cxn ang="0">
                    <a:pos x="158" y="81"/>
                  </a:cxn>
                  <a:cxn ang="0">
                    <a:pos x="151" y="72"/>
                  </a:cxn>
                  <a:cxn ang="0">
                    <a:pos x="148" y="59"/>
                  </a:cxn>
                  <a:cxn ang="0">
                    <a:pos x="148" y="52"/>
                  </a:cxn>
                  <a:cxn ang="0">
                    <a:pos x="142" y="47"/>
                  </a:cxn>
                  <a:cxn ang="0">
                    <a:pos x="127" y="47"/>
                  </a:cxn>
                  <a:cxn ang="0">
                    <a:pos x="115" y="67"/>
                  </a:cxn>
                  <a:cxn ang="0">
                    <a:pos x="108" y="81"/>
                  </a:cxn>
                  <a:cxn ang="0">
                    <a:pos x="98" y="88"/>
                  </a:cxn>
                  <a:cxn ang="0">
                    <a:pos x="92" y="103"/>
                  </a:cxn>
                  <a:cxn ang="0">
                    <a:pos x="75" y="103"/>
                  </a:cxn>
                  <a:cxn ang="0">
                    <a:pos x="53" y="90"/>
                  </a:cxn>
                  <a:cxn ang="0">
                    <a:pos x="62" y="78"/>
                  </a:cxn>
                  <a:cxn ang="0">
                    <a:pos x="75" y="76"/>
                  </a:cxn>
                  <a:cxn ang="0">
                    <a:pos x="80" y="72"/>
                  </a:cxn>
                  <a:cxn ang="0">
                    <a:pos x="65" y="72"/>
                  </a:cxn>
                  <a:cxn ang="0">
                    <a:pos x="55" y="72"/>
                  </a:cxn>
                  <a:cxn ang="0">
                    <a:pos x="44" y="72"/>
                  </a:cxn>
                  <a:cxn ang="0">
                    <a:pos x="48" y="62"/>
                  </a:cxn>
                  <a:cxn ang="0">
                    <a:pos x="62" y="57"/>
                  </a:cxn>
                  <a:cxn ang="0">
                    <a:pos x="77" y="52"/>
                  </a:cxn>
                  <a:cxn ang="0">
                    <a:pos x="74" y="48"/>
                  </a:cxn>
                  <a:cxn ang="0">
                    <a:pos x="65" y="45"/>
                  </a:cxn>
                  <a:cxn ang="0">
                    <a:pos x="60" y="43"/>
                  </a:cxn>
                  <a:cxn ang="0">
                    <a:pos x="51" y="50"/>
                  </a:cxn>
                  <a:cxn ang="0">
                    <a:pos x="32" y="55"/>
                  </a:cxn>
                  <a:cxn ang="0">
                    <a:pos x="29" y="48"/>
                  </a:cxn>
                  <a:cxn ang="0">
                    <a:pos x="19" y="40"/>
                  </a:cxn>
                  <a:cxn ang="0">
                    <a:pos x="13" y="29"/>
                  </a:cxn>
                  <a:cxn ang="0">
                    <a:pos x="0" y="17"/>
                  </a:cxn>
                  <a:cxn ang="0">
                    <a:pos x="17" y="5"/>
                  </a:cxn>
                  <a:cxn ang="0">
                    <a:pos x="43" y="7"/>
                  </a:cxn>
                  <a:cxn ang="0">
                    <a:pos x="37" y="14"/>
                  </a:cxn>
                  <a:cxn ang="0">
                    <a:pos x="51" y="23"/>
                  </a:cxn>
                  <a:cxn ang="0">
                    <a:pos x="48" y="16"/>
                  </a:cxn>
                  <a:cxn ang="0">
                    <a:pos x="56" y="7"/>
                  </a:cxn>
                  <a:cxn ang="0">
                    <a:pos x="67" y="16"/>
                  </a:cxn>
                  <a:cxn ang="0">
                    <a:pos x="79" y="29"/>
                  </a:cxn>
                  <a:cxn ang="0">
                    <a:pos x="72" y="7"/>
                  </a:cxn>
                  <a:cxn ang="0">
                    <a:pos x="82" y="0"/>
                  </a:cxn>
                  <a:cxn ang="0">
                    <a:pos x="94" y="2"/>
                  </a:cxn>
                  <a:cxn ang="0">
                    <a:pos x="103" y="9"/>
                  </a:cxn>
                  <a:cxn ang="0">
                    <a:pos x="101" y="19"/>
                  </a:cxn>
                  <a:cxn ang="0">
                    <a:pos x="110" y="12"/>
                  </a:cxn>
                  <a:cxn ang="0">
                    <a:pos x="117" y="24"/>
                  </a:cxn>
                  <a:cxn ang="0">
                    <a:pos x="122" y="26"/>
                  </a:cxn>
                  <a:cxn ang="0">
                    <a:pos x="142" y="33"/>
                  </a:cxn>
                  <a:cxn ang="0">
                    <a:pos x="163" y="47"/>
                  </a:cxn>
                  <a:cxn ang="0">
                    <a:pos x="158" y="48"/>
                  </a:cxn>
                  <a:cxn ang="0">
                    <a:pos x="166" y="48"/>
                  </a:cxn>
                  <a:cxn ang="0">
                    <a:pos x="166" y="55"/>
                  </a:cxn>
                  <a:cxn ang="0">
                    <a:pos x="182" y="55"/>
                  </a:cxn>
                  <a:cxn ang="0">
                    <a:pos x="189" y="67"/>
                  </a:cxn>
                  <a:cxn ang="0">
                    <a:pos x="203" y="72"/>
                  </a:cxn>
                  <a:cxn ang="0">
                    <a:pos x="185" y="81"/>
                  </a:cxn>
                  <a:cxn ang="0">
                    <a:pos x="170" y="91"/>
                  </a:cxn>
                </a:cxnLst>
                <a:rect l="0" t="0" r="r" b="b"/>
                <a:pathLst>
                  <a:path w="203" h="110">
                    <a:moveTo>
                      <a:pt x="170" y="91"/>
                    </a:moveTo>
                    <a:lnTo>
                      <a:pt x="168" y="84"/>
                    </a:lnTo>
                    <a:lnTo>
                      <a:pt x="170" y="81"/>
                    </a:lnTo>
                    <a:lnTo>
                      <a:pt x="158" y="81"/>
                    </a:lnTo>
                    <a:lnTo>
                      <a:pt x="148" y="81"/>
                    </a:lnTo>
                    <a:lnTo>
                      <a:pt x="151" y="72"/>
                    </a:lnTo>
                    <a:lnTo>
                      <a:pt x="154" y="65"/>
                    </a:lnTo>
                    <a:lnTo>
                      <a:pt x="148" y="59"/>
                    </a:lnTo>
                    <a:lnTo>
                      <a:pt x="144" y="52"/>
                    </a:lnTo>
                    <a:lnTo>
                      <a:pt x="148" y="52"/>
                    </a:lnTo>
                    <a:lnTo>
                      <a:pt x="151" y="52"/>
                    </a:lnTo>
                    <a:lnTo>
                      <a:pt x="142" y="47"/>
                    </a:lnTo>
                    <a:lnTo>
                      <a:pt x="139" y="43"/>
                    </a:lnTo>
                    <a:lnTo>
                      <a:pt x="127" y="47"/>
                    </a:lnTo>
                    <a:lnTo>
                      <a:pt x="120" y="55"/>
                    </a:lnTo>
                    <a:lnTo>
                      <a:pt x="115" y="67"/>
                    </a:lnTo>
                    <a:lnTo>
                      <a:pt x="111" y="79"/>
                    </a:lnTo>
                    <a:lnTo>
                      <a:pt x="108" y="81"/>
                    </a:lnTo>
                    <a:lnTo>
                      <a:pt x="105" y="83"/>
                    </a:lnTo>
                    <a:lnTo>
                      <a:pt x="98" y="88"/>
                    </a:lnTo>
                    <a:lnTo>
                      <a:pt x="96" y="96"/>
                    </a:lnTo>
                    <a:lnTo>
                      <a:pt x="92" y="103"/>
                    </a:lnTo>
                    <a:lnTo>
                      <a:pt x="89" y="110"/>
                    </a:lnTo>
                    <a:lnTo>
                      <a:pt x="75" y="103"/>
                    </a:lnTo>
                    <a:lnTo>
                      <a:pt x="63" y="98"/>
                    </a:lnTo>
                    <a:lnTo>
                      <a:pt x="53" y="90"/>
                    </a:lnTo>
                    <a:lnTo>
                      <a:pt x="49" y="79"/>
                    </a:lnTo>
                    <a:lnTo>
                      <a:pt x="62" y="78"/>
                    </a:lnTo>
                    <a:lnTo>
                      <a:pt x="68" y="79"/>
                    </a:lnTo>
                    <a:lnTo>
                      <a:pt x="75" y="76"/>
                    </a:lnTo>
                    <a:lnTo>
                      <a:pt x="86" y="76"/>
                    </a:lnTo>
                    <a:lnTo>
                      <a:pt x="80" y="72"/>
                    </a:lnTo>
                    <a:lnTo>
                      <a:pt x="74" y="72"/>
                    </a:lnTo>
                    <a:lnTo>
                      <a:pt x="65" y="72"/>
                    </a:lnTo>
                    <a:lnTo>
                      <a:pt x="62" y="72"/>
                    </a:lnTo>
                    <a:lnTo>
                      <a:pt x="55" y="72"/>
                    </a:lnTo>
                    <a:lnTo>
                      <a:pt x="49" y="74"/>
                    </a:lnTo>
                    <a:lnTo>
                      <a:pt x="44" y="72"/>
                    </a:lnTo>
                    <a:lnTo>
                      <a:pt x="43" y="65"/>
                    </a:lnTo>
                    <a:lnTo>
                      <a:pt x="48" y="62"/>
                    </a:lnTo>
                    <a:lnTo>
                      <a:pt x="58" y="60"/>
                    </a:lnTo>
                    <a:lnTo>
                      <a:pt x="62" y="57"/>
                    </a:lnTo>
                    <a:lnTo>
                      <a:pt x="70" y="55"/>
                    </a:lnTo>
                    <a:lnTo>
                      <a:pt x="77" y="52"/>
                    </a:lnTo>
                    <a:lnTo>
                      <a:pt x="84" y="48"/>
                    </a:lnTo>
                    <a:lnTo>
                      <a:pt x="74" y="48"/>
                    </a:lnTo>
                    <a:lnTo>
                      <a:pt x="70" y="48"/>
                    </a:lnTo>
                    <a:lnTo>
                      <a:pt x="65" y="45"/>
                    </a:lnTo>
                    <a:lnTo>
                      <a:pt x="62" y="43"/>
                    </a:lnTo>
                    <a:lnTo>
                      <a:pt x="60" y="43"/>
                    </a:lnTo>
                    <a:lnTo>
                      <a:pt x="58" y="43"/>
                    </a:lnTo>
                    <a:lnTo>
                      <a:pt x="51" y="50"/>
                    </a:lnTo>
                    <a:lnTo>
                      <a:pt x="43" y="57"/>
                    </a:lnTo>
                    <a:lnTo>
                      <a:pt x="32" y="55"/>
                    </a:lnTo>
                    <a:lnTo>
                      <a:pt x="27" y="50"/>
                    </a:lnTo>
                    <a:lnTo>
                      <a:pt x="29" y="48"/>
                    </a:lnTo>
                    <a:lnTo>
                      <a:pt x="31" y="48"/>
                    </a:lnTo>
                    <a:lnTo>
                      <a:pt x="19" y="40"/>
                    </a:lnTo>
                    <a:lnTo>
                      <a:pt x="17" y="31"/>
                    </a:lnTo>
                    <a:lnTo>
                      <a:pt x="13" y="29"/>
                    </a:lnTo>
                    <a:lnTo>
                      <a:pt x="7" y="24"/>
                    </a:lnTo>
                    <a:lnTo>
                      <a:pt x="0" y="17"/>
                    </a:lnTo>
                    <a:lnTo>
                      <a:pt x="7" y="10"/>
                    </a:lnTo>
                    <a:lnTo>
                      <a:pt x="17" y="5"/>
                    </a:lnTo>
                    <a:lnTo>
                      <a:pt x="27" y="5"/>
                    </a:lnTo>
                    <a:lnTo>
                      <a:pt x="43" y="7"/>
                    </a:lnTo>
                    <a:lnTo>
                      <a:pt x="39" y="10"/>
                    </a:lnTo>
                    <a:lnTo>
                      <a:pt x="37" y="14"/>
                    </a:lnTo>
                    <a:lnTo>
                      <a:pt x="44" y="17"/>
                    </a:lnTo>
                    <a:lnTo>
                      <a:pt x="51" y="23"/>
                    </a:lnTo>
                    <a:lnTo>
                      <a:pt x="48" y="19"/>
                    </a:lnTo>
                    <a:lnTo>
                      <a:pt x="48" y="16"/>
                    </a:lnTo>
                    <a:lnTo>
                      <a:pt x="49" y="9"/>
                    </a:lnTo>
                    <a:lnTo>
                      <a:pt x="56" y="7"/>
                    </a:lnTo>
                    <a:lnTo>
                      <a:pt x="63" y="9"/>
                    </a:lnTo>
                    <a:lnTo>
                      <a:pt x="67" y="16"/>
                    </a:lnTo>
                    <a:lnTo>
                      <a:pt x="70" y="23"/>
                    </a:lnTo>
                    <a:lnTo>
                      <a:pt x="79" y="29"/>
                    </a:lnTo>
                    <a:lnTo>
                      <a:pt x="74" y="17"/>
                    </a:lnTo>
                    <a:lnTo>
                      <a:pt x="72" y="7"/>
                    </a:lnTo>
                    <a:lnTo>
                      <a:pt x="74" y="0"/>
                    </a:lnTo>
                    <a:lnTo>
                      <a:pt x="82" y="0"/>
                    </a:lnTo>
                    <a:lnTo>
                      <a:pt x="87" y="0"/>
                    </a:lnTo>
                    <a:lnTo>
                      <a:pt x="94" y="2"/>
                    </a:lnTo>
                    <a:lnTo>
                      <a:pt x="99" y="4"/>
                    </a:lnTo>
                    <a:lnTo>
                      <a:pt x="103" y="9"/>
                    </a:lnTo>
                    <a:lnTo>
                      <a:pt x="101" y="14"/>
                    </a:lnTo>
                    <a:lnTo>
                      <a:pt x="101" y="19"/>
                    </a:lnTo>
                    <a:lnTo>
                      <a:pt x="105" y="14"/>
                    </a:lnTo>
                    <a:lnTo>
                      <a:pt x="110" y="12"/>
                    </a:lnTo>
                    <a:lnTo>
                      <a:pt x="117" y="16"/>
                    </a:lnTo>
                    <a:lnTo>
                      <a:pt x="117" y="24"/>
                    </a:lnTo>
                    <a:lnTo>
                      <a:pt x="118" y="24"/>
                    </a:lnTo>
                    <a:lnTo>
                      <a:pt x="122" y="26"/>
                    </a:lnTo>
                    <a:lnTo>
                      <a:pt x="129" y="28"/>
                    </a:lnTo>
                    <a:lnTo>
                      <a:pt x="142" y="33"/>
                    </a:lnTo>
                    <a:lnTo>
                      <a:pt x="154" y="40"/>
                    </a:lnTo>
                    <a:lnTo>
                      <a:pt x="163" y="47"/>
                    </a:lnTo>
                    <a:lnTo>
                      <a:pt x="160" y="47"/>
                    </a:lnTo>
                    <a:lnTo>
                      <a:pt x="158" y="48"/>
                    </a:lnTo>
                    <a:lnTo>
                      <a:pt x="161" y="48"/>
                    </a:lnTo>
                    <a:lnTo>
                      <a:pt x="166" y="48"/>
                    </a:lnTo>
                    <a:lnTo>
                      <a:pt x="166" y="52"/>
                    </a:lnTo>
                    <a:lnTo>
                      <a:pt x="166" y="55"/>
                    </a:lnTo>
                    <a:lnTo>
                      <a:pt x="173" y="55"/>
                    </a:lnTo>
                    <a:lnTo>
                      <a:pt x="182" y="55"/>
                    </a:lnTo>
                    <a:lnTo>
                      <a:pt x="184" y="62"/>
                    </a:lnTo>
                    <a:lnTo>
                      <a:pt x="189" y="67"/>
                    </a:lnTo>
                    <a:lnTo>
                      <a:pt x="196" y="69"/>
                    </a:lnTo>
                    <a:lnTo>
                      <a:pt x="203" y="72"/>
                    </a:lnTo>
                    <a:lnTo>
                      <a:pt x="192" y="76"/>
                    </a:lnTo>
                    <a:lnTo>
                      <a:pt x="185" y="81"/>
                    </a:lnTo>
                    <a:lnTo>
                      <a:pt x="177" y="86"/>
                    </a:lnTo>
                    <a:lnTo>
                      <a:pt x="170"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6" name="Freeform 275"/>
              <p:cNvSpPr>
                <a:spLocks/>
              </p:cNvSpPr>
              <p:nvPr/>
            </p:nvSpPr>
            <p:spPr bwMode="auto">
              <a:xfrm>
                <a:off x="4722019" y="1570038"/>
                <a:ext cx="207963" cy="73025"/>
              </a:xfrm>
              <a:custGeom>
                <a:avLst/>
                <a:gdLst/>
                <a:ahLst/>
                <a:cxnLst>
                  <a:cxn ang="0">
                    <a:pos x="131" y="21"/>
                  </a:cxn>
                  <a:cxn ang="0">
                    <a:pos x="119" y="27"/>
                  </a:cxn>
                  <a:cxn ang="0">
                    <a:pos x="105" y="36"/>
                  </a:cxn>
                  <a:cxn ang="0">
                    <a:pos x="90" y="43"/>
                  </a:cxn>
                  <a:cxn ang="0">
                    <a:pos x="79" y="46"/>
                  </a:cxn>
                  <a:cxn ang="0">
                    <a:pos x="67" y="43"/>
                  </a:cxn>
                  <a:cxn ang="0">
                    <a:pos x="62" y="38"/>
                  </a:cxn>
                  <a:cxn ang="0">
                    <a:pos x="33" y="38"/>
                  </a:cxn>
                  <a:cxn ang="0">
                    <a:pos x="26" y="34"/>
                  </a:cxn>
                  <a:cxn ang="0">
                    <a:pos x="26" y="29"/>
                  </a:cxn>
                  <a:cxn ang="0">
                    <a:pos x="31" y="29"/>
                  </a:cxn>
                  <a:cxn ang="0">
                    <a:pos x="36" y="29"/>
                  </a:cxn>
                  <a:cxn ang="0">
                    <a:pos x="42" y="27"/>
                  </a:cxn>
                  <a:cxn ang="0">
                    <a:pos x="48" y="26"/>
                  </a:cxn>
                  <a:cxn ang="0">
                    <a:pos x="43" y="24"/>
                  </a:cxn>
                  <a:cxn ang="0">
                    <a:pos x="36" y="24"/>
                  </a:cxn>
                  <a:cxn ang="0">
                    <a:pos x="28" y="24"/>
                  </a:cxn>
                  <a:cxn ang="0">
                    <a:pos x="24" y="24"/>
                  </a:cxn>
                  <a:cxn ang="0">
                    <a:pos x="11" y="26"/>
                  </a:cxn>
                  <a:cxn ang="0">
                    <a:pos x="7" y="19"/>
                  </a:cxn>
                  <a:cxn ang="0">
                    <a:pos x="2" y="14"/>
                  </a:cxn>
                  <a:cxn ang="0">
                    <a:pos x="0" y="7"/>
                  </a:cxn>
                  <a:cxn ang="0">
                    <a:pos x="7" y="7"/>
                  </a:cxn>
                  <a:cxn ang="0">
                    <a:pos x="12" y="9"/>
                  </a:cxn>
                  <a:cxn ang="0">
                    <a:pos x="17" y="9"/>
                  </a:cxn>
                  <a:cxn ang="0">
                    <a:pos x="17" y="7"/>
                  </a:cxn>
                  <a:cxn ang="0">
                    <a:pos x="26" y="7"/>
                  </a:cxn>
                  <a:cxn ang="0">
                    <a:pos x="23" y="2"/>
                  </a:cxn>
                  <a:cxn ang="0">
                    <a:pos x="38" y="2"/>
                  </a:cxn>
                  <a:cxn ang="0">
                    <a:pos x="40" y="3"/>
                  </a:cxn>
                  <a:cxn ang="0">
                    <a:pos x="47" y="7"/>
                  </a:cxn>
                  <a:cxn ang="0">
                    <a:pos x="52" y="9"/>
                  </a:cxn>
                  <a:cxn ang="0">
                    <a:pos x="57" y="12"/>
                  </a:cxn>
                  <a:cxn ang="0">
                    <a:pos x="64" y="5"/>
                  </a:cxn>
                  <a:cxn ang="0">
                    <a:pos x="71" y="0"/>
                  </a:cxn>
                  <a:cxn ang="0">
                    <a:pos x="76" y="0"/>
                  </a:cxn>
                  <a:cxn ang="0">
                    <a:pos x="76" y="7"/>
                  </a:cxn>
                  <a:cxn ang="0">
                    <a:pos x="76" y="12"/>
                  </a:cxn>
                  <a:cxn ang="0">
                    <a:pos x="83" y="9"/>
                  </a:cxn>
                  <a:cxn ang="0">
                    <a:pos x="91" y="7"/>
                  </a:cxn>
                  <a:cxn ang="0">
                    <a:pos x="102" y="7"/>
                  </a:cxn>
                  <a:cxn ang="0">
                    <a:pos x="109" y="7"/>
                  </a:cxn>
                  <a:cxn ang="0">
                    <a:pos x="122" y="10"/>
                  </a:cxn>
                  <a:cxn ang="0">
                    <a:pos x="131" y="21"/>
                  </a:cxn>
                </a:cxnLst>
                <a:rect l="0" t="0" r="r" b="b"/>
                <a:pathLst>
                  <a:path w="131" h="46">
                    <a:moveTo>
                      <a:pt x="131" y="21"/>
                    </a:moveTo>
                    <a:lnTo>
                      <a:pt x="119" y="27"/>
                    </a:lnTo>
                    <a:lnTo>
                      <a:pt x="105" y="36"/>
                    </a:lnTo>
                    <a:lnTo>
                      <a:pt x="90" y="43"/>
                    </a:lnTo>
                    <a:lnTo>
                      <a:pt x="79" y="46"/>
                    </a:lnTo>
                    <a:lnTo>
                      <a:pt x="67" y="43"/>
                    </a:lnTo>
                    <a:lnTo>
                      <a:pt x="62" y="38"/>
                    </a:lnTo>
                    <a:lnTo>
                      <a:pt x="33" y="38"/>
                    </a:lnTo>
                    <a:lnTo>
                      <a:pt x="26" y="34"/>
                    </a:lnTo>
                    <a:lnTo>
                      <a:pt x="26" y="29"/>
                    </a:lnTo>
                    <a:lnTo>
                      <a:pt x="31" y="29"/>
                    </a:lnTo>
                    <a:lnTo>
                      <a:pt x="36" y="29"/>
                    </a:lnTo>
                    <a:lnTo>
                      <a:pt x="42" y="27"/>
                    </a:lnTo>
                    <a:lnTo>
                      <a:pt x="48" y="26"/>
                    </a:lnTo>
                    <a:lnTo>
                      <a:pt x="43" y="24"/>
                    </a:lnTo>
                    <a:lnTo>
                      <a:pt x="36" y="24"/>
                    </a:lnTo>
                    <a:lnTo>
                      <a:pt x="28" y="24"/>
                    </a:lnTo>
                    <a:lnTo>
                      <a:pt x="24" y="24"/>
                    </a:lnTo>
                    <a:lnTo>
                      <a:pt x="11" y="26"/>
                    </a:lnTo>
                    <a:lnTo>
                      <a:pt x="7" y="19"/>
                    </a:lnTo>
                    <a:lnTo>
                      <a:pt x="2" y="14"/>
                    </a:lnTo>
                    <a:lnTo>
                      <a:pt x="0" y="7"/>
                    </a:lnTo>
                    <a:lnTo>
                      <a:pt x="7" y="7"/>
                    </a:lnTo>
                    <a:lnTo>
                      <a:pt x="12" y="9"/>
                    </a:lnTo>
                    <a:lnTo>
                      <a:pt x="17" y="9"/>
                    </a:lnTo>
                    <a:lnTo>
                      <a:pt x="17" y="7"/>
                    </a:lnTo>
                    <a:lnTo>
                      <a:pt x="26" y="7"/>
                    </a:lnTo>
                    <a:lnTo>
                      <a:pt x="23" y="2"/>
                    </a:lnTo>
                    <a:lnTo>
                      <a:pt x="38" y="2"/>
                    </a:lnTo>
                    <a:lnTo>
                      <a:pt x="40" y="3"/>
                    </a:lnTo>
                    <a:lnTo>
                      <a:pt x="47" y="7"/>
                    </a:lnTo>
                    <a:lnTo>
                      <a:pt x="52" y="9"/>
                    </a:lnTo>
                    <a:lnTo>
                      <a:pt x="57" y="12"/>
                    </a:lnTo>
                    <a:lnTo>
                      <a:pt x="64" y="5"/>
                    </a:lnTo>
                    <a:lnTo>
                      <a:pt x="71" y="0"/>
                    </a:lnTo>
                    <a:lnTo>
                      <a:pt x="76" y="0"/>
                    </a:lnTo>
                    <a:lnTo>
                      <a:pt x="76" y="7"/>
                    </a:lnTo>
                    <a:lnTo>
                      <a:pt x="76" y="12"/>
                    </a:lnTo>
                    <a:lnTo>
                      <a:pt x="83" y="9"/>
                    </a:lnTo>
                    <a:lnTo>
                      <a:pt x="91" y="7"/>
                    </a:lnTo>
                    <a:lnTo>
                      <a:pt x="102" y="7"/>
                    </a:lnTo>
                    <a:lnTo>
                      <a:pt x="109" y="7"/>
                    </a:lnTo>
                    <a:lnTo>
                      <a:pt x="122" y="10"/>
                    </a:lnTo>
                    <a:lnTo>
                      <a:pt x="131"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7" name="Freeform 276"/>
              <p:cNvSpPr>
                <a:spLocks/>
              </p:cNvSpPr>
              <p:nvPr/>
            </p:nvSpPr>
            <p:spPr bwMode="auto">
              <a:xfrm>
                <a:off x="4547394" y="1654175"/>
                <a:ext cx="33338" cy="33337"/>
              </a:xfrm>
              <a:custGeom>
                <a:avLst/>
                <a:gdLst/>
                <a:ahLst/>
                <a:cxnLst>
                  <a:cxn ang="0">
                    <a:pos x="4" y="0"/>
                  </a:cxn>
                  <a:cxn ang="0">
                    <a:pos x="12" y="9"/>
                  </a:cxn>
                  <a:cxn ang="0">
                    <a:pos x="21" y="21"/>
                  </a:cxn>
                  <a:cxn ang="0">
                    <a:pos x="12" y="16"/>
                  </a:cxn>
                  <a:cxn ang="0">
                    <a:pos x="5" y="11"/>
                  </a:cxn>
                  <a:cxn ang="0">
                    <a:pos x="0" y="4"/>
                  </a:cxn>
                  <a:cxn ang="0">
                    <a:pos x="5" y="0"/>
                  </a:cxn>
                  <a:cxn ang="0">
                    <a:pos x="5" y="2"/>
                  </a:cxn>
                  <a:cxn ang="0">
                    <a:pos x="4" y="0"/>
                  </a:cxn>
                </a:cxnLst>
                <a:rect l="0" t="0" r="r" b="b"/>
                <a:pathLst>
                  <a:path w="21" h="21">
                    <a:moveTo>
                      <a:pt x="4" y="0"/>
                    </a:moveTo>
                    <a:lnTo>
                      <a:pt x="12" y="9"/>
                    </a:lnTo>
                    <a:lnTo>
                      <a:pt x="21" y="21"/>
                    </a:lnTo>
                    <a:lnTo>
                      <a:pt x="12" y="16"/>
                    </a:lnTo>
                    <a:lnTo>
                      <a:pt x="5" y="11"/>
                    </a:lnTo>
                    <a:lnTo>
                      <a:pt x="0" y="4"/>
                    </a:lnTo>
                    <a:lnTo>
                      <a:pt x="5" y="0"/>
                    </a:lnTo>
                    <a:lnTo>
                      <a:pt x="5"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8" name="Freeform 277"/>
              <p:cNvSpPr>
                <a:spLocks/>
              </p:cNvSpPr>
              <p:nvPr/>
            </p:nvSpPr>
            <p:spPr bwMode="auto">
              <a:xfrm>
                <a:off x="4087019" y="2598738"/>
                <a:ext cx="100013" cy="120650"/>
              </a:xfrm>
              <a:custGeom>
                <a:avLst/>
                <a:gdLst/>
                <a:ahLst/>
                <a:cxnLst>
                  <a:cxn ang="0">
                    <a:pos x="10" y="23"/>
                  </a:cxn>
                  <a:cxn ang="0">
                    <a:pos x="17" y="19"/>
                  </a:cxn>
                  <a:cxn ang="0">
                    <a:pos x="25" y="16"/>
                  </a:cxn>
                  <a:cxn ang="0">
                    <a:pos x="22" y="12"/>
                  </a:cxn>
                  <a:cxn ang="0">
                    <a:pos x="22" y="9"/>
                  </a:cxn>
                  <a:cxn ang="0">
                    <a:pos x="27" y="2"/>
                  </a:cxn>
                  <a:cxn ang="0">
                    <a:pos x="37" y="0"/>
                  </a:cxn>
                  <a:cxn ang="0">
                    <a:pos x="41" y="0"/>
                  </a:cxn>
                  <a:cxn ang="0">
                    <a:pos x="46" y="0"/>
                  </a:cxn>
                  <a:cxn ang="0">
                    <a:pos x="58" y="7"/>
                  </a:cxn>
                  <a:cxn ang="0">
                    <a:pos x="63" y="21"/>
                  </a:cxn>
                  <a:cxn ang="0">
                    <a:pos x="58" y="24"/>
                  </a:cxn>
                  <a:cxn ang="0">
                    <a:pos x="53" y="28"/>
                  </a:cxn>
                  <a:cxn ang="0">
                    <a:pos x="53" y="31"/>
                  </a:cxn>
                  <a:cxn ang="0">
                    <a:pos x="53" y="36"/>
                  </a:cxn>
                  <a:cxn ang="0">
                    <a:pos x="53" y="41"/>
                  </a:cxn>
                  <a:cxn ang="0">
                    <a:pos x="53" y="45"/>
                  </a:cxn>
                  <a:cxn ang="0">
                    <a:pos x="53" y="52"/>
                  </a:cxn>
                  <a:cxn ang="0">
                    <a:pos x="53" y="60"/>
                  </a:cxn>
                  <a:cxn ang="0">
                    <a:pos x="46" y="60"/>
                  </a:cxn>
                  <a:cxn ang="0">
                    <a:pos x="39" y="62"/>
                  </a:cxn>
                  <a:cxn ang="0">
                    <a:pos x="29" y="66"/>
                  </a:cxn>
                  <a:cxn ang="0">
                    <a:pos x="22" y="74"/>
                  </a:cxn>
                  <a:cxn ang="0">
                    <a:pos x="17" y="74"/>
                  </a:cxn>
                  <a:cxn ang="0">
                    <a:pos x="12" y="76"/>
                  </a:cxn>
                  <a:cxn ang="0">
                    <a:pos x="3" y="72"/>
                  </a:cxn>
                  <a:cxn ang="0">
                    <a:pos x="0" y="64"/>
                  </a:cxn>
                  <a:cxn ang="0">
                    <a:pos x="5" y="50"/>
                  </a:cxn>
                  <a:cxn ang="0">
                    <a:pos x="13" y="38"/>
                  </a:cxn>
                  <a:cxn ang="0">
                    <a:pos x="6" y="33"/>
                  </a:cxn>
                  <a:cxn ang="0">
                    <a:pos x="5" y="28"/>
                  </a:cxn>
                  <a:cxn ang="0">
                    <a:pos x="6" y="23"/>
                  </a:cxn>
                  <a:cxn ang="0">
                    <a:pos x="10" y="23"/>
                  </a:cxn>
                </a:cxnLst>
                <a:rect l="0" t="0" r="r" b="b"/>
                <a:pathLst>
                  <a:path w="63" h="76">
                    <a:moveTo>
                      <a:pt x="10" y="23"/>
                    </a:moveTo>
                    <a:lnTo>
                      <a:pt x="17" y="19"/>
                    </a:lnTo>
                    <a:lnTo>
                      <a:pt x="25" y="16"/>
                    </a:lnTo>
                    <a:lnTo>
                      <a:pt x="22" y="12"/>
                    </a:lnTo>
                    <a:lnTo>
                      <a:pt x="22" y="9"/>
                    </a:lnTo>
                    <a:lnTo>
                      <a:pt x="27" y="2"/>
                    </a:lnTo>
                    <a:lnTo>
                      <a:pt x="37" y="0"/>
                    </a:lnTo>
                    <a:lnTo>
                      <a:pt x="41" y="0"/>
                    </a:lnTo>
                    <a:lnTo>
                      <a:pt x="46" y="0"/>
                    </a:lnTo>
                    <a:lnTo>
                      <a:pt x="58" y="7"/>
                    </a:lnTo>
                    <a:lnTo>
                      <a:pt x="63" y="21"/>
                    </a:lnTo>
                    <a:lnTo>
                      <a:pt x="58" y="24"/>
                    </a:lnTo>
                    <a:lnTo>
                      <a:pt x="53" y="28"/>
                    </a:lnTo>
                    <a:lnTo>
                      <a:pt x="53" y="31"/>
                    </a:lnTo>
                    <a:lnTo>
                      <a:pt x="53" y="36"/>
                    </a:lnTo>
                    <a:lnTo>
                      <a:pt x="53" y="41"/>
                    </a:lnTo>
                    <a:lnTo>
                      <a:pt x="53" y="45"/>
                    </a:lnTo>
                    <a:lnTo>
                      <a:pt x="53" y="52"/>
                    </a:lnTo>
                    <a:lnTo>
                      <a:pt x="53" y="60"/>
                    </a:lnTo>
                    <a:lnTo>
                      <a:pt x="46" y="60"/>
                    </a:lnTo>
                    <a:lnTo>
                      <a:pt x="39" y="62"/>
                    </a:lnTo>
                    <a:lnTo>
                      <a:pt x="29" y="66"/>
                    </a:lnTo>
                    <a:lnTo>
                      <a:pt x="22" y="74"/>
                    </a:lnTo>
                    <a:lnTo>
                      <a:pt x="17" y="74"/>
                    </a:lnTo>
                    <a:lnTo>
                      <a:pt x="12" y="76"/>
                    </a:lnTo>
                    <a:lnTo>
                      <a:pt x="3" y="72"/>
                    </a:lnTo>
                    <a:lnTo>
                      <a:pt x="0" y="64"/>
                    </a:lnTo>
                    <a:lnTo>
                      <a:pt x="5" y="50"/>
                    </a:lnTo>
                    <a:lnTo>
                      <a:pt x="13" y="38"/>
                    </a:lnTo>
                    <a:lnTo>
                      <a:pt x="6" y="33"/>
                    </a:lnTo>
                    <a:lnTo>
                      <a:pt x="5" y="28"/>
                    </a:lnTo>
                    <a:lnTo>
                      <a:pt x="6" y="23"/>
                    </a:lnTo>
                    <a:lnTo>
                      <a:pt x="10"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9" name="Freeform 278"/>
              <p:cNvSpPr>
                <a:spLocks/>
              </p:cNvSpPr>
              <p:nvPr/>
            </p:nvSpPr>
            <p:spPr bwMode="auto">
              <a:xfrm>
                <a:off x="4155282" y="2495550"/>
                <a:ext cx="19050" cy="19050"/>
              </a:xfrm>
              <a:custGeom>
                <a:avLst/>
                <a:gdLst/>
                <a:ahLst/>
                <a:cxnLst>
                  <a:cxn ang="0">
                    <a:pos x="1" y="12"/>
                  </a:cxn>
                  <a:cxn ang="0">
                    <a:pos x="0" y="8"/>
                  </a:cxn>
                  <a:cxn ang="0">
                    <a:pos x="0" y="7"/>
                  </a:cxn>
                  <a:cxn ang="0">
                    <a:pos x="3" y="2"/>
                  </a:cxn>
                  <a:cxn ang="0">
                    <a:pos x="12" y="0"/>
                  </a:cxn>
                  <a:cxn ang="0">
                    <a:pos x="8" y="8"/>
                  </a:cxn>
                  <a:cxn ang="0">
                    <a:pos x="1" y="12"/>
                  </a:cxn>
                </a:cxnLst>
                <a:rect l="0" t="0" r="r" b="b"/>
                <a:pathLst>
                  <a:path w="12" h="12">
                    <a:moveTo>
                      <a:pt x="1" y="12"/>
                    </a:moveTo>
                    <a:lnTo>
                      <a:pt x="0" y="8"/>
                    </a:lnTo>
                    <a:lnTo>
                      <a:pt x="0" y="7"/>
                    </a:lnTo>
                    <a:lnTo>
                      <a:pt x="3" y="2"/>
                    </a:lnTo>
                    <a:lnTo>
                      <a:pt x="12" y="0"/>
                    </a:lnTo>
                    <a:lnTo>
                      <a:pt x="8" y="8"/>
                    </a:lnTo>
                    <a:lnTo>
                      <a:pt x="1"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0" name="Freeform 279"/>
              <p:cNvSpPr>
                <a:spLocks/>
              </p:cNvSpPr>
              <p:nvPr/>
            </p:nvSpPr>
            <p:spPr bwMode="auto">
              <a:xfrm>
                <a:off x="4164807" y="2487613"/>
                <a:ext cx="192088" cy="274637"/>
              </a:xfrm>
              <a:custGeom>
                <a:avLst/>
                <a:gdLst/>
                <a:ahLst/>
                <a:cxnLst>
                  <a:cxn ang="0">
                    <a:pos x="105" y="115"/>
                  </a:cxn>
                  <a:cxn ang="0">
                    <a:pos x="117" y="118"/>
                  </a:cxn>
                  <a:cxn ang="0">
                    <a:pos x="114" y="136"/>
                  </a:cxn>
                  <a:cxn ang="0">
                    <a:pos x="109" y="146"/>
                  </a:cxn>
                  <a:cxn ang="0">
                    <a:pos x="114" y="151"/>
                  </a:cxn>
                  <a:cxn ang="0">
                    <a:pos x="100" y="160"/>
                  </a:cxn>
                  <a:cxn ang="0">
                    <a:pos x="80" y="160"/>
                  </a:cxn>
                  <a:cxn ang="0">
                    <a:pos x="66" y="161"/>
                  </a:cxn>
                  <a:cxn ang="0">
                    <a:pos x="54" y="163"/>
                  </a:cxn>
                  <a:cxn ang="0">
                    <a:pos x="45" y="161"/>
                  </a:cxn>
                  <a:cxn ang="0">
                    <a:pos x="37" y="170"/>
                  </a:cxn>
                  <a:cxn ang="0">
                    <a:pos x="24" y="170"/>
                  </a:cxn>
                  <a:cxn ang="0">
                    <a:pos x="19" y="173"/>
                  </a:cxn>
                  <a:cxn ang="0">
                    <a:pos x="21" y="165"/>
                  </a:cxn>
                  <a:cxn ang="0">
                    <a:pos x="31" y="153"/>
                  </a:cxn>
                  <a:cxn ang="0">
                    <a:pos x="47" y="149"/>
                  </a:cxn>
                  <a:cxn ang="0">
                    <a:pos x="52" y="142"/>
                  </a:cxn>
                  <a:cxn ang="0">
                    <a:pos x="47" y="144"/>
                  </a:cxn>
                  <a:cxn ang="0">
                    <a:pos x="35" y="142"/>
                  </a:cxn>
                  <a:cxn ang="0">
                    <a:pos x="26" y="141"/>
                  </a:cxn>
                  <a:cxn ang="0">
                    <a:pos x="21" y="141"/>
                  </a:cxn>
                  <a:cxn ang="0">
                    <a:pos x="28" y="132"/>
                  </a:cxn>
                  <a:cxn ang="0">
                    <a:pos x="37" y="125"/>
                  </a:cxn>
                  <a:cxn ang="0">
                    <a:pos x="31" y="110"/>
                  </a:cxn>
                  <a:cxn ang="0">
                    <a:pos x="55" y="101"/>
                  </a:cxn>
                  <a:cxn ang="0">
                    <a:pos x="45" y="91"/>
                  </a:cxn>
                  <a:cxn ang="0">
                    <a:pos x="43" y="82"/>
                  </a:cxn>
                  <a:cxn ang="0">
                    <a:pos x="43" y="79"/>
                  </a:cxn>
                  <a:cxn ang="0">
                    <a:pos x="35" y="81"/>
                  </a:cxn>
                  <a:cxn ang="0">
                    <a:pos x="23" y="81"/>
                  </a:cxn>
                  <a:cxn ang="0">
                    <a:pos x="23" y="72"/>
                  </a:cxn>
                  <a:cxn ang="0">
                    <a:pos x="24" y="62"/>
                  </a:cxn>
                  <a:cxn ang="0">
                    <a:pos x="21" y="56"/>
                  </a:cxn>
                  <a:cxn ang="0">
                    <a:pos x="16" y="60"/>
                  </a:cxn>
                  <a:cxn ang="0">
                    <a:pos x="14" y="63"/>
                  </a:cxn>
                  <a:cxn ang="0">
                    <a:pos x="14" y="55"/>
                  </a:cxn>
                  <a:cxn ang="0">
                    <a:pos x="16" y="51"/>
                  </a:cxn>
                  <a:cxn ang="0">
                    <a:pos x="11" y="44"/>
                  </a:cxn>
                  <a:cxn ang="0">
                    <a:pos x="11" y="38"/>
                  </a:cxn>
                  <a:cxn ang="0">
                    <a:pos x="12" y="32"/>
                  </a:cxn>
                  <a:cxn ang="0">
                    <a:pos x="0" y="22"/>
                  </a:cxn>
                  <a:cxn ang="0">
                    <a:pos x="9" y="26"/>
                  </a:cxn>
                  <a:cxn ang="0">
                    <a:pos x="12" y="26"/>
                  </a:cxn>
                  <a:cxn ang="0">
                    <a:pos x="11" y="22"/>
                  </a:cxn>
                  <a:cxn ang="0">
                    <a:pos x="12" y="15"/>
                  </a:cxn>
                  <a:cxn ang="0">
                    <a:pos x="19" y="8"/>
                  </a:cxn>
                  <a:cxn ang="0">
                    <a:pos x="23" y="1"/>
                  </a:cxn>
                  <a:cxn ang="0">
                    <a:pos x="37" y="0"/>
                  </a:cxn>
                  <a:cxn ang="0">
                    <a:pos x="45" y="1"/>
                  </a:cxn>
                  <a:cxn ang="0">
                    <a:pos x="42" y="10"/>
                  </a:cxn>
                  <a:cxn ang="0">
                    <a:pos x="37" y="19"/>
                  </a:cxn>
                  <a:cxn ang="0">
                    <a:pos x="67" y="20"/>
                  </a:cxn>
                  <a:cxn ang="0">
                    <a:pos x="61" y="38"/>
                  </a:cxn>
                  <a:cxn ang="0">
                    <a:pos x="54" y="51"/>
                  </a:cxn>
                  <a:cxn ang="0">
                    <a:pos x="50" y="56"/>
                  </a:cxn>
                  <a:cxn ang="0">
                    <a:pos x="61" y="56"/>
                  </a:cxn>
                  <a:cxn ang="0">
                    <a:pos x="76" y="79"/>
                  </a:cxn>
                  <a:cxn ang="0">
                    <a:pos x="88" y="87"/>
                  </a:cxn>
                  <a:cxn ang="0">
                    <a:pos x="97" y="101"/>
                  </a:cxn>
                  <a:cxn ang="0">
                    <a:pos x="102" y="113"/>
                  </a:cxn>
                  <a:cxn ang="0">
                    <a:pos x="100" y="117"/>
                  </a:cxn>
                  <a:cxn ang="0">
                    <a:pos x="102" y="117"/>
                  </a:cxn>
                  <a:cxn ang="0">
                    <a:pos x="104" y="118"/>
                  </a:cxn>
                </a:cxnLst>
                <a:rect l="0" t="0" r="r" b="b"/>
                <a:pathLst>
                  <a:path w="121" h="173">
                    <a:moveTo>
                      <a:pt x="104" y="118"/>
                    </a:moveTo>
                    <a:lnTo>
                      <a:pt x="105" y="115"/>
                    </a:lnTo>
                    <a:lnTo>
                      <a:pt x="110" y="117"/>
                    </a:lnTo>
                    <a:lnTo>
                      <a:pt x="117" y="118"/>
                    </a:lnTo>
                    <a:lnTo>
                      <a:pt x="121" y="125"/>
                    </a:lnTo>
                    <a:lnTo>
                      <a:pt x="114" y="136"/>
                    </a:lnTo>
                    <a:lnTo>
                      <a:pt x="104" y="146"/>
                    </a:lnTo>
                    <a:lnTo>
                      <a:pt x="109" y="146"/>
                    </a:lnTo>
                    <a:lnTo>
                      <a:pt x="114" y="148"/>
                    </a:lnTo>
                    <a:lnTo>
                      <a:pt x="114" y="151"/>
                    </a:lnTo>
                    <a:lnTo>
                      <a:pt x="107" y="156"/>
                    </a:lnTo>
                    <a:lnTo>
                      <a:pt x="100" y="160"/>
                    </a:lnTo>
                    <a:lnTo>
                      <a:pt x="88" y="160"/>
                    </a:lnTo>
                    <a:lnTo>
                      <a:pt x="80" y="160"/>
                    </a:lnTo>
                    <a:lnTo>
                      <a:pt x="73" y="160"/>
                    </a:lnTo>
                    <a:lnTo>
                      <a:pt x="66" y="161"/>
                    </a:lnTo>
                    <a:lnTo>
                      <a:pt x="59" y="161"/>
                    </a:lnTo>
                    <a:lnTo>
                      <a:pt x="54" y="163"/>
                    </a:lnTo>
                    <a:lnTo>
                      <a:pt x="49" y="161"/>
                    </a:lnTo>
                    <a:lnTo>
                      <a:pt x="45" y="161"/>
                    </a:lnTo>
                    <a:lnTo>
                      <a:pt x="38" y="163"/>
                    </a:lnTo>
                    <a:lnTo>
                      <a:pt x="37" y="170"/>
                    </a:lnTo>
                    <a:lnTo>
                      <a:pt x="30" y="170"/>
                    </a:lnTo>
                    <a:lnTo>
                      <a:pt x="24" y="170"/>
                    </a:lnTo>
                    <a:lnTo>
                      <a:pt x="23" y="173"/>
                    </a:lnTo>
                    <a:lnTo>
                      <a:pt x="19" y="173"/>
                    </a:lnTo>
                    <a:lnTo>
                      <a:pt x="19" y="170"/>
                    </a:lnTo>
                    <a:lnTo>
                      <a:pt x="21" y="165"/>
                    </a:lnTo>
                    <a:lnTo>
                      <a:pt x="26" y="160"/>
                    </a:lnTo>
                    <a:lnTo>
                      <a:pt x="31" y="153"/>
                    </a:lnTo>
                    <a:lnTo>
                      <a:pt x="37" y="151"/>
                    </a:lnTo>
                    <a:lnTo>
                      <a:pt x="47" y="149"/>
                    </a:lnTo>
                    <a:lnTo>
                      <a:pt x="54" y="144"/>
                    </a:lnTo>
                    <a:lnTo>
                      <a:pt x="52" y="142"/>
                    </a:lnTo>
                    <a:lnTo>
                      <a:pt x="52" y="141"/>
                    </a:lnTo>
                    <a:lnTo>
                      <a:pt x="47" y="144"/>
                    </a:lnTo>
                    <a:lnTo>
                      <a:pt x="43" y="146"/>
                    </a:lnTo>
                    <a:lnTo>
                      <a:pt x="35" y="142"/>
                    </a:lnTo>
                    <a:lnTo>
                      <a:pt x="30" y="141"/>
                    </a:lnTo>
                    <a:lnTo>
                      <a:pt x="26" y="141"/>
                    </a:lnTo>
                    <a:lnTo>
                      <a:pt x="24" y="142"/>
                    </a:lnTo>
                    <a:lnTo>
                      <a:pt x="21" y="141"/>
                    </a:lnTo>
                    <a:lnTo>
                      <a:pt x="23" y="134"/>
                    </a:lnTo>
                    <a:lnTo>
                      <a:pt x="28" y="132"/>
                    </a:lnTo>
                    <a:lnTo>
                      <a:pt x="33" y="129"/>
                    </a:lnTo>
                    <a:lnTo>
                      <a:pt x="37" y="125"/>
                    </a:lnTo>
                    <a:lnTo>
                      <a:pt x="33" y="117"/>
                    </a:lnTo>
                    <a:lnTo>
                      <a:pt x="31" y="110"/>
                    </a:lnTo>
                    <a:lnTo>
                      <a:pt x="45" y="106"/>
                    </a:lnTo>
                    <a:lnTo>
                      <a:pt x="55" y="101"/>
                    </a:lnTo>
                    <a:lnTo>
                      <a:pt x="55" y="93"/>
                    </a:lnTo>
                    <a:lnTo>
                      <a:pt x="45" y="91"/>
                    </a:lnTo>
                    <a:lnTo>
                      <a:pt x="42" y="87"/>
                    </a:lnTo>
                    <a:lnTo>
                      <a:pt x="43" y="82"/>
                    </a:lnTo>
                    <a:lnTo>
                      <a:pt x="47" y="81"/>
                    </a:lnTo>
                    <a:lnTo>
                      <a:pt x="43" y="79"/>
                    </a:lnTo>
                    <a:lnTo>
                      <a:pt x="42" y="79"/>
                    </a:lnTo>
                    <a:lnTo>
                      <a:pt x="35" y="81"/>
                    </a:lnTo>
                    <a:lnTo>
                      <a:pt x="30" y="82"/>
                    </a:lnTo>
                    <a:lnTo>
                      <a:pt x="23" y="81"/>
                    </a:lnTo>
                    <a:lnTo>
                      <a:pt x="21" y="79"/>
                    </a:lnTo>
                    <a:lnTo>
                      <a:pt x="23" y="72"/>
                    </a:lnTo>
                    <a:lnTo>
                      <a:pt x="26" y="67"/>
                    </a:lnTo>
                    <a:lnTo>
                      <a:pt x="24" y="62"/>
                    </a:lnTo>
                    <a:lnTo>
                      <a:pt x="26" y="58"/>
                    </a:lnTo>
                    <a:lnTo>
                      <a:pt x="21" y="56"/>
                    </a:lnTo>
                    <a:lnTo>
                      <a:pt x="18" y="55"/>
                    </a:lnTo>
                    <a:lnTo>
                      <a:pt x="16" y="60"/>
                    </a:lnTo>
                    <a:lnTo>
                      <a:pt x="18" y="63"/>
                    </a:lnTo>
                    <a:lnTo>
                      <a:pt x="14" y="63"/>
                    </a:lnTo>
                    <a:lnTo>
                      <a:pt x="14" y="56"/>
                    </a:lnTo>
                    <a:lnTo>
                      <a:pt x="14" y="55"/>
                    </a:lnTo>
                    <a:lnTo>
                      <a:pt x="14" y="51"/>
                    </a:lnTo>
                    <a:lnTo>
                      <a:pt x="16" y="51"/>
                    </a:lnTo>
                    <a:lnTo>
                      <a:pt x="16" y="46"/>
                    </a:lnTo>
                    <a:lnTo>
                      <a:pt x="11" y="44"/>
                    </a:lnTo>
                    <a:lnTo>
                      <a:pt x="9" y="43"/>
                    </a:lnTo>
                    <a:lnTo>
                      <a:pt x="11" y="38"/>
                    </a:lnTo>
                    <a:lnTo>
                      <a:pt x="12" y="36"/>
                    </a:lnTo>
                    <a:lnTo>
                      <a:pt x="12" y="32"/>
                    </a:lnTo>
                    <a:lnTo>
                      <a:pt x="2" y="29"/>
                    </a:lnTo>
                    <a:lnTo>
                      <a:pt x="0" y="22"/>
                    </a:lnTo>
                    <a:lnTo>
                      <a:pt x="9" y="22"/>
                    </a:lnTo>
                    <a:lnTo>
                      <a:pt x="9" y="26"/>
                    </a:lnTo>
                    <a:lnTo>
                      <a:pt x="12" y="27"/>
                    </a:lnTo>
                    <a:lnTo>
                      <a:pt x="12" y="26"/>
                    </a:lnTo>
                    <a:lnTo>
                      <a:pt x="14" y="24"/>
                    </a:lnTo>
                    <a:lnTo>
                      <a:pt x="11" y="22"/>
                    </a:lnTo>
                    <a:lnTo>
                      <a:pt x="11" y="20"/>
                    </a:lnTo>
                    <a:lnTo>
                      <a:pt x="12" y="15"/>
                    </a:lnTo>
                    <a:lnTo>
                      <a:pt x="19" y="15"/>
                    </a:lnTo>
                    <a:lnTo>
                      <a:pt x="19" y="8"/>
                    </a:lnTo>
                    <a:lnTo>
                      <a:pt x="21" y="7"/>
                    </a:lnTo>
                    <a:lnTo>
                      <a:pt x="23" y="1"/>
                    </a:lnTo>
                    <a:lnTo>
                      <a:pt x="30" y="0"/>
                    </a:lnTo>
                    <a:lnTo>
                      <a:pt x="37" y="0"/>
                    </a:lnTo>
                    <a:lnTo>
                      <a:pt x="43" y="0"/>
                    </a:lnTo>
                    <a:lnTo>
                      <a:pt x="45" y="1"/>
                    </a:lnTo>
                    <a:lnTo>
                      <a:pt x="49" y="3"/>
                    </a:lnTo>
                    <a:lnTo>
                      <a:pt x="42" y="10"/>
                    </a:lnTo>
                    <a:lnTo>
                      <a:pt x="37" y="17"/>
                    </a:lnTo>
                    <a:lnTo>
                      <a:pt x="37" y="19"/>
                    </a:lnTo>
                    <a:lnTo>
                      <a:pt x="38" y="20"/>
                    </a:lnTo>
                    <a:lnTo>
                      <a:pt x="67" y="20"/>
                    </a:lnTo>
                    <a:lnTo>
                      <a:pt x="64" y="29"/>
                    </a:lnTo>
                    <a:lnTo>
                      <a:pt x="61" y="38"/>
                    </a:lnTo>
                    <a:lnTo>
                      <a:pt x="55" y="43"/>
                    </a:lnTo>
                    <a:lnTo>
                      <a:pt x="54" y="51"/>
                    </a:lnTo>
                    <a:lnTo>
                      <a:pt x="50" y="53"/>
                    </a:lnTo>
                    <a:lnTo>
                      <a:pt x="50" y="56"/>
                    </a:lnTo>
                    <a:lnTo>
                      <a:pt x="55" y="56"/>
                    </a:lnTo>
                    <a:lnTo>
                      <a:pt x="61" y="56"/>
                    </a:lnTo>
                    <a:lnTo>
                      <a:pt x="69" y="65"/>
                    </a:lnTo>
                    <a:lnTo>
                      <a:pt x="76" y="79"/>
                    </a:lnTo>
                    <a:lnTo>
                      <a:pt x="81" y="82"/>
                    </a:lnTo>
                    <a:lnTo>
                      <a:pt x="88" y="87"/>
                    </a:lnTo>
                    <a:lnTo>
                      <a:pt x="93" y="93"/>
                    </a:lnTo>
                    <a:lnTo>
                      <a:pt x="97" y="101"/>
                    </a:lnTo>
                    <a:lnTo>
                      <a:pt x="98" y="106"/>
                    </a:lnTo>
                    <a:lnTo>
                      <a:pt x="102" y="113"/>
                    </a:lnTo>
                    <a:lnTo>
                      <a:pt x="100" y="113"/>
                    </a:lnTo>
                    <a:lnTo>
                      <a:pt x="100" y="117"/>
                    </a:lnTo>
                    <a:lnTo>
                      <a:pt x="100" y="120"/>
                    </a:lnTo>
                    <a:lnTo>
                      <a:pt x="102" y="117"/>
                    </a:lnTo>
                    <a:lnTo>
                      <a:pt x="105" y="117"/>
                    </a:lnTo>
                    <a:lnTo>
                      <a:pt x="104"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1" name="Freeform 280"/>
              <p:cNvSpPr>
                <a:spLocks/>
              </p:cNvSpPr>
              <p:nvPr/>
            </p:nvSpPr>
            <p:spPr bwMode="auto">
              <a:xfrm>
                <a:off x="4206082" y="2628900"/>
                <a:ext cx="7938" cy="11112"/>
              </a:xfrm>
              <a:custGeom>
                <a:avLst/>
                <a:gdLst/>
                <a:ahLst/>
                <a:cxnLst>
                  <a:cxn ang="0">
                    <a:pos x="4" y="0"/>
                  </a:cxn>
                  <a:cxn ang="0">
                    <a:pos x="0" y="2"/>
                  </a:cxn>
                  <a:cxn ang="0">
                    <a:pos x="0" y="7"/>
                  </a:cxn>
                  <a:cxn ang="0">
                    <a:pos x="2" y="7"/>
                  </a:cxn>
                  <a:cxn ang="0">
                    <a:pos x="5" y="7"/>
                  </a:cxn>
                  <a:cxn ang="0">
                    <a:pos x="5" y="2"/>
                  </a:cxn>
                  <a:cxn ang="0">
                    <a:pos x="5" y="0"/>
                  </a:cxn>
                  <a:cxn ang="0">
                    <a:pos x="4" y="0"/>
                  </a:cxn>
                </a:cxnLst>
                <a:rect l="0" t="0" r="r" b="b"/>
                <a:pathLst>
                  <a:path w="5" h="7">
                    <a:moveTo>
                      <a:pt x="4" y="0"/>
                    </a:moveTo>
                    <a:lnTo>
                      <a:pt x="0" y="2"/>
                    </a:lnTo>
                    <a:lnTo>
                      <a:pt x="0" y="7"/>
                    </a:lnTo>
                    <a:lnTo>
                      <a:pt x="2" y="7"/>
                    </a:lnTo>
                    <a:lnTo>
                      <a:pt x="5" y="7"/>
                    </a:lnTo>
                    <a:lnTo>
                      <a:pt x="5" y="2"/>
                    </a:lnTo>
                    <a:lnTo>
                      <a:pt x="5"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2" name="Freeform 282"/>
              <p:cNvSpPr>
                <a:spLocks/>
              </p:cNvSpPr>
              <p:nvPr/>
            </p:nvSpPr>
            <p:spPr bwMode="auto">
              <a:xfrm>
                <a:off x="2374107" y="3482975"/>
                <a:ext cx="238125" cy="82550"/>
              </a:xfrm>
              <a:custGeom>
                <a:avLst/>
                <a:gdLst/>
                <a:ahLst/>
                <a:cxnLst>
                  <a:cxn ang="0">
                    <a:pos x="150" y="47"/>
                  </a:cxn>
                  <a:cxn ang="0">
                    <a:pos x="141" y="50"/>
                  </a:cxn>
                  <a:cxn ang="0">
                    <a:pos x="131" y="52"/>
                  </a:cxn>
                  <a:cxn ang="0">
                    <a:pos x="115" y="50"/>
                  </a:cxn>
                  <a:cxn ang="0">
                    <a:pos x="102" y="48"/>
                  </a:cxn>
                  <a:cxn ang="0">
                    <a:pos x="102" y="47"/>
                  </a:cxn>
                  <a:cxn ang="0">
                    <a:pos x="105" y="45"/>
                  </a:cxn>
                  <a:cxn ang="0">
                    <a:pos x="107" y="42"/>
                  </a:cxn>
                  <a:cxn ang="0">
                    <a:pos x="95" y="36"/>
                  </a:cxn>
                  <a:cxn ang="0">
                    <a:pos x="90" y="31"/>
                  </a:cxn>
                  <a:cxn ang="0">
                    <a:pos x="86" y="28"/>
                  </a:cxn>
                  <a:cxn ang="0">
                    <a:pos x="84" y="26"/>
                  </a:cxn>
                  <a:cxn ang="0">
                    <a:pos x="79" y="24"/>
                  </a:cxn>
                  <a:cxn ang="0">
                    <a:pos x="74" y="26"/>
                  </a:cxn>
                  <a:cxn ang="0">
                    <a:pos x="64" y="21"/>
                  </a:cxn>
                  <a:cxn ang="0">
                    <a:pos x="55" y="18"/>
                  </a:cxn>
                  <a:cxn ang="0">
                    <a:pos x="41" y="18"/>
                  </a:cxn>
                  <a:cxn ang="0">
                    <a:pos x="38" y="14"/>
                  </a:cxn>
                  <a:cxn ang="0">
                    <a:pos x="40" y="12"/>
                  </a:cxn>
                  <a:cxn ang="0">
                    <a:pos x="36" y="11"/>
                  </a:cxn>
                  <a:cxn ang="0">
                    <a:pos x="33" y="11"/>
                  </a:cxn>
                  <a:cxn ang="0">
                    <a:pos x="16" y="14"/>
                  </a:cxn>
                  <a:cxn ang="0">
                    <a:pos x="5" y="23"/>
                  </a:cxn>
                  <a:cxn ang="0">
                    <a:pos x="0" y="23"/>
                  </a:cxn>
                  <a:cxn ang="0">
                    <a:pos x="5" y="12"/>
                  </a:cxn>
                  <a:cxn ang="0">
                    <a:pos x="16" y="5"/>
                  </a:cxn>
                  <a:cxn ang="0">
                    <a:pos x="26" y="0"/>
                  </a:cxn>
                  <a:cxn ang="0">
                    <a:pos x="41" y="0"/>
                  </a:cxn>
                  <a:cxn ang="0">
                    <a:pos x="55" y="2"/>
                  </a:cxn>
                  <a:cxn ang="0">
                    <a:pos x="67" y="7"/>
                  </a:cxn>
                  <a:cxn ang="0">
                    <a:pos x="79" y="11"/>
                  </a:cxn>
                  <a:cxn ang="0">
                    <a:pos x="91" y="14"/>
                  </a:cxn>
                  <a:cxn ang="0">
                    <a:pos x="95" y="16"/>
                  </a:cxn>
                  <a:cxn ang="0">
                    <a:pos x="100" y="19"/>
                  </a:cxn>
                  <a:cxn ang="0">
                    <a:pos x="112" y="28"/>
                  </a:cxn>
                  <a:cxn ang="0">
                    <a:pos x="131" y="33"/>
                  </a:cxn>
                  <a:cxn ang="0">
                    <a:pos x="131" y="36"/>
                  </a:cxn>
                  <a:cxn ang="0">
                    <a:pos x="139" y="36"/>
                  </a:cxn>
                  <a:cxn ang="0">
                    <a:pos x="145" y="42"/>
                  </a:cxn>
                  <a:cxn ang="0">
                    <a:pos x="150" y="47"/>
                  </a:cxn>
                </a:cxnLst>
                <a:rect l="0" t="0" r="r" b="b"/>
                <a:pathLst>
                  <a:path w="150" h="52">
                    <a:moveTo>
                      <a:pt x="150" y="47"/>
                    </a:moveTo>
                    <a:lnTo>
                      <a:pt x="141" y="50"/>
                    </a:lnTo>
                    <a:lnTo>
                      <a:pt x="131" y="52"/>
                    </a:lnTo>
                    <a:lnTo>
                      <a:pt x="115" y="50"/>
                    </a:lnTo>
                    <a:lnTo>
                      <a:pt x="102" y="48"/>
                    </a:lnTo>
                    <a:lnTo>
                      <a:pt x="102" y="47"/>
                    </a:lnTo>
                    <a:lnTo>
                      <a:pt x="105" y="45"/>
                    </a:lnTo>
                    <a:lnTo>
                      <a:pt x="107" y="42"/>
                    </a:lnTo>
                    <a:lnTo>
                      <a:pt x="95" y="36"/>
                    </a:lnTo>
                    <a:lnTo>
                      <a:pt x="90" y="31"/>
                    </a:lnTo>
                    <a:lnTo>
                      <a:pt x="86" y="28"/>
                    </a:lnTo>
                    <a:lnTo>
                      <a:pt x="84" y="26"/>
                    </a:lnTo>
                    <a:lnTo>
                      <a:pt x="79" y="24"/>
                    </a:lnTo>
                    <a:lnTo>
                      <a:pt x="74" y="26"/>
                    </a:lnTo>
                    <a:lnTo>
                      <a:pt x="64" y="21"/>
                    </a:lnTo>
                    <a:lnTo>
                      <a:pt x="55" y="18"/>
                    </a:lnTo>
                    <a:lnTo>
                      <a:pt x="41" y="18"/>
                    </a:lnTo>
                    <a:lnTo>
                      <a:pt x="38" y="14"/>
                    </a:lnTo>
                    <a:lnTo>
                      <a:pt x="40" y="12"/>
                    </a:lnTo>
                    <a:lnTo>
                      <a:pt x="36" y="11"/>
                    </a:lnTo>
                    <a:lnTo>
                      <a:pt x="33" y="11"/>
                    </a:lnTo>
                    <a:lnTo>
                      <a:pt x="16" y="14"/>
                    </a:lnTo>
                    <a:lnTo>
                      <a:pt x="5" y="23"/>
                    </a:lnTo>
                    <a:lnTo>
                      <a:pt x="0" y="23"/>
                    </a:lnTo>
                    <a:lnTo>
                      <a:pt x="5" y="12"/>
                    </a:lnTo>
                    <a:lnTo>
                      <a:pt x="16" y="5"/>
                    </a:lnTo>
                    <a:lnTo>
                      <a:pt x="26" y="0"/>
                    </a:lnTo>
                    <a:lnTo>
                      <a:pt x="41" y="0"/>
                    </a:lnTo>
                    <a:lnTo>
                      <a:pt x="55" y="2"/>
                    </a:lnTo>
                    <a:lnTo>
                      <a:pt x="67" y="7"/>
                    </a:lnTo>
                    <a:lnTo>
                      <a:pt x="79" y="11"/>
                    </a:lnTo>
                    <a:lnTo>
                      <a:pt x="91" y="14"/>
                    </a:lnTo>
                    <a:lnTo>
                      <a:pt x="95" y="16"/>
                    </a:lnTo>
                    <a:lnTo>
                      <a:pt x="100" y="19"/>
                    </a:lnTo>
                    <a:lnTo>
                      <a:pt x="112" y="28"/>
                    </a:lnTo>
                    <a:lnTo>
                      <a:pt x="131" y="33"/>
                    </a:lnTo>
                    <a:lnTo>
                      <a:pt x="131" y="36"/>
                    </a:lnTo>
                    <a:lnTo>
                      <a:pt x="139" y="36"/>
                    </a:lnTo>
                    <a:lnTo>
                      <a:pt x="145" y="42"/>
                    </a:lnTo>
                    <a:lnTo>
                      <a:pt x="150" y="4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3" name="Freeform 283"/>
              <p:cNvSpPr>
                <a:spLocks/>
              </p:cNvSpPr>
              <p:nvPr/>
            </p:nvSpPr>
            <p:spPr bwMode="auto">
              <a:xfrm>
                <a:off x="2407444" y="3516313"/>
                <a:ext cx="11113" cy="11112"/>
              </a:xfrm>
              <a:custGeom>
                <a:avLst/>
                <a:gdLst/>
                <a:ahLst/>
                <a:cxnLst>
                  <a:cxn ang="0">
                    <a:pos x="7" y="0"/>
                  </a:cxn>
                  <a:cxn ang="0">
                    <a:pos x="7" y="3"/>
                  </a:cxn>
                  <a:cxn ang="0">
                    <a:pos x="7" y="7"/>
                  </a:cxn>
                  <a:cxn ang="0">
                    <a:pos x="3" y="7"/>
                  </a:cxn>
                  <a:cxn ang="0">
                    <a:pos x="0" y="7"/>
                  </a:cxn>
                  <a:cxn ang="0">
                    <a:pos x="1" y="3"/>
                  </a:cxn>
                  <a:cxn ang="0">
                    <a:pos x="5" y="3"/>
                  </a:cxn>
                  <a:cxn ang="0">
                    <a:pos x="5" y="0"/>
                  </a:cxn>
                  <a:cxn ang="0">
                    <a:pos x="5" y="0"/>
                  </a:cxn>
                  <a:cxn ang="0">
                    <a:pos x="7" y="0"/>
                  </a:cxn>
                </a:cxnLst>
                <a:rect l="0" t="0" r="r" b="b"/>
                <a:pathLst>
                  <a:path w="7" h="7">
                    <a:moveTo>
                      <a:pt x="7" y="0"/>
                    </a:moveTo>
                    <a:lnTo>
                      <a:pt x="7" y="3"/>
                    </a:lnTo>
                    <a:lnTo>
                      <a:pt x="7" y="7"/>
                    </a:lnTo>
                    <a:lnTo>
                      <a:pt x="3" y="7"/>
                    </a:lnTo>
                    <a:lnTo>
                      <a:pt x="0" y="7"/>
                    </a:lnTo>
                    <a:lnTo>
                      <a:pt x="1" y="3"/>
                    </a:lnTo>
                    <a:lnTo>
                      <a:pt x="5" y="3"/>
                    </a:lnTo>
                    <a:lnTo>
                      <a:pt x="5" y="0"/>
                    </a:lnTo>
                    <a:lnTo>
                      <a:pt x="5" y="0"/>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4" name="Freeform 284"/>
              <p:cNvSpPr>
                <a:spLocks/>
              </p:cNvSpPr>
              <p:nvPr/>
            </p:nvSpPr>
            <p:spPr bwMode="auto">
              <a:xfrm>
                <a:off x="2526507" y="3595688"/>
                <a:ext cx="39688" cy="19050"/>
              </a:xfrm>
              <a:custGeom>
                <a:avLst/>
                <a:gdLst/>
                <a:ahLst/>
                <a:cxnLst>
                  <a:cxn ang="0">
                    <a:pos x="21" y="3"/>
                  </a:cxn>
                  <a:cxn ang="0">
                    <a:pos x="23" y="5"/>
                  </a:cxn>
                  <a:cxn ang="0">
                    <a:pos x="25" y="8"/>
                  </a:cxn>
                  <a:cxn ang="0">
                    <a:pos x="16" y="10"/>
                  </a:cxn>
                  <a:cxn ang="0">
                    <a:pos x="9" y="12"/>
                  </a:cxn>
                  <a:cxn ang="0">
                    <a:pos x="2" y="8"/>
                  </a:cxn>
                  <a:cxn ang="0">
                    <a:pos x="0" y="3"/>
                  </a:cxn>
                  <a:cxn ang="0">
                    <a:pos x="2" y="0"/>
                  </a:cxn>
                  <a:cxn ang="0">
                    <a:pos x="6" y="0"/>
                  </a:cxn>
                  <a:cxn ang="0">
                    <a:pos x="14" y="2"/>
                  </a:cxn>
                  <a:cxn ang="0">
                    <a:pos x="21" y="5"/>
                  </a:cxn>
                  <a:cxn ang="0">
                    <a:pos x="21" y="3"/>
                  </a:cxn>
                </a:cxnLst>
                <a:rect l="0" t="0" r="r" b="b"/>
                <a:pathLst>
                  <a:path w="25" h="12">
                    <a:moveTo>
                      <a:pt x="21" y="3"/>
                    </a:moveTo>
                    <a:lnTo>
                      <a:pt x="23" y="5"/>
                    </a:lnTo>
                    <a:lnTo>
                      <a:pt x="25" y="8"/>
                    </a:lnTo>
                    <a:lnTo>
                      <a:pt x="16" y="10"/>
                    </a:lnTo>
                    <a:lnTo>
                      <a:pt x="9" y="12"/>
                    </a:lnTo>
                    <a:lnTo>
                      <a:pt x="2" y="8"/>
                    </a:lnTo>
                    <a:lnTo>
                      <a:pt x="0" y="3"/>
                    </a:lnTo>
                    <a:lnTo>
                      <a:pt x="2" y="0"/>
                    </a:lnTo>
                    <a:lnTo>
                      <a:pt x="6" y="0"/>
                    </a:lnTo>
                    <a:lnTo>
                      <a:pt x="14" y="2"/>
                    </a:lnTo>
                    <a:lnTo>
                      <a:pt x="21" y="5"/>
                    </a:lnTo>
                    <a:lnTo>
                      <a:pt x="21"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5" name="Freeform 285"/>
              <p:cNvSpPr>
                <a:spLocks/>
              </p:cNvSpPr>
              <p:nvPr/>
            </p:nvSpPr>
            <p:spPr bwMode="auto">
              <a:xfrm>
                <a:off x="2780507" y="3595688"/>
                <a:ext cx="33338" cy="12700"/>
              </a:xfrm>
              <a:custGeom>
                <a:avLst/>
                <a:gdLst/>
                <a:ahLst/>
                <a:cxnLst>
                  <a:cxn ang="0">
                    <a:pos x="21" y="5"/>
                  </a:cxn>
                  <a:cxn ang="0">
                    <a:pos x="16" y="7"/>
                  </a:cxn>
                  <a:cxn ang="0">
                    <a:pos x="12" y="8"/>
                  </a:cxn>
                  <a:cxn ang="0">
                    <a:pos x="4" y="7"/>
                  </a:cxn>
                  <a:cxn ang="0">
                    <a:pos x="0" y="3"/>
                  </a:cxn>
                  <a:cxn ang="0">
                    <a:pos x="2" y="0"/>
                  </a:cxn>
                  <a:cxn ang="0">
                    <a:pos x="6" y="0"/>
                  </a:cxn>
                  <a:cxn ang="0">
                    <a:pos x="12" y="0"/>
                  </a:cxn>
                  <a:cxn ang="0">
                    <a:pos x="21" y="5"/>
                  </a:cxn>
                </a:cxnLst>
                <a:rect l="0" t="0" r="r" b="b"/>
                <a:pathLst>
                  <a:path w="21" h="8">
                    <a:moveTo>
                      <a:pt x="21" y="5"/>
                    </a:moveTo>
                    <a:lnTo>
                      <a:pt x="16" y="7"/>
                    </a:lnTo>
                    <a:lnTo>
                      <a:pt x="12" y="8"/>
                    </a:lnTo>
                    <a:lnTo>
                      <a:pt x="4" y="7"/>
                    </a:lnTo>
                    <a:lnTo>
                      <a:pt x="0" y="3"/>
                    </a:lnTo>
                    <a:lnTo>
                      <a:pt x="2" y="0"/>
                    </a:lnTo>
                    <a:lnTo>
                      <a:pt x="6" y="0"/>
                    </a:lnTo>
                    <a:lnTo>
                      <a:pt x="12" y="0"/>
                    </a:lnTo>
                    <a:lnTo>
                      <a:pt x="21"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6" name="Freeform 286"/>
              <p:cNvSpPr>
                <a:spLocks/>
              </p:cNvSpPr>
              <p:nvPr/>
            </p:nvSpPr>
            <p:spPr bwMode="auto">
              <a:xfrm>
                <a:off x="2613819" y="3559175"/>
                <a:ext cx="136525" cy="55562"/>
              </a:xfrm>
              <a:custGeom>
                <a:avLst/>
                <a:gdLst/>
                <a:ahLst/>
                <a:cxnLst>
                  <a:cxn ang="0">
                    <a:pos x="73" y="14"/>
                  </a:cxn>
                  <a:cxn ang="0">
                    <a:pos x="80" y="18"/>
                  </a:cxn>
                  <a:cxn ang="0">
                    <a:pos x="86" y="25"/>
                  </a:cxn>
                  <a:cxn ang="0">
                    <a:pos x="68" y="25"/>
                  </a:cxn>
                  <a:cxn ang="0">
                    <a:pos x="62" y="28"/>
                  </a:cxn>
                  <a:cxn ang="0">
                    <a:pos x="59" y="30"/>
                  </a:cxn>
                  <a:cxn ang="0">
                    <a:pos x="56" y="28"/>
                  </a:cxn>
                  <a:cxn ang="0">
                    <a:pos x="54" y="26"/>
                  </a:cxn>
                  <a:cxn ang="0">
                    <a:pos x="47" y="30"/>
                  </a:cxn>
                  <a:cxn ang="0">
                    <a:pos x="42" y="35"/>
                  </a:cxn>
                  <a:cxn ang="0">
                    <a:pos x="38" y="31"/>
                  </a:cxn>
                  <a:cxn ang="0">
                    <a:pos x="37" y="30"/>
                  </a:cxn>
                  <a:cxn ang="0">
                    <a:pos x="25" y="26"/>
                  </a:cxn>
                  <a:cxn ang="0">
                    <a:pos x="13" y="28"/>
                  </a:cxn>
                  <a:cxn ang="0">
                    <a:pos x="9" y="28"/>
                  </a:cxn>
                  <a:cxn ang="0">
                    <a:pos x="7" y="28"/>
                  </a:cxn>
                  <a:cxn ang="0">
                    <a:pos x="7" y="30"/>
                  </a:cxn>
                  <a:cxn ang="0">
                    <a:pos x="7" y="31"/>
                  </a:cxn>
                  <a:cxn ang="0">
                    <a:pos x="2" y="28"/>
                  </a:cxn>
                  <a:cxn ang="0">
                    <a:pos x="0" y="23"/>
                  </a:cxn>
                  <a:cxn ang="0">
                    <a:pos x="2" y="21"/>
                  </a:cxn>
                  <a:cxn ang="0">
                    <a:pos x="4" y="21"/>
                  </a:cxn>
                  <a:cxn ang="0">
                    <a:pos x="16" y="21"/>
                  </a:cxn>
                  <a:cxn ang="0">
                    <a:pos x="26" y="21"/>
                  </a:cxn>
                  <a:cxn ang="0">
                    <a:pos x="23" y="16"/>
                  </a:cxn>
                  <a:cxn ang="0">
                    <a:pos x="23" y="11"/>
                  </a:cxn>
                  <a:cxn ang="0">
                    <a:pos x="18" y="7"/>
                  </a:cxn>
                  <a:cxn ang="0">
                    <a:pos x="16" y="4"/>
                  </a:cxn>
                  <a:cxn ang="0">
                    <a:pos x="18" y="2"/>
                  </a:cxn>
                  <a:cxn ang="0">
                    <a:pos x="19" y="0"/>
                  </a:cxn>
                  <a:cxn ang="0">
                    <a:pos x="25" y="2"/>
                  </a:cxn>
                  <a:cxn ang="0">
                    <a:pos x="31" y="4"/>
                  </a:cxn>
                  <a:cxn ang="0">
                    <a:pos x="38" y="2"/>
                  </a:cxn>
                  <a:cxn ang="0">
                    <a:pos x="47" y="2"/>
                  </a:cxn>
                  <a:cxn ang="0">
                    <a:pos x="57" y="2"/>
                  </a:cxn>
                  <a:cxn ang="0">
                    <a:pos x="64" y="6"/>
                  </a:cxn>
                  <a:cxn ang="0">
                    <a:pos x="69" y="11"/>
                  </a:cxn>
                  <a:cxn ang="0">
                    <a:pos x="76" y="16"/>
                  </a:cxn>
                  <a:cxn ang="0">
                    <a:pos x="73" y="14"/>
                  </a:cxn>
                </a:cxnLst>
                <a:rect l="0" t="0" r="r" b="b"/>
                <a:pathLst>
                  <a:path w="86" h="35">
                    <a:moveTo>
                      <a:pt x="73" y="14"/>
                    </a:moveTo>
                    <a:lnTo>
                      <a:pt x="80" y="18"/>
                    </a:lnTo>
                    <a:lnTo>
                      <a:pt x="86" y="25"/>
                    </a:lnTo>
                    <a:lnTo>
                      <a:pt x="68" y="25"/>
                    </a:lnTo>
                    <a:lnTo>
                      <a:pt x="62" y="28"/>
                    </a:lnTo>
                    <a:lnTo>
                      <a:pt x="59" y="30"/>
                    </a:lnTo>
                    <a:lnTo>
                      <a:pt x="56" y="28"/>
                    </a:lnTo>
                    <a:lnTo>
                      <a:pt x="54" y="26"/>
                    </a:lnTo>
                    <a:lnTo>
                      <a:pt x="47" y="30"/>
                    </a:lnTo>
                    <a:lnTo>
                      <a:pt x="42" y="35"/>
                    </a:lnTo>
                    <a:lnTo>
                      <a:pt x="38" y="31"/>
                    </a:lnTo>
                    <a:lnTo>
                      <a:pt x="37" y="30"/>
                    </a:lnTo>
                    <a:lnTo>
                      <a:pt x="25" y="26"/>
                    </a:lnTo>
                    <a:lnTo>
                      <a:pt x="13" y="28"/>
                    </a:lnTo>
                    <a:lnTo>
                      <a:pt x="9" y="28"/>
                    </a:lnTo>
                    <a:lnTo>
                      <a:pt x="7" y="28"/>
                    </a:lnTo>
                    <a:lnTo>
                      <a:pt x="7" y="30"/>
                    </a:lnTo>
                    <a:lnTo>
                      <a:pt x="7" y="31"/>
                    </a:lnTo>
                    <a:lnTo>
                      <a:pt x="2" y="28"/>
                    </a:lnTo>
                    <a:lnTo>
                      <a:pt x="0" y="23"/>
                    </a:lnTo>
                    <a:lnTo>
                      <a:pt x="2" y="21"/>
                    </a:lnTo>
                    <a:lnTo>
                      <a:pt x="4" y="21"/>
                    </a:lnTo>
                    <a:lnTo>
                      <a:pt x="16" y="21"/>
                    </a:lnTo>
                    <a:lnTo>
                      <a:pt x="26" y="21"/>
                    </a:lnTo>
                    <a:lnTo>
                      <a:pt x="23" y="16"/>
                    </a:lnTo>
                    <a:lnTo>
                      <a:pt x="23" y="11"/>
                    </a:lnTo>
                    <a:lnTo>
                      <a:pt x="18" y="7"/>
                    </a:lnTo>
                    <a:lnTo>
                      <a:pt x="16" y="4"/>
                    </a:lnTo>
                    <a:lnTo>
                      <a:pt x="18" y="2"/>
                    </a:lnTo>
                    <a:lnTo>
                      <a:pt x="19" y="0"/>
                    </a:lnTo>
                    <a:lnTo>
                      <a:pt x="25" y="2"/>
                    </a:lnTo>
                    <a:lnTo>
                      <a:pt x="31" y="4"/>
                    </a:lnTo>
                    <a:lnTo>
                      <a:pt x="38" y="2"/>
                    </a:lnTo>
                    <a:lnTo>
                      <a:pt x="47" y="2"/>
                    </a:lnTo>
                    <a:lnTo>
                      <a:pt x="57" y="2"/>
                    </a:lnTo>
                    <a:lnTo>
                      <a:pt x="64" y="6"/>
                    </a:lnTo>
                    <a:lnTo>
                      <a:pt x="69" y="11"/>
                    </a:lnTo>
                    <a:lnTo>
                      <a:pt x="76" y="16"/>
                    </a:lnTo>
                    <a:lnTo>
                      <a:pt x="73"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7" name="Freeform 287"/>
              <p:cNvSpPr>
                <a:spLocks/>
              </p:cNvSpPr>
              <p:nvPr/>
            </p:nvSpPr>
            <p:spPr bwMode="auto">
              <a:xfrm>
                <a:off x="2907507" y="3781425"/>
                <a:ext cx="15875" cy="15875"/>
              </a:xfrm>
              <a:custGeom>
                <a:avLst/>
                <a:gdLst/>
                <a:ahLst/>
                <a:cxnLst>
                  <a:cxn ang="0">
                    <a:pos x="10" y="3"/>
                  </a:cxn>
                  <a:cxn ang="0">
                    <a:pos x="10" y="0"/>
                  </a:cxn>
                  <a:cxn ang="0">
                    <a:pos x="6" y="0"/>
                  </a:cxn>
                  <a:cxn ang="0">
                    <a:pos x="5" y="0"/>
                  </a:cxn>
                  <a:cxn ang="0">
                    <a:pos x="0" y="1"/>
                  </a:cxn>
                  <a:cxn ang="0">
                    <a:pos x="0" y="10"/>
                  </a:cxn>
                  <a:cxn ang="0">
                    <a:pos x="3" y="10"/>
                  </a:cxn>
                  <a:cxn ang="0">
                    <a:pos x="6" y="7"/>
                  </a:cxn>
                  <a:cxn ang="0">
                    <a:pos x="10" y="3"/>
                  </a:cxn>
                </a:cxnLst>
                <a:rect l="0" t="0" r="r" b="b"/>
                <a:pathLst>
                  <a:path w="10" h="10">
                    <a:moveTo>
                      <a:pt x="10" y="3"/>
                    </a:moveTo>
                    <a:lnTo>
                      <a:pt x="10" y="0"/>
                    </a:lnTo>
                    <a:lnTo>
                      <a:pt x="6" y="0"/>
                    </a:lnTo>
                    <a:lnTo>
                      <a:pt x="5" y="0"/>
                    </a:lnTo>
                    <a:lnTo>
                      <a:pt x="0" y="1"/>
                    </a:lnTo>
                    <a:lnTo>
                      <a:pt x="0" y="10"/>
                    </a:lnTo>
                    <a:lnTo>
                      <a:pt x="3" y="10"/>
                    </a:lnTo>
                    <a:lnTo>
                      <a:pt x="6" y="7"/>
                    </a:lnTo>
                    <a:lnTo>
                      <a:pt x="10"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8" name="Freeform 288"/>
              <p:cNvSpPr>
                <a:spLocks/>
              </p:cNvSpPr>
              <p:nvPr/>
            </p:nvSpPr>
            <p:spPr bwMode="auto">
              <a:xfrm>
                <a:off x="3155157" y="4024313"/>
                <a:ext cx="53975" cy="41275"/>
              </a:xfrm>
              <a:custGeom>
                <a:avLst/>
                <a:gdLst/>
                <a:ahLst/>
                <a:cxnLst>
                  <a:cxn ang="0">
                    <a:pos x="14" y="0"/>
                  </a:cxn>
                  <a:cxn ang="0">
                    <a:pos x="17" y="2"/>
                  </a:cxn>
                  <a:cxn ang="0">
                    <a:pos x="24" y="5"/>
                  </a:cxn>
                  <a:cxn ang="0">
                    <a:pos x="26" y="7"/>
                  </a:cxn>
                  <a:cxn ang="0">
                    <a:pos x="31" y="5"/>
                  </a:cxn>
                  <a:cxn ang="0">
                    <a:pos x="33" y="7"/>
                  </a:cxn>
                  <a:cxn ang="0">
                    <a:pos x="34" y="10"/>
                  </a:cxn>
                  <a:cxn ang="0">
                    <a:pos x="29" y="19"/>
                  </a:cxn>
                  <a:cxn ang="0">
                    <a:pos x="21" y="26"/>
                  </a:cxn>
                  <a:cxn ang="0">
                    <a:pos x="14" y="22"/>
                  </a:cxn>
                  <a:cxn ang="0">
                    <a:pos x="7" y="20"/>
                  </a:cxn>
                  <a:cxn ang="0">
                    <a:pos x="2" y="15"/>
                  </a:cxn>
                  <a:cxn ang="0">
                    <a:pos x="0" y="12"/>
                  </a:cxn>
                  <a:cxn ang="0">
                    <a:pos x="2" y="3"/>
                  </a:cxn>
                  <a:cxn ang="0">
                    <a:pos x="10" y="0"/>
                  </a:cxn>
                  <a:cxn ang="0">
                    <a:pos x="12" y="0"/>
                  </a:cxn>
                  <a:cxn ang="0">
                    <a:pos x="14" y="0"/>
                  </a:cxn>
                </a:cxnLst>
                <a:rect l="0" t="0" r="r" b="b"/>
                <a:pathLst>
                  <a:path w="34" h="26">
                    <a:moveTo>
                      <a:pt x="14" y="0"/>
                    </a:moveTo>
                    <a:lnTo>
                      <a:pt x="17" y="2"/>
                    </a:lnTo>
                    <a:lnTo>
                      <a:pt x="24" y="5"/>
                    </a:lnTo>
                    <a:lnTo>
                      <a:pt x="26" y="7"/>
                    </a:lnTo>
                    <a:lnTo>
                      <a:pt x="31" y="5"/>
                    </a:lnTo>
                    <a:lnTo>
                      <a:pt x="33" y="7"/>
                    </a:lnTo>
                    <a:lnTo>
                      <a:pt x="34" y="10"/>
                    </a:lnTo>
                    <a:lnTo>
                      <a:pt x="29" y="19"/>
                    </a:lnTo>
                    <a:lnTo>
                      <a:pt x="21" y="26"/>
                    </a:lnTo>
                    <a:lnTo>
                      <a:pt x="14" y="22"/>
                    </a:lnTo>
                    <a:lnTo>
                      <a:pt x="7" y="20"/>
                    </a:lnTo>
                    <a:lnTo>
                      <a:pt x="2" y="15"/>
                    </a:lnTo>
                    <a:lnTo>
                      <a:pt x="0" y="12"/>
                    </a:lnTo>
                    <a:lnTo>
                      <a:pt x="2" y="3"/>
                    </a:lnTo>
                    <a:lnTo>
                      <a:pt x="10" y="0"/>
                    </a:lnTo>
                    <a:lnTo>
                      <a:pt x="12"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9" name="Freeform 289"/>
              <p:cNvSpPr>
                <a:spLocks/>
              </p:cNvSpPr>
              <p:nvPr/>
            </p:nvSpPr>
            <p:spPr bwMode="auto">
              <a:xfrm>
                <a:off x="2961482" y="5340350"/>
                <a:ext cx="38100" cy="23812"/>
              </a:xfrm>
              <a:custGeom>
                <a:avLst/>
                <a:gdLst/>
                <a:ahLst/>
                <a:cxnLst>
                  <a:cxn ang="0">
                    <a:pos x="5" y="3"/>
                  </a:cxn>
                  <a:cxn ang="0">
                    <a:pos x="8" y="1"/>
                  </a:cxn>
                  <a:cxn ang="0">
                    <a:pos x="14" y="0"/>
                  </a:cxn>
                  <a:cxn ang="0">
                    <a:pos x="19" y="0"/>
                  </a:cxn>
                  <a:cxn ang="0">
                    <a:pos x="24" y="0"/>
                  </a:cxn>
                  <a:cxn ang="0">
                    <a:pos x="24" y="1"/>
                  </a:cxn>
                  <a:cxn ang="0">
                    <a:pos x="24" y="3"/>
                  </a:cxn>
                  <a:cxn ang="0">
                    <a:pos x="19" y="8"/>
                  </a:cxn>
                  <a:cxn ang="0">
                    <a:pos x="10" y="10"/>
                  </a:cxn>
                  <a:cxn ang="0">
                    <a:pos x="7" y="13"/>
                  </a:cxn>
                  <a:cxn ang="0">
                    <a:pos x="3" y="15"/>
                  </a:cxn>
                  <a:cxn ang="0">
                    <a:pos x="2" y="15"/>
                  </a:cxn>
                  <a:cxn ang="0">
                    <a:pos x="0" y="15"/>
                  </a:cxn>
                  <a:cxn ang="0">
                    <a:pos x="0" y="10"/>
                  </a:cxn>
                  <a:cxn ang="0">
                    <a:pos x="2" y="6"/>
                  </a:cxn>
                  <a:cxn ang="0">
                    <a:pos x="5" y="3"/>
                  </a:cxn>
                </a:cxnLst>
                <a:rect l="0" t="0" r="r" b="b"/>
                <a:pathLst>
                  <a:path w="24" h="15">
                    <a:moveTo>
                      <a:pt x="5" y="3"/>
                    </a:moveTo>
                    <a:lnTo>
                      <a:pt x="8" y="1"/>
                    </a:lnTo>
                    <a:lnTo>
                      <a:pt x="14" y="0"/>
                    </a:lnTo>
                    <a:lnTo>
                      <a:pt x="19" y="0"/>
                    </a:lnTo>
                    <a:lnTo>
                      <a:pt x="24" y="0"/>
                    </a:lnTo>
                    <a:lnTo>
                      <a:pt x="24" y="1"/>
                    </a:lnTo>
                    <a:lnTo>
                      <a:pt x="24" y="3"/>
                    </a:lnTo>
                    <a:lnTo>
                      <a:pt x="19" y="8"/>
                    </a:lnTo>
                    <a:lnTo>
                      <a:pt x="10" y="10"/>
                    </a:lnTo>
                    <a:lnTo>
                      <a:pt x="7" y="13"/>
                    </a:lnTo>
                    <a:lnTo>
                      <a:pt x="3" y="15"/>
                    </a:lnTo>
                    <a:lnTo>
                      <a:pt x="2" y="15"/>
                    </a:lnTo>
                    <a:lnTo>
                      <a:pt x="0" y="15"/>
                    </a:lnTo>
                    <a:lnTo>
                      <a:pt x="0" y="10"/>
                    </a:lnTo>
                    <a:lnTo>
                      <a:pt x="2" y="6"/>
                    </a:lnTo>
                    <a:lnTo>
                      <a:pt x="5"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0" name="Freeform 290"/>
              <p:cNvSpPr>
                <a:spLocks/>
              </p:cNvSpPr>
              <p:nvPr/>
            </p:nvSpPr>
            <p:spPr bwMode="auto">
              <a:xfrm>
                <a:off x="2934494" y="5334000"/>
                <a:ext cx="31750" cy="26987"/>
              </a:xfrm>
              <a:custGeom>
                <a:avLst/>
                <a:gdLst/>
                <a:ahLst/>
                <a:cxnLst>
                  <a:cxn ang="0">
                    <a:pos x="7" y="5"/>
                  </a:cxn>
                  <a:cxn ang="0">
                    <a:pos x="3" y="2"/>
                  </a:cxn>
                  <a:cxn ang="0">
                    <a:pos x="3" y="0"/>
                  </a:cxn>
                  <a:cxn ang="0">
                    <a:pos x="12" y="0"/>
                  </a:cxn>
                  <a:cxn ang="0">
                    <a:pos x="20" y="0"/>
                  </a:cxn>
                  <a:cxn ang="0">
                    <a:pos x="20" y="2"/>
                  </a:cxn>
                  <a:cxn ang="0">
                    <a:pos x="20" y="5"/>
                  </a:cxn>
                  <a:cxn ang="0">
                    <a:pos x="10" y="10"/>
                  </a:cxn>
                  <a:cxn ang="0">
                    <a:pos x="1" y="17"/>
                  </a:cxn>
                  <a:cxn ang="0">
                    <a:pos x="0" y="16"/>
                  </a:cxn>
                  <a:cxn ang="0">
                    <a:pos x="3" y="10"/>
                  </a:cxn>
                  <a:cxn ang="0">
                    <a:pos x="7" y="5"/>
                  </a:cxn>
                </a:cxnLst>
                <a:rect l="0" t="0" r="r" b="b"/>
                <a:pathLst>
                  <a:path w="20" h="17">
                    <a:moveTo>
                      <a:pt x="7" y="5"/>
                    </a:moveTo>
                    <a:lnTo>
                      <a:pt x="3" y="2"/>
                    </a:lnTo>
                    <a:lnTo>
                      <a:pt x="3" y="0"/>
                    </a:lnTo>
                    <a:lnTo>
                      <a:pt x="12" y="0"/>
                    </a:lnTo>
                    <a:lnTo>
                      <a:pt x="20" y="0"/>
                    </a:lnTo>
                    <a:lnTo>
                      <a:pt x="20" y="2"/>
                    </a:lnTo>
                    <a:lnTo>
                      <a:pt x="20" y="5"/>
                    </a:lnTo>
                    <a:lnTo>
                      <a:pt x="10" y="10"/>
                    </a:lnTo>
                    <a:lnTo>
                      <a:pt x="1" y="17"/>
                    </a:lnTo>
                    <a:lnTo>
                      <a:pt x="0" y="16"/>
                    </a:lnTo>
                    <a:lnTo>
                      <a:pt x="3"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1" name="Freeform 291"/>
              <p:cNvSpPr>
                <a:spLocks/>
              </p:cNvSpPr>
              <p:nvPr/>
            </p:nvSpPr>
            <p:spPr bwMode="auto">
              <a:xfrm>
                <a:off x="2620169" y="5057775"/>
                <a:ext cx="19050" cy="47625"/>
              </a:xfrm>
              <a:custGeom>
                <a:avLst/>
                <a:gdLst/>
                <a:ahLst/>
                <a:cxnLst>
                  <a:cxn ang="0">
                    <a:pos x="0" y="16"/>
                  </a:cxn>
                  <a:cxn ang="0">
                    <a:pos x="0" y="13"/>
                  </a:cxn>
                  <a:cxn ang="0">
                    <a:pos x="2" y="7"/>
                  </a:cxn>
                  <a:cxn ang="0">
                    <a:pos x="2" y="2"/>
                  </a:cxn>
                  <a:cxn ang="0">
                    <a:pos x="5" y="0"/>
                  </a:cxn>
                  <a:cxn ang="0">
                    <a:pos x="10" y="2"/>
                  </a:cxn>
                  <a:cxn ang="0">
                    <a:pos x="12" y="9"/>
                  </a:cxn>
                  <a:cxn ang="0">
                    <a:pos x="10" y="13"/>
                  </a:cxn>
                  <a:cxn ang="0">
                    <a:pos x="10" y="14"/>
                  </a:cxn>
                  <a:cxn ang="0">
                    <a:pos x="10" y="30"/>
                  </a:cxn>
                  <a:cxn ang="0">
                    <a:pos x="5" y="30"/>
                  </a:cxn>
                  <a:cxn ang="0">
                    <a:pos x="0" y="26"/>
                  </a:cxn>
                  <a:cxn ang="0">
                    <a:pos x="0" y="23"/>
                  </a:cxn>
                  <a:cxn ang="0">
                    <a:pos x="0" y="18"/>
                  </a:cxn>
                  <a:cxn ang="0">
                    <a:pos x="0" y="16"/>
                  </a:cxn>
                </a:cxnLst>
                <a:rect l="0" t="0" r="r" b="b"/>
                <a:pathLst>
                  <a:path w="12" h="30">
                    <a:moveTo>
                      <a:pt x="0" y="16"/>
                    </a:moveTo>
                    <a:lnTo>
                      <a:pt x="0" y="13"/>
                    </a:lnTo>
                    <a:lnTo>
                      <a:pt x="2" y="7"/>
                    </a:lnTo>
                    <a:lnTo>
                      <a:pt x="2" y="2"/>
                    </a:lnTo>
                    <a:lnTo>
                      <a:pt x="5" y="0"/>
                    </a:lnTo>
                    <a:lnTo>
                      <a:pt x="10" y="2"/>
                    </a:lnTo>
                    <a:lnTo>
                      <a:pt x="12" y="9"/>
                    </a:lnTo>
                    <a:lnTo>
                      <a:pt x="10" y="13"/>
                    </a:lnTo>
                    <a:lnTo>
                      <a:pt x="10" y="14"/>
                    </a:lnTo>
                    <a:lnTo>
                      <a:pt x="10" y="30"/>
                    </a:lnTo>
                    <a:lnTo>
                      <a:pt x="5" y="30"/>
                    </a:lnTo>
                    <a:lnTo>
                      <a:pt x="0" y="26"/>
                    </a:lnTo>
                    <a:lnTo>
                      <a:pt x="0" y="23"/>
                    </a:lnTo>
                    <a:lnTo>
                      <a:pt x="0" y="18"/>
                    </a:lnTo>
                    <a:lnTo>
                      <a:pt x="0"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2" name="Freeform 292"/>
              <p:cNvSpPr>
                <a:spLocks/>
              </p:cNvSpPr>
              <p:nvPr/>
            </p:nvSpPr>
            <p:spPr bwMode="auto">
              <a:xfrm>
                <a:off x="2453482" y="3743325"/>
                <a:ext cx="1069975" cy="1722437"/>
              </a:xfrm>
              <a:custGeom>
                <a:avLst/>
                <a:gdLst/>
                <a:ahLst/>
                <a:cxnLst>
                  <a:cxn ang="0">
                    <a:pos x="52" y="79"/>
                  </a:cxn>
                  <a:cxn ang="0">
                    <a:pos x="65" y="55"/>
                  </a:cxn>
                  <a:cxn ang="0">
                    <a:pos x="86" y="22"/>
                  </a:cxn>
                  <a:cxn ang="0">
                    <a:pos x="143" y="0"/>
                  </a:cxn>
                  <a:cxn ang="0">
                    <a:pos x="139" y="41"/>
                  </a:cxn>
                  <a:cxn ang="0">
                    <a:pos x="158" y="13"/>
                  </a:cxn>
                  <a:cxn ang="0">
                    <a:pos x="191" y="22"/>
                  </a:cxn>
                  <a:cxn ang="0">
                    <a:pos x="234" y="32"/>
                  </a:cxn>
                  <a:cxn ang="0">
                    <a:pos x="272" y="24"/>
                  </a:cxn>
                  <a:cxn ang="0">
                    <a:pos x="313" y="56"/>
                  </a:cxn>
                  <a:cxn ang="0">
                    <a:pos x="344" y="87"/>
                  </a:cxn>
                  <a:cxn ang="0">
                    <a:pos x="409" y="101"/>
                  </a:cxn>
                  <a:cxn ang="0">
                    <a:pos x="442" y="134"/>
                  </a:cxn>
                  <a:cxn ang="0">
                    <a:pos x="437" y="177"/>
                  </a:cxn>
                  <a:cxn ang="0">
                    <a:pos x="463" y="208"/>
                  </a:cxn>
                  <a:cxn ang="0">
                    <a:pos x="507" y="192"/>
                  </a:cxn>
                  <a:cxn ang="0">
                    <a:pos x="538" y="218"/>
                  </a:cxn>
                  <a:cxn ang="0">
                    <a:pos x="616" y="227"/>
                  </a:cxn>
                  <a:cxn ang="0">
                    <a:pos x="671" y="261"/>
                  </a:cxn>
                  <a:cxn ang="0">
                    <a:pos x="642" y="345"/>
                  </a:cxn>
                  <a:cxn ang="0">
                    <a:pos x="614" y="395"/>
                  </a:cxn>
                  <a:cxn ang="0">
                    <a:pos x="604" y="447"/>
                  </a:cxn>
                  <a:cxn ang="0">
                    <a:pos x="571" y="510"/>
                  </a:cxn>
                  <a:cxn ang="0">
                    <a:pos x="509" y="533"/>
                  </a:cxn>
                  <a:cxn ang="0">
                    <a:pos x="475" y="602"/>
                  </a:cxn>
                  <a:cxn ang="0">
                    <a:pos x="433" y="655"/>
                  </a:cxn>
                  <a:cxn ang="0">
                    <a:pos x="368" y="706"/>
                  </a:cxn>
                  <a:cxn ang="0">
                    <a:pos x="342" y="710"/>
                  </a:cxn>
                  <a:cxn ang="0">
                    <a:pos x="349" y="758"/>
                  </a:cxn>
                  <a:cxn ang="0">
                    <a:pos x="282" y="777"/>
                  </a:cxn>
                  <a:cxn ang="0">
                    <a:pos x="277" y="811"/>
                  </a:cxn>
                  <a:cxn ang="0">
                    <a:pos x="237" y="822"/>
                  </a:cxn>
                  <a:cxn ang="0">
                    <a:pos x="260" y="839"/>
                  </a:cxn>
                  <a:cxn ang="0">
                    <a:pos x="237" y="861"/>
                  </a:cxn>
                  <a:cxn ang="0">
                    <a:pos x="217" y="918"/>
                  </a:cxn>
                  <a:cxn ang="0">
                    <a:pos x="205" y="961"/>
                  </a:cxn>
                  <a:cxn ang="0">
                    <a:pos x="186" y="1014"/>
                  </a:cxn>
                  <a:cxn ang="0">
                    <a:pos x="229" y="1068"/>
                  </a:cxn>
                  <a:cxn ang="0">
                    <a:pos x="201" y="1083"/>
                  </a:cxn>
                  <a:cxn ang="0">
                    <a:pos x="169" y="1071"/>
                  </a:cxn>
                  <a:cxn ang="0">
                    <a:pos x="132" y="1050"/>
                  </a:cxn>
                  <a:cxn ang="0">
                    <a:pos x="107" y="1026"/>
                  </a:cxn>
                  <a:cxn ang="0">
                    <a:pos x="105" y="1000"/>
                  </a:cxn>
                  <a:cxn ang="0">
                    <a:pos x="91" y="954"/>
                  </a:cxn>
                  <a:cxn ang="0">
                    <a:pos x="96" y="904"/>
                  </a:cxn>
                  <a:cxn ang="0">
                    <a:pos x="127" y="823"/>
                  </a:cxn>
                  <a:cxn ang="0">
                    <a:pos x="115" y="789"/>
                  </a:cxn>
                  <a:cxn ang="0">
                    <a:pos x="115" y="767"/>
                  </a:cxn>
                  <a:cxn ang="0">
                    <a:pos x="138" y="715"/>
                  </a:cxn>
                  <a:cxn ang="0">
                    <a:pos x="151" y="595"/>
                  </a:cxn>
                  <a:cxn ang="0">
                    <a:pos x="162" y="538"/>
                  </a:cxn>
                  <a:cxn ang="0">
                    <a:pos x="165" y="498"/>
                  </a:cxn>
                  <a:cxn ang="0">
                    <a:pos x="129" y="428"/>
                  </a:cxn>
                  <a:cxn ang="0">
                    <a:pos x="74" y="393"/>
                  </a:cxn>
                  <a:cxn ang="0">
                    <a:pos x="40" y="311"/>
                  </a:cxn>
                  <a:cxn ang="0">
                    <a:pos x="14" y="277"/>
                  </a:cxn>
                  <a:cxn ang="0">
                    <a:pos x="17" y="216"/>
                  </a:cxn>
                  <a:cxn ang="0">
                    <a:pos x="17" y="170"/>
                  </a:cxn>
                  <a:cxn ang="0">
                    <a:pos x="55" y="132"/>
                  </a:cxn>
                </a:cxnLst>
                <a:rect l="0" t="0" r="r" b="b"/>
                <a:pathLst>
                  <a:path w="674" h="1085">
                    <a:moveTo>
                      <a:pt x="57" y="118"/>
                    </a:moveTo>
                    <a:lnTo>
                      <a:pt x="57" y="115"/>
                    </a:lnTo>
                    <a:lnTo>
                      <a:pt x="55" y="108"/>
                    </a:lnTo>
                    <a:lnTo>
                      <a:pt x="53" y="103"/>
                    </a:lnTo>
                    <a:lnTo>
                      <a:pt x="55" y="96"/>
                    </a:lnTo>
                    <a:lnTo>
                      <a:pt x="57" y="91"/>
                    </a:lnTo>
                    <a:lnTo>
                      <a:pt x="52" y="79"/>
                    </a:lnTo>
                    <a:lnTo>
                      <a:pt x="48" y="72"/>
                    </a:lnTo>
                    <a:lnTo>
                      <a:pt x="53" y="63"/>
                    </a:lnTo>
                    <a:lnTo>
                      <a:pt x="60" y="58"/>
                    </a:lnTo>
                    <a:lnTo>
                      <a:pt x="62" y="58"/>
                    </a:lnTo>
                    <a:lnTo>
                      <a:pt x="65" y="58"/>
                    </a:lnTo>
                    <a:lnTo>
                      <a:pt x="65" y="56"/>
                    </a:lnTo>
                    <a:lnTo>
                      <a:pt x="65" y="55"/>
                    </a:lnTo>
                    <a:lnTo>
                      <a:pt x="67" y="53"/>
                    </a:lnTo>
                    <a:lnTo>
                      <a:pt x="69" y="53"/>
                    </a:lnTo>
                    <a:lnTo>
                      <a:pt x="71" y="46"/>
                    </a:lnTo>
                    <a:lnTo>
                      <a:pt x="77" y="43"/>
                    </a:lnTo>
                    <a:lnTo>
                      <a:pt x="79" y="36"/>
                    </a:lnTo>
                    <a:lnTo>
                      <a:pt x="83" y="31"/>
                    </a:lnTo>
                    <a:lnTo>
                      <a:pt x="86" y="22"/>
                    </a:lnTo>
                    <a:lnTo>
                      <a:pt x="96" y="19"/>
                    </a:lnTo>
                    <a:lnTo>
                      <a:pt x="103" y="15"/>
                    </a:lnTo>
                    <a:lnTo>
                      <a:pt x="112" y="13"/>
                    </a:lnTo>
                    <a:lnTo>
                      <a:pt x="119" y="10"/>
                    </a:lnTo>
                    <a:lnTo>
                      <a:pt x="129" y="8"/>
                    </a:lnTo>
                    <a:lnTo>
                      <a:pt x="136" y="3"/>
                    </a:lnTo>
                    <a:lnTo>
                      <a:pt x="143" y="0"/>
                    </a:lnTo>
                    <a:lnTo>
                      <a:pt x="146" y="1"/>
                    </a:lnTo>
                    <a:lnTo>
                      <a:pt x="148" y="5"/>
                    </a:lnTo>
                    <a:lnTo>
                      <a:pt x="144" y="10"/>
                    </a:lnTo>
                    <a:lnTo>
                      <a:pt x="143" y="12"/>
                    </a:lnTo>
                    <a:lnTo>
                      <a:pt x="139" y="22"/>
                    </a:lnTo>
                    <a:lnTo>
                      <a:pt x="138" y="32"/>
                    </a:lnTo>
                    <a:lnTo>
                      <a:pt x="139" y="41"/>
                    </a:lnTo>
                    <a:lnTo>
                      <a:pt x="146" y="48"/>
                    </a:lnTo>
                    <a:lnTo>
                      <a:pt x="148" y="43"/>
                    </a:lnTo>
                    <a:lnTo>
                      <a:pt x="151" y="39"/>
                    </a:lnTo>
                    <a:lnTo>
                      <a:pt x="148" y="31"/>
                    </a:lnTo>
                    <a:lnTo>
                      <a:pt x="144" y="24"/>
                    </a:lnTo>
                    <a:lnTo>
                      <a:pt x="148" y="15"/>
                    </a:lnTo>
                    <a:lnTo>
                      <a:pt x="158" y="13"/>
                    </a:lnTo>
                    <a:lnTo>
                      <a:pt x="170" y="13"/>
                    </a:lnTo>
                    <a:lnTo>
                      <a:pt x="163" y="8"/>
                    </a:lnTo>
                    <a:lnTo>
                      <a:pt x="160" y="5"/>
                    </a:lnTo>
                    <a:lnTo>
                      <a:pt x="170" y="5"/>
                    </a:lnTo>
                    <a:lnTo>
                      <a:pt x="177" y="13"/>
                    </a:lnTo>
                    <a:lnTo>
                      <a:pt x="191" y="17"/>
                    </a:lnTo>
                    <a:lnTo>
                      <a:pt x="191" y="22"/>
                    </a:lnTo>
                    <a:lnTo>
                      <a:pt x="196" y="25"/>
                    </a:lnTo>
                    <a:lnTo>
                      <a:pt x="203" y="25"/>
                    </a:lnTo>
                    <a:lnTo>
                      <a:pt x="212" y="25"/>
                    </a:lnTo>
                    <a:lnTo>
                      <a:pt x="218" y="25"/>
                    </a:lnTo>
                    <a:lnTo>
                      <a:pt x="224" y="25"/>
                    </a:lnTo>
                    <a:lnTo>
                      <a:pt x="227" y="31"/>
                    </a:lnTo>
                    <a:lnTo>
                      <a:pt x="234" y="32"/>
                    </a:lnTo>
                    <a:lnTo>
                      <a:pt x="244" y="29"/>
                    </a:lnTo>
                    <a:lnTo>
                      <a:pt x="249" y="25"/>
                    </a:lnTo>
                    <a:lnTo>
                      <a:pt x="256" y="24"/>
                    </a:lnTo>
                    <a:lnTo>
                      <a:pt x="263" y="22"/>
                    </a:lnTo>
                    <a:lnTo>
                      <a:pt x="272" y="22"/>
                    </a:lnTo>
                    <a:lnTo>
                      <a:pt x="277" y="24"/>
                    </a:lnTo>
                    <a:lnTo>
                      <a:pt x="272" y="24"/>
                    </a:lnTo>
                    <a:lnTo>
                      <a:pt x="268" y="25"/>
                    </a:lnTo>
                    <a:lnTo>
                      <a:pt x="268" y="29"/>
                    </a:lnTo>
                    <a:lnTo>
                      <a:pt x="279" y="36"/>
                    </a:lnTo>
                    <a:lnTo>
                      <a:pt x="291" y="39"/>
                    </a:lnTo>
                    <a:lnTo>
                      <a:pt x="296" y="46"/>
                    </a:lnTo>
                    <a:lnTo>
                      <a:pt x="298" y="56"/>
                    </a:lnTo>
                    <a:lnTo>
                      <a:pt x="313" y="56"/>
                    </a:lnTo>
                    <a:lnTo>
                      <a:pt x="318" y="60"/>
                    </a:lnTo>
                    <a:lnTo>
                      <a:pt x="323" y="63"/>
                    </a:lnTo>
                    <a:lnTo>
                      <a:pt x="327" y="68"/>
                    </a:lnTo>
                    <a:lnTo>
                      <a:pt x="332" y="77"/>
                    </a:lnTo>
                    <a:lnTo>
                      <a:pt x="335" y="79"/>
                    </a:lnTo>
                    <a:lnTo>
                      <a:pt x="341" y="81"/>
                    </a:lnTo>
                    <a:lnTo>
                      <a:pt x="344" y="87"/>
                    </a:lnTo>
                    <a:lnTo>
                      <a:pt x="354" y="91"/>
                    </a:lnTo>
                    <a:lnTo>
                      <a:pt x="366" y="93"/>
                    </a:lnTo>
                    <a:lnTo>
                      <a:pt x="378" y="94"/>
                    </a:lnTo>
                    <a:lnTo>
                      <a:pt x="392" y="94"/>
                    </a:lnTo>
                    <a:lnTo>
                      <a:pt x="399" y="98"/>
                    </a:lnTo>
                    <a:lnTo>
                      <a:pt x="409" y="101"/>
                    </a:lnTo>
                    <a:lnTo>
                      <a:pt x="409" y="101"/>
                    </a:lnTo>
                    <a:lnTo>
                      <a:pt x="411" y="101"/>
                    </a:lnTo>
                    <a:lnTo>
                      <a:pt x="416" y="103"/>
                    </a:lnTo>
                    <a:lnTo>
                      <a:pt x="425" y="110"/>
                    </a:lnTo>
                    <a:lnTo>
                      <a:pt x="430" y="115"/>
                    </a:lnTo>
                    <a:lnTo>
                      <a:pt x="439" y="120"/>
                    </a:lnTo>
                    <a:lnTo>
                      <a:pt x="439" y="125"/>
                    </a:lnTo>
                    <a:lnTo>
                      <a:pt x="442" y="134"/>
                    </a:lnTo>
                    <a:lnTo>
                      <a:pt x="445" y="141"/>
                    </a:lnTo>
                    <a:lnTo>
                      <a:pt x="449" y="149"/>
                    </a:lnTo>
                    <a:lnTo>
                      <a:pt x="452" y="153"/>
                    </a:lnTo>
                    <a:lnTo>
                      <a:pt x="457" y="158"/>
                    </a:lnTo>
                    <a:lnTo>
                      <a:pt x="449" y="163"/>
                    </a:lnTo>
                    <a:lnTo>
                      <a:pt x="442" y="170"/>
                    </a:lnTo>
                    <a:lnTo>
                      <a:pt x="437" y="177"/>
                    </a:lnTo>
                    <a:lnTo>
                      <a:pt x="435" y="189"/>
                    </a:lnTo>
                    <a:lnTo>
                      <a:pt x="437" y="192"/>
                    </a:lnTo>
                    <a:lnTo>
                      <a:pt x="442" y="194"/>
                    </a:lnTo>
                    <a:lnTo>
                      <a:pt x="447" y="199"/>
                    </a:lnTo>
                    <a:lnTo>
                      <a:pt x="451" y="206"/>
                    </a:lnTo>
                    <a:lnTo>
                      <a:pt x="463" y="206"/>
                    </a:lnTo>
                    <a:lnTo>
                      <a:pt x="463" y="208"/>
                    </a:lnTo>
                    <a:lnTo>
                      <a:pt x="464" y="211"/>
                    </a:lnTo>
                    <a:lnTo>
                      <a:pt x="468" y="208"/>
                    </a:lnTo>
                    <a:lnTo>
                      <a:pt x="471" y="206"/>
                    </a:lnTo>
                    <a:lnTo>
                      <a:pt x="478" y="192"/>
                    </a:lnTo>
                    <a:lnTo>
                      <a:pt x="490" y="187"/>
                    </a:lnTo>
                    <a:lnTo>
                      <a:pt x="497" y="187"/>
                    </a:lnTo>
                    <a:lnTo>
                      <a:pt x="507" y="192"/>
                    </a:lnTo>
                    <a:lnTo>
                      <a:pt x="516" y="196"/>
                    </a:lnTo>
                    <a:lnTo>
                      <a:pt x="525" y="201"/>
                    </a:lnTo>
                    <a:lnTo>
                      <a:pt x="530" y="203"/>
                    </a:lnTo>
                    <a:lnTo>
                      <a:pt x="533" y="206"/>
                    </a:lnTo>
                    <a:lnTo>
                      <a:pt x="533" y="211"/>
                    </a:lnTo>
                    <a:lnTo>
                      <a:pt x="535" y="218"/>
                    </a:lnTo>
                    <a:lnTo>
                      <a:pt x="538" y="218"/>
                    </a:lnTo>
                    <a:lnTo>
                      <a:pt x="543" y="215"/>
                    </a:lnTo>
                    <a:lnTo>
                      <a:pt x="549" y="213"/>
                    </a:lnTo>
                    <a:lnTo>
                      <a:pt x="561" y="216"/>
                    </a:lnTo>
                    <a:lnTo>
                      <a:pt x="573" y="222"/>
                    </a:lnTo>
                    <a:lnTo>
                      <a:pt x="592" y="218"/>
                    </a:lnTo>
                    <a:lnTo>
                      <a:pt x="604" y="222"/>
                    </a:lnTo>
                    <a:lnTo>
                      <a:pt x="616" y="227"/>
                    </a:lnTo>
                    <a:lnTo>
                      <a:pt x="619" y="232"/>
                    </a:lnTo>
                    <a:lnTo>
                      <a:pt x="626" y="240"/>
                    </a:lnTo>
                    <a:lnTo>
                      <a:pt x="635" y="246"/>
                    </a:lnTo>
                    <a:lnTo>
                      <a:pt x="643" y="251"/>
                    </a:lnTo>
                    <a:lnTo>
                      <a:pt x="652" y="251"/>
                    </a:lnTo>
                    <a:lnTo>
                      <a:pt x="662" y="252"/>
                    </a:lnTo>
                    <a:lnTo>
                      <a:pt x="671" y="261"/>
                    </a:lnTo>
                    <a:lnTo>
                      <a:pt x="674" y="277"/>
                    </a:lnTo>
                    <a:lnTo>
                      <a:pt x="672" y="289"/>
                    </a:lnTo>
                    <a:lnTo>
                      <a:pt x="671" y="299"/>
                    </a:lnTo>
                    <a:lnTo>
                      <a:pt x="666" y="307"/>
                    </a:lnTo>
                    <a:lnTo>
                      <a:pt x="662" y="316"/>
                    </a:lnTo>
                    <a:lnTo>
                      <a:pt x="652" y="330"/>
                    </a:lnTo>
                    <a:lnTo>
                      <a:pt x="642" y="345"/>
                    </a:lnTo>
                    <a:lnTo>
                      <a:pt x="636" y="349"/>
                    </a:lnTo>
                    <a:lnTo>
                      <a:pt x="633" y="356"/>
                    </a:lnTo>
                    <a:lnTo>
                      <a:pt x="624" y="363"/>
                    </a:lnTo>
                    <a:lnTo>
                      <a:pt x="617" y="369"/>
                    </a:lnTo>
                    <a:lnTo>
                      <a:pt x="612" y="375"/>
                    </a:lnTo>
                    <a:lnTo>
                      <a:pt x="612" y="385"/>
                    </a:lnTo>
                    <a:lnTo>
                      <a:pt x="614" y="395"/>
                    </a:lnTo>
                    <a:lnTo>
                      <a:pt x="616" y="405"/>
                    </a:lnTo>
                    <a:lnTo>
                      <a:pt x="614" y="418"/>
                    </a:lnTo>
                    <a:lnTo>
                      <a:pt x="614" y="430"/>
                    </a:lnTo>
                    <a:lnTo>
                      <a:pt x="612" y="431"/>
                    </a:lnTo>
                    <a:lnTo>
                      <a:pt x="611" y="435"/>
                    </a:lnTo>
                    <a:lnTo>
                      <a:pt x="605" y="440"/>
                    </a:lnTo>
                    <a:lnTo>
                      <a:pt x="604" y="447"/>
                    </a:lnTo>
                    <a:lnTo>
                      <a:pt x="602" y="455"/>
                    </a:lnTo>
                    <a:lnTo>
                      <a:pt x="602" y="464"/>
                    </a:lnTo>
                    <a:lnTo>
                      <a:pt x="592" y="478"/>
                    </a:lnTo>
                    <a:lnTo>
                      <a:pt x="583" y="491"/>
                    </a:lnTo>
                    <a:lnTo>
                      <a:pt x="581" y="497"/>
                    </a:lnTo>
                    <a:lnTo>
                      <a:pt x="581" y="502"/>
                    </a:lnTo>
                    <a:lnTo>
                      <a:pt x="571" y="510"/>
                    </a:lnTo>
                    <a:lnTo>
                      <a:pt x="559" y="516"/>
                    </a:lnTo>
                    <a:lnTo>
                      <a:pt x="545" y="516"/>
                    </a:lnTo>
                    <a:lnTo>
                      <a:pt x="535" y="519"/>
                    </a:lnTo>
                    <a:lnTo>
                      <a:pt x="530" y="521"/>
                    </a:lnTo>
                    <a:lnTo>
                      <a:pt x="528" y="524"/>
                    </a:lnTo>
                    <a:lnTo>
                      <a:pt x="518" y="529"/>
                    </a:lnTo>
                    <a:lnTo>
                      <a:pt x="509" y="533"/>
                    </a:lnTo>
                    <a:lnTo>
                      <a:pt x="500" y="534"/>
                    </a:lnTo>
                    <a:lnTo>
                      <a:pt x="495" y="543"/>
                    </a:lnTo>
                    <a:lnTo>
                      <a:pt x="487" y="548"/>
                    </a:lnTo>
                    <a:lnTo>
                      <a:pt x="480" y="553"/>
                    </a:lnTo>
                    <a:lnTo>
                      <a:pt x="475" y="564"/>
                    </a:lnTo>
                    <a:lnTo>
                      <a:pt x="475" y="577"/>
                    </a:lnTo>
                    <a:lnTo>
                      <a:pt x="475" y="602"/>
                    </a:lnTo>
                    <a:lnTo>
                      <a:pt x="461" y="610"/>
                    </a:lnTo>
                    <a:lnTo>
                      <a:pt x="454" y="626"/>
                    </a:lnTo>
                    <a:lnTo>
                      <a:pt x="454" y="626"/>
                    </a:lnTo>
                    <a:lnTo>
                      <a:pt x="451" y="632"/>
                    </a:lnTo>
                    <a:lnTo>
                      <a:pt x="447" y="641"/>
                    </a:lnTo>
                    <a:lnTo>
                      <a:pt x="439" y="648"/>
                    </a:lnTo>
                    <a:lnTo>
                      <a:pt x="433" y="655"/>
                    </a:lnTo>
                    <a:lnTo>
                      <a:pt x="425" y="660"/>
                    </a:lnTo>
                    <a:lnTo>
                      <a:pt x="420" y="670"/>
                    </a:lnTo>
                    <a:lnTo>
                      <a:pt x="413" y="682"/>
                    </a:lnTo>
                    <a:lnTo>
                      <a:pt x="406" y="694"/>
                    </a:lnTo>
                    <a:lnTo>
                      <a:pt x="396" y="705"/>
                    </a:lnTo>
                    <a:lnTo>
                      <a:pt x="382" y="710"/>
                    </a:lnTo>
                    <a:lnTo>
                      <a:pt x="368" y="706"/>
                    </a:lnTo>
                    <a:lnTo>
                      <a:pt x="359" y="705"/>
                    </a:lnTo>
                    <a:lnTo>
                      <a:pt x="347" y="701"/>
                    </a:lnTo>
                    <a:lnTo>
                      <a:pt x="337" y="700"/>
                    </a:lnTo>
                    <a:lnTo>
                      <a:pt x="334" y="700"/>
                    </a:lnTo>
                    <a:lnTo>
                      <a:pt x="334" y="701"/>
                    </a:lnTo>
                    <a:lnTo>
                      <a:pt x="337" y="706"/>
                    </a:lnTo>
                    <a:lnTo>
                      <a:pt x="342" y="710"/>
                    </a:lnTo>
                    <a:lnTo>
                      <a:pt x="346" y="717"/>
                    </a:lnTo>
                    <a:lnTo>
                      <a:pt x="349" y="725"/>
                    </a:lnTo>
                    <a:lnTo>
                      <a:pt x="353" y="730"/>
                    </a:lnTo>
                    <a:lnTo>
                      <a:pt x="358" y="737"/>
                    </a:lnTo>
                    <a:lnTo>
                      <a:pt x="356" y="744"/>
                    </a:lnTo>
                    <a:lnTo>
                      <a:pt x="356" y="751"/>
                    </a:lnTo>
                    <a:lnTo>
                      <a:pt x="349" y="758"/>
                    </a:lnTo>
                    <a:lnTo>
                      <a:pt x="342" y="767"/>
                    </a:lnTo>
                    <a:lnTo>
                      <a:pt x="327" y="772"/>
                    </a:lnTo>
                    <a:lnTo>
                      <a:pt x="311" y="777"/>
                    </a:lnTo>
                    <a:lnTo>
                      <a:pt x="303" y="775"/>
                    </a:lnTo>
                    <a:lnTo>
                      <a:pt x="294" y="775"/>
                    </a:lnTo>
                    <a:lnTo>
                      <a:pt x="286" y="775"/>
                    </a:lnTo>
                    <a:lnTo>
                      <a:pt x="282" y="777"/>
                    </a:lnTo>
                    <a:lnTo>
                      <a:pt x="277" y="782"/>
                    </a:lnTo>
                    <a:lnTo>
                      <a:pt x="277" y="791"/>
                    </a:lnTo>
                    <a:lnTo>
                      <a:pt x="277" y="798"/>
                    </a:lnTo>
                    <a:lnTo>
                      <a:pt x="277" y="806"/>
                    </a:lnTo>
                    <a:lnTo>
                      <a:pt x="277" y="806"/>
                    </a:lnTo>
                    <a:lnTo>
                      <a:pt x="277" y="808"/>
                    </a:lnTo>
                    <a:lnTo>
                      <a:pt x="277" y="811"/>
                    </a:lnTo>
                    <a:lnTo>
                      <a:pt x="272" y="815"/>
                    </a:lnTo>
                    <a:lnTo>
                      <a:pt x="265" y="818"/>
                    </a:lnTo>
                    <a:lnTo>
                      <a:pt x="253" y="815"/>
                    </a:lnTo>
                    <a:lnTo>
                      <a:pt x="243" y="811"/>
                    </a:lnTo>
                    <a:lnTo>
                      <a:pt x="237" y="813"/>
                    </a:lnTo>
                    <a:lnTo>
                      <a:pt x="237" y="816"/>
                    </a:lnTo>
                    <a:lnTo>
                      <a:pt x="237" y="822"/>
                    </a:lnTo>
                    <a:lnTo>
                      <a:pt x="239" y="828"/>
                    </a:lnTo>
                    <a:lnTo>
                      <a:pt x="243" y="834"/>
                    </a:lnTo>
                    <a:lnTo>
                      <a:pt x="248" y="837"/>
                    </a:lnTo>
                    <a:lnTo>
                      <a:pt x="251" y="835"/>
                    </a:lnTo>
                    <a:lnTo>
                      <a:pt x="255" y="834"/>
                    </a:lnTo>
                    <a:lnTo>
                      <a:pt x="256" y="835"/>
                    </a:lnTo>
                    <a:lnTo>
                      <a:pt x="260" y="839"/>
                    </a:lnTo>
                    <a:lnTo>
                      <a:pt x="256" y="842"/>
                    </a:lnTo>
                    <a:lnTo>
                      <a:pt x="255" y="846"/>
                    </a:lnTo>
                    <a:lnTo>
                      <a:pt x="246" y="842"/>
                    </a:lnTo>
                    <a:lnTo>
                      <a:pt x="241" y="841"/>
                    </a:lnTo>
                    <a:lnTo>
                      <a:pt x="243" y="846"/>
                    </a:lnTo>
                    <a:lnTo>
                      <a:pt x="248" y="847"/>
                    </a:lnTo>
                    <a:lnTo>
                      <a:pt x="237" y="861"/>
                    </a:lnTo>
                    <a:lnTo>
                      <a:pt x="234" y="878"/>
                    </a:lnTo>
                    <a:lnTo>
                      <a:pt x="227" y="884"/>
                    </a:lnTo>
                    <a:lnTo>
                      <a:pt x="220" y="885"/>
                    </a:lnTo>
                    <a:lnTo>
                      <a:pt x="210" y="890"/>
                    </a:lnTo>
                    <a:lnTo>
                      <a:pt x="206" y="904"/>
                    </a:lnTo>
                    <a:lnTo>
                      <a:pt x="208" y="913"/>
                    </a:lnTo>
                    <a:lnTo>
                      <a:pt x="217" y="918"/>
                    </a:lnTo>
                    <a:lnTo>
                      <a:pt x="224" y="921"/>
                    </a:lnTo>
                    <a:lnTo>
                      <a:pt x="229" y="932"/>
                    </a:lnTo>
                    <a:lnTo>
                      <a:pt x="225" y="939"/>
                    </a:lnTo>
                    <a:lnTo>
                      <a:pt x="220" y="945"/>
                    </a:lnTo>
                    <a:lnTo>
                      <a:pt x="213" y="949"/>
                    </a:lnTo>
                    <a:lnTo>
                      <a:pt x="208" y="954"/>
                    </a:lnTo>
                    <a:lnTo>
                      <a:pt x="205" y="961"/>
                    </a:lnTo>
                    <a:lnTo>
                      <a:pt x="203" y="971"/>
                    </a:lnTo>
                    <a:lnTo>
                      <a:pt x="194" y="976"/>
                    </a:lnTo>
                    <a:lnTo>
                      <a:pt x="187" y="980"/>
                    </a:lnTo>
                    <a:lnTo>
                      <a:pt x="181" y="990"/>
                    </a:lnTo>
                    <a:lnTo>
                      <a:pt x="179" y="1004"/>
                    </a:lnTo>
                    <a:lnTo>
                      <a:pt x="181" y="1009"/>
                    </a:lnTo>
                    <a:lnTo>
                      <a:pt x="186" y="1014"/>
                    </a:lnTo>
                    <a:lnTo>
                      <a:pt x="189" y="1019"/>
                    </a:lnTo>
                    <a:lnTo>
                      <a:pt x="193" y="1031"/>
                    </a:lnTo>
                    <a:lnTo>
                      <a:pt x="196" y="1042"/>
                    </a:lnTo>
                    <a:lnTo>
                      <a:pt x="201" y="1050"/>
                    </a:lnTo>
                    <a:lnTo>
                      <a:pt x="208" y="1055"/>
                    </a:lnTo>
                    <a:lnTo>
                      <a:pt x="218" y="1062"/>
                    </a:lnTo>
                    <a:lnTo>
                      <a:pt x="229" y="1068"/>
                    </a:lnTo>
                    <a:lnTo>
                      <a:pt x="239" y="1073"/>
                    </a:lnTo>
                    <a:lnTo>
                      <a:pt x="236" y="1073"/>
                    </a:lnTo>
                    <a:lnTo>
                      <a:pt x="232" y="1073"/>
                    </a:lnTo>
                    <a:lnTo>
                      <a:pt x="217" y="1078"/>
                    </a:lnTo>
                    <a:lnTo>
                      <a:pt x="206" y="1083"/>
                    </a:lnTo>
                    <a:lnTo>
                      <a:pt x="203" y="1083"/>
                    </a:lnTo>
                    <a:lnTo>
                      <a:pt x="201" y="1083"/>
                    </a:lnTo>
                    <a:lnTo>
                      <a:pt x="198" y="1083"/>
                    </a:lnTo>
                    <a:lnTo>
                      <a:pt x="196" y="1085"/>
                    </a:lnTo>
                    <a:lnTo>
                      <a:pt x="189" y="1085"/>
                    </a:lnTo>
                    <a:lnTo>
                      <a:pt x="182" y="1085"/>
                    </a:lnTo>
                    <a:lnTo>
                      <a:pt x="174" y="1081"/>
                    </a:lnTo>
                    <a:lnTo>
                      <a:pt x="172" y="1076"/>
                    </a:lnTo>
                    <a:lnTo>
                      <a:pt x="169" y="1071"/>
                    </a:lnTo>
                    <a:lnTo>
                      <a:pt x="167" y="1069"/>
                    </a:lnTo>
                    <a:lnTo>
                      <a:pt x="153" y="1064"/>
                    </a:lnTo>
                    <a:lnTo>
                      <a:pt x="148" y="1057"/>
                    </a:lnTo>
                    <a:lnTo>
                      <a:pt x="141" y="1057"/>
                    </a:lnTo>
                    <a:lnTo>
                      <a:pt x="138" y="1057"/>
                    </a:lnTo>
                    <a:lnTo>
                      <a:pt x="132" y="1054"/>
                    </a:lnTo>
                    <a:lnTo>
                      <a:pt x="132" y="1050"/>
                    </a:lnTo>
                    <a:lnTo>
                      <a:pt x="120" y="1049"/>
                    </a:lnTo>
                    <a:lnTo>
                      <a:pt x="115" y="1045"/>
                    </a:lnTo>
                    <a:lnTo>
                      <a:pt x="110" y="1040"/>
                    </a:lnTo>
                    <a:lnTo>
                      <a:pt x="107" y="1037"/>
                    </a:lnTo>
                    <a:lnTo>
                      <a:pt x="105" y="1033"/>
                    </a:lnTo>
                    <a:lnTo>
                      <a:pt x="103" y="1031"/>
                    </a:lnTo>
                    <a:lnTo>
                      <a:pt x="107" y="1026"/>
                    </a:lnTo>
                    <a:lnTo>
                      <a:pt x="112" y="1023"/>
                    </a:lnTo>
                    <a:lnTo>
                      <a:pt x="110" y="1021"/>
                    </a:lnTo>
                    <a:lnTo>
                      <a:pt x="108" y="1021"/>
                    </a:lnTo>
                    <a:lnTo>
                      <a:pt x="110" y="1016"/>
                    </a:lnTo>
                    <a:lnTo>
                      <a:pt x="112" y="1012"/>
                    </a:lnTo>
                    <a:lnTo>
                      <a:pt x="108" y="1004"/>
                    </a:lnTo>
                    <a:lnTo>
                      <a:pt x="105" y="1000"/>
                    </a:lnTo>
                    <a:lnTo>
                      <a:pt x="100" y="997"/>
                    </a:lnTo>
                    <a:lnTo>
                      <a:pt x="98" y="992"/>
                    </a:lnTo>
                    <a:lnTo>
                      <a:pt x="98" y="987"/>
                    </a:lnTo>
                    <a:lnTo>
                      <a:pt x="98" y="985"/>
                    </a:lnTo>
                    <a:lnTo>
                      <a:pt x="96" y="975"/>
                    </a:lnTo>
                    <a:lnTo>
                      <a:pt x="95" y="964"/>
                    </a:lnTo>
                    <a:lnTo>
                      <a:pt x="91" y="954"/>
                    </a:lnTo>
                    <a:lnTo>
                      <a:pt x="91" y="947"/>
                    </a:lnTo>
                    <a:lnTo>
                      <a:pt x="96" y="937"/>
                    </a:lnTo>
                    <a:lnTo>
                      <a:pt x="101" y="927"/>
                    </a:lnTo>
                    <a:lnTo>
                      <a:pt x="98" y="916"/>
                    </a:lnTo>
                    <a:lnTo>
                      <a:pt x="95" y="908"/>
                    </a:lnTo>
                    <a:lnTo>
                      <a:pt x="95" y="904"/>
                    </a:lnTo>
                    <a:lnTo>
                      <a:pt x="96" y="904"/>
                    </a:lnTo>
                    <a:lnTo>
                      <a:pt x="96" y="899"/>
                    </a:lnTo>
                    <a:lnTo>
                      <a:pt x="100" y="897"/>
                    </a:lnTo>
                    <a:lnTo>
                      <a:pt x="107" y="902"/>
                    </a:lnTo>
                    <a:lnTo>
                      <a:pt x="114" y="908"/>
                    </a:lnTo>
                    <a:lnTo>
                      <a:pt x="131" y="832"/>
                    </a:lnTo>
                    <a:lnTo>
                      <a:pt x="131" y="825"/>
                    </a:lnTo>
                    <a:lnTo>
                      <a:pt x="127" y="823"/>
                    </a:lnTo>
                    <a:lnTo>
                      <a:pt x="126" y="825"/>
                    </a:lnTo>
                    <a:lnTo>
                      <a:pt x="120" y="827"/>
                    </a:lnTo>
                    <a:lnTo>
                      <a:pt x="117" y="830"/>
                    </a:lnTo>
                    <a:lnTo>
                      <a:pt x="112" y="823"/>
                    </a:lnTo>
                    <a:lnTo>
                      <a:pt x="110" y="813"/>
                    </a:lnTo>
                    <a:lnTo>
                      <a:pt x="112" y="801"/>
                    </a:lnTo>
                    <a:lnTo>
                      <a:pt x="115" y="789"/>
                    </a:lnTo>
                    <a:lnTo>
                      <a:pt x="119" y="787"/>
                    </a:lnTo>
                    <a:lnTo>
                      <a:pt x="120" y="787"/>
                    </a:lnTo>
                    <a:lnTo>
                      <a:pt x="119" y="782"/>
                    </a:lnTo>
                    <a:lnTo>
                      <a:pt x="117" y="780"/>
                    </a:lnTo>
                    <a:lnTo>
                      <a:pt x="115" y="777"/>
                    </a:lnTo>
                    <a:lnTo>
                      <a:pt x="115" y="772"/>
                    </a:lnTo>
                    <a:lnTo>
                      <a:pt x="115" y="767"/>
                    </a:lnTo>
                    <a:lnTo>
                      <a:pt x="115" y="763"/>
                    </a:lnTo>
                    <a:lnTo>
                      <a:pt x="119" y="744"/>
                    </a:lnTo>
                    <a:lnTo>
                      <a:pt x="127" y="732"/>
                    </a:lnTo>
                    <a:lnTo>
                      <a:pt x="129" y="725"/>
                    </a:lnTo>
                    <a:lnTo>
                      <a:pt x="132" y="718"/>
                    </a:lnTo>
                    <a:lnTo>
                      <a:pt x="134" y="717"/>
                    </a:lnTo>
                    <a:lnTo>
                      <a:pt x="138" y="715"/>
                    </a:lnTo>
                    <a:lnTo>
                      <a:pt x="141" y="698"/>
                    </a:lnTo>
                    <a:lnTo>
                      <a:pt x="144" y="682"/>
                    </a:lnTo>
                    <a:lnTo>
                      <a:pt x="143" y="645"/>
                    </a:lnTo>
                    <a:lnTo>
                      <a:pt x="143" y="632"/>
                    </a:lnTo>
                    <a:lnTo>
                      <a:pt x="146" y="620"/>
                    </a:lnTo>
                    <a:lnTo>
                      <a:pt x="146" y="605"/>
                    </a:lnTo>
                    <a:lnTo>
                      <a:pt x="151" y="595"/>
                    </a:lnTo>
                    <a:lnTo>
                      <a:pt x="155" y="583"/>
                    </a:lnTo>
                    <a:lnTo>
                      <a:pt x="158" y="571"/>
                    </a:lnTo>
                    <a:lnTo>
                      <a:pt x="158" y="569"/>
                    </a:lnTo>
                    <a:lnTo>
                      <a:pt x="158" y="567"/>
                    </a:lnTo>
                    <a:lnTo>
                      <a:pt x="158" y="557"/>
                    </a:lnTo>
                    <a:lnTo>
                      <a:pt x="162" y="548"/>
                    </a:lnTo>
                    <a:lnTo>
                      <a:pt x="162" y="538"/>
                    </a:lnTo>
                    <a:lnTo>
                      <a:pt x="162" y="533"/>
                    </a:lnTo>
                    <a:lnTo>
                      <a:pt x="162" y="529"/>
                    </a:lnTo>
                    <a:lnTo>
                      <a:pt x="162" y="526"/>
                    </a:lnTo>
                    <a:lnTo>
                      <a:pt x="162" y="519"/>
                    </a:lnTo>
                    <a:lnTo>
                      <a:pt x="163" y="512"/>
                    </a:lnTo>
                    <a:lnTo>
                      <a:pt x="163" y="504"/>
                    </a:lnTo>
                    <a:lnTo>
                      <a:pt x="165" y="498"/>
                    </a:lnTo>
                    <a:lnTo>
                      <a:pt x="163" y="490"/>
                    </a:lnTo>
                    <a:lnTo>
                      <a:pt x="163" y="478"/>
                    </a:lnTo>
                    <a:lnTo>
                      <a:pt x="162" y="464"/>
                    </a:lnTo>
                    <a:lnTo>
                      <a:pt x="162" y="457"/>
                    </a:lnTo>
                    <a:lnTo>
                      <a:pt x="151" y="442"/>
                    </a:lnTo>
                    <a:lnTo>
                      <a:pt x="139" y="433"/>
                    </a:lnTo>
                    <a:lnTo>
                      <a:pt x="129" y="428"/>
                    </a:lnTo>
                    <a:lnTo>
                      <a:pt x="120" y="424"/>
                    </a:lnTo>
                    <a:lnTo>
                      <a:pt x="112" y="418"/>
                    </a:lnTo>
                    <a:lnTo>
                      <a:pt x="105" y="414"/>
                    </a:lnTo>
                    <a:lnTo>
                      <a:pt x="95" y="409"/>
                    </a:lnTo>
                    <a:lnTo>
                      <a:pt x="86" y="405"/>
                    </a:lnTo>
                    <a:lnTo>
                      <a:pt x="79" y="399"/>
                    </a:lnTo>
                    <a:lnTo>
                      <a:pt x="74" y="393"/>
                    </a:lnTo>
                    <a:lnTo>
                      <a:pt x="71" y="387"/>
                    </a:lnTo>
                    <a:lnTo>
                      <a:pt x="72" y="378"/>
                    </a:lnTo>
                    <a:lnTo>
                      <a:pt x="67" y="368"/>
                    </a:lnTo>
                    <a:lnTo>
                      <a:pt x="62" y="359"/>
                    </a:lnTo>
                    <a:lnTo>
                      <a:pt x="53" y="342"/>
                    </a:lnTo>
                    <a:lnTo>
                      <a:pt x="45" y="326"/>
                    </a:lnTo>
                    <a:lnTo>
                      <a:pt x="40" y="311"/>
                    </a:lnTo>
                    <a:lnTo>
                      <a:pt x="34" y="299"/>
                    </a:lnTo>
                    <a:lnTo>
                      <a:pt x="31" y="295"/>
                    </a:lnTo>
                    <a:lnTo>
                      <a:pt x="28" y="295"/>
                    </a:lnTo>
                    <a:lnTo>
                      <a:pt x="22" y="287"/>
                    </a:lnTo>
                    <a:lnTo>
                      <a:pt x="21" y="280"/>
                    </a:lnTo>
                    <a:lnTo>
                      <a:pt x="17" y="278"/>
                    </a:lnTo>
                    <a:lnTo>
                      <a:pt x="14" y="277"/>
                    </a:lnTo>
                    <a:lnTo>
                      <a:pt x="3" y="264"/>
                    </a:lnTo>
                    <a:lnTo>
                      <a:pt x="0" y="252"/>
                    </a:lnTo>
                    <a:lnTo>
                      <a:pt x="2" y="242"/>
                    </a:lnTo>
                    <a:lnTo>
                      <a:pt x="7" y="237"/>
                    </a:lnTo>
                    <a:lnTo>
                      <a:pt x="14" y="227"/>
                    </a:lnTo>
                    <a:lnTo>
                      <a:pt x="22" y="218"/>
                    </a:lnTo>
                    <a:lnTo>
                      <a:pt x="17" y="216"/>
                    </a:lnTo>
                    <a:lnTo>
                      <a:pt x="14" y="218"/>
                    </a:lnTo>
                    <a:lnTo>
                      <a:pt x="7" y="211"/>
                    </a:lnTo>
                    <a:lnTo>
                      <a:pt x="7" y="201"/>
                    </a:lnTo>
                    <a:lnTo>
                      <a:pt x="7" y="192"/>
                    </a:lnTo>
                    <a:lnTo>
                      <a:pt x="12" y="187"/>
                    </a:lnTo>
                    <a:lnTo>
                      <a:pt x="15" y="180"/>
                    </a:lnTo>
                    <a:lnTo>
                      <a:pt x="17" y="170"/>
                    </a:lnTo>
                    <a:lnTo>
                      <a:pt x="24" y="166"/>
                    </a:lnTo>
                    <a:lnTo>
                      <a:pt x="31" y="161"/>
                    </a:lnTo>
                    <a:lnTo>
                      <a:pt x="34" y="153"/>
                    </a:lnTo>
                    <a:lnTo>
                      <a:pt x="38" y="148"/>
                    </a:lnTo>
                    <a:lnTo>
                      <a:pt x="43" y="139"/>
                    </a:lnTo>
                    <a:lnTo>
                      <a:pt x="50" y="136"/>
                    </a:lnTo>
                    <a:lnTo>
                      <a:pt x="55" y="132"/>
                    </a:lnTo>
                    <a:lnTo>
                      <a:pt x="60" y="125"/>
                    </a:lnTo>
                    <a:lnTo>
                      <a:pt x="57" y="123"/>
                    </a:lnTo>
                    <a:lnTo>
                      <a:pt x="55" y="122"/>
                    </a:lnTo>
                    <a:lnTo>
                      <a:pt x="57" y="117"/>
                    </a:lnTo>
                    <a:lnTo>
                      <a:pt x="57"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3" name="Freeform 293"/>
              <p:cNvSpPr>
                <a:spLocks/>
              </p:cNvSpPr>
              <p:nvPr/>
            </p:nvSpPr>
            <p:spPr bwMode="auto">
              <a:xfrm>
                <a:off x="2518569" y="3440113"/>
                <a:ext cx="14288" cy="15875"/>
              </a:xfrm>
              <a:custGeom>
                <a:avLst/>
                <a:gdLst/>
                <a:ahLst/>
                <a:cxnLst>
                  <a:cxn ang="0">
                    <a:pos x="4" y="0"/>
                  </a:cxn>
                  <a:cxn ang="0">
                    <a:pos x="7" y="2"/>
                  </a:cxn>
                  <a:cxn ang="0">
                    <a:pos x="9" y="7"/>
                  </a:cxn>
                  <a:cxn ang="0">
                    <a:pos x="7" y="8"/>
                  </a:cxn>
                  <a:cxn ang="0">
                    <a:pos x="5" y="10"/>
                  </a:cxn>
                  <a:cxn ang="0">
                    <a:pos x="0" y="7"/>
                  </a:cxn>
                  <a:cxn ang="0">
                    <a:pos x="0" y="0"/>
                  </a:cxn>
                  <a:cxn ang="0">
                    <a:pos x="4" y="0"/>
                  </a:cxn>
                </a:cxnLst>
                <a:rect l="0" t="0" r="r" b="b"/>
                <a:pathLst>
                  <a:path w="9" h="10">
                    <a:moveTo>
                      <a:pt x="4" y="0"/>
                    </a:moveTo>
                    <a:lnTo>
                      <a:pt x="7" y="2"/>
                    </a:lnTo>
                    <a:lnTo>
                      <a:pt x="9" y="7"/>
                    </a:lnTo>
                    <a:lnTo>
                      <a:pt x="7" y="8"/>
                    </a:lnTo>
                    <a:lnTo>
                      <a:pt x="5" y="10"/>
                    </a:lnTo>
                    <a:lnTo>
                      <a:pt x="0" y="7"/>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4" name="Freeform 294"/>
              <p:cNvSpPr>
                <a:spLocks/>
              </p:cNvSpPr>
              <p:nvPr/>
            </p:nvSpPr>
            <p:spPr bwMode="auto">
              <a:xfrm>
                <a:off x="2507457" y="3394075"/>
                <a:ext cx="22225" cy="7937"/>
              </a:xfrm>
              <a:custGeom>
                <a:avLst/>
                <a:gdLst/>
                <a:ahLst/>
                <a:cxnLst>
                  <a:cxn ang="0">
                    <a:pos x="0" y="5"/>
                  </a:cxn>
                  <a:cxn ang="0">
                    <a:pos x="2" y="1"/>
                  </a:cxn>
                  <a:cxn ang="0">
                    <a:pos x="7" y="0"/>
                  </a:cxn>
                  <a:cxn ang="0">
                    <a:pos x="11" y="1"/>
                  </a:cxn>
                  <a:cxn ang="0">
                    <a:pos x="14" y="5"/>
                  </a:cxn>
                  <a:cxn ang="0">
                    <a:pos x="6" y="5"/>
                  </a:cxn>
                  <a:cxn ang="0">
                    <a:pos x="0" y="5"/>
                  </a:cxn>
                </a:cxnLst>
                <a:rect l="0" t="0" r="r" b="b"/>
                <a:pathLst>
                  <a:path w="14" h="5">
                    <a:moveTo>
                      <a:pt x="0" y="5"/>
                    </a:moveTo>
                    <a:lnTo>
                      <a:pt x="2" y="1"/>
                    </a:lnTo>
                    <a:lnTo>
                      <a:pt x="7" y="0"/>
                    </a:lnTo>
                    <a:lnTo>
                      <a:pt x="11" y="1"/>
                    </a:lnTo>
                    <a:lnTo>
                      <a:pt x="14" y="5"/>
                    </a:lnTo>
                    <a:lnTo>
                      <a:pt x="6" y="5"/>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5" name="Freeform 295"/>
              <p:cNvSpPr>
                <a:spLocks/>
              </p:cNvSpPr>
              <p:nvPr/>
            </p:nvSpPr>
            <p:spPr bwMode="auto">
              <a:xfrm>
                <a:off x="2543969" y="3403600"/>
                <a:ext cx="4763" cy="6350"/>
              </a:xfrm>
              <a:custGeom>
                <a:avLst/>
                <a:gdLst/>
                <a:ahLst/>
                <a:cxnLst>
                  <a:cxn ang="0">
                    <a:pos x="3" y="4"/>
                  </a:cxn>
                  <a:cxn ang="0">
                    <a:pos x="0" y="2"/>
                  </a:cxn>
                  <a:cxn ang="0">
                    <a:pos x="0" y="0"/>
                  </a:cxn>
                  <a:cxn ang="0">
                    <a:pos x="3" y="4"/>
                  </a:cxn>
                </a:cxnLst>
                <a:rect l="0" t="0" r="r" b="b"/>
                <a:pathLst>
                  <a:path w="3" h="4">
                    <a:moveTo>
                      <a:pt x="3" y="4"/>
                    </a:moveTo>
                    <a:lnTo>
                      <a:pt x="0" y="2"/>
                    </a:lnTo>
                    <a:lnTo>
                      <a:pt x="0" y="0"/>
                    </a:lnTo>
                    <a:lnTo>
                      <a:pt x="3"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6" name="Freeform 296"/>
              <p:cNvSpPr>
                <a:spLocks/>
              </p:cNvSpPr>
              <p:nvPr/>
            </p:nvSpPr>
            <p:spPr bwMode="auto">
              <a:xfrm>
                <a:off x="2624932" y="3524250"/>
                <a:ext cx="17463" cy="14287"/>
              </a:xfrm>
              <a:custGeom>
                <a:avLst/>
                <a:gdLst/>
                <a:ahLst/>
                <a:cxnLst>
                  <a:cxn ang="0">
                    <a:pos x="0" y="5"/>
                  </a:cxn>
                  <a:cxn ang="0">
                    <a:pos x="0" y="9"/>
                  </a:cxn>
                  <a:cxn ang="0">
                    <a:pos x="2" y="9"/>
                  </a:cxn>
                  <a:cxn ang="0">
                    <a:pos x="6" y="7"/>
                  </a:cxn>
                  <a:cxn ang="0">
                    <a:pos x="11" y="5"/>
                  </a:cxn>
                  <a:cxn ang="0">
                    <a:pos x="11" y="0"/>
                  </a:cxn>
                  <a:cxn ang="0">
                    <a:pos x="6" y="4"/>
                  </a:cxn>
                  <a:cxn ang="0">
                    <a:pos x="0" y="5"/>
                  </a:cxn>
                </a:cxnLst>
                <a:rect l="0" t="0" r="r" b="b"/>
                <a:pathLst>
                  <a:path w="11" h="9">
                    <a:moveTo>
                      <a:pt x="0" y="5"/>
                    </a:moveTo>
                    <a:lnTo>
                      <a:pt x="0" y="9"/>
                    </a:lnTo>
                    <a:lnTo>
                      <a:pt x="2" y="9"/>
                    </a:lnTo>
                    <a:lnTo>
                      <a:pt x="6" y="7"/>
                    </a:lnTo>
                    <a:lnTo>
                      <a:pt x="11" y="5"/>
                    </a:lnTo>
                    <a:lnTo>
                      <a:pt x="11" y="0"/>
                    </a:lnTo>
                    <a:lnTo>
                      <a:pt x="6" y="4"/>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7" name="Freeform 297"/>
              <p:cNvSpPr>
                <a:spLocks/>
              </p:cNvSpPr>
              <p:nvPr/>
            </p:nvSpPr>
            <p:spPr bwMode="auto">
              <a:xfrm>
                <a:off x="1456532" y="2787650"/>
                <a:ext cx="1323975" cy="649287"/>
              </a:xfrm>
              <a:custGeom>
                <a:avLst/>
                <a:gdLst/>
                <a:ahLst/>
                <a:cxnLst>
                  <a:cxn ang="0">
                    <a:pos x="642" y="289"/>
                  </a:cxn>
                  <a:cxn ang="0">
                    <a:pos x="626" y="337"/>
                  </a:cxn>
                  <a:cxn ang="0">
                    <a:pos x="638" y="368"/>
                  </a:cxn>
                  <a:cxn ang="0">
                    <a:pos x="626" y="404"/>
                  </a:cxn>
                  <a:cxn ang="0">
                    <a:pos x="600" y="347"/>
                  </a:cxn>
                  <a:cxn ang="0">
                    <a:pos x="559" y="330"/>
                  </a:cxn>
                  <a:cxn ang="0">
                    <a:pos x="530" y="325"/>
                  </a:cxn>
                  <a:cxn ang="0">
                    <a:pos x="506" y="339"/>
                  </a:cxn>
                  <a:cxn ang="0">
                    <a:pos x="473" y="335"/>
                  </a:cxn>
                  <a:cxn ang="0">
                    <a:pos x="441" y="335"/>
                  </a:cxn>
                  <a:cxn ang="0">
                    <a:pos x="410" y="356"/>
                  </a:cxn>
                  <a:cxn ang="0">
                    <a:pos x="392" y="390"/>
                  </a:cxn>
                  <a:cxn ang="0">
                    <a:pos x="358" y="370"/>
                  </a:cxn>
                  <a:cxn ang="0">
                    <a:pos x="332" y="332"/>
                  </a:cxn>
                  <a:cxn ang="0">
                    <a:pos x="306" y="347"/>
                  </a:cxn>
                  <a:cxn ang="0">
                    <a:pos x="275" y="313"/>
                  </a:cxn>
                  <a:cxn ang="0">
                    <a:pos x="238" y="308"/>
                  </a:cxn>
                  <a:cxn ang="0">
                    <a:pos x="86" y="270"/>
                  </a:cxn>
                  <a:cxn ang="0">
                    <a:pos x="47" y="234"/>
                  </a:cxn>
                  <a:cxn ang="0">
                    <a:pos x="17" y="186"/>
                  </a:cxn>
                  <a:cxn ang="0">
                    <a:pos x="5" y="141"/>
                  </a:cxn>
                  <a:cxn ang="0">
                    <a:pos x="5" y="82"/>
                  </a:cxn>
                  <a:cxn ang="0">
                    <a:pos x="2" y="22"/>
                  </a:cxn>
                  <a:cxn ang="0">
                    <a:pos x="29" y="17"/>
                  </a:cxn>
                  <a:cxn ang="0">
                    <a:pos x="435" y="5"/>
                  </a:cxn>
                  <a:cxn ang="0">
                    <a:pos x="494" y="20"/>
                  </a:cxn>
                  <a:cxn ang="0">
                    <a:pos x="470" y="51"/>
                  </a:cxn>
                  <a:cxn ang="0">
                    <a:pos x="494" y="53"/>
                  </a:cxn>
                  <a:cxn ang="0">
                    <a:pos x="527" y="41"/>
                  </a:cxn>
                  <a:cxn ang="0">
                    <a:pos x="551" y="50"/>
                  </a:cxn>
                  <a:cxn ang="0">
                    <a:pos x="573" y="62"/>
                  </a:cxn>
                  <a:cxn ang="0">
                    <a:pos x="530" y="86"/>
                  </a:cxn>
                  <a:cxn ang="0">
                    <a:pos x="530" y="115"/>
                  </a:cxn>
                  <a:cxn ang="0">
                    <a:pos x="549" y="131"/>
                  </a:cxn>
                  <a:cxn ang="0">
                    <a:pos x="552" y="94"/>
                  </a:cxn>
                  <a:cxn ang="0">
                    <a:pos x="570" y="70"/>
                  </a:cxn>
                  <a:cxn ang="0">
                    <a:pos x="595" y="74"/>
                  </a:cxn>
                  <a:cxn ang="0">
                    <a:pos x="604" y="96"/>
                  </a:cxn>
                  <a:cxn ang="0">
                    <a:pos x="599" y="136"/>
                  </a:cxn>
                  <a:cxn ang="0">
                    <a:pos x="654" y="124"/>
                  </a:cxn>
                  <a:cxn ang="0">
                    <a:pos x="668" y="110"/>
                  </a:cxn>
                  <a:cxn ang="0">
                    <a:pos x="712" y="86"/>
                  </a:cxn>
                  <a:cxn ang="0">
                    <a:pos x="757" y="74"/>
                  </a:cxn>
                  <a:cxn ang="0">
                    <a:pos x="783" y="67"/>
                  </a:cxn>
                  <a:cxn ang="0">
                    <a:pos x="814" y="34"/>
                  </a:cxn>
                  <a:cxn ang="0">
                    <a:pos x="834" y="82"/>
                  </a:cxn>
                  <a:cxn ang="0">
                    <a:pos x="798" y="96"/>
                  </a:cxn>
                  <a:cxn ang="0">
                    <a:pos x="783" y="129"/>
                  </a:cxn>
                  <a:cxn ang="0">
                    <a:pos x="795" y="139"/>
                  </a:cxn>
                  <a:cxn ang="0">
                    <a:pos x="748" y="146"/>
                  </a:cxn>
                  <a:cxn ang="0">
                    <a:pos x="747" y="151"/>
                  </a:cxn>
                  <a:cxn ang="0">
                    <a:pos x="733" y="160"/>
                  </a:cxn>
                  <a:cxn ang="0">
                    <a:pos x="721" y="184"/>
                  </a:cxn>
                  <a:cxn ang="0">
                    <a:pos x="719" y="192"/>
                  </a:cxn>
                  <a:cxn ang="0">
                    <a:pos x="705" y="211"/>
                  </a:cxn>
                  <a:cxn ang="0">
                    <a:pos x="700" y="187"/>
                  </a:cxn>
                  <a:cxn ang="0">
                    <a:pos x="700" y="217"/>
                  </a:cxn>
                  <a:cxn ang="0">
                    <a:pos x="705" y="225"/>
                  </a:cxn>
                  <a:cxn ang="0">
                    <a:pos x="704" y="239"/>
                  </a:cxn>
                  <a:cxn ang="0">
                    <a:pos x="699" y="254"/>
                  </a:cxn>
                  <a:cxn ang="0">
                    <a:pos x="678" y="268"/>
                  </a:cxn>
                </a:cxnLst>
                <a:rect l="0" t="0" r="r" b="b"/>
                <a:pathLst>
                  <a:path w="834" h="409">
                    <a:moveTo>
                      <a:pt x="678" y="268"/>
                    </a:moveTo>
                    <a:lnTo>
                      <a:pt x="668" y="272"/>
                    </a:lnTo>
                    <a:lnTo>
                      <a:pt x="659" y="277"/>
                    </a:lnTo>
                    <a:lnTo>
                      <a:pt x="649" y="282"/>
                    </a:lnTo>
                    <a:lnTo>
                      <a:pt x="642" y="289"/>
                    </a:lnTo>
                    <a:lnTo>
                      <a:pt x="633" y="294"/>
                    </a:lnTo>
                    <a:lnTo>
                      <a:pt x="628" y="304"/>
                    </a:lnTo>
                    <a:lnTo>
                      <a:pt x="625" y="315"/>
                    </a:lnTo>
                    <a:lnTo>
                      <a:pt x="625" y="328"/>
                    </a:lnTo>
                    <a:lnTo>
                      <a:pt x="626" y="337"/>
                    </a:lnTo>
                    <a:lnTo>
                      <a:pt x="631" y="345"/>
                    </a:lnTo>
                    <a:lnTo>
                      <a:pt x="635" y="354"/>
                    </a:lnTo>
                    <a:lnTo>
                      <a:pt x="638" y="366"/>
                    </a:lnTo>
                    <a:lnTo>
                      <a:pt x="638" y="364"/>
                    </a:lnTo>
                    <a:lnTo>
                      <a:pt x="638" y="368"/>
                    </a:lnTo>
                    <a:lnTo>
                      <a:pt x="642" y="376"/>
                    </a:lnTo>
                    <a:lnTo>
                      <a:pt x="645" y="388"/>
                    </a:lnTo>
                    <a:lnTo>
                      <a:pt x="642" y="402"/>
                    </a:lnTo>
                    <a:lnTo>
                      <a:pt x="633" y="409"/>
                    </a:lnTo>
                    <a:lnTo>
                      <a:pt x="626" y="404"/>
                    </a:lnTo>
                    <a:lnTo>
                      <a:pt x="623" y="395"/>
                    </a:lnTo>
                    <a:lnTo>
                      <a:pt x="614" y="385"/>
                    </a:lnTo>
                    <a:lnTo>
                      <a:pt x="607" y="376"/>
                    </a:lnTo>
                    <a:lnTo>
                      <a:pt x="602" y="361"/>
                    </a:lnTo>
                    <a:lnTo>
                      <a:pt x="600" y="347"/>
                    </a:lnTo>
                    <a:lnTo>
                      <a:pt x="594" y="333"/>
                    </a:lnTo>
                    <a:lnTo>
                      <a:pt x="583" y="330"/>
                    </a:lnTo>
                    <a:lnTo>
                      <a:pt x="578" y="333"/>
                    </a:lnTo>
                    <a:lnTo>
                      <a:pt x="573" y="337"/>
                    </a:lnTo>
                    <a:lnTo>
                      <a:pt x="559" y="330"/>
                    </a:lnTo>
                    <a:lnTo>
                      <a:pt x="545" y="325"/>
                    </a:lnTo>
                    <a:lnTo>
                      <a:pt x="537" y="327"/>
                    </a:lnTo>
                    <a:lnTo>
                      <a:pt x="533" y="328"/>
                    </a:lnTo>
                    <a:lnTo>
                      <a:pt x="530" y="327"/>
                    </a:lnTo>
                    <a:lnTo>
                      <a:pt x="530" y="325"/>
                    </a:lnTo>
                    <a:lnTo>
                      <a:pt x="516" y="327"/>
                    </a:lnTo>
                    <a:lnTo>
                      <a:pt x="502" y="328"/>
                    </a:lnTo>
                    <a:lnTo>
                      <a:pt x="506" y="328"/>
                    </a:lnTo>
                    <a:lnTo>
                      <a:pt x="509" y="328"/>
                    </a:lnTo>
                    <a:lnTo>
                      <a:pt x="506" y="339"/>
                    </a:lnTo>
                    <a:lnTo>
                      <a:pt x="509" y="345"/>
                    </a:lnTo>
                    <a:lnTo>
                      <a:pt x="499" y="345"/>
                    </a:lnTo>
                    <a:lnTo>
                      <a:pt x="489" y="342"/>
                    </a:lnTo>
                    <a:lnTo>
                      <a:pt x="480" y="337"/>
                    </a:lnTo>
                    <a:lnTo>
                      <a:pt x="473" y="335"/>
                    </a:lnTo>
                    <a:lnTo>
                      <a:pt x="468" y="337"/>
                    </a:lnTo>
                    <a:lnTo>
                      <a:pt x="466" y="339"/>
                    </a:lnTo>
                    <a:lnTo>
                      <a:pt x="458" y="335"/>
                    </a:lnTo>
                    <a:lnTo>
                      <a:pt x="451" y="333"/>
                    </a:lnTo>
                    <a:lnTo>
                      <a:pt x="441" y="335"/>
                    </a:lnTo>
                    <a:lnTo>
                      <a:pt x="434" y="340"/>
                    </a:lnTo>
                    <a:lnTo>
                      <a:pt x="428" y="345"/>
                    </a:lnTo>
                    <a:lnTo>
                      <a:pt x="423" y="352"/>
                    </a:lnTo>
                    <a:lnTo>
                      <a:pt x="416" y="354"/>
                    </a:lnTo>
                    <a:lnTo>
                      <a:pt x="410" y="356"/>
                    </a:lnTo>
                    <a:lnTo>
                      <a:pt x="401" y="359"/>
                    </a:lnTo>
                    <a:lnTo>
                      <a:pt x="396" y="366"/>
                    </a:lnTo>
                    <a:lnTo>
                      <a:pt x="392" y="376"/>
                    </a:lnTo>
                    <a:lnTo>
                      <a:pt x="392" y="388"/>
                    </a:lnTo>
                    <a:lnTo>
                      <a:pt x="392" y="390"/>
                    </a:lnTo>
                    <a:lnTo>
                      <a:pt x="394" y="394"/>
                    </a:lnTo>
                    <a:lnTo>
                      <a:pt x="379" y="390"/>
                    </a:lnTo>
                    <a:lnTo>
                      <a:pt x="370" y="387"/>
                    </a:lnTo>
                    <a:lnTo>
                      <a:pt x="363" y="378"/>
                    </a:lnTo>
                    <a:lnTo>
                      <a:pt x="358" y="370"/>
                    </a:lnTo>
                    <a:lnTo>
                      <a:pt x="355" y="361"/>
                    </a:lnTo>
                    <a:lnTo>
                      <a:pt x="351" y="352"/>
                    </a:lnTo>
                    <a:lnTo>
                      <a:pt x="346" y="342"/>
                    </a:lnTo>
                    <a:lnTo>
                      <a:pt x="341" y="337"/>
                    </a:lnTo>
                    <a:lnTo>
                      <a:pt x="332" y="332"/>
                    </a:lnTo>
                    <a:lnTo>
                      <a:pt x="324" y="332"/>
                    </a:lnTo>
                    <a:lnTo>
                      <a:pt x="317" y="333"/>
                    </a:lnTo>
                    <a:lnTo>
                      <a:pt x="313" y="339"/>
                    </a:lnTo>
                    <a:lnTo>
                      <a:pt x="310" y="344"/>
                    </a:lnTo>
                    <a:lnTo>
                      <a:pt x="306" y="347"/>
                    </a:lnTo>
                    <a:lnTo>
                      <a:pt x="298" y="344"/>
                    </a:lnTo>
                    <a:lnTo>
                      <a:pt x="291" y="337"/>
                    </a:lnTo>
                    <a:lnTo>
                      <a:pt x="286" y="328"/>
                    </a:lnTo>
                    <a:lnTo>
                      <a:pt x="282" y="323"/>
                    </a:lnTo>
                    <a:lnTo>
                      <a:pt x="275" y="313"/>
                    </a:lnTo>
                    <a:lnTo>
                      <a:pt x="269" y="308"/>
                    </a:lnTo>
                    <a:lnTo>
                      <a:pt x="258" y="302"/>
                    </a:lnTo>
                    <a:lnTo>
                      <a:pt x="248" y="301"/>
                    </a:lnTo>
                    <a:lnTo>
                      <a:pt x="238" y="301"/>
                    </a:lnTo>
                    <a:lnTo>
                      <a:pt x="238" y="308"/>
                    </a:lnTo>
                    <a:lnTo>
                      <a:pt x="196" y="308"/>
                    </a:lnTo>
                    <a:lnTo>
                      <a:pt x="141" y="290"/>
                    </a:lnTo>
                    <a:lnTo>
                      <a:pt x="109" y="290"/>
                    </a:lnTo>
                    <a:lnTo>
                      <a:pt x="100" y="278"/>
                    </a:lnTo>
                    <a:lnTo>
                      <a:pt x="86" y="270"/>
                    </a:lnTo>
                    <a:lnTo>
                      <a:pt x="71" y="261"/>
                    </a:lnTo>
                    <a:lnTo>
                      <a:pt x="57" y="256"/>
                    </a:lnTo>
                    <a:lnTo>
                      <a:pt x="54" y="251"/>
                    </a:lnTo>
                    <a:lnTo>
                      <a:pt x="54" y="246"/>
                    </a:lnTo>
                    <a:lnTo>
                      <a:pt x="47" y="234"/>
                    </a:lnTo>
                    <a:lnTo>
                      <a:pt x="40" y="223"/>
                    </a:lnTo>
                    <a:lnTo>
                      <a:pt x="35" y="213"/>
                    </a:lnTo>
                    <a:lnTo>
                      <a:pt x="35" y="201"/>
                    </a:lnTo>
                    <a:lnTo>
                      <a:pt x="26" y="196"/>
                    </a:lnTo>
                    <a:lnTo>
                      <a:pt x="17" y="186"/>
                    </a:lnTo>
                    <a:lnTo>
                      <a:pt x="9" y="174"/>
                    </a:lnTo>
                    <a:lnTo>
                      <a:pt x="4" y="161"/>
                    </a:lnTo>
                    <a:lnTo>
                      <a:pt x="4" y="156"/>
                    </a:lnTo>
                    <a:lnTo>
                      <a:pt x="9" y="153"/>
                    </a:lnTo>
                    <a:lnTo>
                      <a:pt x="5" y="141"/>
                    </a:lnTo>
                    <a:lnTo>
                      <a:pt x="5" y="131"/>
                    </a:lnTo>
                    <a:lnTo>
                      <a:pt x="4" y="119"/>
                    </a:lnTo>
                    <a:lnTo>
                      <a:pt x="4" y="110"/>
                    </a:lnTo>
                    <a:lnTo>
                      <a:pt x="2" y="96"/>
                    </a:lnTo>
                    <a:lnTo>
                      <a:pt x="5" y="82"/>
                    </a:lnTo>
                    <a:lnTo>
                      <a:pt x="9" y="65"/>
                    </a:lnTo>
                    <a:lnTo>
                      <a:pt x="12" y="53"/>
                    </a:lnTo>
                    <a:lnTo>
                      <a:pt x="5" y="39"/>
                    </a:lnTo>
                    <a:lnTo>
                      <a:pt x="0" y="26"/>
                    </a:lnTo>
                    <a:lnTo>
                      <a:pt x="2" y="22"/>
                    </a:lnTo>
                    <a:lnTo>
                      <a:pt x="7" y="22"/>
                    </a:lnTo>
                    <a:lnTo>
                      <a:pt x="16" y="24"/>
                    </a:lnTo>
                    <a:lnTo>
                      <a:pt x="23" y="31"/>
                    </a:lnTo>
                    <a:lnTo>
                      <a:pt x="26" y="24"/>
                    </a:lnTo>
                    <a:lnTo>
                      <a:pt x="29" y="17"/>
                    </a:lnTo>
                    <a:lnTo>
                      <a:pt x="26" y="10"/>
                    </a:lnTo>
                    <a:lnTo>
                      <a:pt x="23" y="5"/>
                    </a:lnTo>
                    <a:lnTo>
                      <a:pt x="428" y="5"/>
                    </a:lnTo>
                    <a:lnTo>
                      <a:pt x="428" y="0"/>
                    </a:lnTo>
                    <a:lnTo>
                      <a:pt x="435" y="5"/>
                    </a:lnTo>
                    <a:lnTo>
                      <a:pt x="442" y="12"/>
                    </a:lnTo>
                    <a:lnTo>
                      <a:pt x="466" y="12"/>
                    </a:lnTo>
                    <a:lnTo>
                      <a:pt x="473" y="17"/>
                    </a:lnTo>
                    <a:lnTo>
                      <a:pt x="484" y="20"/>
                    </a:lnTo>
                    <a:lnTo>
                      <a:pt x="494" y="20"/>
                    </a:lnTo>
                    <a:lnTo>
                      <a:pt x="509" y="22"/>
                    </a:lnTo>
                    <a:lnTo>
                      <a:pt x="499" y="27"/>
                    </a:lnTo>
                    <a:lnTo>
                      <a:pt x="489" y="34"/>
                    </a:lnTo>
                    <a:lnTo>
                      <a:pt x="478" y="39"/>
                    </a:lnTo>
                    <a:lnTo>
                      <a:pt x="470" y="51"/>
                    </a:lnTo>
                    <a:lnTo>
                      <a:pt x="477" y="51"/>
                    </a:lnTo>
                    <a:lnTo>
                      <a:pt x="480" y="48"/>
                    </a:lnTo>
                    <a:lnTo>
                      <a:pt x="487" y="48"/>
                    </a:lnTo>
                    <a:lnTo>
                      <a:pt x="489" y="51"/>
                    </a:lnTo>
                    <a:lnTo>
                      <a:pt x="494" y="53"/>
                    </a:lnTo>
                    <a:lnTo>
                      <a:pt x="501" y="50"/>
                    </a:lnTo>
                    <a:lnTo>
                      <a:pt x="508" y="46"/>
                    </a:lnTo>
                    <a:lnTo>
                      <a:pt x="516" y="39"/>
                    </a:lnTo>
                    <a:lnTo>
                      <a:pt x="530" y="34"/>
                    </a:lnTo>
                    <a:lnTo>
                      <a:pt x="527" y="41"/>
                    </a:lnTo>
                    <a:lnTo>
                      <a:pt x="525" y="48"/>
                    </a:lnTo>
                    <a:lnTo>
                      <a:pt x="535" y="48"/>
                    </a:lnTo>
                    <a:lnTo>
                      <a:pt x="537" y="51"/>
                    </a:lnTo>
                    <a:lnTo>
                      <a:pt x="544" y="53"/>
                    </a:lnTo>
                    <a:lnTo>
                      <a:pt x="551" y="50"/>
                    </a:lnTo>
                    <a:lnTo>
                      <a:pt x="557" y="48"/>
                    </a:lnTo>
                    <a:lnTo>
                      <a:pt x="571" y="51"/>
                    </a:lnTo>
                    <a:lnTo>
                      <a:pt x="587" y="55"/>
                    </a:lnTo>
                    <a:lnTo>
                      <a:pt x="587" y="62"/>
                    </a:lnTo>
                    <a:lnTo>
                      <a:pt x="573" y="62"/>
                    </a:lnTo>
                    <a:lnTo>
                      <a:pt x="563" y="62"/>
                    </a:lnTo>
                    <a:lnTo>
                      <a:pt x="552" y="63"/>
                    </a:lnTo>
                    <a:lnTo>
                      <a:pt x="542" y="69"/>
                    </a:lnTo>
                    <a:lnTo>
                      <a:pt x="533" y="77"/>
                    </a:lnTo>
                    <a:lnTo>
                      <a:pt x="530" y="86"/>
                    </a:lnTo>
                    <a:lnTo>
                      <a:pt x="537" y="81"/>
                    </a:lnTo>
                    <a:lnTo>
                      <a:pt x="544" y="79"/>
                    </a:lnTo>
                    <a:lnTo>
                      <a:pt x="537" y="88"/>
                    </a:lnTo>
                    <a:lnTo>
                      <a:pt x="533" y="101"/>
                    </a:lnTo>
                    <a:lnTo>
                      <a:pt x="530" y="115"/>
                    </a:lnTo>
                    <a:lnTo>
                      <a:pt x="530" y="129"/>
                    </a:lnTo>
                    <a:lnTo>
                      <a:pt x="533" y="136"/>
                    </a:lnTo>
                    <a:lnTo>
                      <a:pt x="542" y="139"/>
                    </a:lnTo>
                    <a:lnTo>
                      <a:pt x="545" y="136"/>
                    </a:lnTo>
                    <a:lnTo>
                      <a:pt x="549" y="131"/>
                    </a:lnTo>
                    <a:lnTo>
                      <a:pt x="551" y="122"/>
                    </a:lnTo>
                    <a:lnTo>
                      <a:pt x="552" y="117"/>
                    </a:lnTo>
                    <a:lnTo>
                      <a:pt x="552" y="106"/>
                    </a:lnTo>
                    <a:lnTo>
                      <a:pt x="552" y="101"/>
                    </a:lnTo>
                    <a:lnTo>
                      <a:pt x="552" y="94"/>
                    </a:lnTo>
                    <a:lnTo>
                      <a:pt x="552" y="88"/>
                    </a:lnTo>
                    <a:lnTo>
                      <a:pt x="552" y="81"/>
                    </a:lnTo>
                    <a:lnTo>
                      <a:pt x="557" y="79"/>
                    </a:lnTo>
                    <a:lnTo>
                      <a:pt x="566" y="74"/>
                    </a:lnTo>
                    <a:lnTo>
                      <a:pt x="570" y="70"/>
                    </a:lnTo>
                    <a:lnTo>
                      <a:pt x="571" y="65"/>
                    </a:lnTo>
                    <a:lnTo>
                      <a:pt x="576" y="65"/>
                    </a:lnTo>
                    <a:lnTo>
                      <a:pt x="580" y="65"/>
                    </a:lnTo>
                    <a:lnTo>
                      <a:pt x="588" y="70"/>
                    </a:lnTo>
                    <a:lnTo>
                      <a:pt x="595" y="74"/>
                    </a:lnTo>
                    <a:lnTo>
                      <a:pt x="599" y="81"/>
                    </a:lnTo>
                    <a:lnTo>
                      <a:pt x="595" y="89"/>
                    </a:lnTo>
                    <a:lnTo>
                      <a:pt x="594" y="100"/>
                    </a:lnTo>
                    <a:lnTo>
                      <a:pt x="599" y="98"/>
                    </a:lnTo>
                    <a:lnTo>
                      <a:pt x="604" y="96"/>
                    </a:lnTo>
                    <a:lnTo>
                      <a:pt x="606" y="105"/>
                    </a:lnTo>
                    <a:lnTo>
                      <a:pt x="611" y="112"/>
                    </a:lnTo>
                    <a:lnTo>
                      <a:pt x="602" y="120"/>
                    </a:lnTo>
                    <a:lnTo>
                      <a:pt x="599" y="129"/>
                    </a:lnTo>
                    <a:lnTo>
                      <a:pt x="599" y="136"/>
                    </a:lnTo>
                    <a:lnTo>
                      <a:pt x="606" y="141"/>
                    </a:lnTo>
                    <a:lnTo>
                      <a:pt x="616" y="137"/>
                    </a:lnTo>
                    <a:lnTo>
                      <a:pt x="630" y="134"/>
                    </a:lnTo>
                    <a:lnTo>
                      <a:pt x="643" y="127"/>
                    </a:lnTo>
                    <a:lnTo>
                      <a:pt x="654" y="124"/>
                    </a:lnTo>
                    <a:lnTo>
                      <a:pt x="650" y="115"/>
                    </a:lnTo>
                    <a:lnTo>
                      <a:pt x="649" y="112"/>
                    </a:lnTo>
                    <a:lnTo>
                      <a:pt x="652" y="112"/>
                    </a:lnTo>
                    <a:lnTo>
                      <a:pt x="656" y="112"/>
                    </a:lnTo>
                    <a:lnTo>
                      <a:pt x="668" y="110"/>
                    </a:lnTo>
                    <a:lnTo>
                      <a:pt x="683" y="110"/>
                    </a:lnTo>
                    <a:lnTo>
                      <a:pt x="695" y="105"/>
                    </a:lnTo>
                    <a:lnTo>
                      <a:pt x="702" y="96"/>
                    </a:lnTo>
                    <a:lnTo>
                      <a:pt x="704" y="93"/>
                    </a:lnTo>
                    <a:lnTo>
                      <a:pt x="712" y="86"/>
                    </a:lnTo>
                    <a:lnTo>
                      <a:pt x="719" y="77"/>
                    </a:lnTo>
                    <a:lnTo>
                      <a:pt x="724" y="76"/>
                    </a:lnTo>
                    <a:lnTo>
                      <a:pt x="735" y="74"/>
                    </a:lnTo>
                    <a:lnTo>
                      <a:pt x="752" y="74"/>
                    </a:lnTo>
                    <a:lnTo>
                      <a:pt x="757" y="74"/>
                    </a:lnTo>
                    <a:lnTo>
                      <a:pt x="764" y="74"/>
                    </a:lnTo>
                    <a:lnTo>
                      <a:pt x="769" y="72"/>
                    </a:lnTo>
                    <a:lnTo>
                      <a:pt x="776" y="72"/>
                    </a:lnTo>
                    <a:lnTo>
                      <a:pt x="779" y="70"/>
                    </a:lnTo>
                    <a:lnTo>
                      <a:pt x="783" y="67"/>
                    </a:lnTo>
                    <a:lnTo>
                      <a:pt x="786" y="58"/>
                    </a:lnTo>
                    <a:lnTo>
                      <a:pt x="791" y="50"/>
                    </a:lnTo>
                    <a:lnTo>
                      <a:pt x="795" y="39"/>
                    </a:lnTo>
                    <a:lnTo>
                      <a:pt x="803" y="33"/>
                    </a:lnTo>
                    <a:lnTo>
                      <a:pt x="814" y="34"/>
                    </a:lnTo>
                    <a:lnTo>
                      <a:pt x="824" y="36"/>
                    </a:lnTo>
                    <a:lnTo>
                      <a:pt x="826" y="46"/>
                    </a:lnTo>
                    <a:lnTo>
                      <a:pt x="828" y="58"/>
                    </a:lnTo>
                    <a:lnTo>
                      <a:pt x="829" y="70"/>
                    </a:lnTo>
                    <a:lnTo>
                      <a:pt x="834" y="82"/>
                    </a:lnTo>
                    <a:lnTo>
                      <a:pt x="828" y="89"/>
                    </a:lnTo>
                    <a:lnTo>
                      <a:pt x="819" y="91"/>
                    </a:lnTo>
                    <a:lnTo>
                      <a:pt x="812" y="89"/>
                    </a:lnTo>
                    <a:lnTo>
                      <a:pt x="807" y="91"/>
                    </a:lnTo>
                    <a:lnTo>
                      <a:pt x="798" y="96"/>
                    </a:lnTo>
                    <a:lnTo>
                      <a:pt x="790" y="103"/>
                    </a:lnTo>
                    <a:lnTo>
                      <a:pt x="783" y="112"/>
                    </a:lnTo>
                    <a:lnTo>
                      <a:pt x="781" y="125"/>
                    </a:lnTo>
                    <a:lnTo>
                      <a:pt x="781" y="127"/>
                    </a:lnTo>
                    <a:lnTo>
                      <a:pt x="783" y="129"/>
                    </a:lnTo>
                    <a:lnTo>
                      <a:pt x="785" y="134"/>
                    </a:lnTo>
                    <a:lnTo>
                      <a:pt x="788" y="139"/>
                    </a:lnTo>
                    <a:lnTo>
                      <a:pt x="791" y="137"/>
                    </a:lnTo>
                    <a:lnTo>
                      <a:pt x="795" y="136"/>
                    </a:lnTo>
                    <a:lnTo>
                      <a:pt x="795" y="139"/>
                    </a:lnTo>
                    <a:lnTo>
                      <a:pt x="783" y="139"/>
                    </a:lnTo>
                    <a:lnTo>
                      <a:pt x="778" y="139"/>
                    </a:lnTo>
                    <a:lnTo>
                      <a:pt x="767" y="143"/>
                    </a:lnTo>
                    <a:lnTo>
                      <a:pt x="759" y="144"/>
                    </a:lnTo>
                    <a:lnTo>
                      <a:pt x="748" y="146"/>
                    </a:lnTo>
                    <a:lnTo>
                      <a:pt x="740" y="151"/>
                    </a:lnTo>
                    <a:lnTo>
                      <a:pt x="745" y="151"/>
                    </a:lnTo>
                    <a:lnTo>
                      <a:pt x="750" y="149"/>
                    </a:lnTo>
                    <a:lnTo>
                      <a:pt x="757" y="151"/>
                    </a:lnTo>
                    <a:lnTo>
                      <a:pt x="747" y="151"/>
                    </a:lnTo>
                    <a:lnTo>
                      <a:pt x="738" y="153"/>
                    </a:lnTo>
                    <a:lnTo>
                      <a:pt x="735" y="153"/>
                    </a:lnTo>
                    <a:lnTo>
                      <a:pt x="731" y="153"/>
                    </a:lnTo>
                    <a:lnTo>
                      <a:pt x="731" y="156"/>
                    </a:lnTo>
                    <a:lnTo>
                      <a:pt x="733" y="160"/>
                    </a:lnTo>
                    <a:lnTo>
                      <a:pt x="735" y="163"/>
                    </a:lnTo>
                    <a:lnTo>
                      <a:pt x="731" y="167"/>
                    </a:lnTo>
                    <a:lnTo>
                      <a:pt x="728" y="174"/>
                    </a:lnTo>
                    <a:lnTo>
                      <a:pt x="724" y="180"/>
                    </a:lnTo>
                    <a:lnTo>
                      <a:pt x="721" y="184"/>
                    </a:lnTo>
                    <a:lnTo>
                      <a:pt x="719" y="182"/>
                    </a:lnTo>
                    <a:lnTo>
                      <a:pt x="717" y="180"/>
                    </a:lnTo>
                    <a:lnTo>
                      <a:pt x="716" y="184"/>
                    </a:lnTo>
                    <a:lnTo>
                      <a:pt x="717" y="187"/>
                    </a:lnTo>
                    <a:lnTo>
                      <a:pt x="719" y="192"/>
                    </a:lnTo>
                    <a:lnTo>
                      <a:pt x="716" y="196"/>
                    </a:lnTo>
                    <a:lnTo>
                      <a:pt x="712" y="203"/>
                    </a:lnTo>
                    <a:lnTo>
                      <a:pt x="709" y="210"/>
                    </a:lnTo>
                    <a:lnTo>
                      <a:pt x="707" y="213"/>
                    </a:lnTo>
                    <a:lnTo>
                      <a:pt x="705" y="211"/>
                    </a:lnTo>
                    <a:lnTo>
                      <a:pt x="705" y="210"/>
                    </a:lnTo>
                    <a:lnTo>
                      <a:pt x="705" y="206"/>
                    </a:lnTo>
                    <a:lnTo>
                      <a:pt x="705" y="204"/>
                    </a:lnTo>
                    <a:lnTo>
                      <a:pt x="702" y="196"/>
                    </a:lnTo>
                    <a:lnTo>
                      <a:pt x="700" y="187"/>
                    </a:lnTo>
                    <a:lnTo>
                      <a:pt x="699" y="191"/>
                    </a:lnTo>
                    <a:lnTo>
                      <a:pt x="700" y="194"/>
                    </a:lnTo>
                    <a:lnTo>
                      <a:pt x="700" y="203"/>
                    </a:lnTo>
                    <a:lnTo>
                      <a:pt x="702" y="213"/>
                    </a:lnTo>
                    <a:lnTo>
                      <a:pt x="700" y="217"/>
                    </a:lnTo>
                    <a:lnTo>
                      <a:pt x="702" y="220"/>
                    </a:lnTo>
                    <a:lnTo>
                      <a:pt x="704" y="220"/>
                    </a:lnTo>
                    <a:lnTo>
                      <a:pt x="705" y="220"/>
                    </a:lnTo>
                    <a:lnTo>
                      <a:pt x="705" y="222"/>
                    </a:lnTo>
                    <a:lnTo>
                      <a:pt x="705" y="225"/>
                    </a:lnTo>
                    <a:lnTo>
                      <a:pt x="702" y="229"/>
                    </a:lnTo>
                    <a:lnTo>
                      <a:pt x="699" y="232"/>
                    </a:lnTo>
                    <a:lnTo>
                      <a:pt x="702" y="234"/>
                    </a:lnTo>
                    <a:lnTo>
                      <a:pt x="705" y="235"/>
                    </a:lnTo>
                    <a:lnTo>
                      <a:pt x="704" y="239"/>
                    </a:lnTo>
                    <a:lnTo>
                      <a:pt x="699" y="241"/>
                    </a:lnTo>
                    <a:lnTo>
                      <a:pt x="699" y="246"/>
                    </a:lnTo>
                    <a:lnTo>
                      <a:pt x="704" y="249"/>
                    </a:lnTo>
                    <a:lnTo>
                      <a:pt x="700" y="251"/>
                    </a:lnTo>
                    <a:lnTo>
                      <a:pt x="699" y="254"/>
                    </a:lnTo>
                    <a:lnTo>
                      <a:pt x="690" y="256"/>
                    </a:lnTo>
                    <a:lnTo>
                      <a:pt x="686" y="260"/>
                    </a:lnTo>
                    <a:lnTo>
                      <a:pt x="680" y="263"/>
                    </a:lnTo>
                    <a:lnTo>
                      <a:pt x="676" y="266"/>
                    </a:lnTo>
                    <a:lnTo>
                      <a:pt x="678" y="26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8" name="Freeform 298"/>
              <p:cNvSpPr>
                <a:spLocks/>
              </p:cNvSpPr>
              <p:nvPr/>
            </p:nvSpPr>
            <p:spPr bwMode="auto">
              <a:xfrm>
                <a:off x="1085057" y="1992313"/>
                <a:ext cx="1955800" cy="1011237"/>
              </a:xfrm>
              <a:custGeom>
                <a:avLst/>
                <a:gdLst/>
                <a:ahLst/>
                <a:cxnLst>
                  <a:cxn ang="0">
                    <a:pos x="1096" y="570"/>
                  </a:cxn>
                  <a:cxn ang="0">
                    <a:pos x="1091" y="607"/>
                  </a:cxn>
                  <a:cxn ang="0">
                    <a:pos x="1149" y="568"/>
                  </a:cxn>
                  <a:cxn ang="0">
                    <a:pos x="1103" y="527"/>
                  </a:cxn>
                  <a:cxn ang="0">
                    <a:pos x="1092" y="499"/>
                  </a:cxn>
                  <a:cxn ang="0">
                    <a:pos x="1067" y="499"/>
                  </a:cxn>
                  <a:cxn ang="0">
                    <a:pos x="1172" y="479"/>
                  </a:cxn>
                  <a:cxn ang="0">
                    <a:pos x="1218" y="410"/>
                  </a:cxn>
                  <a:cxn ang="0">
                    <a:pos x="1187" y="408"/>
                  </a:cxn>
                  <a:cxn ang="0">
                    <a:pos x="1165" y="370"/>
                  </a:cxn>
                  <a:cxn ang="0">
                    <a:pos x="1127" y="319"/>
                  </a:cxn>
                  <a:cxn ang="0">
                    <a:pos x="1089" y="293"/>
                  </a:cxn>
                  <a:cxn ang="0">
                    <a:pos x="1031" y="281"/>
                  </a:cxn>
                  <a:cxn ang="0">
                    <a:pos x="969" y="231"/>
                  </a:cxn>
                  <a:cxn ang="0">
                    <a:pos x="903" y="243"/>
                  </a:cxn>
                  <a:cxn ang="0">
                    <a:pos x="907" y="300"/>
                  </a:cxn>
                  <a:cxn ang="0">
                    <a:pos x="917" y="374"/>
                  </a:cxn>
                  <a:cxn ang="0">
                    <a:pos x="891" y="458"/>
                  </a:cxn>
                  <a:cxn ang="0">
                    <a:pos x="841" y="391"/>
                  </a:cxn>
                  <a:cxn ang="0">
                    <a:pos x="705" y="348"/>
                  </a:cxn>
                  <a:cxn ang="0">
                    <a:pos x="666" y="308"/>
                  </a:cxn>
                  <a:cxn ang="0">
                    <a:pos x="695" y="227"/>
                  </a:cxn>
                  <a:cxn ang="0">
                    <a:pos x="697" y="202"/>
                  </a:cxn>
                  <a:cxn ang="0">
                    <a:pos x="738" y="195"/>
                  </a:cxn>
                  <a:cxn ang="0">
                    <a:pos x="733" y="152"/>
                  </a:cxn>
                  <a:cxn ang="0">
                    <a:pos x="785" y="140"/>
                  </a:cxn>
                  <a:cxn ang="0">
                    <a:pos x="845" y="131"/>
                  </a:cxn>
                  <a:cxn ang="0">
                    <a:pos x="857" y="78"/>
                  </a:cxn>
                  <a:cxn ang="0">
                    <a:pos x="798" y="64"/>
                  </a:cxn>
                  <a:cxn ang="0">
                    <a:pos x="757" y="104"/>
                  </a:cxn>
                  <a:cxn ang="0">
                    <a:pos x="735" y="78"/>
                  </a:cxn>
                  <a:cxn ang="0">
                    <a:pos x="700" y="50"/>
                  </a:cxn>
                  <a:cxn ang="0">
                    <a:pos x="659" y="0"/>
                  </a:cxn>
                  <a:cxn ang="0">
                    <a:pos x="642" y="52"/>
                  </a:cxn>
                  <a:cxn ang="0">
                    <a:pos x="668" y="93"/>
                  </a:cxn>
                  <a:cxn ang="0">
                    <a:pos x="638" y="92"/>
                  </a:cxn>
                  <a:cxn ang="0">
                    <a:pos x="582" y="105"/>
                  </a:cxn>
                  <a:cxn ang="0">
                    <a:pos x="487" y="76"/>
                  </a:cxn>
                  <a:cxn ang="0">
                    <a:pos x="482" y="97"/>
                  </a:cxn>
                  <a:cxn ang="0">
                    <a:pos x="427" y="102"/>
                  </a:cxn>
                  <a:cxn ang="0">
                    <a:pos x="367" y="95"/>
                  </a:cxn>
                  <a:cxn ang="0">
                    <a:pos x="343" y="80"/>
                  </a:cxn>
                  <a:cxn ang="0">
                    <a:pos x="253" y="59"/>
                  </a:cxn>
                  <a:cxn ang="0">
                    <a:pos x="184" y="40"/>
                  </a:cxn>
                  <a:cxn ang="0">
                    <a:pos x="131" y="52"/>
                  </a:cxn>
                  <a:cxn ang="0">
                    <a:pos x="85" y="68"/>
                  </a:cxn>
                  <a:cxn ang="0">
                    <a:pos x="28" y="71"/>
                  </a:cxn>
                  <a:cxn ang="0">
                    <a:pos x="19" y="281"/>
                  </a:cxn>
                  <a:cxn ang="0">
                    <a:pos x="78" y="291"/>
                  </a:cxn>
                  <a:cxn ang="0">
                    <a:pos x="134" y="360"/>
                  </a:cxn>
                  <a:cxn ang="0">
                    <a:pos x="150" y="411"/>
                  </a:cxn>
                  <a:cxn ang="0">
                    <a:pos x="183" y="448"/>
                  </a:cxn>
                  <a:cxn ang="0">
                    <a:pos x="232" y="492"/>
                  </a:cxn>
                  <a:cxn ang="0">
                    <a:pos x="700" y="513"/>
                  </a:cxn>
                  <a:cxn ang="0">
                    <a:pos x="771" y="515"/>
                  </a:cxn>
                  <a:cxn ang="0">
                    <a:pos x="807" y="540"/>
                  </a:cxn>
                  <a:cxn ang="0">
                    <a:pos x="876" y="587"/>
                  </a:cxn>
                  <a:cxn ang="0">
                    <a:pos x="833" y="630"/>
                  </a:cxn>
                  <a:cxn ang="0">
                    <a:pos x="883" y="626"/>
                  </a:cxn>
                  <a:cxn ang="0">
                    <a:pos x="912" y="601"/>
                  </a:cxn>
                  <a:cxn ang="0">
                    <a:pos x="991" y="575"/>
                  </a:cxn>
                  <a:cxn ang="0">
                    <a:pos x="1037" y="534"/>
                  </a:cxn>
                </a:cxnLst>
                <a:rect l="0" t="0" r="r" b="b"/>
                <a:pathLst>
                  <a:path w="1232" h="637">
                    <a:moveTo>
                      <a:pt x="1067" y="580"/>
                    </a:moveTo>
                    <a:lnTo>
                      <a:pt x="1067" y="578"/>
                    </a:lnTo>
                    <a:lnTo>
                      <a:pt x="1068" y="578"/>
                    </a:lnTo>
                    <a:lnTo>
                      <a:pt x="1072" y="578"/>
                    </a:lnTo>
                    <a:lnTo>
                      <a:pt x="1074" y="578"/>
                    </a:lnTo>
                    <a:lnTo>
                      <a:pt x="1080" y="578"/>
                    </a:lnTo>
                    <a:lnTo>
                      <a:pt x="1086" y="577"/>
                    </a:lnTo>
                    <a:lnTo>
                      <a:pt x="1091" y="577"/>
                    </a:lnTo>
                    <a:lnTo>
                      <a:pt x="1096" y="570"/>
                    </a:lnTo>
                    <a:lnTo>
                      <a:pt x="1105" y="566"/>
                    </a:lnTo>
                    <a:lnTo>
                      <a:pt x="1105" y="573"/>
                    </a:lnTo>
                    <a:lnTo>
                      <a:pt x="1111" y="575"/>
                    </a:lnTo>
                    <a:lnTo>
                      <a:pt x="1101" y="575"/>
                    </a:lnTo>
                    <a:lnTo>
                      <a:pt x="1091" y="580"/>
                    </a:lnTo>
                    <a:lnTo>
                      <a:pt x="1084" y="585"/>
                    </a:lnTo>
                    <a:lnTo>
                      <a:pt x="1082" y="594"/>
                    </a:lnTo>
                    <a:lnTo>
                      <a:pt x="1086" y="602"/>
                    </a:lnTo>
                    <a:lnTo>
                      <a:pt x="1091" y="607"/>
                    </a:lnTo>
                    <a:lnTo>
                      <a:pt x="1094" y="604"/>
                    </a:lnTo>
                    <a:lnTo>
                      <a:pt x="1099" y="599"/>
                    </a:lnTo>
                    <a:lnTo>
                      <a:pt x="1106" y="594"/>
                    </a:lnTo>
                    <a:lnTo>
                      <a:pt x="1115" y="590"/>
                    </a:lnTo>
                    <a:lnTo>
                      <a:pt x="1122" y="587"/>
                    </a:lnTo>
                    <a:lnTo>
                      <a:pt x="1134" y="582"/>
                    </a:lnTo>
                    <a:lnTo>
                      <a:pt x="1146" y="577"/>
                    </a:lnTo>
                    <a:lnTo>
                      <a:pt x="1153" y="573"/>
                    </a:lnTo>
                    <a:lnTo>
                      <a:pt x="1149" y="568"/>
                    </a:lnTo>
                    <a:lnTo>
                      <a:pt x="1144" y="566"/>
                    </a:lnTo>
                    <a:lnTo>
                      <a:pt x="1139" y="566"/>
                    </a:lnTo>
                    <a:lnTo>
                      <a:pt x="1135" y="566"/>
                    </a:lnTo>
                    <a:lnTo>
                      <a:pt x="1123" y="563"/>
                    </a:lnTo>
                    <a:lnTo>
                      <a:pt x="1111" y="558"/>
                    </a:lnTo>
                    <a:lnTo>
                      <a:pt x="1101" y="549"/>
                    </a:lnTo>
                    <a:lnTo>
                      <a:pt x="1098" y="540"/>
                    </a:lnTo>
                    <a:lnTo>
                      <a:pt x="1099" y="534"/>
                    </a:lnTo>
                    <a:lnTo>
                      <a:pt x="1103" y="527"/>
                    </a:lnTo>
                    <a:lnTo>
                      <a:pt x="1098" y="527"/>
                    </a:lnTo>
                    <a:lnTo>
                      <a:pt x="1091" y="527"/>
                    </a:lnTo>
                    <a:lnTo>
                      <a:pt x="1094" y="521"/>
                    </a:lnTo>
                    <a:lnTo>
                      <a:pt x="1101" y="520"/>
                    </a:lnTo>
                    <a:lnTo>
                      <a:pt x="1108" y="515"/>
                    </a:lnTo>
                    <a:lnTo>
                      <a:pt x="1111" y="509"/>
                    </a:lnTo>
                    <a:lnTo>
                      <a:pt x="1108" y="503"/>
                    </a:lnTo>
                    <a:lnTo>
                      <a:pt x="1101" y="501"/>
                    </a:lnTo>
                    <a:lnTo>
                      <a:pt x="1092" y="499"/>
                    </a:lnTo>
                    <a:lnTo>
                      <a:pt x="1086" y="501"/>
                    </a:lnTo>
                    <a:lnTo>
                      <a:pt x="1068" y="503"/>
                    </a:lnTo>
                    <a:lnTo>
                      <a:pt x="1058" y="509"/>
                    </a:lnTo>
                    <a:lnTo>
                      <a:pt x="1048" y="515"/>
                    </a:lnTo>
                    <a:lnTo>
                      <a:pt x="1037" y="520"/>
                    </a:lnTo>
                    <a:lnTo>
                      <a:pt x="1043" y="511"/>
                    </a:lnTo>
                    <a:lnTo>
                      <a:pt x="1049" y="508"/>
                    </a:lnTo>
                    <a:lnTo>
                      <a:pt x="1056" y="504"/>
                    </a:lnTo>
                    <a:lnTo>
                      <a:pt x="1067" y="499"/>
                    </a:lnTo>
                    <a:lnTo>
                      <a:pt x="1070" y="489"/>
                    </a:lnTo>
                    <a:lnTo>
                      <a:pt x="1079" y="484"/>
                    </a:lnTo>
                    <a:lnTo>
                      <a:pt x="1091" y="480"/>
                    </a:lnTo>
                    <a:lnTo>
                      <a:pt x="1103" y="480"/>
                    </a:lnTo>
                    <a:lnTo>
                      <a:pt x="1115" y="480"/>
                    </a:lnTo>
                    <a:lnTo>
                      <a:pt x="1129" y="482"/>
                    </a:lnTo>
                    <a:lnTo>
                      <a:pt x="1144" y="482"/>
                    </a:lnTo>
                    <a:lnTo>
                      <a:pt x="1160" y="482"/>
                    </a:lnTo>
                    <a:lnTo>
                      <a:pt x="1172" y="479"/>
                    </a:lnTo>
                    <a:lnTo>
                      <a:pt x="1184" y="470"/>
                    </a:lnTo>
                    <a:lnTo>
                      <a:pt x="1194" y="463"/>
                    </a:lnTo>
                    <a:lnTo>
                      <a:pt x="1209" y="458"/>
                    </a:lnTo>
                    <a:lnTo>
                      <a:pt x="1225" y="451"/>
                    </a:lnTo>
                    <a:lnTo>
                      <a:pt x="1232" y="442"/>
                    </a:lnTo>
                    <a:lnTo>
                      <a:pt x="1228" y="427"/>
                    </a:lnTo>
                    <a:lnTo>
                      <a:pt x="1223" y="418"/>
                    </a:lnTo>
                    <a:lnTo>
                      <a:pt x="1220" y="415"/>
                    </a:lnTo>
                    <a:lnTo>
                      <a:pt x="1218" y="410"/>
                    </a:lnTo>
                    <a:lnTo>
                      <a:pt x="1218" y="405"/>
                    </a:lnTo>
                    <a:lnTo>
                      <a:pt x="1206" y="410"/>
                    </a:lnTo>
                    <a:lnTo>
                      <a:pt x="1194" y="415"/>
                    </a:lnTo>
                    <a:lnTo>
                      <a:pt x="1178" y="417"/>
                    </a:lnTo>
                    <a:lnTo>
                      <a:pt x="1170" y="420"/>
                    </a:lnTo>
                    <a:lnTo>
                      <a:pt x="1166" y="418"/>
                    </a:lnTo>
                    <a:lnTo>
                      <a:pt x="1165" y="417"/>
                    </a:lnTo>
                    <a:lnTo>
                      <a:pt x="1173" y="411"/>
                    </a:lnTo>
                    <a:lnTo>
                      <a:pt x="1187" y="408"/>
                    </a:lnTo>
                    <a:lnTo>
                      <a:pt x="1199" y="403"/>
                    </a:lnTo>
                    <a:lnTo>
                      <a:pt x="1206" y="398"/>
                    </a:lnTo>
                    <a:lnTo>
                      <a:pt x="1204" y="394"/>
                    </a:lnTo>
                    <a:lnTo>
                      <a:pt x="1203" y="393"/>
                    </a:lnTo>
                    <a:lnTo>
                      <a:pt x="1190" y="391"/>
                    </a:lnTo>
                    <a:lnTo>
                      <a:pt x="1178" y="389"/>
                    </a:lnTo>
                    <a:lnTo>
                      <a:pt x="1168" y="382"/>
                    </a:lnTo>
                    <a:lnTo>
                      <a:pt x="1165" y="372"/>
                    </a:lnTo>
                    <a:lnTo>
                      <a:pt x="1165" y="370"/>
                    </a:lnTo>
                    <a:lnTo>
                      <a:pt x="1149" y="365"/>
                    </a:lnTo>
                    <a:lnTo>
                      <a:pt x="1139" y="358"/>
                    </a:lnTo>
                    <a:lnTo>
                      <a:pt x="1144" y="355"/>
                    </a:lnTo>
                    <a:lnTo>
                      <a:pt x="1148" y="348"/>
                    </a:lnTo>
                    <a:lnTo>
                      <a:pt x="1144" y="341"/>
                    </a:lnTo>
                    <a:lnTo>
                      <a:pt x="1144" y="334"/>
                    </a:lnTo>
                    <a:lnTo>
                      <a:pt x="1137" y="329"/>
                    </a:lnTo>
                    <a:lnTo>
                      <a:pt x="1132" y="325"/>
                    </a:lnTo>
                    <a:lnTo>
                      <a:pt x="1127" y="319"/>
                    </a:lnTo>
                    <a:lnTo>
                      <a:pt x="1127" y="313"/>
                    </a:lnTo>
                    <a:lnTo>
                      <a:pt x="1125" y="305"/>
                    </a:lnTo>
                    <a:lnTo>
                      <a:pt x="1120" y="298"/>
                    </a:lnTo>
                    <a:lnTo>
                      <a:pt x="1111" y="291"/>
                    </a:lnTo>
                    <a:lnTo>
                      <a:pt x="1110" y="284"/>
                    </a:lnTo>
                    <a:lnTo>
                      <a:pt x="1105" y="281"/>
                    </a:lnTo>
                    <a:lnTo>
                      <a:pt x="1101" y="279"/>
                    </a:lnTo>
                    <a:lnTo>
                      <a:pt x="1092" y="282"/>
                    </a:lnTo>
                    <a:lnTo>
                      <a:pt x="1089" y="293"/>
                    </a:lnTo>
                    <a:lnTo>
                      <a:pt x="1086" y="298"/>
                    </a:lnTo>
                    <a:lnTo>
                      <a:pt x="1079" y="308"/>
                    </a:lnTo>
                    <a:lnTo>
                      <a:pt x="1068" y="315"/>
                    </a:lnTo>
                    <a:lnTo>
                      <a:pt x="1060" y="319"/>
                    </a:lnTo>
                    <a:lnTo>
                      <a:pt x="1049" y="313"/>
                    </a:lnTo>
                    <a:lnTo>
                      <a:pt x="1043" y="308"/>
                    </a:lnTo>
                    <a:lnTo>
                      <a:pt x="1036" y="303"/>
                    </a:lnTo>
                    <a:lnTo>
                      <a:pt x="1032" y="293"/>
                    </a:lnTo>
                    <a:lnTo>
                      <a:pt x="1031" y="281"/>
                    </a:lnTo>
                    <a:lnTo>
                      <a:pt x="1031" y="272"/>
                    </a:lnTo>
                    <a:lnTo>
                      <a:pt x="1024" y="264"/>
                    </a:lnTo>
                    <a:lnTo>
                      <a:pt x="1013" y="262"/>
                    </a:lnTo>
                    <a:lnTo>
                      <a:pt x="1003" y="258"/>
                    </a:lnTo>
                    <a:lnTo>
                      <a:pt x="1000" y="250"/>
                    </a:lnTo>
                    <a:lnTo>
                      <a:pt x="989" y="245"/>
                    </a:lnTo>
                    <a:lnTo>
                      <a:pt x="984" y="239"/>
                    </a:lnTo>
                    <a:lnTo>
                      <a:pt x="976" y="233"/>
                    </a:lnTo>
                    <a:lnTo>
                      <a:pt x="969" y="231"/>
                    </a:lnTo>
                    <a:lnTo>
                      <a:pt x="962" y="233"/>
                    </a:lnTo>
                    <a:lnTo>
                      <a:pt x="955" y="236"/>
                    </a:lnTo>
                    <a:lnTo>
                      <a:pt x="943" y="233"/>
                    </a:lnTo>
                    <a:lnTo>
                      <a:pt x="934" y="231"/>
                    </a:lnTo>
                    <a:lnTo>
                      <a:pt x="926" y="227"/>
                    </a:lnTo>
                    <a:lnTo>
                      <a:pt x="917" y="227"/>
                    </a:lnTo>
                    <a:lnTo>
                      <a:pt x="905" y="229"/>
                    </a:lnTo>
                    <a:lnTo>
                      <a:pt x="902" y="239"/>
                    </a:lnTo>
                    <a:lnTo>
                      <a:pt x="903" y="243"/>
                    </a:lnTo>
                    <a:lnTo>
                      <a:pt x="907" y="248"/>
                    </a:lnTo>
                    <a:lnTo>
                      <a:pt x="908" y="253"/>
                    </a:lnTo>
                    <a:lnTo>
                      <a:pt x="903" y="262"/>
                    </a:lnTo>
                    <a:lnTo>
                      <a:pt x="902" y="265"/>
                    </a:lnTo>
                    <a:lnTo>
                      <a:pt x="905" y="272"/>
                    </a:lnTo>
                    <a:lnTo>
                      <a:pt x="908" y="277"/>
                    </a:lnTo>
                    <a:lnTo>
                      <a:pt x="914" y="284"/>
                    </a:lnTo>
                    <a:lnTo>
                      <a:pt x="910" y="293"/>
                    </a:lnTo>
                    <a:lnTo>
                      <a:pt x="907" y="300"/>
                    </a:lnTo>
                    <a:lnTo>
                      <a:pt x="898" y="303"/>
                    </a:lnTo>
                    <a:lnTo>
                      <a:pt x="895" y="307"/>
                    </a:lnTo>
                    <a:lnTo>
                      <a:pt x="903" y="319"/>
                    </a:lnTo>
                    <a:lnTo>
                      <a:pt x="912" y="331"/>
                    </a:lnTo>
                    <a:lnTo>
                      <a:pt x="915" y="336"/>
                    </a:lnTo>
                    <a:lnTo>
                      <a:pt x="920" y="344"/>
                    </a:lnTo>
                    <a:lnTo>
                      <a:pt x="922" y="355"/>
                    </a:lnTo>
                    <a:lnTo>
                      <a:pt x="924" y="367"/>
                    </a:lnTo>
                    <a:lnTo>
                      <a:pt x="917" y="374"/>
                    </a:lnTo>
                    <a:lnTo>
                      <a:pt x="907" y="386"/>
                    </a:lnTo>
                    <a:lnTo>
                      <a:pt x="893" y="394"/>
                    </a:lnTo>
                    <a:lnTo>
                      <a:pt x="883" y="399"/>
                    </a:lnTo>
                    <a:lnTo>
                      <a:pt x="891" y="408"/>
                    </a:lnTo>
                    <a:lnTo>
                      <a:pt x="895" y="422"/>
                    </a:lnTo>
                    <a:lnTo>
                      <a:pt x="896" y="436"/>
                    </a:lnTo>
                    <a:lnTo>
                      <a:pt x="900" y="446"/>
                    </a:lnTo>
                    <a:lnTo>
                      <a:pt x="895" y="449"/>
                    </a:lnTo>
                    <a:lnTo>
                      <a:pt x="891" y="458"/>
                    </a:lnTo>
                    <a:lnTo>
                      <a:pt x="883" y="461"/>
                    </a:lnTo>
                    <a:lnTo>
                      <a:pt x="876" y="463"/>
                    </a:lnTo>
                    <a:lnTo>
                      <a:pt x="865" y="453"/>
                    </a:lnTo>
                    <a:lnTo>
                      <a:pt x="855" y="444"/>
                    </a:lnTo>
                    <a:lnTo>
                      <a:pt x="847" y="434"/>
                    </a:lnTo>
                    <a:lnTo>
                      <a:pt x="845" y="423"/>
                    </a:lnTo>
                    <a:lnTo>
                      <a:pt x="845" y="410"/>
                    </a:lnTo>
                    <a:lnTo>
                      <a:pt x="845" y="401"/>
                    </a:lnTo>
                    <a:lnTo>
                      <a:pt x="841" y="391"/>
                    </a:lnTo>
                    <a:lnTo>
                      <a:pt x="834" y="386"/>
                    </a:lnTo>
                    <a:lnTo>
                      <a:pt x="802" y="386"/>
                    </a:lnTo>
                    <a:lnTo>
                      <a:pt x="786" y="375"/>
                    </a:lnTo>
                    <a:lnTo>
                      <a:pt x="771" y="367"/>
                    </a:lnTo>
                    <a:lnTo>
                      <a:pt x="754" y="360"/>
                    </a:lnTo>
                    <a:lnTo>
                      <a:pt x="738" y="355"/>
                    </a:lnTo>
                    <a:lnTo>
                      <a:pt x="728" y="348"/>
                    </a:lnTo>
                    <a:lnTo>
                      <a:pt x="716" y="344"/>
                    </a:lnTo>
                    <a:lnTo>
                      <a:pt x="705" y="348"/>
                    </a:lnTo>
                    <a:lnTo>
                      <a:pt x="697" y="351"/>
                    </a:lnTo>
                    <a:lnTo>
                      <a:pt x="695" y="338"/>
                    </a:lnTo>
                    <a:lnTo>
                      <a:pt x="692" y="325"/>
                    </a:lnTo>
                    <a:lnTo>
                      <a:pt x="685" y="315"/>
                    </a:lnTo>
                    <a:lnTo>
                      <a:pt x="678" y="312"/>
                    </a:lnTo>
                    <a:lnTo>
                      <a:pt x="671" y="313"/>
                    </a:lnTo>
                    <a:lnTo>
                      <a:pt x="666" y="317"/>
                    </a:lnTo>
                    <a:lnTo>
                      <a:pt x="666" y="312"/>
                    </a:lnTo>
                    <a:lnTo>
                      <a:pt x="666" y="308"/>
                    </a:lnTo>
                    <a:lnTo>
                      <a:pt x="666" y="301"/>
                    </a:lnTo>
                    <a:lnTo>
                      <a:pt x="666" y="295"/>
                    </a:lnTo>
                    <a:lnTo>
                      <a:pt x="666" y="279"/>
                    </a:lnTo>
                    <a:lnTo>
                      <a:pt x="669" y="269"/>
                    </a:lnTo>
                    <a:lnTo>
                      <a:pt x="675" y="258"/>
                    </a:lnTo>
                    <a:lnTo>
                      <a:pt x="683" y="250"/>
                    </a:lnTo>
                    <a:lnTo>
                      <a:pt x="685" y="243"/>
                    </a:lnTo>
                    <a:lnTo>
                      <a:pt x="690" y="236"/>
                    </a:lnTo>
                    <a:lnTo>
                      <a:pt x="695" y="227"/>
                    </a:lnTo>
                    <a:lnTo>
                      <a:pt x="700" y="224"/>
                    </a:lnTo>
                    <a:lnTo>
                      <a:pt x="707" y="222"/>
                    </a:lnTo>
                    <a:lnTo>
                      <a:pt x="714" y="221"/>
                    </a:lnTo>
                    <a:lnTo>
                      <a:pt x="721" y="219"/>
                    </a:lnTo>
                    <a:lnTo>
                      <a:pt x="724" y="214"/>
                    </a:lnTo>
                    <a:lnTo>
                      <a:pt x="721" y="209"/>
                    </a:lnTo>
                    <a:lnTo>
                      <a:pt x="712" y="205"/>
                    </a:lnTo>
                    <a:lnTo>
                      <a:pt x="704" y="203"/>
                    </a:lnTo>
                    <a:lnTo>
                      <a:pt x="697" y="202"/>
                    </a:lnTo>
                    <a:lnTo>
                      <a:pt x="697" y="200"/>
                    </a:lnTo>
                    <a:lnTo>
                      <a:pt x="699" y="198"/>
                    </a:lnTo>
                    <a:lnTo>
                      <a:pt x="705" y="198"/>
                    </a:lnTo>
                    <a:lnTo>
                      <a:pt x="714" y="200"/>
                    </a:lnTo>
                    <a:lnTo>
                      <a:pt x="728" y="205"/>
                    </a:lnTo>
                    <a:lnTo>
                      <a:pt x="731" y="203"/>
                    </a:lnTo>
                    <a:lnTo>
                      <a:pt x="733" y="200"/>
                    </a:lnTo>
                    <a:lnTo>
                      <a:pt x="735" y="197"/>
                    </a:lnTo>
                    <a:lnTo>
                      <a:pt x="738" y="195"/>
                    </a:lnTo>
                    <a:lnTo>
                      <a:pt x="740" y="195"/>
                    </a:lnTo>
                    <a:lnTo>
                      <a:pt x="748" y="195"/>
                    </a:lnTo>
                    <a:lnTo>
                      <a:pt x="762" y="188"/>
                    </a:lnTo>
                    <a:lnTo>
                      <a:pt x="776" y="176"/>
                    </a:lnTo>
                    <a:lnTo>
                      <a:pt x="776" y="169"/>
                    </a:lnTo>
                    <a:lnTo>
                      <a:pt x="762" y="166"/>
                    </a:lnTo>
                    <a:lnTo>
                      <a:pt x="750" y="164"/>
                    </a:lnTo>
                    <a:lnTo>
                      <a:pt x="740" y="159"/>
                    </a:lnTo>
                    <a:lnTo>
                      <a:pt x="733" y="152"/>
                    </a:lnTo>
                    <a:lnTo>
                      <a:pt x="736" y="152"/>
                    </a:lnTo>
                    <a:lnTo>
                      <a:pt x="743" y="152"/>
                    </a:lnTo>
                    <a:lnTo>
                      <a:pt x="752" y="159"/>
                    </a:lnTo>
                    <a:lnTo>
                      <a:pt x="766" y="164"/>
                    </a:lnTo>
                    <a:lnTo>
                      <a:pt x="771" y="160"/>
                    </a:lnTo>
                    <a:lnTo>
                      <a:pt x="779" y="157"/>
                    </a:lnTo>
                    <a:lnTo>
                      <a:pt x="785" y="152"/>
                    </a:lnTo>
                    <a:lnTo>
                      <a:pt x="788" y="147"/>
                    </a:lnTo>
                    <a:lnTo>
                      <a:pt x="785" y="140"/>
                    </a:lnTo>
                    <a:lnTo>
                      <a:pt x="785" y="136"/>
                    </a:lnTo>
                    <a:lnTo>
                      <a:pt x="797" y="141"/>
                    </a:lnTo>
                    <a:lnTo>
                      <a:pt x="807" y="147"/>
                    </a:lnTo>
                    <a:lnTo>
                      <a:pt x="814" y="143"/>
                    </a:lnTo>
                    <a:lnTo>
                      <a:pt x="824" y="141"/>
                    </a:lnTo>
                    <a:lnTo>
                      <a:pt x="824" y="135"/>
                    </a:lnTo>
                    <a:lnTo>
                      <a:pt x="831" y="140"/>
                    </a:lnTo>
                    <a:lnTo>
                      <a:pt x="834" y="138"/>
                    </a:lnTo>
                    <a:lnTo>
                      <a:pt x="845" y="131"/>
                    </a:lnTo>
                    <a:lnTo>
                      <a:pt x="855" y="123"/>
                    </a:lnTo>
                    <a:lnTo>
                      <a:pt x="860" y="116"/>
                    </a:lnTo>
                    <a:lnTo>
                      <a:pt x="853" y="107"/>
                    </a:lnTo>
                    <a:lnTo>
                      <a:pt x="848" y="102"/>
                    </a:lnTo>
                    <a:lnTo>
                      <a:pt x="847" y="97"/>
                    </a:lnTo>
                    <a:lnTo>
                      <a:pt x="847" y="93"/>
                    </a:lnTo>
                    <a:lnTo>
                      <a:pt x="848" y="88"/>
                    </a:lnTo>
                    <a:lnTo>
                      <a:pt x="857" y="83"/>
                    </a:lnTo>
                    <a:lnTo>
                      <a:pt x="857" y="78"/>
                    </a:lnTo>
                    <a:lnTo>
                      <a:pt x="857" y="71"/>
                    </a:lnTo>
                    <a:lnTo>
                      <a:pt x="847" y="68"/>
                    </a:lnTo>
                    <a:lnTo>
                      <a:pt x="841" y="64"/>
                    </a:lnTo>
                    <a:lnTo>
                      <a:pt x="834" y="59"/>
                    </a:lnTo>
                    <a:lnTo>
                      <a:pt x="824" y="57"/>
                    </a:lnTo>
                    <a:lnTo>
                      <a:pt x="817" y="56"/>
                    </a:lnTo>
                    <a:lnTo>
                      <a:pt x="812" y="54"/>
                    </a:lnTo>
                    <a:lnTo>
                      <a:pt x="802" y="56"/>
                    </a:lnTo>
                    <a:lnTo>
                      <a:pt x="798" y="64"/>
                    </a:lnTo>
                    <a:lnTo>
                      <a:pt x="802" y="71"/>
                    </a:lnTo>
                    <a:lnTo>
                      <a:pt x="807" y="78"/>
                    </a:lnTo>
                    <a:lnTo>
                      <a:pt x="800" y="83"/>
                    </a:lnTo>
                    <a:lnTo>
                      <a:pt x="791" y="88"/>
                    </a:lnTo>
                    <a:lnTo>
                      <a:pt x="788" y="100"/>
                    </a:lnTo>
                    <a:lnTo>
                      <a:pt x="783" y="114"/>
                    </a:lnTo>
                    <a:lnTo>
                      <a:pt x="773" y="117"/>
                    </a:lnTo>
                    <a:lnTo>
                      <a:pt x="764" y="112"/>
                    </a:lnTo>
                    <a:lnTo>
                      <a:pt x="757" y="104"/>
                    </a:lnTo>
                    <a:lnTo>
                      <a:pt x="755" y="98"/>
                    </a:lnTo>
                    <a:lnTo>
                      <a:pt x="759" y="92"/>
                    </a:lnTo>
                    <a:lnTo>
                      <a:pt x="764" y="86"/>
                    </a:lnTo>
                    <a:lnTo>
                      <a:pt x="761" y="81"/>
                    </a:lnTo>
                    <a:lnTo>
                      <a:pt x="755" y="74"/>
                    </a:lnTo>
                    <a:lnTo>
                      <a:pt x="748" y="69"/>
                    </a:lnTo>
                    <a:lnTo>
                      <a:pt x="745" y="68"/>
                    </a:lnTo>
                    <a:lnTo>
                      <a:pt x="736" y="69"/>
                    </a:lnTo>
                    <a:lnTo>
                      <a:pt x="735" y="78"/>
                    </a:lnTo>
                    <a:lnTo>
                      <a:pt x="731" y="85"/>
                    </a:lnTo>
                    <a:lnTo>
                      <a:pt x="724" y="90"/>
                    </a:lnTo>
                    <a:lnTo>
                      <a:pt x="723" y="78"/>
                    </a:lnTo>
                    <a:lnTo>
                      <a:pt x="714" y="71"/>
                    </a:lnTo>
                    <a:lnTo>
                      <a:pt x="716" y="66"/>
                    </a:lnTo>
                    <a:lnTo>
                      <a:pt x="719" y="64"/>
                    </a:lnTo>
                    <a:lnTo>
                      <a:pt x="704" y="61"/>
                    </a:lnTo>
                    <a:lnTo>
                      <a:pt x="693" y="57"/>
                    </a:lnTo>
                    <a:lnTo>
                      <a:pt x="700" y="50"/>
                    </a:lnTo>
                    <a:lnTo>
                      <a:pt x="705" y="43"/>
                    </a:lnTo>
                    <a:lnTo>
                      <a:pt x="702" y="37"/>
                    </a:lnTo>
                    <a:lnTo>
                      <a:pt x="697" y="35"/>
                    </a:lnTo>
                    <a:lnTo>
                      <a:pt x="692" y="31"/>
                    </a:lnTo>
                    <a:lnTo>
                      <a:pt x="690" y="28"/>
                    </a:lnTo>
                    <a:lnTo>
                      <a:pt x="687" y="16"/>
                    </a:lnTo>
                    <a:lnTo>
                      <a:pt x="681" y="9"/>
                    </a:lnTo>
                    <a:lnTo>
                      <a:pt x="671" y="2"/>
                    </a:lnTo>
                    <a:lnTo>
                      <a:pt x="659" y="0"/>
                    </a:lnTo>
                    <a:lnTo>
                      <a:pt x="652" y="4"/>
                    </a:lnTo>
                    <a:lnTo>
                      <a:pt x="654" y="13"/>
                    </a:lnTo>
                    <a:lnTo>
                      <a:pt x="644" y="13"/>
                    </a:lnTo>
                    <a:lnTo>
                      <a:pt x="640" y="19"/>
                    </a:lnTo>
                    <a:lnTo>
                      <a:pt x="642" y="26"/>
                    </a:lnTo>
                    <a:lnTo>
                      <a:pt x="644" y="33"/>
                    </a:lnTo>
                    <a:lnTo>
                      <a:pt x="640" y="37"/>
                    </a:lnTo>
                    <a:lnTo>
                      <a:pt x="637" y="43"/>
                    </a:lnTo>
                    <a:lnTo>
                      <a:pt x="642" y="52"/>
                    </a:lnTo>
                    <a:lnTo>
                      <a:pt x="654" y="56"/>
                    </a:lnTo>
                    <a:lnTo>
                      <a:pt x="664" y="59"/>
                    </a:lnTo>
                    <a:lnTo>
                      <a:pt x="671" y="68"/>
                    </a:lnTo>
                    <a:lnTo>
                      <a:pt x="669" y="76"/>
                    </a:lnTo>
                    <a:lnTo>
                      <a:pt x="668" y="83"/>
                    </a:lnTo>
                    <a:lnTo>
                      <a:pt x="673" y="80"/>
                    </a:lnTo>
                    <a:lnTo>
                      <a:pt x="678" y="78"/>
                    </a:lnTo>
                    <a:lnTo>
                      <a:pt x="676" y="88"/>
                    </a:lnTo>
                    <a:lnTo>
                      <a:pt x="668" y="93"/>
                    </a:lnTo>
                    <a:lnTo>
                      <a:pt x="661" y="95"/>
                    </a:lnTo>
                    <a:lnTo>
                      <a:pt x="656" y="98"/>
                    </a:lnTo>
                    <a:lnTo>
                      <a:pt x="652" y="104"/>
                    </a:lnTo>
                    <a:lnTo>
                      <a:pt x="652" y="114"/>
                    </a:lnTo>
                    <a:lnTo>
                      <a:pt x="644" y="112"/>
                    </a:lnTo>
                    <a:lnTo>
                      <a:pt x="642" y="107"/>
                    </a:lnTo>
                    <a:lnTo>
                      <a:pt x="644" y="100"/>
                    </a:lnTo>
                    <a:lnTo>
                      <a:pt x="644" y="95"/>
                    </a:lnTo>
                    <a:lnTo>
                      <a:pt x="638" y="92"/>
                    </a:lnTo>
                    <a:lnTo>
                      <a:pt x="633" y="92"/>
                    </a:lnTo>
                    <a:lnTo>
                      <a:pt x="626" y="90"/>
                    </a:lnTo>
                    <a:lnTo>
                      <a:pt x="621" y="90"/>
                    </a:lnTo>
                    <a:lnTo>
                      <a:pt x="611" y="93"/>
                    </a:lnTo>
                    <a:lnTo>
                      <a:pt x="609" y="105"/>
                    </a:lnTo>
                    <a:lnTo>
                      <a:pt x="601" y="105"/>
                    </a:lnTo>
                    <a:lnTo>
                      <a:pt x="594" y="105"/>
                    </a:lnTo>
                    <a:lnTo>
                      <a:pt x="587" y="105"/>
                    </a:lnTo>
                    <a:lnTo>
                      <a:pt x="582" y="105"/>
                    </a:lnTo>
                    <a:lnTo>
                      <a:pt x="573" y="105"/>
                    </a:lnTo>
                    <a:lnTo>
                      <a:pt x="564" y="105"/>
                    </a:lnTo>
                    <a:lnTo>
                      <a:pt x="554" y="104"/>
                    </a:lnTo>
                    <a:lnTo>
                      <a:pt x="544" y="102"/>
                    </a:lnTo>
                    <a:lnTo>
                      <a:pt x="533" y="100"/>
                    </a:lnTo>
                    <a:lnTo>
                      <a:pt x="523" y="98"/>
                    </a:lnTo>
                    <a:lnTo>
                      <a:pt x="508" y="88"/>
                    </a:lnTo>
                    <a:lnTo>
                      <a:pt x="499" y="76"/>
                    </a:lnTo>
                    <a:lnTo>
                      <a:pt x="487" y="76"/>
                    </a:lnTo>
                    <a:lnTo>
                      <a:pt x="475" y="78"/>
                    </a:lnTo>
                    <a:lnTo>
                      <a:pt x="463" y="81"/>
                    </a:lnTo>
                    <a:lnTo>
                      <a:pt x="460" y="90"/>
                    </a:lnTo>
                    <a:lnTo>
                      <a:pt x="461" y="93"/>
                    </a:lnTo>
                    <a:lnTo>
                      <a:pt x="466" y="95"/>
                    </a:lnTo>
                    <a:lnTo>
                      <a:pt x="480" y="92"/>
                    </a:lnTo>
                    <a:lnTo>
                      <a:pt x="494" y="88"/>
                    </a:lnTo>
                    <a:lnTo>
                      <a:pt x="490" y="93"/>
                    </a:lnTo>
                    <a:lnTo>
                      <a:pt x="482" y="97"/>
                    </a:lnTo>
                    <a:lnTo>
                      <a:pt x="473" y="98"/>
                    </a:lnTo>
                    <a:lnTo>
                      <a:pt x="470" y="107"/>
                    </a:lnTo>
                    <a:lnTo>
                      <a:pt x="472" y="116"/>
                    </a:lnTo>
                    <a:lnTo>
                      <a:pt x="473" y="123"/>
                    </a:lnTo>
                    <a:lnTo>
                      <a:pt x="461" y="116"/>
                    </a:lnTo>
                    <a:lnTo>
                      <a:pt x="453" y="105"/>
                    </a:lnTo>
                    <a:lnTo>
                      <a:pt x="444" y="102"/>
                    </a:lnTo>
                    <a:lnTo>
                      <a:pt x="434" y="102"/>
                    </a:lnTo>
                    <a:lnTo>
                      <a:pt x="427" y="102"/>
                    </a:lnTo>
                    <a:lnTo>
                      <a:pt x="420" y="102"/>
                    </a:lnTo>
                    <a:lnTo>
                      <a:pt x="411" y="102"/>
                    </a:lnTo>
                    <a:lnTo>
                      <a:pt x="398" y="104"/>
                    </a:lnTo>
                    <a:lnTo>
                      <a:pt x="384" y="107"/>
                    </a:lnTo>
                    <a:lnTo>
                      <a:pt x="372" y="105"/>
                    </a:lnTo>
                    <a:lnTo>
                      <a:pt x="367" y="104"/>
                    </a:lnTo>
                    <a:lnTo>
                      <a:pt x="365" y="100"/>
                    </a:lnTo>
                    <a:lnTo>
                      <a:pt x="365" y="98"/>
                    </a:lnTo>
                    <a:lnTo>
                      <a:pt x="367" y="95"/>
                    </a:lnTo>
                    <a:lnTo>
                      <a:pt x="372" y="95"/>
                    </a:lnTo>
                    <a:lnTo>
                      <a:pt x="377" y="93"/>
                    </a:lnTo>
                    <a:lnTo>
                      <a:pt x="382" y="93"/>
                    </a:lnTo>
                    <a:lnTo>
                      <a:pt x="374" y="81"/>
                    </a:lnTo>
                    <a:lnTo>
                      <a:pt x="367" y="78"/>
                    </a:lnTo>
                    <a:lnTo>
                      <a:pt x="361" y="76"/>
                    </a:lnTo>
                    <a:lnTo>
                      <a:pt x="358" y="76"/>
                    </a:lnTo>
                    <a:lnTo>
                      <a:pt x="351" y="78"/>
                    </a:lnTo>
                    <a:lnTo>
                      <a:pt x="343" y="80"/>
                    </a:lnTo>
                    <a:lnTo>
                      <a:pt x="331" y="78"/>
                    </a:lnTo>
                    <a:lnTo>
                      <a:pt x="320" y="76"/>
                    </a:lnTo>
                    <a:lnTo>
                      <a:pt x="312" y="71"/>
                    </a:lnTo>
                    <a:lnTo>
                      <a:pt x="303" y="68"/>
                    </a:lnTo>
                    <a:lnTo>
                      <a:pt x="293" y="62"/>
                    </a:lnTo>
                    <a:lnTo>
                      <a:pt x="284" y="59"/>
                    </a:lnTo>
                    <a:lnTo>
                      <a:pt x="274" y="57"/>
                    </a:lnTo>
                    <a:lnTo>
                      <a:pt x="265" y="57"/>
                    </a:lnTo>
                    <a:lnTo>
                      <a:pt x="253" y="59"/>
                    </a:lnTo>
                    <a:lnTo>
                      <a:pt x="243" y="62"/>
                    </a:lnTo>
                    <a:lnTo>
                      <a:pt x="234" y="57"/>
                    </a:lnTo>
                    <a:lnTo>
                      <a:pt x="231" y="49"/>
                    </a:lnTo>
                    <a:lnTo>
                      <a:pt x="220" y="56"/>
                    </a:lnTo>
                    <a:lnTo>
                      <a:pt x="212" y="62"/>
                    </a:lnTo>
                    <a:lnTo>
                      <a:pt x="203" y="57"/>
                    </a:lnTo>
                    <a:lnTo>
                      <a:pt x="195" y="50"/>
                    </a:lnTo>
                    <a:lnTo>
                      <a:pt x="188" y="42"/>
                    </a:lnTo>
                    <a:lnTo>
                      <a:pt x="184" y="40"/>
                    </a:lnTo>
                    <a:lnTo>
                      <a:pt x="177" y="42"/>
                    </a:lnTo>
                    <a:lnTo>
                      <a:pt x="176" y="47"/>
                    </a:lnTo>
                    <a:lnTo>
                      <a:pt x="172" y="50"/>
                    </a:lnTo>
                    <a:lnTo>
                      <a:pt x="167" y="54"/>
                    </a:lnTo>
                    <a:lnTo>
                      <a:pt x="162" y="52"/>
                    </a:lnTo>
                    <a:lnTo>
                      <a:pt x="159" y="47"/>
                    </a:lnTo>
                    <a:lnTo>
                      <a:pt x="146" y="49"/>
                    </a:lnTo>
                    <a:lnTo>
                      <a:pt x="140" y="50"/>
                    </a:lnTo>
                    <a:lnTo>
                      <a:pt x="131" y="52"/>
                    </a:lnTo>
                    <a:lnTo>
                      <a:pt x="122" y="57"/>
                    </a:lnTo>
                    <a:lnTo>
                      <a:pt x="116" y="59"/>
                    </a:lnTo>
                    <a:lnTo>
                      <a:pt x="110" y="62"/>
                    </a:lnTo>
                    <a:lnTo>
                      <a:pt x="104" y="64"/>
                    </a:lnTo>
                    <a:lnTo>
                      <a:pt x="100" y="64"/>
                    </a:lnTo>
                    <a:lnTo>
                      <a:pt x="91" y="59"/>
                    </a:lnTo>
                    <a:lnTo>
                      <a:pt x="88" y="61"/>
                    </a:lnTo>
                    <a:lnTo>
                      <a:pt x="86" y="64"/>
                    </a:lnTo>
                    <a:lnTo>
                      <a:pt x="85" y="68"/>
                    </a:lnTo>
                    <a:lnTo>
                      <a:pt x="73" y="68"/>
                    </a:lnTo>
                    <a:lnTo>
                      <a:pt x="67" y="69"/>
                    </a:lnTo>
                    <a:lnTo>
                      <a:pt x="64" y="71"/>
                    </a:lnTo>
                    <a:lnTo>
                      <a:pt x="66" y="74"/>
                    </a:lnTo>
                    <a:lnTo>
                      <a:pt x="67" y="78"/>
                    </a:lnTo>
                    <a:lnTo>
                      <a:pt x="69" y="81"/>
                    </a:lnTo>
                    <a:lnTo>
                      <a:pt x="57" y="80"/>
                    </a:lnTo>
                    <a:lnTo>
                      <a:pt x="43" y="78"/>
                    </a:lnTo>
                    <a:lnTo>
                      <a:pt x="28" y="71"/>
                    </a:lnTo>
                    <a:lnTo>
                      <a:pt x="12" y="66"/>
                    </a:lnTo>
                    <a:lnTo>
                      <a:pt x="9" y="62"/>
                    </a:lnTo>
                    <a:lnTo>
                      <a:pt x="5" y="59"/>
                    </a:lnTo>
                    <a:lnTo>
                      <a:pt x="2" y="59"/>
                    </a:lnTo>
                    <a:lnTo>
                      <a:pt x="0" y="59"/>
                    </a:lnTo>
                    <a:lnTo>
                      <a:pt x="0" y="279"/>
                    </a:lnTo>
                    <a:lnTo>
                      <a:pt x="4" y="279"/>
                    </a:lnTo>
                    <a:lnTo>
                      <a:pt x="12" y="281"/>
                    </a:lnTo>
                    <a:lnTo>
                      <a:pt x="19" y="281"/>
                    </a:lnTo>
                    <a:lnTo>
                      <a:pt x="28" y="286"/>
                    </a:lnTo>
                    <a:lnTo>
                      <a:pt x="31" y="291"/>
                    </a:lnTo>
                    <a:lnTo>
                      <a:pt x="38" y="298"/>
                    </a:lnTo>
                    <a:lnTo>
                      <a:pt x="45" y="303"/>
                    </a:lnTo>
                    <a:lnTo>
                      <a:pt x="54" y="307"/>
                    </a:lnTo>
                    <a:lnTo>
                      <a:pt x="61" y="300"/>
                    </a:lnTo>
                    <a:lnTo>
                      <a:pt x="67" y="295"/>
                    </a:lnTo>
                    <a:lnTo>
                      <a:pt x="71" y="293"/>
                    </a:lnTo>
                    <a:lnTo>
                      <a:pt x="78" y="291"/>
                    </a:lnTo>
                    <a:lnTo>
                      <a:pt x="86" y="300"/>
                    </a:lnTo>
                    <a:lnTo>
                      <a:pt x="95" y="308"/>
                    </a:lnTo>
                    <a:lnTo>
                      <a:pt x="102" y="319"/>
                    </a:lnTo>
                    <a:lnTo>
                      <a:pt x="112" y="332"/>
                    </a:lnTo>
                    <a:lnTo>
                      <a:pt x="116" y="334"/>
                    </a:lnTo>
                    <a:lnTo>
                      <a:pt x="119" y="339"/>
                    </a:lnTo>
                    <a:lnTo>
                      <a:pt x="122" y="348"/>
                    </a:lnTo>
                    <a:lnTo>
                      <a:pt x="129" y="358"/>
                    </a:lnTo>
                    <a:lnTo>
                      <a:pt x="134" y="360"/>
                    </a:lnTo>
                    <a:lnTo>
                      <a:pt x="141" y="363"/>
                    </a:lnTo>
                    <a:lnTo>
                      <a:pt x="150" y="370"/>
                    </a:lnTo>
                    <a:lnTo>
                      <a:pt x="155" y="382"/>
                    </a:lnTo>
                    <a:lnTo>
                      <a:pt x="152" y="387"/>
                    </a:lnTo>
                    <a:lnTo>
                      <a:pt x="148" y="393"/>
                    </a:lnTo>
                    <a:lnTo>
                      <a:pt x="148" y="394"/>
                    </a:lnTo>
                    <a:lnTo>
                      <a:pt x="150" y="399"/>
                    </a:lnTo>
                    <a:lnTo>
                      <a:pt x="148" y="405"/>
                    </a:lnTo>
                    <a:lnTo>
                      <a:pt x="150" y="411"/>
                    </a:lnTo>
                    <a:lnTo>
                      <a:pt x="150" y="417"/>
                    </a:lnTo>
                    <a:lnTo>
                      <a:pt x="157" y="422"/>
                    </a:lnTo>
                    <a:lnTo>
                      <a:pt x="162" y="422"/>
                    </a:lnTo>
                    <a:lnTo>
                      <a:pt x="167" y="425"/>
                    </a:lnTo>
                    <a:lnTo>
                      <a:pt x="169" y="432"/>
                    </a:lnTo>
                    <a:lnTo>
                      <a:pt x="172" y="441"/>
                    </a:lnTo>
                    <a:lnTo>
                      <a:pt x="174" y="441"/>
                    </a:lnTo>
                    <a:lnTo>
                      <a:pt x="179" y="444"/>
                    </a:lnTo>
                    <a:lnTo>
                      <a:pt x="183" y="448"/>
                    </a:lnTo>
                    <a:lnTo>
                      <a:pt x="186" y="451"/>
                    </a:lnTo>
                    <a:lnTo>
                      <a:pt x="188" y="458"/>
                    </a:lnTo>
                    <a:lnTo>
                      <a:pt x="191" y="466"/>
                    </a:lnTo>
                    <a:lnTo>
                      <a:pt x="196" y="472"/>
                    </a:lnTo>
                    <a:lnTo>
                      <a:pt x="208" y="475"/>
                    </a:lnTo>
                    <a:lnTo>
                      <a:pt x="210" y="479"/>
                    </a:lnTo>
                    <a:lnTo>
                      <a:pt x="219" y="482"/>
                    </a:lnTo>
                    <a:lnTo>
                      <a:pt x="226" y="484"/>
                    </a:lnTo>
                    <a:lnTo>
                      <a:pt x="232" y="492"/>
                    </a:lnTo>
                    <a:lnTo>
                      <a:pt x="239" y="497"/>
                    </a:lnTo>
                    <a:lnTo>
                      <a:pt x="251" y="504"/>
                    </a:lnTo>
                    <a:lnTo>
                      <a:pt x="253" y="504"/>
                    </a:lnTo>
                    <a:lnTo>
                      <a:pt x="257" y="506"/>
                    </a:lnTo>
                    <a:lnTo>
                      <a:pt x="662" y="506"/>
                    </a:lnTo>
                    <a:lnTo>
                      <a:pt x="662" y="501"/>
                    </a:lnTo>
                    <a:lnTo>
                      <a:pt x="669" y="506"/>
                    </a:lnTo>
                    <a:lnTo>
                      <a:pt x="676" y="513"/>
                    </a:lnTo>
                    <a:lnTo>
                      <a:pt x="700" y="513"/>
                    </a:lnTo>
                    <a:lnTo>
                      <a:pt x="707" y="518"/>
                    </a:lnTo>
                    <a:lnTo>
                      <a:pt x="718" y="521"/>
                    </a:lnTo>
                    <a:lnTo>
                      <a:pt x="728" y="521"/>
                    </a:lnTo>
                    <a:lnTo>
                      <a:pt x="743" y="523"/>
                    </a:lnTo>
                    <a:lnTo>
                      <a:pt x="748" y="521"/>
                    </a:lnTo>
                    <a:lnTo>
                      <a:pt x="755" y="521"/>
                    </a:lnTo>
                    <a:lnTo>
                      <a:pt x="759" y="513"/>
                    </a:lnTo>
                    <a:lnTo>
                      <a:pt x="764" y="509"/>
                    </a:lnTo>
                    <a:lnTo>
                      <a:pt x="771" y="515"/>
                    </a:lnTo>
                    <a:lnTo>
                      <a:pt x="776" y="521"/>
                    </a:lnTo>
                    <a:lnTo>
                      <a:pt x="776" y="516"/>
                    </a:lnTo>
                    <a:lnTo>
                      <a:pt x="778" y="515"/>
                    </a:lnTo>
                    <a:lnTo>
                      <a:pt x="781" y="515"/>
                    </a:lnTo>
                    <a:lnTo>
                      <a:pt x="785" y="516"/>
                    </a:lnTo>
                    <a:lnTo>
                      <a:pt x="793" y="523"/>
                    </a:lnTo>
                    <a:lnTo>
                      <a:pt x="802" y="528"/>
                    </a:lnTo>
                    <a:lnTo>
                      <a:pt x="807" y="534"/>
                    </a:lnTo>
                    <a:lnTo>
                      <a:pt x="807" y="540"/>
                    </a:lnTo>
                    <a:lnTo>
                      <a:pt x="810" y="549"/>
                    </a:lnTo>
                    <a:lnTo>
                      <a:pt x="819" y="554"/>
                    </a:lnTo>
                    <a:lnTo>
                      <a:pt x="829" y="558"/>
                    </a:lnTo>
                    <a:lnTo>
                      <a:pt x="840" y="559"/>
                    </a:lnTo>
                    <a:lnTo>
                      <a:pt x="850" y="566"/>
                    </a:lnTo>
                    <a:lnTo>
                      <a:pt x="864" y="566"/>
                    </a:lnTo>
                    <a:lnTo>
                      <a:pt x="872" y="571"/>
                    </a:lnTo>
                    <a:lnTo>
                      <a:pt x="877" y="583"/>
                    </a:lnTo>
                    <a:lnTo>
                      <a:pt x="876" y="587"/>
                    </a:lnTo>
                    <a:lnTo>
                      <a:pt x="872" y="589"/>
                    </a:lnTo>
                    <a:lnTo>
                      <a:pt x="862" y="583"/>
                    </a:lnTo>
                    <a:lnTo>
                      <a:pt x="859" y="580"/>
                    </a:lnTo>
                    <a:lnTo>
                      <a:pt x="855" y="587"/>
                    </a:lnTo>
                    <a:lnTo>
                      <a:pt x="853" y="599"/>
                    </a:lnTo>
                    <a:lnTo>
                      <a:pt x="848" y="607"/>
                    </a:lnTo>
                    <a:lnTo>
                      <a:pt x="845" y="613"/>
                    </a:lnTo>
                    <a:lnTo>
                      <a:pt x="836" y="621"/>
                    </a:lnTo>
                    <a:lnTo>
                      <a:pt x="833" y="630"/>
                    </a:lnTo>
                    <a:lnTo>
                      <a:pt x="836" y="633"/>
                    </a:lnTo>
                    <a:lnTo>
                      <a:pt x="841" y="637"/>
                    </a:lnTo>
                    <a:lnTo>
                      <a:pt x="845" y="633"/>
                    </a:lnTo>
                    <a:lnTo>
                      <a:pt x="848" y="632"/>
                    </a:lnTo>
                    <a:lnTo>
                      <a:pt x="855" y="626"/>
                    </a:lnTo>
                    <a:lnTo>
                      <a:pt x="867" y="626"/>
                    </a:lnTo>
                    <a:lnTo>
                      <a:pt x="874" y="626"/>
                    </a:lnTo>
                    <a:lnTo>
                      <a:pt x="879" y="628"/>
                    </a:lnTo>
                    <a:lnTo>
                      <a:pt x="883" y="626"/>
                    </a:lnTo>
                    <a:lnTo>
                      <a:pt x="888" y="625"/>
                    </a:lnTo>
                    <a:lnTo>
                      <a:pt x="886" y="620"/>
                    </a:lnTo>
                    <a:lnTo>
                      <a:pt x="884" y="616"/>
                    </a:lnTo>
                    <a:lnTo>
                      <a:pt x="883" y="613"/>
                    </a:lnTo>
                    <a:lnTo>
                      <a:pt x="881" y="611"/>
                    </a:lnTo>
                    <a:lnTo>
                      <a:pt x="883" y="607"/>
                    </a:lnTo>
                    <a:lnTo>
                      <a:pt x="888" y="607"/>
                    </a:lnTo>
                    <a:lnTo>
                      <a:pt x="896" y="604"/>
                    </a:lnTo>
                    <a:lnTo>
                      <a:pt x="912" y="601"/>
                    </a:lnTo>
                    <a:lnTo>
                      <a:pt x="924" y="597"/>
                    </a:lnTo>
                    <a:lnTo>
                      <a:pt x="936" y="597"/>
                    </a:lnTo>
                    <a:lnTo>
                      <a:pt x="938" y="594"/>
                    </a:lnTo>
                    <a:lnTo>
                      <a:pt x="946" y="587"/>
                    </a:lnTo>
                    <a:lnTo>
                      <a:pt x="953" y="578"/>
                    </a:lnTo>
                    <a:lnTo>
                      <a:pt x="958" y="577"/>
                    </a:lnTo>
                    <a:lnTo>
                      <a:pt x="969" y="575"/>
                    </a:lnTo>
                    <a:lnTo>
                      <a:pt x="986" y="575"/>
                    </a:lnTo>
                    <a:lnTo>
                      <a:pt x="991" y="575"/>
                    </a:lnTo>
                    <a:lnTo>
                      <a:pt x="998" y="575"/>
                    </a:lnTo>
                    <a:lnTo>
                      <a:pt x="1003" y="573"/>
                    </a:lnTo>
                    <a:lnTo>
                      <a:pt x="1010" y="573"/>
                    </a:lnTo>
                    <a:lnTo>
                      <a:pt x="1013" y="571"/>
                    </a:lnTo>
                    <a:lnTo>
                      <a:pt x="1017" y="568"/>
                    </a:lnTo>
                    <a:lnTo>
                      <a:pt x="1020" y="559"/>
                    </a:lnTo>
                    <a:lnTo>
                      <a:pt x="1025" y="551"/>
                    </a:lnTo>
                    <a:lnTo>
                      <a:pt x="1029" y="540"/>
                    </a:lnTo>
                    <a:lnTo>
                      <a:pt x="1037" y="534"/>
                    </a:lnTo>
                    <a:lnTo>
                      <a:pt x="1048" y="535"/>
                    </a:lnTo>
                    <a:lnTo>
                      <a:pt x="1058" y="537"/>
                    </a:lnTo>
                    <a:lnTo>
                      <a:pt x="1060" y="547"/>
                    </a:lnTo>
                    <a:lnTo>
                      <a:pt x="1062" y="558"/>
                    </a:lnTo>
                    <a:lnTo>
                      <a:pt x="1062" y="568"/>
                    </a:lnTo>
                    <a:lnTo>
                      <a:pt x="1067" y="580"/>
                    </a:lnTo>
                    <a:lnTo>
                      <a:pt x="1067" y="5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9" name="Freeform 299"/>
              <p:cNvSpPr>
                <a:spLocks/>
              </p:cNvSpPr>
              <p:nvPr/>
            </p:nvSpPr>
            <p:spPr bwMode="auto">
              <a:xfrm>
                <a:off x="473869" y="2020888"/>
                <a:ext cx="857250" cy="614362"/>
              </a:xfrm>
              <a:custGeom>
                <a:avLst/>
                <a:gdLst/>
                <a:ahLst/>
                <a:cxnLst>
                  <a:cxn ang="0">
                    <a:pos x="397" y="263"/>
                  </a:cxn>
                  <a:cxn ang="0">
                    <a:pos x="423" y="280"/>
                  </a:cxn>
                  <a:cxn ang="0">
                    <a:pos x="452" y="277"/>
                  </a:cxn>
                  <a:cxn ang="0">
                    <a:pos x="480" y="290"/>
                  </a:cxn>
                  <a:cxn ang="0">
                    <a:pos x="504" y="321"/>
                  </a:cxn>
                  <a:cxn ang="0">
                    <a:pos x="526" y="345"/>
                  </a:cxn>
                  <a:cxn ang="0">
                    <a:pos x="533" y="375"/>
                  </a:cxn>
                  <a:cxn ang="0">
                    <a:pos x="513" y="368"/>
                  </a:cxn>
                  <a:cxn ang="0">
                    <a:pos x="506" y="352"/>
                  </a:cxn>
                  <a:cxn ang="0">
                    <a:pos x="482" y="337"/>
                  </a:cxn>
                  <a:cxn ang="0">
                    <a:pos x="490" y="321"/>
                  </a:cxn>
                  <a:cxn ang="0">
                    <a:pos x="468" y="321"/>
                  </a:cxn>
                  <a:cxn ang="0">
                    <a:pos x="464" y="306"/>
                  </a:cxn>
                  <a:cxn ang="0">
                    <a:pos x="442" y="307"/>
                  </a:cxn>
                  <a:cxn ang="0">
                    <a:pos x="418" y="289"/>
                  </a:cxn>
                  <a:cxn ang="0">
                    <a:pos x="372" y="271"/>
                  </a:cxn>
                  <a:cxn ang="0">
                    <a:pos x="303" y="254"/>
                  </a:cxn>
                  <a:cxn ang="0">
                    <a:pos x="277" y="256"/>
                  </a:cxn>
                  <a:cxn ang="0">
                    <a:pos x="241" y="285"/>
                  </a:cxn>
                  <a:cxn ang="0">
                    <a:pos x="225" y="282"/>
                  </a:cxn>
                  <a:cxn ang="0">
                    <a:pos x="229" y="264"/>
                  </a:cxn>
                  <a:cxn ang="0">
                    <a:pos x="251" y="247"/>
                  </a:cxn>
                  <a:cxn ang="0">
                    <a:pos x="231" y="249"/>
                  </a:cxn>
                  <a:cxn ang="0">
                    <a:pos x="200" y="294"/>
                  </a:cxn>
                  <a:cxn ang="0">
                    <a:pos x="169" y="323"/>
                  </a:cxn>
                  <a:cxn ang="0">
                    <a:pos x="138" y="347"/>
                  </a:cxn>
                  <a:cxn ang="0">
                    <a:pos x="100" y="366"/>
                  </a:cxn>
                  <a:cxn ang="0">
                    <a:pos x="53" y="385"/>
                  </a:cxn>
                  <a:cxn ang="0">
                    <a:pos x="72" y="368"/>
                  </a:cxn>
                  <a:cxn ang="0">
                    <a:pos x="112" y="342"/>
                  </a:cxn>
                  <a:cxn ang="0">
                    <a:pos x="151" y="316"/>
                  </a:cxn>
                  <a:cxn ang="0">
                    <a:pos x="162" y="294"/>
                  </a:cxn>
                  <a:cxn ang="0">
                    <a:pos x="131" y="295"/>
                  </a:cxn>
                  <a:cxn ang="0">
                    <a:pos x="112" y="297"/>
                  </a:cxn>
                  <a:cxn ang="0">
                    <a:pos x="102" y="299"/>
                  </a:cxn>
                  <a:cxn ang="0">
                    <a:pos x="83" y="297"/>
                  </a:cxn>
                  <a:cxn ang="0">
                    <a:pos x="81" y="275"/>
                  </a:cxn>
                  <a:cxn ang="0">
                    <a:pos x="60" y="277"/>
                  </a:cxn>
                  <a:cxn ang="0">
                    <a:pos x="38" y="256"/>
                  </a:cxn>
                  <a:cxn ang="0">
                    <a:pos x="24" y="239"/>
                  </a:cxn>
                  <a:cxn ang="0">
                    <a:pos x="48" y="206"/>
                  </a:cxn>
                  <a:cxn ang="0">
                    <a:pos x="93" y="191"/>
                  </a:cxn>
                  <a:cxn ang="0">
                    <a:pos x="95" y="170"/>
                  </a:cxn>
                  <a:cxn ang="0">
                    <a:pos x="89" y="166"/>
                  </a:cxn>
                  <a:cxn ang="0">
                    <a:pos x="46" y="170"/>
                  </a:cxn>
                  <a:cxn ang="0">
                    <a:pos x="14" y="156"/>
                  </a:cxn>
                  <a:cxn ang="0">
                    <a:pos x="0" y="144"/>
                  </a:cxn>
                  <a:cxn ang="0">
                    <a:pos x="46" y="122"/>
                  </a:cxn>
                  <a:cxn ang="0">
                    <a:pos x="65" y="132"/>
                  </a:cxn>
                  <a:cxn ang="0">
                    <a:pos x="81" y="122"/>
                  </a:cxn>
                  <a:cxn ang="0">
                    <a:pos x="52" y="103"/>
                  </a:cxn>
                  <a:cxn ang="0">
                    <a:pos x="33" y="84"/>
                  </a:cxn>
                  <a:cxn ang="0">
                    <a:pos x="19" y="70"/>
                  </a:cxn>
                  <a:cxn ang="0">
                    <a:pos x="77" y="34"/>
                  </a:cxn>
                  <a:cxn ang="0">
                    <a:pos x="115" y="15"/>
                  </a:cxn>
                  <a:cxn ang="0">
                    <a:pos x="157" y="0"/>
                  </a:cxn>
                  <a:cxn ang="0">
                    <a:pos x="167" y="13"/>
                  </a:cxn>
                  <a:cxn ang="0">
                    <a:pos x="193" y="12"/>
                  </a:cxn>
                  <a:cxn ang="0">
                    <a:pos x="272" y="22"/>
                  </a:cxn>
                  <a:cxn ang="0">
                    <a:pos x="329" y="36"/>
                  </a:cxn>
                  <a:cxn ang="0">
                    <a:pos x="368" y="34"/>
                  </a:cxn>
                  <a:cxn ang="0">
                    <a:pos x="385" y="41"/>
                  </a:cxn>
                </a:cxnLst>
                <a:rect l="0" t="0" r="r" b="b"/>
                <a:pathLst>
                  <a:path w="540" h="387">
                    <a:moveTo>
                      <a:pt x="385" y="41"/>
                    </a:moveTo>
                    <a:lnTo>
                      <a:pt x="385" y="261"/>
                    </a:lnTo>
                    <a:lnTo>
                      <a:pt x="389" y="261"/>
                    </a:lnTo>
                    <a:lnTo>
                      <a:pt x="397" y="263"/>
                    </a:lnTo>
                    <a:lnTo>
                      <a:pt x="404" y="263"/>
                    </a:lnTo>
                    <a:lnTo>
                      <a:pt x="413" y="268"/>
                    </a:lnTo>
                    <a:lnTo>
                      <a:pt x="416" y="273"/>
                    </a:lnTo>
                    <a:lnTo>
                      <a:pt x="423" y="280"/>
                    </a:lnTo>
                    <a:lnTo>
                      <a:pt x="430" y="285"/>
                    </a:lnTo>
                    <a:lnTo>
                      <a:pt x="439" y="289"/>
                    </a:lnTo>
                    <a:lnTo>
                      <a:pt x="446" y="282"/>
                    </a:lnTo>
                    <a:lnTo>
                      <a:pt x="452" y="277"/>
                    </a:lnTo>
                    <a:lnTo>
                      <a:pt x="456" y="275"/>
                    </a:lnTo>
                    <a:lnTo>
                      <a:pt x="463" y="273"/>
                    </a:lnTo>
                    <a:lnTo>
                      <a:pt x="471" y="282"/>
                    </a:lnTo>
                    <a:lnTo>
                      <a:pt x="480" y="290"/>
                    </a:lnTo>
                    <a:lnTo>
                      <a:pt x="487" y="301"/>
                    </a:lnTo>
                    <a:lnTo>
                      <a:pt x="497" y="314"/>
                    </a:lnTo>
                    <a:lnTo>
                      <a:pt x="501" y="316"/>
                    </a:lnTo>
                    <a:lnTo>
                      <a:pt x="504" y="321"/>
                    </a:lnTo>
                    <a:lnTo>
                      <a:pt x="507" y="330"/>
                    </a:lnTo>
                    <a:lnTo>
                      <a:pt x="514" y="340"/>
                    </a:lnTo>
                    <a:lnTo>
                      <a:pt x="519" y="342"/>
                    </a:lnTo>
                    <a:lnTo>
                      <a:pt x="526" y="345"/>
                    </a:lnTo>
                    <a:lnTo>
                      <a:pt x="535" y="352"/>
                    </a:lnTo>
                    <a:lnTo>
                      <a:pt x="540" y="364"/>
                    </a:lnTo>
                    <a:lnTo>
                      <a:pt x="537" y="369"/>
                    </a:lnTo>
                    <a:lnTo>
                      <a:pt x="533" y="375"/>
                    </a:lnTo>
                    <a:lnTo>
                      <a:pt x="530" y="375"/>
                    </a:lnTo>
                    <a:lnTo>
                      <a:pt x="528" y="375"/>
                    </a:lnTo>
                    <a:lnTo>
                      <a:pt x="519" y="371"/>
                    </a:lnTo>
                    <a:lnTo>
                      <a:pt x="513" y="368"/>
                    </a:lnTo>
                    <a:lnTo>
                      <a:pt x="507" y="362"/>
                    </a:lnTo>
                    <a:lnTo>
                      <a:pt x="506" y="359"/>
                    </a:lnTo>
                    <a:lnTo>
                      <a:pt x="506" y="356"/>
                    </a:lnTo>
                    <a:lnTo>
                      <a:pt x="506" y="352"/>
                    </a:lnTo>
                    <a:lnTo>
                      <a:pt x="501" y="344"/>
                    </a:lnTo>
                    <a:lnTo>
                      <a:pt x="492" y="344"/>
                    </a:lnTo>
                    <a:lnTo>
                      <a:pt x="483" y="340"/>
                    </a:lnTo>
                    <a:lnTo>
                      <a:pt x="482" y="337"/>
                    </a:lnTo>
                    <a:lnTo>
                      <a:pt x="485" y="332"/>
                    </a:lnTo>
                    <a:lnTo>
                      <a:pt x="490" y="328"/>
                    </a:lnTo>
                    <a:lnTo>
                      <a:pt x="490" y="323"/>
                    </a:lnTo>
                    <a:lnTo>
                      <a:pt x="490" y="321"/>
                    </a:lnTo>
                    <a:lnTo>
                      <a:pt x="482" y="325"/>
                    </a:lnTo>
                    <a:lnTo>
                      <a:pt x="476" y="328"/>
                    </a:lnTo>
                    <a:lnTo>
                      <a:pt x="471" y="325"/>
                    </a:lnTo>
                    <a:lnTo>
                      <a:pt x="468" y="321"/>
                    </a:lnTo>
                    <a:lnTo>
                      <a:pt x="470" y="313"/>
                    </a:lnTo>
                    <a:lnTo>
                      <a:pt x="473" y="309"/>
                    </a:lnTo>
                    <a:lnTo>
                      <a:pt x="468" y="304"/>
                    </a:lnTo>
                    <a:lnTo>
                      <a:pt x="464" y="306"/>
                    </a:lnTo>
                    <a:lnTo>
                      <a:pt x="454" y="302"/>
                    </a:lnTo>
                    <a:lnTo>
                      <a:pt x="449" y="299"/>
                    </a:lnTo>
                    <a:lnTo>
                      <a:pt x="446" y="304"/>
                    </a:lnTo>
                    <a:lnTo>
                      <a:pt x="442" y="307"/>
                    </a:lnTo>
                    <a:lnTo>
                      <a:pt x="432" y="304"/>
                    </a:lnTo>
                    <a:lnTo>
                      <a:pt x="427" y="299"/>
                    </a:lnTo>
                    <a:lnTo>
                      <a:pt x="421" y="292"/>
                    </a:lnTo>
                    <a:lnTo>
                      <a:pt x="418" y="289"/>
                    </a:lnTo>
                    <a:lnTo>
                      <a:pt x="406" y="282"/>
                    </a:lnTo>
                    <a:lnTo>
                      <a:pt x="394" y="278"/>
                    </a:lnTo>
                    <a:lnTo>
                      <a:pt x="382" y="275"/>
                    </a:lnTo>
                    <a:lnTo>
                      <a:pt x="372" y="271"/>
                    </a:lnTo>
                    <a:lnTo>
                      <a:pt x="344" y="271"/>
                    </a:lnTo>
                    <a:lnTo>
                      <a:pt x="330" y="266"/>
                    </a:lnTo>
                    <a:lnTo>
                      <a:pt x="317" y="261"/>
                    </a:lnTo>
                    <a:lnTo>
                      <a:pt x="303" y="254"/>
                    </a:lnTo>
                    <a:lnTo>
                      <a:pt x="296" y="246"/>
                    </a:lnTo>
                    <a:lnTo>
                      <a:pt x="286" y="249"/>
                    </a:lnTo>
                    <a:lnTo>
                      <a:pt x="275" y="252"/>
                    </a:lnTo>
                    <a:lnTo>
                      <a:pt x="277" y="256"/>
                    </a:lnTo>
                    <a:lnTo>
                      <a:pt x="280" y="259"/>
                    </a:lnTo>
                    <a:lnTo>
                      <a:pt x="270" y="268"/>
                    </a:lnTo>
                    <a:lnTo>
                      <a:pt x="256" y="277"/>
                    </a:lnTo>
                    <a:lnTo>
                      <a:pt x="241" y="285"/>
                    </a:lnTo>
                    <a:lnTo>
                      <a:pt x="231" y="289"/>
                    </a:lnTo>
                    <a:lnTo>
                      <a:pt x="225" y="287"/>
                    </a:lnTo>
                    <a:lnTo>
                      <a:pt x="225" y="285"/>
                    </a:lnTo>
                    <a:lnTo>
                      <a:pt x="225" y="282"/>
                    </a:lnTo>
                    <a:lnTo>
                      <a:pt x="229" y="280"/>
                    </a:lnTo>
                    <a:lnTo>
                      <a:pt x="227" y="277"/>
                    </a:lnTo>
                    <a:lnTo>
                      <a:pt x="229" y="275"/>
                    </a:lnTo>
                    <a:lnTo>
                      <a:pt x="229" y="264"/>
                    </a:lnTo>
                    <a:lnTo>
                      <a:pt x="234" y="259"/>
                    </a:lnTo>
                    <a:lnTo>
                      <a:pt x="239" y="252"/>
                    </a:lnTo>
                    <a:lnTo>
                      <a:pt x="251" y="251"/>
                    </a:lnTo>
                    <a:lnTo>
                      <a:pt x="251" y="247"/>
                    </a:lnTo>
                    <a:lnTo>
                      <a:pt x="251" y="246"/>
                    </a:lnTo>
                    <a:lnTo>
                      <a:pt x="246" y="246"/>
                    </a:lnTo>
                    <a:lnTo>
                      <a:pt x="244" y="246"/>
                    </a:lnTo>
                    <a:lnTo>
                      <a:pt x="231" y="249"/>
                    </a:lnTo>
                    <a:lnTo>
                      <a:pt x="217" y="261"/>
                    </a:lnTo>
                    <a:lnTo>
                      <a:pt x="203" y="275"/>
                    </a:lnTo>
                    <a:lnTo>
                      <a:pt x="200" y="290"/>
                    </a:lnTo>
                    <a:lnTo>
                      <a:pt x="200" y="294"/>
                    </a:lnTo>
                    <a:lnTo>
                      <a:pt x="200" y="297"/>
                    </a:lnTo>
                    <a:lnTo>
                      <a:pt x="193" y="309"/>
                    </a:lnTo>
                    <a:lnTo>
                      <a:pt x="177" y="318"/>
                    </a:lnTo>
                    <a:lnTo>
                      <a:pt x="169" y="323"/>
                    </a:lnTo>
                    <a:lnTo>
                      <a:pt x="163" y="330"/>
                    </a:lnTo>
                    <a:lnTo>
                      <a:pt x="155" y="335"/>
                    </a:lnTo>
                    <a:lnTo>
                      <a:pt x="146" y="342"/>
                    </a:lnTo>
                    <a:lnTo>
                      <a:pt x="138" y="347"/>
                    </a:lnTo>
                    <a:lnTo>
                      <a:pt x="131" y="354"/>
                    </a:lnTo>
                    <a:lnTo>
                      <a:pt x="122" y="357"/>
                    </a:lnTo>
                    <a:lnTo>
                      <a:pt x="112" y="362"/>
                    </a:lnTo>
                    <a:lnTo>
                      <a:pt x="100" y="366"/>
                    </a:lnTo>
                    <a:lnTo>
                      <a:pt x="89" y="369"/>
                    </a:lnTo>
                    <a:lnTo>
                      <a:pt x="77" y="373"/>
                    </a:lnTo>
                    <a:lnTo>
                      <a:pt x="65" y="380"/>
                    </a:lnTo>
                    <a:lnTo>
                      <a:pt x="53" y="385"/>
                    </a:lnTo>
                    <a:lnTo>
                      <a:pt x="41" y="387"/>
                    </a:lnTo>
                    <a:lnTo>
                      <a:pt x="52" y="378"/>
                    </a:lnTo>
                    <a:lnTo>
                      <a:pt x="65" y="376"/>
                    </a:lnTo>
                    <a:lnTo>
                      <a:pt x="72" y="368"/>
                    </a:lnTo>
                    <a:lnTo>
                      <a:pt x="81" y="359"/>
                    </a:lnTo>
                    <a:lnTo>
                      <a:pt x="93" y="356"/>
                    </a:lnTo>
                    <a:lnTo>
                      <a:pt x="105" y="352"/>
                    </a:lnTo>
                    <a:lnTo>
                      <a:pt x="112" y="342"/>
                    </a:lnTo>
                    <a:lnTo>
                      <a:pt x="124" y="335"/>
                    </a:lnTo>
                    <a:lnTo>
                      <a:pt x="134" y="330"/>
                    </a:lnTo>
                    <a:lnTo>
                      <a:pt x="146" y="325"/>
                    </a:lnTo>
                    <a:lnTo>
                      <a:pt x="151" y="316"/>
                    </a:lnTo>
                    <a:lnTo>
                      <a:pt x="158" y="307"/>
                    </a:lnTo>
                    <a:lnTo>
                      <a:pt x="162" y="299"/>
                    </a:lnTo>
                    <a:lnTo>
                      <a:pt x="170" y="294"/>
                    </a:lnTo>
                    <a:lnTo>
                      <a:pt x="162" y="294"/>
                    </a:lnTo>
                    <a:lnTo>
                      <a:pt x="153" y="297"/>
                    </a:lnTo>
                    <a:lnTo>
                      <a:pt x="145" y="301"/>
                    </a:lnTo>
                    <a:lnTo>
                      <a:pt x="136" y="297"/>
                    </a:lnTo>
                    <a:lnTo>
                      <a:pt x="131" y="295"/>
                    </a:lnTo>
                    <a:lnTo>
                      <a:pt x="127" y="301"/>
                    </a:lnTo>
                    <a:lnTo>
                      <a:pt x="127" y="306"/>
                    </a:lnTo>
                    <a:lnTo>
                      <a:pt x="117" y="301"/>
                    </a:lnTo>
                    <a:lnTo>
                      <a:pt x="112" y="297"/>
                    </a:lnTo>
                    <a:lnTo>
                      <a:pt x="107" y="294"/>
                    </a:lnTo>
                    <a:lnTo>
                      <a:pt x="102" y="290"/>
                    </a:lnTo>
                    <a:lnTo>
                      <a:pt x="102" y="294"/>
                    </a:lnTo>
                    <a:lnTo>
                      <a:pt x="102" y="299"/>
                    </a:lnTo>
                    <a:lnTo>
                      <a:pt x="96" y="299"/>
                    </a:lnTo>
                    <a:lnTo>
                      <a:pt x="91" y="301"/>
                    </a:lnTo>
                    <a:lnTo>
                      <a:pt x="88" y="302"/>
                    </a:lnTo>
                    <a:lnTo>
                      <a:pt x="83" y="297"/>
                    </a:lnTo>
                    <a:lnTo>
                      <a:pt x="83" y="290"/>
                    </a:lnTo>
                    <a:lnTo>
                      <a:pt x="83" y="283"/>
                    </a:lnTo>
                    <a:lnTo>
                      <a:pt x="83" y="280"/>
                    </a:lnTo>
                    <a:lnTo>
                      <a:pt x="81" y="275"/>
                    </a:lnTo>
                    <a:lnTo>
                      <a:pt x="79" y="273"/>
                    </a:lnTo>
                    <a:lnTo>
                      <a:pt x="72" y="277"/>
                    </a:lnTo>
                    <a:lnTo>
                      <a:pt x="69" y="280"/>
                    </a:lnTo>
                    <a:lnTo>
                      <a:pt x="60" y="277"/>
                    </a:lnTo>
                    <a:lnTo>
                      <a:pt x="50" y="270"/>
                    </a:lnTo>
                    <a:lnTo>
                      <a:pt x="40" y="261"/>
                    </a:lnTo>
                    <a:lnTo>
                      <a:pt x="34" y="258"/>
                    </a:lnTo>
                    <a:lnTo>
                      <a:pt x="38" y="256"/>
                    </a:lnTo>
                    <a:lnTo>
                      <a:pt x="41" y="256"/>
                    </a:lnTo>
                    <a:lnTo>
                      <a:pt x="36" y="249"/>
                    </a:lnTo>
                    <a:lnTo>
                      <a:pt x="29" y="244"/>
                    </a:lnTo>
                    <a:lnTo>
                      <a:pt x="24" y="239"/>
                    </a:lnTo>
                    <a:lnTo>
                      <a:pt x="22" y="234"/>
                    </a:lnTo>
                    <a:lnTo>
                      <a:pt x="26" y="221"/>
                    </a:lnTo>
                    <a:lnTo>
                      <a:pt x="36" y="213"/>
                    </a:lnTo>
                    <a:lnTo>
                      <a:pt x="48" y="206"/>
                    </a:lnTo>
                    <a:lnTo>
                      <a:pt x="60" y="206"/>
                    </a:lnTo>
                    <a:lnTo>
                      <a:pt x="67" y="203"/>
                    </a:lnTo>
                    <a:lnTo>
                      <a:pt x="81" y="197"/>
                    </a:lnTo>
                    <a:lnTo>
                      <a:pt x="93" y="191"/>
                    </a:lnTo>
                    <a:lnTo>
                      <a:pt x="100" y="185"/>
                    </a:lnTo>
                    <a:lnTo>
                      <a:pt x="95" y="179"/>
                    </a:lnTo>
                    <a:lnTo>
                      <a:pt x="89" y="173"/>
                    </a:lnTo>
                    <a:lnTo>
                      <a:pt x="95" y="170"/>
                    </a:lnTo>
                    <a:lnTo>
                      <a:pt x="98" y="173"/>
                    </a:lnTo>
                    <a:lnTo>
                      <a:pt x="98" y="166"/>
                    </a:lnTo>
                    <a:lnTo>
                      <a:pt x="93" y="165"/>
                    </a:lnTo>
                    <a:lnTo>
                      <a:pt x="89" y="166"/>
                    </a:lnTo>
                    <a:lnTo>
                      <a:pt x="79" y="170"/>
                    </a:lnTo>
                    <a:lnTo>
                      <a:pt x="69" y="175"/>
                    </a:lnTo>
                    <a:lnTo>
                      <a:pt x="57" y="172"/>
                    </a:lnTo>
                    <a:lnTo>
                      <a:pt x="46" y="170"/>
                    </a:lnTo>
                    <a:lnTo>
                      <a:pt x="31" y="170"/>
                    </a:lnTo>
                    <a:lnTo>
                      <a:pt x="21" y="170"/>
                    </a:lnTo>
                    <a:lnTo>
                      <a:pt x="17" y="161"/>
                    </a:lnTo>
                    <a:lnTo>
                      <a:pt x="14" y="156"/>
                    </a:lnTo>
                    <a:lnTo>
                      <a:pt x="14" y="153"/>
                    </a:lnTo>
                    <a:lnTo>
                      <a:pt x="16" y="151"/>
                    </a:lnTo>
                    <a:lnTo>
                      <a:pt x="5" y="149"/>
                    </a:lnTo>
                    <a:lnTo>
                      <a:pt x="0" y="144"/>
                    </a:lnTo>
                    <a:lnTo>
                      <a:pt x="9" y="137"/>
                    </a:lnTo>
                    <a:lnTo>
                      <a:pt x="22" y="132"/>
                    </a:lnTo>
                    <a:lnTo>
                      <a:pt x="34" y="127"/>
                    </a:lnTo>
                    <a:lnTo>
                      <a:pt x="46" y="122"/>
                    </a:lnTo>
                    <a:lnTo>
                      <a:pt x="55" y="122"/>
                    </a:lnTo>
                    <a:lnTo>
                      <a:pt x="55" y="129"/>
                    </a:lnTo>
                    <a:lnTo>
                      <a:pt x="60" y="132"/>
                    </a:lnTo>
                    <a:lnTo>
                      <a:pt x="65" y="132"/>
                    </a:lnTo>
                    <a:lnTo>
                      <a:pt x="74" y="132"/>
                    </a:lnTo>
                    <a:lnTo>
                      <a:pt x="81" y="132"/>
                    </a:lnTo>
                    <a:lnTo>
                      <a:pt x="88" y="132"/>
                    </a:lnTo>
                    <a:lnTo>
                      <a:pt x="81" y="122"/>
                    </a:lnTo>
                    <a:lnTo>
                      <a:pt x="76" y="117"/>
                    </a:lnTo>
                    <a:lnTo>
                      <a:pt x="65" y="111"/>
                    </a:lnTo>
                    <a:lnTo>
                      <a:pt x="57" y="108"/>
                    </a:lnTo>
                    <a:lnTo>
                      <a:pt x="52" y="103"/>
                    </a:lnTo>
                    <a:lnTo>
                      <a:pt x="48" y="98"/>
                    </a:lnTo>
                    <a:lnTo>
                      <a:pt x="45" y="91"/>
                    </a:lnTo>
                    <a:lnTo>
                      <a:pt x="41" y="87"/>
                    </a:lnTo>
                    <a:lnTo>
                      <a:pt x="33" y="84"/>
                    </a:lnTo>
                    <a:lnTo>
                      <a:pt x="26" y="82"/>
                    </a:lnTo>
                    <a:lnTo>
                      <a:pt x="17" y="79"/>
                    </a:lnTo>
                    <a:lnTo>
                      <a:pt x="16" y="77"/>
                    </a:lnTo>
                    <a:lnTo>
                      <a:pt x="19" y="70"/>
                    </a:lnTo>
                    <a:lnTo>
                      <a:pt x="22" y="63"/>
                    </a:lnTo>
                    <a:lnTo>
                      <a:pt x="52" y="63"/>
                    </a:lnTo>
                    <a:lnTo>
                      <a:pt x="62" y="48"/>
                    </a:lnTo>
                    <a:lnTo>
                      <a:pt x="77" y="34"/>
                    </a:lnTo>
                    <a:lnTo>
                      <a:pt x="86" y="27"/>
                    </a:lnTo>
                    <a:lnTo>
                      <a:pt x="95" y="22"/>
                    </a:lnTo>
                    <a:lnTo>
                      <a:pt x="105" y="17"/>
                    </a:lnTo>
                    <a:lnTo>
                      <a:pt x="115" y="15"/>
                    </a:lnTo>
                    <a:lnTo>
                      <a:pt x="124" y="13"/>
                    </a:lnTo>
                    <a:lnTo>
                      <a:pt x="134" y="13"/>
                    </a:lnTo>
                    <a:lnTo>
                      <a:pt x="145" y="5"/>
                    </a:lnTo>
                    <a:lnTo>
                      <a:pt x="157" y="0"/>
                    </a:lnTo>
                    <a:lnTo>
                      <a:pt x="163" y="1"/>
                    </a:lnTo>
                    <a:lnTo>
                      <a:pt x="172" y="7"/>
                    </a:lnTo>
                    <a:lnTo>
                      <a:pt x="169" y="10"/>
                    </a:lnTo>
                    <a:lnTo>
                      <a:pt x="167" y="13"/>
                    </a:lnTo>
                    <a:lnTo>
                      <a:pt x="174" y="12"/>
                    </a:lnTo>
                    <a:lnTo>
                      <a:pt x="181" y="7"/>
                    </a:lnTo>
                    <a:lnTo>
                      <a:pt x="186" y="8"/>
                    </a:lnTo>
                    <a:lnTo>
                      <a:pt x="193" y="12"/>
                    </a:lnTo>
                    <a:lnTo>
                      <a:pt x="217" y="12"/>
                    </a:lnTo>
                    <a:lnTo>
                      <a:pt x="224" y="17"/>
                    </a:lnTo>
                    <a:lnTo>
                      <a:pt x="232" y="22"/>
                    </a:lnTo>
                    <a:lnTo>
                      <a:pt x="272" y="22"/>
                    </a:lnTo>
                    <a:lnTo>
                      <a:pt x="282" y="27"/>
                    </a:lnTo>
                    <a:lnTo>
                      <a:pt x="298" y="32"/>
                    </a:lnTo>
                    <a:lnTo>
                      <a:pt x="313" y="34"/>
                    </a:lnTo>
                    <a:lnTo>
                      <a:pt x="329" y="36"/>
                    </a:lnTo>
                    <a:lnTo>
                      <a:pt x="341" y="32"/>
                    </a:lnTo>
                    <a:lnTo>
                      <a:pt x="353" y="31"/>
                    </a:lnTo>
                    <a:lnTo>
                      <a:pt x="361" y="31"/>
                    </a:lnTo>
                    <a:lnTo>
                      <a:pt x="368" y="34"/>
                    </a:lnTo>
                    <a:lnTo>
                      <a:pt x="375" y="38"/>
                    </a:lnTo>
                    <a:lnTo>
                      <a:pt x="385" y="41"/>
                    </a:lnTo>
                    <a:lnTo>
                      <a:pt x="385" y="39"/>
                    </a:lnTo>
                    <a:lnTo>
                      <a:pt x="385"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0" name="Freeform 300"/>
              <p:cNvSpPr>
                <a:spLocks/>
              </p:cNvSpPr>
              <p:nvPr/>
            </p:nvSpPr>
            <p:spPr bwMode="auto">
              <a:xfrm>
                <a:off x="1246982" y="2568575"/>
                <a:ext cx="38100" cy="55562"/>
              </a:xfrm>
              <a:custGeom>
                <a:avLst/>
                <a:gdLst/>
                <a:ahLst/>
                <a:cxnLst>
                  <a:cxn ang="0">
                    <a:pos x="10" y="14"/>
                  </a:cxn>
                  <a:cxn ang="0">
                    <a:pos x="3" y="11"/>
                  </a:cxn>
                  <a:cxn ang="0">
                    <a:pos x="0" y="14"/>
                  </a:cxn>
                  <a:cxn ang="0">
                    <a:pos x="0" y="5"/>
                  </a:cxn>
                  <a:cxn ang="0">
                    <a:pos x="2" y="2"/>
                  </a:cxn>
                  <a:cxn ang="0">
                    <a:pos x="5" y="0"/>
                  </a:cxn>
                  <a:cxn ang="0">
                    <a:pos x="12" y="4"/>
                  </a:cxn>
                  <a:cxn ang="0">
                    <a:pos x="12" y="11"/>
                  </a:cxn>
                  <a:cxn ang="0">
                    <a:pos x="17" y="17"/>
                  </a:cxn>
                  <a:cxn ang="0">
                    <a:pos x="20" y="23"/>
                  </a:cxn>
                  <a:cxn ang="0">
                    <a:pos x="24" y="30"/>
                  </a:cxn>
                  <a:cxn ang="0">
                    <a:pos x="22" y="33"/>
                  </a:cxn>
                  <a:cxn ang="0">
                    <a:pos x="20" y="35"/>
                  </a:cxn>
                  <a:cxn ang="0">
                    <a:pos x="12" y="30"/>
                  </a:cxn>
                  <a:cxn ang="0">
                    <a:pos x="10" y="24"/>
                  </a:cxn>
                  <a:cxn ang="0">
                    <a:pos x="8" y="17"/>
                  </a:cxn>
                  <a:cxn ang="0">
                    <a:pos x="10" y="14"/>
                  </a:cxn>
                </a:cxnLst>
                <a:rect l="0" t="0" r="r" b="b"/>
                <a:pathLst>
                  <a:path w="24" h="35">
                    <a:moveTo>
                      <a:pt x="10" y="14"/>
                    </a:moveTo>
                    <a:lnTo>
                      <a:pt x="3" y="11"/>
                    </a:lnTo>
                    <a:lnTo>
                      <a:pt x="0" y="14"/>
                    </a:lnTo>
                    <a:lnTo>
                      <a:pt x="0" y="5"/>
                    </a:lnTo>
                    <a:lnTo>
                      <a:pt x="2" y="2"/>
                    </a:lnTo>
                    <a:lnTo>
                      <a:pt x="5" y="0"/>
                    </a:lnTo>
                    <a:lnTo>
                      <a:pt x="12" y="4"/>
                    </a:lnTo>
                    <a:lnTo>
                      <a:pt x="12" y="11"/>
                    </a:lnTo>
                    <a:lnTo>
                      <a:pt x="17" y="17"/>
                    </a:lnTo>
                    <a:lnTo>
                      <a:pt x="20" y="23"/>
                    </a:lnTo>
                    <a:lnTo>
                      <a:pt x="24" y="30"/>
                    </a:lnTo>
                    <a:lnTo>
                      <a:pt x="22" y="33"/>
                    </a:lnTo>
                    <a:lnTo>
                      <a:pt x="20" y="35"/>
                    </a:lnTo>
                    <a:lnTo>
                      <a:pt x="12" y="30"/>
                    </a:lnTo>
                    <a:lnTo>
                      <a:pt x="10" y="24"/>
                    </a:lnTo>
                    <a:lnTo>
                      <a:pt x="8" y="17"/>
                    </a:lnTo>
                    <a:lnTo>
                      <a:pt x="1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1" name="Freeform 301"/>
              <p:cNvSpPr>
                <a:spLocks/>
              </p:cNvSpPr>
              <p:nvPr/>
            </p:nvSpPr>
            <p:spPr bwMode="auto">
              <a:xfrm>
                <a:off x="1186657" y="2508250"/>
                <a:ext cx="34925" cy="66675"/>
              </a:xfrm>
              <a:custGeom>
                <a:avLst/>
                <a:gdLst/>
                <a:ahLst/>
                <a:cxnLst>
                  <a:cxn ang="0">
                    <a:pos x="17" y="21"/>
                  </a:cxn>
                  <a:cxn ang="0">
                    <a:pos x="19" y="21"/>
                  </a:cxn>
                  <a:cxn ang="0">
                    <a:pos x="22" y="21"/>
                  </a:cxn>
                  <a:cxn ang="0">
                    <a:pos x="22" y="31"/>
                  </a:cxn>
                  <a:cxn ang="0">
                    <a:pos x="21" y="42"/>
                  </a:cxn>
                  <a:cxn ang="0">
                    <a:pos x="14" y="31"/>
                  </a:cxn>
                  <a:cxn ang="0">
                    <a:pos x="14" y="21"/>
                  </a:cxn>
                  <a:cxn ang="0">
                    <a:pos x="3" y="16"/>
                  </a:cxn>
                  <a:cxn ang="0">
                    <a:pos x="0" y="6"/>
                  </a:cxn>
                  <a:cxn ang="0">
                    <a:pos x="2" y="0"/>
                  </a:cxn>
                  <a:cxn ang="0">
                    <a:pos x="5" y="0"/>
                  </a:cxn>
                  <a:cxn ang="0">
                    <a:pos x="10" y="0"/>
                  </a:cxn>
                  <a:cxn ang="0">
                    <a:pos x="17" y="0"/>
                  </a:cxn>
                  <a:cxn ang="0">
                    <a:pos x="15" y="7"/>
                  </a:cxn>
                  <a:cxn ang="0">
                    <a:pos x="15" y="13"/>
                  </a:cxn>
                  <a:cxn ang="0">
                    <a:pos x="15" y="16"/>
                  </a:cxn>
                  <a:cxn ang="0">
                    <a:pos x="17" y="21"/>
                  </a:cxn>
                </a:cxnLst>
                <a:rect l="0" t="0" r="r" b="b"/>
                <a:pathLst>
                  <a:path w="22" h="42">
                    <a:moveTo>
                      <a:pt x="17" y="21"/>
                    </a:moveTo>
                    <a:lnTo>
                      <a:pt x="19" y="21"/>
                    </a:lnTo>
                    <a:lnTo>
                      <a:pt x="22" y="21"/>
                    </a:lnTo>
                    <a:lnTo>
                      <a:pt x="22" y="31"/>
                    </a:lnTo>
                    <a:lnTo>
                      <a:pt x="21" y="42"/>
                    </a:lnTo>
                    <a:lnTo>
                      <a:pt x="14" y="31"/>
                    </a:lnTo>
                    <a:lnTo>
                      <a:pt x="14" y="21"/>
                    </a:lnTo>
                    <a:lnTo>
                      <a:pt x="3" y="16"/>
                    </a:lnTo>
                    <a:lnTo>
                      <a:pt x="0" y="6"/>
                    </a:lnTo>
                    <a:lnTo>
                      <a:pt x="2" y="0"/>
                    </a:lnTo>
                    <a:lnTo>
                      <a:pt x="5" y="0"/>
                    </a:lnTo>
                    <a:lnTo>
                      <a:pt x="10" y="0"/>
                    </a:lnTo>
                    <a:lnTo>
                      <a:pt x="17" y="0"/>
                    </a:lnTo>
                    <a:lnTo>
                      <a:pt x="15" y="7"/>
                    </a:lnTo>
                    <a:lnTo>
                      <a:pt x="15" y="13"/>
                    </a:lnTo>
                    <a:lnTo>
                      <a:pt x="15" y="16"/>
                    </a:lnTo>
                    <a:lnTo>
                      <a:pt x="17"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2" name="Freeform 302"/>
              <p:cNvSpPr>
                <a:spLocks/>
              </p:cNvSpPr>
              <p:nvPr/>
            </p:nvSpPr>
            <p:spPr bwMode="auto">
              <a:xfrm>
                <a:off x="1577182" y="1905000"/>
                <a:ext cx="420688" cy="222250"/>
              </a:xfrm>
              <a:custGeom>
                <a:avLst/>
                <a:gdLst/>
                <a:ahLst/>
                <a:cxnLst>
                  <a:cxn ang="0">
                    <a:pos x="239" y="111"/>
                  </a:cxn>
                  <a:cxn ang="0">
                    <a:pos x="241" y="117"/>
                  </a:cxn>
                  <a:cxn ang="0">
                    <a:pos x="248" y="124"/>
                  </a:cxn>
                  <a:cxn ang="0">
                    <a:pos x="246" y="131"/>
                  </a:cxn>
                  <a:cxn ang="0">
                    <a:pos x="230" y="135"/>
                  </a:cxn>
                  <a:cxn ang="0">
                    <a:pos x="208" y="133"/>
                  </a:cxn>
                  <a:cxn ang="0">
                    <a:pos x="189" y="123"/>
                  </a:cxn>
                  <a:cxn ang="0">
                    <a:pos x="174" y="123"/>
                  </a:cxn>
                  <a:cxn ang="0">
                    <a:pos x="158" y="131"/>
                  </a:cxn>
                  <a:cxn ang="0">
                    <a:pos x="137" y="135"/>
                  </a:cxn>
                  <a:cxn ang="0">
                    <a:pos x="115" y="140"/>
                  </a:cxn>
                  <a:cxn ang="0">
                    <a:pos x="94" y="140"/>
                  </a:cxn>
                  <a:cxn ang="0">
                    <a:pos x="79" y="135"/>
                  </a:cxn>
                  <a:cxn ang="0">
                    <a:pos x="69" y="124"/>
                  </a:cxn>
                  <a:cxn ang="0">
                    <a:pos x="53" y="123"/>
                  </a:cxn>
                  <a:cxn ang="0">
                    <a:pos x="33" y="117"/>
                  </a:cxn>
                  <a:cxn ang="0">
                    <a:pos x="33" y="100"/>
                  </a:cxn>
                  <a:cxn ang="0">
                    <a:pos x="58" y="95"/>
                  </a:cxn>
                  <a:cxn ang="0">
                    <a:pos x="82" y="95"/>
                  </a:cxn>
                  <a:cxn ang="0">
                    <a:pos x="84" y="90"/>
                  </a:cxn>
                  <a:cxn ang="0">
                    <a:pos x="62" y="90"/>
                  </a:cxn>
                  <a:cxn ang="0">
                    <a:pos x="38" y="90"/>
                  </a:cxn>
                  <a:cxn ang="0">
                    <a:pos x="15" y="86"/>
                  </a:cxn>
                  <a:cxn ang="0">
                    <a:pos x="14" y="73"/>
                  </a:cxn>
                  <a:cxn ang="0">
                    <a:pos x="26" y="69"/>
                  </a:cxn>
                  <a:cxn ang="0">
                    <a:pos x="22" y="68"/>
                  </a:cxn>
                  <a:cxn ang="0">
                    <a:pos x="3" y="64"/>
                  </a:cxn>
                  <a:cxn ang="0">
                    <a:pos x="0" y="49"/>
                  </a:cxn>
                  <a:cxn ang="0">
                    <a:pos x="14" y="31"/>
                  </a:cxn>
                  <a:cxn ang="0">
                    <a:pos x="34" y="21"/>
                  </a:cxn>
                  <a:cxn ang="0">
                    <a:pos x="53" y="16"/>
                  </a:cxn>
                  <a:cxn ang="0">
                    <a:pos x="67" y="18"/>
                  </a:cxn>
                  <a:cxn ang="0">
                    <a:pos x="70" y="28"/>
                  </a:cxn>
                  <a:cxn ang="0">
                    <a:pos x="77" y="28"/>
                  </a:cxn>
                  <a:cxn ang="0">
                    <a:pos x="94" y="25"/>
                  </a:cxn>
                  <a:cxn ang="0">
                    <a:pos x="105" y="31"/>
                  </a:cxn>
                  <a:cxn ang="0">
                    <a:pos x="117" y="37"/>
                  </a:cxn>
                  <a:cxn ang="0">
                    <a:pos x="124" y="30"/>
                  </a:cxn>
                  <a:cxn ang="0">
                    <a:pos x="134" y="26"/>
                  </a:cxn>
                  <a:cxn ang="0">
                    <a:pos x="151" y="42"/>
                  </a:cxn>
                  <a:cxn ang="0">
                    <a:pos x="153" y="52"/>
                  </a:cxn>
                  <a:cxn ang="0">
                    <a:pos x="160" y="61"/>
                  </a:cxn>
                  <a:cxn ang="0">
                    <a:pos x="167" y="55"/>
                  </a:cxn>
                  <a:cxn ang="0">
                    <a:pos x="158" y="37"/>
                  </a:cxn>
                  <a:cxn ang="0">
                    <a:pos x="155" y="21"/>
                  </a:cxn>
                  <a:cxn ang="0">
                    <a:pos x="163" y="14"/>
                  </a:cxn>
                  <a:cxn ang="0">
                    <a:pos x="179" y="14"/>
                  </a:cxn>
                  <a:cxn ang="0">
                    <a:pos x="177" y="9"/>
                  </a:cxn>
                  <a:cxn ang="0">
                    <a:pos x="193" y="0"/>
                  </a:cxn>
                  <a:cxn ang="0">
                    <a:pos x="211" y="12"/>
                  </a:cxn>
                  <a:cxn ang="0">
                    <a:pos x="199" y="28"/>
                  </a:cxn>
                  <a:cxn ang="0">
                    <a:pos x="206" y="52"/>
                  </a:cxn>
                  <a:cxn ang="0">
                    <a:pos x="213" y="71"/>
                  </a:cxn>
                  <a:cxn ang="0">
                    <a:pos x="236" y="92"/>
                  </a:cxn>
                  <a:cxn ang="0">
                    <a:pos x="265" y="107"/>
                  </a:cxn>
                  <a:cxn ang="0">
                    <a:pos x="246" y="111"/>
                  </a:cxn>
                </a:cxnLst>
                <a:rect l="0" t="0" r="r" b="b"/>
                <a:pathLst>
                  <a:path w="265" h="140">
                    <a:moveTo>
                      <a:pt x="246" y="111"/>
                    </a:moveTo>
                    <a:lnTo>
                      <a:pt x="239" y="111"/>
                    </a:lnTo>
                    <a:lnTo>
                      <a:pt x="239" y="116"/>
                    </a:lnTo>
                    <a:lnTo>
                      <a:pt x="241" y="117"/>
                    </a:lnTo>
                    <a:lnTo>
                      <a:pt x="246" y="119"/>
                    </a:lnTo>
                    <a:lnTo>
                      <a:pt x="248" y="124"/>
                    </a:lnTo>
                    <a:lnTo>
                      <a:pt x="251" y="126"/>
                    </a:lnTo>
                    <a:lnTo>
                      <a:pt x="246" y="131"/>
                    </a:lnTo>
                    <a:lnTo>
                      <a:pt x="239" y="135"/>
                    </a:lnTo>
                    <a:lnTo>
                      <a:pt x="230" y="135"/>
                    </a:lnTo>
                    <a:lnTo>
                      <a:pt x="222" y="136"/>
                    </a:lnTo>
                    <a:lnTo>
                      <a:pt x="208" y="133"/>
                    </a:lnTo>
                    <a:lnTo>
                      <a:pt x="199" y="128"/>
                    </a:lnTo>
                    <a:lnTo>
                      <a:pt x="189" y="123"/>
                    </a:lnTo>
                    <a:lnTo>
                      <a:pt x="180" y="121"/>
                    </a:lnTo>
                    <a:lnTo>
                      <a:pt x="174" y="123"/>
                    </a:lnTo>
                    <a:lnTo>
                      <a:pt x="168" y="129"/>
                    </a:lnTo>
                    <a:lnTo>
                      <a:pt x="158" y="131"/>
                    </a:lnTo>
                    <a:lnTo>
                      <a:pt x="148" y="135"/>
                    </a:lnTo>
                    <a:lnTo>
                      <a:pt x="137" y="135"/>
                    </a:lnTo>
                    <a:lnTo>
                      <a:pt x="131" y="140"/>
                    </a:lnTo>
                    <a:lnTo>
                      <a:pt x="115" y="140"/>
                    </a:lnTo>
                    <a:lnTo>
                      <a:pt x="105" y="140"/>
                    </a:lnTo>
                    <a:lnTo>
                      <a:pt x="94" y="140"/>
                    </a:lnTo>
                    <a:lnTo>
                      <a:pt x="86" y="140"/>
                    </a:lnTo>
                    <a:lnTo>
                      <a:pt x="79" y="135"/>
                    </a:lnTo>
                    <a:lnTo>
                      <a:pt x="76" y="128"/>
                    </a:lnTo>
                    <a:lnTo>
                      <a:pt x="69" y="124"/>
                    </a:lnTo>
                    <a:lnTo>
                      <a:pt x="62" y="123"/>
                    </a:lnTo>
                    <a:lnTo>
                      <a:pt x="53" y="123"/>
                    </a:lnTo>
                    <a:lnTo>
                      <a:pt x="48" y="124"/>
                    </a:lnTo>
                    <a:lnTo>
                      <a:pt x="33" y="117"/>
                    </a:lnTo>
                    <a:lnTo>
                      <a:pt x="24" y="107"/>
                    </a:lnTo>
                    <a:lnTo>
                      <a:pt x="33" y="100"/>
                    </a:lnTo>
                    <a:lnTo>
                      <a:pt x="45" y="97"/>
                    </a:lnTo>
                    <a:lnTo>
                      <a:pt x="58" y="95"/>
                    </a:lnTo>
                    <a:lnTo>
                      <a:pt x="74" y="95"/>
                    </a:lnTo>
                    <a:lnTo>
                      <a:pt x="82" y="95"/>
                    </a:lnTo>
                    <a:lnTo>
                      <a:pt x="91" y="95"/>
                    </a:lnTo>
                    <a:lnTo>
                      <a:pt x="84" y="90"/>
                    </a:lnTo>
                    <a:lnTo>
                      <a:pt x="77" y="90"/>
                    </a:lnTo>
                    <a:lnTo>
                      <a:pt x="62" y="90"/>
                    </a:lnTo>
                    <a:lnTo>
                      <a:pt x="51" y="90"/>
                    </a:lnTo>
                    <a:lnTo>
                      <a:pt x="38" y="90"/>
                    </a:lnTo>
                    <a:lnTo>
                      <a:pt x="26" y="90"/>
                    </a:lnTo>
                    <a:lnTo>
                      <a:pt x="15" y="86"/>
                    </a:lnTo>
                    <a:lnTo>
                      <a:pt x="12" y="80"/>
                    </a:lnTo>
                    <a:lnTo>
                      <a:pt x="14" y="73"/>
                    </a:lnTo>
                    <a:lnTo>
                      <a:pt x="19" y="71"/>
                    </a:lnTo>
                    <a:lnTo>
                      <a:pt x="26" y="69"/>
                    </a:lnTo>
                    <a:lnTo>
                      <a:pt x="33" y="69"/>
                    </a:lnTo>
                    <a:lnTo>
                      <a:pt x="22" y="68"/>
                    </a:lnTo>
                    <a:lnTo>
                      <a:pt x="14" y="69"/>
                    </a:lnTo>
                    <a:lnTo>
                      <a:pt x="3" y="64"/>
                    </a:lnTo>
                    <a:lnTo>
                      <a:pt x="0" y="59"/>
                    </a:lnTo>
                    <a:lnTo>
                      <a:pt x="0" y="49"/>
                    </a:lnTo>
                    <a:lnTo>
                      <a:pt x="7" y="40"/>
                    </a:lnTo>
                    <a:lnTo>
                      <a:pt x="14" y="31"/>
                    </a:lnTo>
                    <a:lnTo>
                      <a:pt x="24" y="26"/>
                    </a:lnTo>
                    <a:lnTo>
                      <a:pt x="34" y="21"/>
                    </a:lnTo>
                    <a:lnTo>
                      <a:pt x="45" y="18"/>
                    </a:lnTo>
                    <a:lnTo>
                      <a:pt x="53" y="16"/>
                    </a:lnTo>
                    <a:lnTo>
                      <a:pt x="64" y="16"/>
                    </a:lnTo>
                    <a:lnTo>
                      <a:pt x="67" y="18"/>
                    </a:lnTo>
                    <a:lnTo>
                      <a:pt x="69" y="23"/>
                    </a:lnTo>
                    <a:lnTo>
                      <a:pt x="70" y="28"/>
                    </a:lnTo>
                    <a:lnTo>
                      <a:pt x="72" y="33"/>
                    </a:lnTo>
                    <a:lnTo>
                      <a:pt x="77" y="28"/>
                    </a:lnTo>
                    <a:lnTo>
                      <a:pt x="88" y="25"/>
                    </a:lnTo>
                    <a:lnTo>
                      <a:pt x="94" y="25"/>
                    </a:lnTo>
                    <a:lnTo>
                      <a:pt x="101" y="28"/>
                    </a:lnTo>
                    <a:lnTo>
                      <a:pt x="105" y="31"/>
                    </a:lnTo>
                    <a:lnTo>
                      <a:pt x="110" y="40"/>
                    </a:lnTo>
                    <a:lnTo>
                      <a:pt x="117" y="37"/>
                    </a:lnTo>
                    <a:lnTo>
                      <a:pt x="125" y="37"/>
                    </a:lnTo>
                    <a:lnTo>
                      <a:pt x="124" y="30"/>
                    </a:lnTo>
                    <a:lnTo>
                      <a:pt x="124" y="26"/>
                    </a:lnTo>
                    <a:lnTo>
                      <a:pt x="134" y="26"/>
                    </a:lnTo>
                    <a:lnTo>
                      <a:pt x="144" y="31"/>
                    </a:lnTo>
                    <a:lnTo>
                      <a:pt x="151" y="42"/>
                    </a:lnTo>
                    <a:lnTo>
                      <a:pt x="151" y="45"/>
                    </a:lnTo>
                    <a:lnTo>
                      <a:pt x="153" y="52"/>
                    </a:lnTo>
                    <a:lnTo>
                      <a:pt x="153" y="57"/>
                    </a:lnTo>
                    <a:lnTo>
                      <a:pt x="160" y="61"/>
                    </a:lnTo>
                    <a:lnTo>
                      <a:pt x="163" y="57"/>
                    </a:lnTo>
                    <a:lnTo>
                      <a:pt x="167" y="55"/>
                    </a:lnTo>
                    <a:lnTo>
                      <a:pt x="162" y="47"/>
                    </a:lnTo>
                    <a:lnTo>
                      <a:pt x="158" y="37"/>
                    </a:lnTo>
                    <a:lnTo>
                      <a:pt x="155" y="26"/>
                    </a:lnTo>
                    <a:lnTo>
                      <a:pt x="155" y="21"/>
                    </a:lnTo>
                    <a:lnTo>
                      <a:pt x="156" y="14"/>
                    </a:lnTo>
                    <a:lnTo>
                      <a:pt x="163" y="14"/>
                    </a:lnTo>
                    <a:lnTo>
                      <a:pt x="170" y="14"/>
                    </a:lnTo>
                    <a:lnTo>
                      <a:pt x="179" y="14"/>
                    </a:lnTo>
                    <a:lnTo>
                      <a:pt x="177" y="11"/>
                    </a:lnTo>
                    <a:lnTo>
                      <a:pt x="177" y="9"/>
                    </a:lnTo>
                    <a:lnTo>
                      <a:pt x="182" y="2"/>
                    </a:lnTo>
                    <a:lnTo>
                      <a:pt x="193" y="0"/>
                    </a:lnTo>
                    <a:lnTo>
                      <a:pt x="205" y="2"/>
                    </a:lnTo>
                    <a:lnTo>
                      <a:pt x="211" y="12"/>
                    </a:lnTo>
                    <a:lnTo>
                      <a:pt x="205" y="19"/>
                    </a:lnTo>
                    <a:lnTo>
                      <a:pt x="199" y="28"/>
                    </a:lnTo>
                    <a:lnTo>
                      <a:pt x="201" y="40"/>
                    </a:lnTo>
                    <a:lnTo>
                      <a:pt x="206" y="52"/>
                    </a:lnTo>
                    <a:lnTo>
                      <a:pt x="210" y="61"/>
                    </a:lnTo>
                    <a:lnTo>
                      <a:pt x="213" y="71"/>
                    </a:lnTo>
                    <a:lnTo>
                      <a:pt x="218" y="81"/>
                    </a:lnTo>
                    <a:lnTo>
                      <a:pt x="236" y="92"/>
                    </a:lnTo>
                    <a:lnTo>
                      <a:pt x="253" y="98"/>
                    </a:lnTo>
                    <a:lnTo>
                      <a:pt x="265" y="107"/>
                    </a:lnTo>
                    <a:lnTo>
                      <a:pt x="254" y="111"/>
                    </a:lnTo>
                    <a:lnTo>
                      <a:pt x="246" y="1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3" name="Freeform 303"/>
              <p:cNvSpPr>
                <a:spLocks/>
              </p:cNvSpPr>
              <p:nvPr/>
            </p:nvSpPr>
            <p:spPr bwMode="auto">
              <a:xfrm>
                <a:off x="1421607" y="1873250"/>
                <a:ext cx="234950" cy="152400"/>
              </a:xfrm>
              <a:custGeom>
                <a:avLst/>
                <a:gdLst/>
                <a:ahLst/>
                <a:cxnLst>
                  <a:cxn ang="0">
                    <a:pos x="31" y="91"/>
                  </a:cxn>
                  <a:cxn ang="0">
                    <a:pos x="27" y="86"/>
                  </a:cxn>
                  <a:cxn ang="0">
                    <a:pos x="24" y="81"/>
                  </a:cxn>
                  <a:cxn ang="0">
                    <a:pos x="17" y="77"/>
                  </a:cxn>
                  <a:cxn ang="0">
                    <a:pos x="10" y="75"/>
                  </a:cxn>
                  <a:cxn ang="0">
                    <a:pos x="2" y="72"/>
                  </a:cxn>
                  <a:cxn ang="0">
                    <a:pos x="0" y="70"/>
                  </a:cxn>
                  <a:cxn ang="0">
                    <a:pos x="3" y="57"/>
                  </a:cxn>
                  <a:cxn ang="0">
                    <a:pos x="12" y="46"/>
                  </a:cxn>
                  <a:cxn ang="0">
                    <a:pos x="19" y="34"/>
                  </a:cxn>
                  <a:cxn ang="0">
                    <a:pos x="24" y="22"/>
                  </a:cxn>
                  <a:cxn ang="0">
                    <a:pos x="20" y="12"/>
                  </a:cxn>
                  <a:cxn ang="0">
                    <a:pos x="17" y="3"/>
                  </a:cxn>
                  <a:cxn ang="0">
                    <a:pos x="33" y="0"/>
                  </a:cxn>
                  <a:cxn ang="0">
                    <a:pos x="48" y="3"/>
                  </a:cxn>
                  <a:cxn ang="0">
                    <a:pos x="55" y="0"/>
                  </a:cxn>
                  <a:cxn ang="0">
                    <a:pos x="69" y="0"/>
                  </a:cxn>
                  <a:cxn ang="0">
                    <a:pos x="81" y="5"/>
                  </a:cxn>
                  <a:cxn ang="0">
                    <a:pos x="94" y="10"/>
                  </a:cxn>
                  <a:cxn ang="0">
                    <a:pos x="103" y="10"/>
                  </a:cxn>
                  <a:cxn ang="0">
                    <a:pos x="112" y="8"/>
                  </a:cxn>
                  <a:cxn ang="0">
                    <a:pos x="120" y="8"/>
                  </a:cxn>
                  <a:cxn ang="0">
                    <a:pos x="134" y="14"/>
                  </a:cxn>
                  <a:cxn ang="0">
                    <a:pos x="143" y="20"/>
                  </a:cxn>
                  <a:cxn ang="0">
                    <a:pos x="148" y="31"/>
                  </a:cxn>
                  <a:cxn ang="0">
                    <a:pos x="143" y="32"/>
                  </a:cxn>
                  <a:cxn ang="0">
                    <a:pos x="132" y="36"/>
                  </a:cxn>
                  <a:cxn ang="0">
                    <a:pos x="122" y="38"/>
                  </a:cxn>
                  <a:cxn ang="0">
                    <a:pos x="117" y="41"/>
                  </a:cxn>
                  <a:cxn ang="0">
                    <a:pos x="103" y="46"/>
                  </a:cxn>
                  <a:cxn ang="0">
                    <a:pos x="89" y="58"/>
                  </a:cxn>
                  <a:cxn ang="0">
                    <a:pos x="81" y="69"/>
                  </a:cxn>
                  <a:cxn ang="0">
                    <a:pos x="77" y="81"/>
                  </a:cxn>
                  <a:cxn ang="0">
                    <a:pos x="70" y="84"/>
                  </a:cxn>
                  <a:cxn ang="0">
                    <a:pos x="58" y="89"/>
                  </a:cxn>
                  <a:cxn ang="0">
                    <a:pos x="46" y="93"/>
                  </a:cxn>
                  <a:cxn ang="0">
                    <a:pos x="39" y="96"/>
                  </a:cxn>
                  <a:cxn ang="0">
                    <a:pos x="34" y="93"/>
                  </a:cxn>
                  <a:cxn ang="0">
                    <a:pos x="31" y="91"/>
                  </a:cxn>
                </a:cxnLst>
                <a:rect l="0" t="0" r="r" b="b"/>
                <a:pathLst>
                  <a:path w="148" h="96">
                    <a:moveTo>
                      <a:pt x="31" y="91"/>
                    </a:moveTo>
                    <a:lnTo>
                      <a:pt x="27" y="86"/>
                    </a:lnTo>
                    <a:lnTo>
                      <a:pt x="24" y="81"/>
                    </a:lnTo>
                    <a:lnTo>
                      <a:pt x="17" y="77"/>
                    </a:lnTo>
                    <a:lnTo>
                      <a:pt x="10" y="75"/>
                    </a:lnTo>
                    <a:lnTo>
                      <a:pt x="2" y="72"/>
                    </a:lnTo>
                    <a:lnTo>
                      <a:pt x="0" y="70"/>
                    </a:lnTo>
                    <a:lnTo>
                      <a:pt x="3" y="57"/>
                    </a:lnTo>
                    <a:lnTo>
                      <a:pt x="12" y="46"/>
                    </a:lnTo>
                    <a:lnTo>
                      <a:pt x="19" y="34"/>
                    </a:lnTo>
                    <a:lnTo>
                      <a:pt x="24" y="22"/>
                    </a:lnTo>
                    <a:lnTo>
                      <a:pt x="20" y="12"/>
                    </a:lnTo>
                    <a:lnTo>
                      <a:pt x="17" y="3"/>
                    </a:lnTo>
                    <a:lnTo>
                      <a:pt x="33" y="0"/>
                    </a:lnTo>
                    <a:lnTo>
                      <a:pt x="48" y="3"/>
                    </a:lnTo>
                    <a:lnTo>
                      <a:pt x="55" y="0"/>
                    </a:lnTo>
                    <a:lnTo>
                      <a:pt x="69" y="0"/>
                    </a:lnTo>
                    <a:lnTo>
                      <a:pt x="81" y="5"/>
                    </a:lnTo>
                    <a:lnTo>
                      <a:pt x="94" y="10"/>
                    </a:lnTo>
                    <a:lnTo>
                      <a:pt x="103" y="10"/>
                    </a:lnTo>
                    <a:lnTo>
                      <a:pt x="112" y="8"/>
                    </a:lnTo>
                    <a:lnTo>
                      <a:pt x="120" y="8"/>
                    </a:lnTo>
                    <a:lnTo>
                      <a:pt x="134" y="14"/>
                    </a:lnTo>
                    <a:lnTo>
                      <a:pt x="143" y="20"/>
                    </a:lnTo>
                    <a:lnTo>
                      <a:pt x="148" y="31"/>
                    </a:lnTo>
                    <a:lnTo>
                      <a:pt x="143" y="32"/>
                    </a:lnTo>
                    <a:lnTo>
                      <a:pt x="132" y="36"/>
                    </a:lnTo>
                    <a:lnTo>
                      <a:pt x="122" y="38"/>
                    </a:lnTo>
                    <a:lnTo>
                      <a:pt x="117" y="41"/>
                    </a:lnTo>
                    <a:lnTo>
                      <a:pt x="103" y="46"/>
                    </a:lnTo>
                    <a:lnTo>
                      <a:pt x="89" y="58"/>
                    </a:lnTo>
                    <a:lnTo>
                      <a:pt x="81" y="69"/>
                    </a:lnTo>
                    <a:lnTo>
                      <a:pt x="77" y="81"/>
                    </a:lnTo>
                    <a:lnTo>
                      <a:pt x="70" y="84"/>
                    </a:lnTo>
                    <a:lnTo>
                      <a:pt x="58" y="89"/>
                    </a:lnTo>
                    <a:lnTo>
                      <a:pt x="46" y="93"/>
                    </a:lnTo>
                    <a:lnTo>
                      <a:pt x="39" y="96"/>
                    </a:lnTo>
                    <a:lnTo>
                      <a:pt x="34" y="93"/>
                    </a:lnTo>
                    <a:lnTo>
                      <a:pt x="31"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4" name="Freeform 304"/>
              <p:cNvSpPr>
                <a:spLocks/>
              </p:cNvSpPr>
              <p:nvPr/>
            </p:nvSpPr>
            <p:spPr bwMode="auto">
              <a:xfrm>
                <a:off x="1607344" y="1760538"/>
                <a:ext cx="284163" cy="117475"/>
              </a:xfrm>
              <a:custGeom>
                <a:avLst/>
                <a:gdLst/>
                <a:ahLst/>
                <a:cxnLst>
                  <a:cxn ang="0">
                    <a:pos x="51" y="71"/>
                  </a:cxn>
                  <a:cxn ang="0">
                    <a:pos x="51" y="61"/>
                  </a:cxn>
                  <a:cxn ang="0">
                    <a:pos x="55" y="55"/>
                  </a:cxn>
                  <a:cxn ang="0">
                    <a:pos x="48" y="52"/>
                  </a:cxn>
                  <a:cxn ang="0">
                    <a:pos x="34" y="57"/>
                  </a:cxn>
                  <a:cxn ang="0">
                    <a:pos x="15" y="57"/>
                  </a:cxn>
                  <a:cxn ang="0">
                    <a:pos x="2" y="52"/>
                  </a:cxn>
                  <a:cxn ang="0">
                    <a:pos x="0" y="43"/>
                  </a:cxn>
                  <a:cxn ang="0">
                    <a:pos x="7" y="38"/>
                  </a:cxn>
                  <a:cxn ang="0">
                    <a:pos x="26" y="38"/>
                  </a:cxn>
                  <a:cxn ang="0">
                    <a:pos x="24" y="38"/>
                  </a:cxn>
                  <a:cxn ang="0">
                    <a:pos x="14" y="26"/>
                  </a:cxn>
                  <a:cxn ang="0">
                    <a:pos x="22" y="26"/>
                  </a:cxn>
                  <a:cxn ang="0">
                    <a:pos x="31" y="28"/>
                  </a:cxn>
                  <a:cxn ang="0">
                    <a:pos x="45" y="30"/>
                  </a:cxn>
                  <a:cxn ang="0">
                    <a:pos x="19" y="24"/>
                  </a:cxn>
                  <a:cxn ang="0">
                    <a:pos x="29" y="19"/>
                  </a:cxn>
                  <a:cxn ang="0">
                    <a:pos x="43" y="21"/>
                  </a:cxn>
                  <a:cxn ang="0">
                    <a:pos x="27" y="14"/>
                  </a:cxn>
                  <a:cxn ang="0">
                    <a:pos x="43" y="14"/>
                  </a:cxn>
                  <a:cxn ang="0">
                    <a:pos x="51" y="21"/>
                  </a:cxn>
                  <a:cxn ang="0">
                    <a:pos x="63" y="21"/>
                  </a:cxn>
                  <a:cxn ang="0">
                    <a:pos x="84" y="31"/>
                  </a:cxn>
                  <a:cxn ang="0">
                    <a:pos x="112" y="42"/>
                  </a:cxn>
                  <a:cxn ang="0">
                    <a:pos x="124" y="35"/>
                  </a:cxn>
                  <a:cxn ang="0">
                    <a:pos x="113" y="33"/>
                  </a:cxn>
                  <a:cxn ang="0">
                    <a:pos x="118" y="31"/>
                  </a:cxn>
                  <a:cxn ang="0">
                    <a:pos x="110" y="21"/>
                  </a:cxn>
                  <a:cxn ang="0">
                    <a:pos x="106" y="11"/>
                  </a:cxn>
                  <a:cxn ang="0">
                    <a:pos x="117" y="2"/>
                  </a:cxn>
                  <a:cxn ang="0">
                    <a:pos x="129" y="2"/>
                  </a:cxn>
                  <a:cxn ang="0">
                    <a:pos x="132" y="7"/>
                  </a:cxn>
                  <a:cxn ang="0">
                    <a:pos x="139" y="23"/>
                  </a:cxn>
                  <a:cxn ang="0">
                    <a:pos x="158" y="26"/>
                  </a:cxn>
                  <a:cxn ang="0">
                    <a:pos x="174" y="26"/>
                  </a:cxn>
                  <a:cxn ang="0">
                    <a:pos x="175" y="42"/>
                  </a:cxn>
                  <a:cxn ang="0">
                    <a:pos x="165" y="55"/>
                  </a:cxn>
                  <a:cxn ang="0">
                    <a:pos x="155" y="59"/>
                  </a:cxn>
                  <a:cxn ang="0">
                    <a:pos x="132" y="57"/>
                  </a:cxn>
                  <a:cxn ang="0">
                    <a:pos x="122" y="59"/>
                  </a:cxn>
                  <a:cxn ang="0">
                    <a:pos x="100" y="64"/>
                  </a:cxn>
                  <a:cxn ang="0">
                    <a:pos x="77" y="71"/>
                  </a:cxn>
                </a:cxnLst>
                <a:rect l="0" t="0" r="r" b="b"/>
                <a:pathLst>
                  <a:path w="179" h="74">
                    <a:moveTo>
                      <a:pt x="62" y="74"/>
                    </a:moveTo>
                    <a:lnTo>
                      <a:pt x="51" y="71"/>
                    </a:lnTo>
                    <a:lnTo>
                      <a:pt x="48" y="67"/>
                    </a:lnTo>
                    <a:lnTo>
                      <a:pt x="51" y="61"/>
                    </a:lnTo>
                    <a:lnTo>
                      <a:pt x="62" y="61"/>
                    </a:lnTo>
                    <a:lnTo>
                      <a:pt x="55" y="55"/>
                    </a:lnTo>
                    <a:lnTo>
                      <a:pt x="53" y="48"/>
                    </a:lnTo>
                    <a:lnTo>
                      <a:pt x="48" y="52"/>
                    </a:lnTo>
                    <a:lnTo>
                      <a:pt x="48" y="55"/>
                    </a:lnTo>
                    <a:lnTo>
                      <a:pt x="34" y="57"/>
                    </a:lnTo>
                    <a:lnTo>
                      <a:pt x="26" y="59"/>
                    </a:lnTo>
                    <a:lnTo>
                      <a:pt x="15" y="57"/>
                    </a:lnTo>
                    <a:lnTo>
                      <a:pt x="8" y="55"/>
                    </a:lnTo>
                    <a:lnTo>
                      <a:pt x="2" y="52"/>
                    </a:lnTo>
                    <a:lnTo>
                      <a:pt x="0" y="48"/>
                    </a:lnTo>
                    <a:lnTo>
                      <a:pt x="0" y="43"/>
                    </a:lnTo>
                    <a:lnTo>
                      <a:pt x="0" y="42"/>
                    </a:lnTo>
                    <a:lnTo>
                      <a:pt x="7" y="38"/>
                    </a:lnTo>
                    <a:lnTo>
                      <a:pt x="14" y="36"/>
                    </a:lnTo>
                    <a:lnTo>
                      <a:pt x="26" y="38"/>
                    </a:lnTo>
                    <a:lnTo>
                      <a:pt x="36" y="42"/>
                    </a:lnTo>
                    <a:lnTo>
                      <a:pt x="24" y="38"/>
                    </a:lnTo>
                    <a:lnTo>
                      <a:pt x="14" y="35"/>
                    </a:lnTo>
                    <a:lnTo>
                      <a:pt x="14" y="26"/>
                    </a:lnTo>
                    <a:lnTo>
                      <a:pt x="19" y="26"/>
                    </a:lnTo>
                    <a:lnTo>
                      <a:pt x="22" y="26"/>
                    </a:lnTo>
                    <a:lnTo>
                      <a:pt x="24" y="26"/>
                    </a:lnTo>
                    <a:lnTo>
                      <a:pt x="31" y="28"/>
                    </a:lnTo>
                    <a:lnTo>
                      <a:pt x="38" y="28"/>
                    </a:lnTo>
                    <a:lnTo>
                      <a:pt x="45" y="30"/>
                    </a:lnTo>
                    <a:lnTo>
                      <a:pt x="29" y="28"/>
                    </a:lnTo>
                    <a:lnTo>
                      <a:pt x="19" y="24"/>
                    </a:lnTo>
                    <a:lnTo>
                      <a:pt x="22" y="19"/>
                    </a:lnTo>
                    <a:lnTo>
                      <a:pt x="29" y="19"/>
                    </a:lnTo>
                    <a:lnTo>
                      <a:pt x="36" y="19"/>
                    </a:lnTo>
                    <a:lnTo>
                      <a:pt x="43" y="21"/>
                    </a:lnTo>
                    <a:lnTo>
                      <a:pt x="32" y="19"/>
                    </a:lnTo>
                    <a:lnTo>
                      <a:pt x="27" y="14"/>
                    </a:lnTo>
                    <a:lnTo>
                      <a:pt x="36" y="12"/>
                    </a:lnTo>
                    <a:lnTo>
                      <a:pt x="43" y="14"/>
                    </a:lnTo>
                    <a:lnTo>
                      <a:pt x="48" y="14"/>
                    </a:lnTo>
                    <a:lnTo>
                      <a:pt x="51" y="21"/>
                    </a:lnTo>
                    <a:lnTo>
                      <a:pt x="60" y="21"/>
                    </a:lnTo>
                    <a:lnTo>
                      <a:pt x="63" y="21"/>
                    </a:lnTo>
                    <a:lnTo>
                      <a:pt x="74" y="23"/>
                    </a:lnTo>
                    <a:lnTo>
                      <a:pt x="84" y="31"/>
                    </a:lnTo>
                    <a:lnTo>
                      <a:pt x="94" y="38"/>
                    </a:lnTo>
                    <a:lnTo>
                      <a:pt x="112" y="42"/>
                    </a:lnTo>
                    <a:lnTo>
                      <a:pt x="118" y="38"/>
                    </a:lnTo>
                    <a:lnTo>
                      <a:pt x="124" y="35"/>
                    </a:lnTo>
                    <a:lnTo>
                      <a:pt x="117" y="33"/>
                    </a:lnTo>
                    <a:lnTo>
                      <a:pt x="113" y="33"/>
                    </a:lnTo>
                    <a:lnTo>
                      <a:pt x="115" y="31"/>
                    </a:lnTo>
                    <a:lnTo>
                      <a:pt x="118" y="31"/>
                    </a:lnTo>
                    <a:lnTo>
                      <a:pt x="118" y="24"/>
                    </a:lnTo>
                    <a:lnTo>
                      <a:pt x="110" y="21"/>
                    </a:lnTo>
                    <a:lnTo>
                      <a:pt x="105" y="16"/>
                    </a:lnTo>
                    <a:lnTo>
                      <a:pt x="106" y="11"/>
                    </a:lnTo>
                    <a:lnTo>
                      <a:pt x="112" y="5"/>
                    </a:lnTo>
                    <a:lnTo>
                      <a:pt x="117" y="2"/>
                    </a:lnTo>
                    <a:lnTo>
                      <a:pt x="124" y="0"/>
                    </a:lnTo>
                    <a:lnTo>
                      <a:pt x="129" y="2"/>
                    </a:lnTo>
                    <a:lnTo>
                      <a:pt x="134" y="4"/>
                    </a:lnTo>
                    <a:lnTo>
                      <a:pt x="132" y="7"/>
                    </a:lnTo>
                    <a:lnTo>
                      <a:pt x="134" y="11"/>
                    </a:lnTo>
                    <a:lnTo>
                      <a:pt x="139" y="23"/>
                    </a:lnTo>
                    <a:lnTo>
                      <a:pt x="153" y="30"/>
                    </a:lnTo>
                    <a:lnTo>
                      <a:pt x="158" y="26"/>
                    </a:lnTo>
                    <a:lnTo>
                      <a:pt x="167" y="23"/>
                    </a:lnTo>
                    <a:lnTo>
                      <a:pt x="174" y="26"/>
                    </a:lnTo>
                    <a:lnTo>
                      <a:pt x="179" y="36"/>
                    </a:lnTo>
                    <a:lnTo>
                      <a:pt x="175" y="42"/>
                    </a:lnTo>
                    <a:lnTo>
                      <a:pt x="172" y="50"/>
                    </a:lnTo>
                    <a:lnTo>
                      <a:pt x="165" y="55"/>
                    </a:lnTo>
                    <a:lnTo>
                      <a:pt x="161" y="59"/>
                    </a:lnTo>
                    <a:lnTo>
                      <a:pt x="155" y="59"/>
                    </a:lnTo>
                    <a:lnTo>
                      <a:pt x="143" y="59"/>
                    </a:lnTo>
                    <a:lnTo>
                      <a:pt x="132" y="57"/>
                    </a:lnTo>
                    <a:lnTo>
                      <a:pt x="129" y="59"/>
                    </a:lnTo>
                    <a:lnTo>
                      <a:pt x="122" y="59"/>
                    </a:lnTo>
                    <a:lnTo>
                      <a:pt x="112" y="62"/>
                    </a:lnTo>
                    <a:lnTo>
                      <a:pt x="100" y="64"/>
                    </a:lnTo>
                    <a:lnTo>
                      <a:pt x="94" y="67"/>
                    </a:lnTo>
                    <a:lnTo>
                      <a:pt x="77" y="71"/>
                    </a:lnTo>
                    <a:lnTo>
                      <a:pt x="62" y="7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5" name="Freeform 305"/>
              <p:cNvSpPr>
                <a:spLocks/>
              </p:cNvSpPr>
              <p:nvPr/>
            </p:nvSpPr>
            <p:spPr bwMode="auto">
              <a:xfrm>
                <a:off x="1569244" y="1801813"/>
                <a:ext cx="38100" cy="30162"/>
              </a:xfrm>
              <a:custGeom>
                <a:avLst/>
                <a:gdLst/>
                <a:ahLst/>
                <a:cxnLst>
                  <a:cxn ang="0">
                    <a:pos x="8" y="19"/>
                  </a:cxn>
                  <a:cxn ang="0">
                    <a:pos x="1" y="16"/>
                  </a:cxn>
                  <a:cxn ang="0">
                    <a:pos x="0" y="12"/>
                  </a:cxn>
                  <a:cxn ang="0">
                    <a:pos x="1" y="5"/>
                  </a:cxn>
                  <a:cxn ang="0">
                    <a:pos x="8" y="2"/>
                  </a:cxn>
                  <a:cxn ang="0">
                    <a:pos x="17" y="0"/>
                  </a:cxn>
                  <a:cxn ang="0">
                    <a:pos x="24" y="0"/>
                  </a:cxn>
                  <a:cxn ang="0">
                    <a:pos x="17" y="12"/>
                  </a:cxn>
                  <a:cxn ang="0">
                    <a:pos x="8" y="19"/>
                  </a:cxn>
                </a:cxnLst>
                <a:rect l="0" t="0" r="r" b="b"/>
                <a:pathLst>
                  <a:path w="24" h="19">
                    <a:moveTo>
                      <a:pt x="8" y="19"/>
                    </a:moveTo>
                    <a:lnTo>
                      <a:pt x="1" y="16"/>
                    </a:lnTo>
                    <a:lnTo>
                      <a:pt x="0" y="12"/>
                    </a:lnTo>
                    <a:lnTo>
                      <a:pt x="1" y="5"/>
                    </a:lnTo>
                    <a:lnTo>
                      <a:pt x="8" y="2"/>
                    </a:lnTo>
                    <a:lnTo>
                      <a:pt x="17" y="0"/>
                    </a:lnTo>
                    <a:lnTo>
                      <a:pt x="24" y="0"/>
                    </a:lnTo>
                    <a:lnTo>
                      <a:pt x="17" y="12"/>
                    </a:lnTo>
                    <a:lnTo>
                      <a:pt x="8"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6" name="Freeform 306"/>
              <p:cNvSpPr>
                <a:spLocks/>
              </p:cNvSpPr>
              <p:nvPr/>
            </p:nvSpPr>
            <p:spPr bwMode="auto">
              <a:xfrm>
                <a:off x="1669257" y="1760538"/>
                <a:ext cx="28575" cy="11112"/>
              </a:xfrm>
              <a:custGeom>
                <a:avLst/>
                <a:gdLst/>
                <a:ahLst/>
                <a:cxnLst>
                  <a:cxn ang="0">
                    <a:pos x="7" y="7"/>
                  </a:cxn>
                  <a:cxn ang="0">
                    <a:pos x="2" y="5"/>
                  </a:cxn>
                  <a:cxn ang="0">
                    <a:pos x="0" y="0"/>
                  </a:cxn>
                  <a:cxn ang="0">
                    <a:pos x="18" y="0"/>
                  </a:cxn>
                  <a:cxn ang="0">
                    <a:pos x="18" y="7"/>
                  </a:cxn>
                  <a:cxn ang="0">
                    <a:pos x="11" y="7"/>
                  </a:cxn>
                  <a:cxn ang="0">
                    <a:pos x="7" y="7"/>
                  </a:cxn>
                </a:cxnLst>
                <a:rect l="0" t="0" r="r" b="b"/>
                <a:pathLst>
                  <a:path w="18" h="7">
                    <a:moveTo>
                      <a:pt x="7" y="7"/>
                    </a:moveTo>
                    <a:lnTo>
                      <a:pt x="2" y="5"/>
                    </a:lnTo>
                    <a:lnTo>
                      <a:pt x="0" y="0"/>
                    </a:lnTo>
                    <a:lnTo>
                      <a:pt x="18" y="0"/>
                    </a:lnTo>
                    <a:lnTo>
                      <a:pt x="18" y="7"/>
                    </a:lnTo>
                    <a:lnTo>
                      <a:pt x="11" y="7"/>
                    </a:lnTo>
                    <a:lnTo>
                      <a:pt x="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7" name="Freeform 307"/>
              <p:cNvSpPr>
                <a:spLocks/>
              </p:cNvSpPr>
              <p:nvPr/>
            </p:nvSpPr>
            <p:spPr bwMode="auto">
              <a:xfrm>
                <a:off x="1486694" y="1730375"/>
                <a:ext cx="161925" cy="85725"/>
              </a:xfrm>
              <a:custGeom>
                <a:avLst/>
                <a:gdLst/>
                <a:ahLst/>
                <a:cxnLst>
                  <a:cxn ang="0">
                    <a:pos x="102" y="6"/>
                  </a:cxn>
                  <a:cxn ang="0">
                    <a:pos x="98" y="9"/>
                  </a:cxn>
                  <a:cxn ang="0">
                    <a:pos x="95" y="14"/>
                  </a:cxn>
                  <a:cxn ang="0">
                    <a:pos x="96" y="19"/>
                  </a:cxn>
                  <a:cxn ang="0">
                    <a:pos x="100" y="24"/>
                  </a:cxn>
                  <a:cxn ang="0">
                    <a:pos x="78" y="40"/>
                  </a:cxn>
                  <a:cxn ang="0">
                    <a:pos x="69" y="33"/>
                  </a:cxn>
                  <a:cxn ang="0">
                    <a:pos x="65" y="26"/>
                  </a:cxn>
                  <a:cxn ang="0">
                    <a:pos x="59" y="37"/>
                  </a:cxn>
                  <a:cxn ang="0">
                    <a:pos x="48" y="42"/>
                  </a:cxn>
                  <a:cxn ang="0">
                    <a:pos x="43" y="49"/>
                  </a:cxn>
                  <a:cxn ang="0">
                    <a:pos x="36" y="54"/>
                  </a:cxn>
                  <a:cxn ang="0">
                    <a:pos x="31" y="49"/>
                  </a:cxn>
                  <a:cxn ang="0">
                    <a:pos x="28" y="45"/>
                  </a:cxn>
                  <a:cxn ang="0">
                    <a:pos x="21" y="45"/>
                  </a:cxn>
                  <a:cxn ang="0">
                    <a:pos x="14" y="45"/>
                  </a:cxn>
                  <a:cxn ang="0">
                    <a:pos x="9" y="47"/>
                  </a:cxn>
                  <a:cxn ang="0">
                    <a:pos x="5" y="50"/>
                  </a:cxn>
                  <a:cxn ang="0">
                    <a:pos x="2" y="45"/>
                  </a:cxn>
                  <a:cxn ang="0">
                    <a:pos x="0" y="42"/>
                  </a:cxn>
                  <a:cxn ang="0">
                    <a:pos x="4" y="37"/>
                  </a:cxn>
                  <a:cxn ang="0">
                    <a:pos x="12" y="33"/>
                  </a:cxn>
                  <a:cxn ang="0">
                    <a:pos x="22" y="28"/>
                  </a:cxn>
                  <a:cxn ang="0">
                    <a:pos x="36" y="23"/>
                  </a:cxn>
                  <a:cxn ang="0">
                    <a:pos x="41" y="16"/>
                  </a:cxn>
                  <a:cxn ang="0">
                    <a:pos x="47" y="11"/>
                  </a:cxn>
                  <a:cxn ang="0">
                    <a:pos x="52" y="6"/>
                  </a:cxn>
                  <a:cxn ang="0">
                    <a:pos x="62" y="4"/>
                  </a:cxn>
                  <a:cxn ang="0">
                    <a:pos x="65" y="4"/>
                  </a:cxn>
                  <a:cxn ang="0">
                    <a:pos x="71" y="6"/>
                  </a:cxn>
                  <a:cxn ang="0">
                    <a:pos x="74" y="4"/>
                  </a:cxn>
                  <a:cxn ang="0">
                    <a:pos x="86" y="2"/>
                  </a:cxn>
                  <a:cxn ang="0">
                    <a:pos x="96" y="0"/>
                  </a:cxn>
                  <a:cxn ang="0">
                    <a:pos x="102" y="6"/>
                  </a:cxn>
                </a:cxnLst>
                <a:rect l="0" t="0" r="r" b="b"/>
                <a:pathLst>
                  <a:path w="102" h="54">
                    <a:moveTo>
                      <a:pt x="102" y="6"/>
                    </a:moveTo>
                    <a:lnTo>
                      <a:pt x="98" y="9"/>
                    </a:lnTo>
                    <a:lnTo>
                      <a:pt x="95" y="14"/>
                    </a:lnTo>
                    <a:lnTo>
                      <a:pt x="96" y="19"/>
                    </a:lnTo>
                    <a:lnTo>
                      <a:pt x="100" y="24"/>
                    </a:lnTo>
                    <a:lnTo>
                      <a:pt x="78" y="40"/>
                    </a:lnTo>
                    <a:lnTo>
                      <a:pt x="69" y="33"/>
                    </a:lnTo>
                    <a:lnTo>
                      <a:pt x="65" y="26"/>
                    </a:lnTo>
                    <a:lnTo>
                      <a:pt x="59" y="37"/>
                    </a:lnTo>
                    <a:lnTo>
                      <a:pt x="48" y="42"/>
                    </a:lnTo>
                    <a:lnTo>
                      <a:pt x="43" y="49"/>
                    </a:lnTo>
                    <a:lnTo>
                      <a:pt x="36" y="54"/>
                    </a:lnTo>
                    <a:lnTo>
                      <a:pt x="31" y="49"/>
                    </a:lnTo>
                    <a:lnTo>
                      <a:pt x="28" y="45"/>
                    </a:lnTo>
                    <a:lnTo>
                      <a:pt x="21" y="45"/>
                    </a:lnTo>
                    <a:lnTo>
                      <a:pt x="14" y="45"/>
                    </a:lnTo>
                    <a:lnTo>
                      <a:pt x="9" y="47"/>
                    </a:lnTo>
                    <a:lnTo>
                      <a:pt x="5" y="50"/>
                    </a:lnTo>
                    <a:lnTo>
                      <a:pt x="2" y="45"/>
                    </a:lnTo>
                    <a:lnTo>
                      <a:pt x="0" y="42"/>
                    </a:lnTo>
                    <a:lnTo>
                      <a:pt x="4" y="37"/>
                    </a:lnTo>
                    <a:lnTo>
                      <a:pt x="12" y="33"/>
                    </a:lnTo>
                    <a:lnTo>
                      <a:pt x="22" y="28"/>
                    </a:lnTo>
                    <a:lnTo>
                      <a:pt x="36" y="23"/>
                    </a:lnTo>
                    <a:lnTo>
                      <a:pt x="41" y="16"/>
                    </a:lnTo>
                    <a:lnTo>
                      <a:pt x="47" y="11"/>
                    </a:lnTo>
                    <a:lnTo>
                      <a:pt x="52" y="6"/>
                    </a:lnTo>
                    <a:lnTo>
                      <a:pt x="62" y="4"/>
                    </a:lnTo>
                    <a:lnTo>
                      <a:pt x="65" y="4"/>
                    </a:lnTo>
                    <a:lnTo>
                      <a:pt x="71" y="6"/>
                    </a:lnTo>
                    <a:lnTo>
                      <a:pt x="74" y="4"/>
                    </a:lnTo>
                    <a:lnTo>
                      <a:pt x="86" y="2"/>
                    </a:lnTo>
                    <a:lnTo>
                      <a:pt x="96" y="0"/>
                    </a:lnTo>
                    <a:lnTo>
                      <a:pt x="102"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8" name="Freeform 308"/>
              <p:cNvSpPr>
                <a:spLocks/>
              </p:cNvSpPr>
              <p:nvPr/>
            </p:nvSpPr>
            <p:spPr bwMode="auto">
              <a:xfrm>
                <a:off x="1702594" y="1668463"/>
                <a:ext cx="92075" cy="26987"/>
              </a:xfrm>
              <a:custGeom>
                <a:avLst/>
                <a:gdLst/>
                <a:ahLst/>
                <a:cxnLst>
                  <a:cxn ang="0">
                    <a:pos x="22" y="17"/>
                  </a:cxn>
                  <a:cxn ang="0">
                    <a:pos x="15" y="15"/>
                  </a:cxn>
                  <a:cxn ang="0">
                    <a:pos x="10" y="14"/>
                  </a:cxn>
                  <a:cxn ang="0">
                    <a:pos x="3" y="15"/>
                  </a:cxn>
                  <a:cxn ang="0">
                    <a:pos x="0" y="17"/>
                  </a:cxn>
                  <a:cxn ang="0">
                    <a:pos x="3" y="10"/>
                  </a:cxn>
                  <a:cxn ang="0">
                    <a:pos x="15" y="5"/>
                  </a:cxn>
                  <a:cxn ang="0">
                    <a:pos x="28" y="0"/>
                  </a:cxn>
                  <a:cxn ang="0">
                    <a:pos x="36" y="0"/>
                  </a:cxn>
                  <a:cxn ang="0">
                    <a:pos x="50" y="3"/>
                  </a:cxn>
                  <a:cxn ang="0">
                    <a:pos x="58" y="12"/>
                  </a:cxn>
                  <a:cxn ang="0">
                    <a:pos x="52" y="15"/>
                  </a:cxn>
                  <a:cxn ang="0">
                    <a:pos x="45" y="17"/>
                  </a:cxn>
                  <a:cxn ang="0">
                    <a:pos x="36" y="17"/>
                  </a:cxn>
                  <a:cxn ang="0">
                    <a:pos x="33" y="17"/>
                  </a:cxn>
                  <a:cxn ang="0">
                    <a:pos x="28" y="17"/>
                  </a:cxn>
                  <a:cxn ang="0">
                    <a:pos x="22" y="17"/>
                  </a:cxn>
                </a:cxnLst>
                <a:rect l="0" t="0" r="r" b="b"/>
                <a:pathLst>
                  <a:path w="58" h="17">
                    <a:moveTo>
                      <a:pt x="22" y="17"/>
                    </a:moveTo>
                    <a:lnTo>
                      <a:pt x="15" y="15"/>
                    </a:lnTo>
                    <a:lnTo>
                      <a:pt x="10" y="14"/>
                    </a:lnTo>
                    <a:lnTo>
                      <a:pt x="3" y="15"/>
                    </a:lnTo>
                    <a:lnTo>
                      <a:pt x="0" y="17"/>
                    </a:lnTo>
                    <a:lnTo>
                      <a:pt x="3" y="10"/>
                    </a:lnTo>
                    <a:lnTo>
                      <a:pt x="15" y="5"/>
                    </a:lnTo>
                    <a:lnTo>
                      <a:pt x="28" y="0"/>
                    </a:lnTo>
                    <a:lnTo>
                      <a:pt x="36" y="0"/>
                    </a:lnTo>
                    <a:lnTo>
                      <a:pt x="50" y="3"/>
                    </a:lnTo>
                    <a:lnTo>
                      <a:pt x="58" y="12"/>
                    </a:lnTo>
                    <a:lnTo>
                      <a:pt x="52" y="15"/>
                    </a:lnTo>
                    <a:lnTo>
                      <a:pt x="45" y="17"/>
                    </a:lnTo>
                    <a:lnTo>
                      <a:pt x="36" y="17"/>
                    </a:lnTo>
                    <a:lnTo>
                      <a:pt x="33" y="17"/>
                    </a:lnTo>
                    <a:lnTo>
                      <a:pt x="28" y="17"/>
                    </a:lnTo>
                    <a:lnTo>
                      <a:pt x="22"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9" name="Freeform 309"/>
              <p:cNvSpPr>
                <a:spLocks/>
              </p:cNvSpPr>
              <p:nvPr/>
            </p:nvSpPr>
            <p:spPr bwMode="auto">
              <a:xfrm>
                <a:off x="1705769" y="1700213"/>
                <a:ext cx="79375" cy="41275"/>
              </a:xfrm>
              <a:custGeom>
                <a:avLst/>
                <a:gdLst/>
                <a:ahLst/>
                <a:cxnLst>
                  <a:cxn ang="0">
                    <a:pos x="43" y="11"/>
                  </a:cxn>
                  <a:cxn ang="0">
                    <a:pos x="39" y="16"/>
                  </a:cxn>
                  <a:cxn ang="0">
                    <a:pos x="32" y="21"/>
                  </a:cxn>
                  <a:cxn ang="0">
                    <a:pos x="24" y="25"/>
                  </a:cxn>
                  <a:cxn ang="0">
                    <a:pos x="15" y="26"/>
                  </a:cxn>
                  <a:cxn ang="0">
                    <a:pos x="5" y="21"/>
                  </a:cxn>
                  <a:cxn ang="0">
                    <a:pos x="0" y="13"/>
                  </a:cxn>
                  <a:cxn ang="0">
                    <a:pos x="3" y="4"/>
                  </a:cxn>
                  <a:cxn ang="0">
                    <a:pos x="15" y="0"/>
                  </a:cxn>
                  <a:cxn ang="0">
                    <a:pos x="29" y="0"/>
                  </a:cxn>
                  <a:cxn ang="0">
                    <a:pos x="41" y="0"/>
                  </a:cxn>
                  <a:cxn ang="0">
                    <a:pos x="46" y="2"/>
                  </a:cxn>
                  <a:cxn ang="0">
                    <a:pos x="50" y="6"/>
                  </a:cxn>
                  <a:cxn ang="0">
                    <a:pos x="39" y="9"/>
                  </a:cxn>
                  <a:cxn ang="0">
                    <a:pos x="29" y="11"/>
                  </a:cxn>
                  <a:cxn ang="0">
                    <a:pos x="43" y="11"/>
                  </a:cxn>
                </a:cxnLst>
                <a:rect l="0" t="0" r="r" b="b"/>
                <a:pathLst>
                  <a:path w="50" h="26">
                    <a:moveTo>
                      <a:pt x="43" y="11"/>
                    </a:moveTo>
                    <a:lnTo>
                      <a:pt x="39" y="16"/>
                    </a:lnTo>
                    <a:lnTo>
                      <a:pt x="32" y="21"/>
                    </a:lnTo>
                    <a:lnTo>
                      <a:pt x="24" y="25"/>
                    </a:lnTo>
                    <a:lnTo>
                      <a:pt x="15" y="26"/>
                    </a:lnTo>
                    <a:lnTo>
                      <a:pt x="5" y="21"/>
                    </a:lnTo>
                    <a:lnTo>
                      <a:pt x="0" y="13"/>
                    </a:lnTo>
                    <a:lnTo>
                      <a:pt x="3" y="4"/>
                    </a:lnTo>
                    <a:lnTo>
                      <a:pt x="15" y="0"/>
                    </a:lnTo>
                    <a:lnTo>
                      <a:pt x="29" y="0"/>
                    </a:lnTo>
                    <a:lnTo>
                      <a:pt x="41" y="0"/>
                    </a:lnTo>
                    <a:lnTo>
                      <a:pt x="46" y="2"/>
                    </a:lnTo>
                    <a:lnTo>
                      <a:pt x="50" y="6"/>
                    </a:lnTo>
                    <a:lnTo>
                      <a:pt x="39" y="9"/>
                    </a:lnTo>
                    <a:lnTo>
                      <a:pt x="29" y="11"/>
                    </a:lnTo>
                    <a:lnTo>
                      <a:pt x="43"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0" name="Freeform 310"/>
              <p:cNvSpPr>
                <a:spLocks/>
              </p:cNvSpPr>
              <p:nvPr/>
            </p:nvSpPr>
            <p:spPr bwMode="auto">
              <a:xfrm>
                <a:off x="1667669" y="1703388"/>
                <a:ext cx="26988" cy="22225"/>
              </a:xfrm>
              <a:custGeom>
                <a:avLst/>
                <a:gdLst/>
                <a:ahLst/>
                <a:cxnLst>
                  <a:cxn ang="0">
                    <a:pos x="17" y="9"/>
                  </a:cxn>
                  <a:cxn ang="0">
                    <a:pos x="13" y="12"/>
                  </a:cxn>
                  <a:cxn ang="0">
                    <a:pos x="10" y="14"/>
                  </a:cxn>
                  <a:cxn ang="0">
                    <a:pos x="1" y="11"/>
                  </a:cxn>
                  <a:cxn ang="0">
                    <a:pos x="0" y="7"/>
                  </a:cxn>
                  <a:cxn ang="0">
                    <a:pos x="1" y="0"/>
                  </a:cxn>
                  <a:cxn ang="0">
                    <a:pos x="7" y="2"/>
                  </a:cxn>
                  <a:cxn ang="0">
                    <a:pos x="12" y="5"/>
                  </a:cxn>
                  <a:cxn ang="0">
                    <a:pos x="17" y="9"/>
                  </a:cxn>
                </a:cxnLst>
                <a:rect l="0" t="0" r="r" b="b"/>
                <a:pathLst>
                  <a:path w="17" h="14">
                    <a:moveTo>
                      <a:pt x="17" y="9"/>
                    </a:moveTo>
                    <a:lnTo>
                      <a:pt x="13" y="12"/>
                    </a:lnTo>
                    <a:lnTo>
                      <a:pt x="10" y="14"/>
                    </a:lnTo>
                    <a:lnTo>
                      <a:pt x="1" y="11"/>
                    </a:lnTo>
                    <a:lnTo>
                      <a:pt x="0" y="7"/>
                    </a:lnTo>
                    <a:lnTo>
                      <a:pt x="1" y="0"/>
                    </a:lnTo>
                    <a:lnTo>
                      <a:pt x="7" y="2"/>
                    </a:lnTo>
                    <a:lnTo>
                      <a:pt x="12" y="5"/>
                    </a:lnTo>
                    <a:lnTo>
                      <a:pt x="17" y="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1" name="Freeform 311"/>
              <p:cNvSpPr>
                <a:spLocks/>
              </p:cNvSpPr>
              <p:nvPr/>
            </p:nvSpPr>
            <p:spPr bwMode="auto">
              <a:xfrm>
                <a:off x="1964532" y="1905000"/>
                <a:ext cx="136525" cy="109537"/>
              </a:xfrm>
              <a:custGeom>
                <a:avLst/>
                <a:gdLst/>
                <a:ahLst/>
                <a:cxnLst>
                  <a:cxn ang="0">
                    <a:pos x="76" y="26"/>
                  </a:cxn>
                  <a:cxn ang="0">
                    <a:pos x="74" y="30"/>
                  </a:cxn>
                  <a:cxn ang="0">
                    <a:pos x="74" y="33"/>
                  </a:cxn>
                  <a:cxn ang="0">
                    <a:pos x="79" y="33"/>
                  </a:cxn>
                  <a:cxn ang="0">
                    <a:pos x="86" y="37"/>
                  </a:cxn>
                  <a:cxn ang="0">
                    <a:pos x="84" y="43"/>
                  </a:cxn>
                  <a:cxn ang="0">
                    <a:pos x="83" y="50"/>
                  </a:cxn>
                  <a:cxn ang="0">
                    <a:pos x="81" y="54"/>
                  </a:cxn>
                  <a:cxn ang="0">
                    <a:pos x="81" y="57"/>
                  </a:cxn>
                  <a:cxn ang="0">
                    <a:pos x="74" y="59"/>
                  </a:cxn>
                  <a:cxn ang="0">
                    <a:pos x="65" y="62"/>
                  </a:cxn>
                  <a:cxn ang="0">
                    <a:pos x="60" y="66"/>
                  </a:cxn>
                  <a:cxn ang="0">
                    <a:pos x="55" y="69"/>
                  </a:cxn>
                  <a:cxn ang="0">
                    <a:pos x="48" y="66"/>
                  </a:cxn>
                  <a:cxn ang="0">
                    <a:pos x="45" y="61"/>
                  </a:cxn>
                  <a:cxn ang="0">
                    <a:pos x="33" y="52"/>
                  </a:cxn>
                  <a:cxn ang="0">
                    <a:pos x="22" y="47"/>
                  </a:cxn>
                  <a:cxn ang="0">
                    <a:pos x="10" y="42"/>
                  </a:cxn>
                  <a:cxn ang="0">
                    <a:pos x="0" y="35"/>
                  </a:cxn>
                  <a:cxn ang="0">
                    <a:pos x="0" y="26"/>
                  </a:cxn>
                  <a:cxn ang="0">
                    <a:pos x="10" y="28"/>
                  </a:cxn>
                  <a:cxn ang="0">
                    <a:pos x="22" y="31"/>
                  </a:cxn>
                  <a:cxn ang="0">
                    <a:pos x="26" y="31"/>
                  </a:cxn>
                  <a:cxn ang="0">
                    <a:pos x="31" y="31"/>
                  </a:cxn>
                  <a:cxn ang="0">
                    <a:pos x="31" y="18"/>
                  </a:cxn>
                  <a:cxn ang="0">
                    <a:pos x="19" y="16"/>
                  </a:cxn>
                  <a:cxn ang="0">
                    <a:pos x="14" y="12"/>
                  </a:cxn>
                  <a:cxn ang="0">
                    <a:pos x="16" y="9"/>
                  </a:cxn>
                  <a:cxn ang="0">
                    <a:pos x="17" y="7"/>
                  </a:cxn>
                  <a:cxn ang="0">
                    <a:pos x="31" y="0"/>
                  </a:cxn>
                  <a:cxn ang="0">
                    <a:pos x="48" y="2"/>
                  </a:cxn>
                  <a:cxn ang="0">
                    <a:pos x="60" y="2"/>
                  </a:cxn>
                  <a:cxn ang="0">
                    <a:pos x="69" y="2"/>
                  </a:cxn>
                  <a:cxn ang="0">
                    <a:pos x="71" y="2"/>
                  </a:cxn>
                  <a:cxn ang="0">
                    <a:pos x="72" y="6"/>
                  </a:cxn>
                  <a:cxn ang="0">
                    <a:pos x="65" y="18"/>
                  </a:cxn>
                  <a:cxn ang="0">
                    <a:pos x="57" y="25"/>
                  </a:cxn>
                  <a:cxn ang="0">
                    <a:pos x="60" y="23"/>
                  </a:cxn>
                  <a:cxn ang="0">
                    <a:pos x="67" y="23"/>
                  </a:cxn>
                  <a:cxn ang="0">
                    <a:pos x="72" y="21"/>
                  </a:cxn>
                  <a:cxn ang="0">
                    <a:pos x="76" y="26"/>
                  </a:cxn>
                </a:cxnLst>
                <a:rect l="0" t="0" r="r" b="b"/>
                <a:pathLst>
                  <a:path w="86" h="69">
                    <a:moveTo>
                      <a:pt x="76" y="26"/>
                    </a:moveTo>
                    <a:lnTo>
                      <a:pt x="74" y="30"/>
                    </a:lnTo>
                    <a:lnTo>
                      <a:pt x="74" y="33"/>
                    </a:lnTo>
                    <a:lnTo>
                      <a:pt x="79" y="33"/>
                    </a:lnTo>
                    <a:lnTo>
                      <a:pt x="86" y="37"/>
                    </a:lnTo>
                    <a:lnTo>
                      <a:pt x="84" y="43"/>
                    </a:lnTo>
                    <a:lnTo>
                      <a:pt x="83" y="50"/>
                    </a:lnTo>
                    <a:lnTo>
                      <a:pt x="81" y="54"/>
                    </a:lnTo>
                    <a:lnTo>
                      <a:pt x="81" y="57"/>
                    </a:lnTo>
                    <a:lnTo>
                      <a:pt x="74" y="59"/>
                    </a:lnTo>
                    <a:lnTo>
                      <a:pt x="65" y="62"/>
                    </a:lnTo>
                    <a:lnTo>
                      <a:pt x="60" y="66"/>
                    </a:lnTo>
                    <a:lnTo>
                      <a:pt x="55" y="69"/>
                    </a:lnTo>
                    <a:lnTo>
                      <a:pt x="48" y="66"/>
                    </a:lnTo>
                    <a:lnTo>
                      <a:pt x="45" y="61"/>
                    </a:lnTo>
                    <a:lnTo>
                      <a:pt x="33" y="52"/>
                    </a:lnTo>
                    <a:lnTo>
                      <a:pt x="22" y="47"/>
                    </a:lnTo>
                    <a:lnTo>
                      <a:pt x="10" y="42"/>
                    </a:lnTo>
                    <a:lnTo>
                      <a:pt x="0" y="35"/>
                    </a:lnTo>
                    <a:lnTo>
                      <a:pt x="0" y="26"/>
                    </a:lnTo>
                    <a:lnTo>
                      <a:pt x="10" y="28"/>
                    </a:lnTo>
                    <a:lnTo>
                      <a:pt x="22" y="31"/>
                    </a:lnTo>
                    <a:lnTo>
                      <a:pt x="26" y="31"/>
                    </a:lnTo>
                    <a:lnTo>
                      <a:pt x="31" y="31"/>
                    </a:lnTo>
                    <a:lnTo>
                      <a:pt x="31" y="18"/>
                    </a:lnTo>
                    <a:lnTo>
                      <a:pt x="19" y="16"/>
                    </a:lnTo>
                    <a:lnTo>
                      <a:pt x="14" y="12"/>
                    </a:lnTo>
                    <a:lnTo>
                      <a:pt x="16" y="9"/>
                    </a:lnTo>
                    <a:lnTo>
                      <a:pt x="17" y="7"/>
                    </a:lnTo>
                    <a:lnTo>
                      <a:pt x="31" y="0"/>
                    </a:lnTo>
                    <a:lnTo>
                      <a:pt x="48" y="2"/>
                    </a:lnTo>
                    <a:lnTo>
                      <a:pt x="60" y="2"/>
                    </a:lnTo>
                    <a:lnTo>
                      <a:pt x="69" y="2"/>
                    </a:lnTo>
                    <a:lnTo>
                      <a:pt x="71" y="2"/>
                    </a:lnTo>
                    <a:lnTo>
                      <a:pt x="72" y="6"/>
                    </a:lnTo>
                    <a:lnTo>
                      <a:pt x="65" y="18"/>
                    </a:lnTo>
                    <a:lnTo>
                      <a:pt x="57" y="25"/>
                    </a:lnTo>
                    <a:lnTo>
                      <a:pt x="60" y="23"/>
                    </a:lnTo>
                    <a:lnTo>
                      <a:pt x="67" y="23"/>
                    </a:lnTo>
                    <a:lnTo>
                      <a:pt x="72" y="21"/>
                    </a:lnTo>
                    <a:lnTo>
                      <a:pt x="76"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2" name="Freeform 312"/>
              <p:cNvSpPr>
                <a:spLocks/>
              </p:cNvSpPr>
              <p:nvPr/>
            </p:nvSpPr>
            <p:spPr bwMode="auto">
              <a:xfrm>
                <a:off x="1915319" y="1771650"/>
                <a:ext cx="152400" cy="76200"/>
              </a:xfrm>
              <a:custGeom>
                <a:avLst/>
                <a:gdLst/>
                <a:ahLst/>
                <a:cxnLst>
                  <a:cxn ang="0">
                    <a:pos x="4" y="12"/>
                  </a:cxn>
                  <a:cxn ang="0">
                    <a:pos x="0" y="7"/>
                  </a:cxn>
                  <a:cxn ang="0">
                    <a:pos x="0" y="2"/>
                  </a:cxn>
                  <a:cxn ang="0">
                    <a:pos x="2" y="2"/>
                  </a:cxn>
                  <a:cxn ang="0">
                    <a:pos x="5" y="2"/>
                  </a:cxn>
                  <a:cxn ang="0">
                    <a:pos x="14" y="5"/>
                  </a:cxn>
                  <a:cxn ang="0">
                    <a:pos x="24" y="14"/>
                  </a:cxn>
                  <a:cxn ang="0">
                    <a:pos x="31" y="21"/>
                  </a:cxn>
                  <a:cxn ang="0">
                    <a:pos x="43" y="23"/>
                  </a:cxn>
                  <a:cxn ang="0">
                    <a:pos x="36" y="17"/>
                  </a:cxn>
                  <a:cxn ang="0">
                    <a:pos x="33" y="14"/>
                  </a:cxn>
                  <a:cxn ang="0">
                    <a:pos x="33" y="9"/>
                  </a:cxn>
                  <a:cxn ang="0">
                    <a:pos x="40" y="9"/>
                  </a:cxn>
                  <a:cxn ang="0">
                    <a:pos x="47" y="14"/>
                  </a:cxn>
                  <a:cxn ang="0">
                    <a:pos x="52" y="16"/>
                  </a:cxn>
                  <a:cxn ang="0">
                    <a:pos x="62" y="19"/>
                  </a:cxn>
                  <a:cxn ang="0">
                    <a:pos x="62" y="9"/>
                  </a:cxn>
                  <a:cxn ang="0">
                    <a:pos x="48" y="7"/>
                  </a:cxn>
                  <a:cxn ang="0">
                    <a:pos x="43" y="2"/>
                  </a:cxn>
                  <a:cxn ang="0">
                    <a:pos x="47" y="0"/>
                  </a:cxn>
                  <a:cxn ang="0">
                    <a:pos x="52" y="0"/>
                  </a:cxn>
                  <a:cxn ang="0">
                    <a:pos x="62" y="2"/>
                  </a:cxn>
                  <a:cxn ang="0">
                    <a:pos x="76" y="5"/>
                  </a:cxn>
                  <a:cxn ang="0">
                    <a:pos x="79" y="4"/>
                  </a:cxn>
                  <a:cxn ang="0">
                    <a:pos x="86" y="2"/>
                  </a:cxn>
                  <a:cxn ang="0">
                    <a:pos x="93" y="5"/>
                  </a:cxn>
                  <a:cxn ang="0">
                    <a:pos x="96" y="14"/>
                  </a:cxn>
                  <a:cxn ang="0">
                    <a:pos x="95" y="21"/>
                  </a:cxn>
                  <a:cxn ang="0">
                    <a:pos x="93" y="29"/>
                  </a:cxn>
                  <a:cxn ang="0">
                    <a:pos x="90" y="36"/>
                  </a:cxn>
                  <a:cxn ang="0">
                    <a:pos x="91" y="47"/>
                  </a:cxn>
                  <a:cxn ang="0">
                    <a:pos x="78" y="47"/>
                  </a:cxn>
                  <a:cxn ang="0">
                    <a:pos x="71" y="48"/>
                  </a:cxn>
                  <a:cxn ang="0">
                    <a:pos x="66" y="48"/>
                  </a:cxn>
                  <a:cxn ang="0">
                    <a:pos x="62" y="48"/>
                  </a:cxn>
                  <a:cxn ang="0">
                    <a:pos x="57" y="47"/>
                  </a:cxn>
                  <a:cxn ang="0">
                    <a:pos x="55" y="47"/>
                  </a:cxn>
                  <a:cxn ang="0">
                    <a:pos x="55" y="43"/>
                  </a:cxn>
                  <a:cxn ang="0">
                    <a:pos x="59" y="41"/>
                  </a:cxn>
                  <a:cxn ang="0">
                    <a:pos x="59" y="38"/>
                  </a:cxn>
                  <a:cxn ang="0">
                    <a:pos x="59" y="36"/>
                  </a:cxn>
                  <a:cxn ang="0">
                    <a:pos x="64" y="31"/>
                  </a:cxn>
                  <a:cxn ang="0">
                    <a:pos x="71" y="29"/>
                  </a:cxn>
                  <a:cxn ang="0">
                    <a:pos x="67" y="28"/>
                  </a:cxn>
                  <a:cxn ang="0">
                    <a:pos x="66" y="28"/>
                  </a:cxn>
                  <a:cxn ang="0">
                    <a:pos x="55" y="28"/>
                  </a:cxn>
                  <a:cxn ang="0">
                    <a:pos x="47" y="29"/>
                  </a:cxn>
                  <a:cxn ang="0">
                    <a:pos x="36" y="31"/>
                  </a:cxn>
                  <a:cxn ang="0">
                    <a:pos x="28" y="33"/>
                  </a:cxn>
                  <a:cxn ang="0">
                    <a:pos x="23" y="29"/>
                  </a:cxn>
                  <a:cxn ang="0">
                    <a:pos x="23" y="26"/>
                  </a:cxn>
                  <a:cxn ang="0">
                    <a:pos x="14" y="26"/>
                  </a:cxn>
                  <a:cxn ang="0">
                    <a:pos x="14" y="21"/>
                  </a:cxn>
                  <a:cxn ang="0">
                    <a:pos x="5" y="19"/>
                  </a:cxn>
                  <a:cxn ang="0">
                    <a:pos x="0" y="16"/>
                  </a:cxn>
                  <a:cxn ang="0">
                    <a:pos x="0" y="7"/>
                  </a:cxn>
                  <a:cxn ang="0">
                    <a:pos x="4" y="12"/>
                  </a:cxn>
                </a:cxnLst>
                <a:rect l="0" t="0" r="r" b="b"/>
                <a:pathLst>
                  <a:path w="96" h="48">
                    <a:moveTo>
                      <a:pt x="4" y="12"/>
                    </a:moveTo>
                    <a:lnTo>
                      <a:pt x="0" y="7"/>
                    </a:lnTo>
                    <a:lnTo>
                      <a:pt x="0" y="2"/>
                    </a:lnTo>
                    <a:lnTo>
                      <a:pt x="2" y="2"/>
                    </a:lnTo>
                    <a:lnTo>
                      <a:pt x="5" y="2"/>
                    </a:lnTo>
                    <a:lnTo>
                      <a:pt x="14" y="5"/>
                    </a:lnTo>
                    <a:lnTo>
                      <a:pt x="24" y="14"/>
                    </a:lnTo>
                    <a:lnTo>
                      <a:pt x="31" y="21"/>
                    </a:lnTo>
                    <a:lnTo>
                      <a:pt x="43" y="23"/>
                    </a:lnTo>
                    <a:lnTo>
                      <a:pt x="36" y="17"/>
                    </a:lnTo>
                    <a:lnTo>
                      <a:pt x="33" y="14"/>
                    </a:lnTo>
                    <a:lnTo>
                      <a:pt x="33" y="9"/>
                    </a:lnTo>
                    <a:lnTo>
                      <a:pt x="40" y="9"/>
                    </a:lnTo>
                    <a:lnTo>
                      <a:pt x="47" y="14"/>
                    </a:lnTo>
                    <a:lnTo>
                      <a:pt x="52" y="16"/>
                    </a:lnTo>
                    <a:lnTo>
                      <a:pt x="62" y="19"/>
                    </a:lnTo>
                    <a:lnTo>
                      <a:pt x="62" y="9"/>
                    </a:lnTo>
                    <a:lnTo>
                      <a:pt x="48" y="7"/>
                    </a:lnTo>
                    <a:lnTo>
                      <a:pt x="43" y="2"/>
                    </a:lnTo>
                    <a:lnTo>
                      <a:pt x="47" y="0"/>
                    </a:lnTo>
                    <a:lnTo>
                      <a:pt x="52" y="0"/>
                    </a:lnTo>
                    <a:lnTo>
                      <a:pt x="62" y="2"/>
                    </a:lnTo>
                    <a:lnTo>
                      <a:pt x="76" y="5"/>
                    </a:lnTo>
                    <a:lnTo>
                      <a:pt x="79" y="4"/>
                    </a:lnTo>
                    <a:lnTo>
                      <a:pt x="86" y="2"/>
                    </a:lnTo>
                    <a:lnTo>
                      <a:pt x="93" y="5"/>
                    </a:lnTo>
                    <a:lnTo>
                      <a:pt x="96" y="14"/>
                    </a:lnTo>
                    <a:lnTo>
                      <a:pt x="95" y="21"/>
                    </a:lnTo>
                    <a:lnTo>
                      <a:pt x="93" y="29"/>
                    </a:lnTo>
                    <a:lnTo>
                      <a:pt x="90" y="36"/>
                    </a:lnTo>
                    <a:lnTo>
                      <a:pt x="91" y="47"/>
                    </a:lnTo>
                    <a:lnTo>
                      <a:pt x="78" y="47"/>
                    </a:lnTo>
                    <a:lnTo>
                      <a:pt x="71" y="48"/>
                    </a:lnTo>
                    <a:lnTo>
                      <a:pt x="66" y="48"/>
                    </a:lnTo>
                    <a:lnTo>
                      <a:pt x="62" y="48"/>
                    </a:lnTo>
                    <a:lnTo>
                      <a:pt x="57" y="47"/>
                    </a:lnTo>
                    <a:lnTo>
                      <a:pt x="55" y="47"/>
                    </a:lnTo>
                    <a:lnTo>
                      <a:pt x="55" y="43"/>
                    </a:lnTo>
                    <a:lnTo>
                      <a:pt x="59" y="41"/>
                    </a:lnTo>
                    <a:lnTo>
                      <a:pt x="59" y="38"/>
                    </a:lnTo>
                    <a:lnTo>
                      <a:pt x="59" y="36"/>
                    </a:lnTo>
                    <a:lnTo>
                      <a:pt x="64" y="31"/>
                    </a:lnTo>
                    <a:lnTo>
                      <a:pt x="71" y="29"/>
                    </a:lnTo>
                    <a:lnTo>
                      <a:pt x="67" y="28"/>
                    </a:lnTo>
                    <a:lnTo>
                      <a:pt x="66" y="28"/>
                    </a:lnTo>
                    <a:lnTo>
                      <a:pt x="55" y="28"/>
                    </a:lnTo>
                    <a:lnTo>
                      <a:pt x="47" y="29"/>
                    </a:lnTo>
                    <a:lnTo>
                      <a:pt x="36" y="31"/>
                    </a:lnTo>
                    <a:lnTo>
                      <a:pt x="28" y="33"/>
                    </a:lnTo>
                    <a:lnTo>
                      <a:pt x="23" y="29"/>
                    </a:lnTo>
                    <a:lnTo>
                      <a:pt x="23" y="26"/>
                    </a:lnTo>
                    <a:lnTo>
                      <a:pt x="14" y="26"/>
                    </a:lnTo>
                    <a:lnTo>
                      <a:pt x="14" y="21"/>
                    </a:lnTo>
                    <a:lnTo>
                      <a:pt x="5" y="19"/>
                    </a:lnTo>
                    <a:lnTo>
                      <a:pt x="0" y="16"/>
                    </a:lnTo>
                    <a:lnTo>
                      <a:pt x="0" y="7"/>
                    </a:lnTo>
                    <a:lnTo>
                      <a:pt x="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3" name="Freeform 313"/>
              <p:cNvSpPr>
                <a:spLocks/>
              </p:cNvSpPr>
              <p:nvPr/>
            </p:nvSpPr>
            <p:spPr bwMode="auto">
              <a:xfrm>
                <a:off x="2029619" y="2078038"/>
                <a:ext cx="90488" cy="53975"/>
              </a:xfrm>
              <a:custGeom>
                <a:avLst/>
                <a:gdLst/>
                <a:ahLst/>
                <a:cxnLst>
                  <a:cxn ang="0">
                    <a:pos x="45" y="34"/>
                  </a:cxn>
                  <a:cxn ang="0">
                    <a:pos x="35" y="31"/>
                  </a:cxn>
                  <a:cxn ang="0">
                    <a:pos x="19" y="26"/>
                  </a:cxn>
                  <a:cxn ang="0">
                    <a:pos x="6" y="20"/>
                  </a:cxn>
                  <a:cxn ang="0">
                    <a:pos x="0" y="19"/>
                  </a:cxn>
                  <a:cxn ang="0">
                    <a:pos x="6" y="15"/>
                  </a:cxn>
                  <a:cxn ang="0">
                    <a:pos x="12" y="17"/>
                  </a:cxn>
                  <a:cxn ang="0">
                    <a:pos x="14" y="12"/>
                  </a:cxn>
                  <a:cxn ang="0">
                    <a:pos x="16" y="7"/>
                  </a:cxn>
                  <a:cxn ang="0">
                    <a:pos x="19" y="2"/>
                  </a:cxn>
                  <a:cxn ang="0">
                    <a:pos x="26" y="0"/>
                  </a:cxn>
                  <a:cxn ang="0">
                    <a:pos x="33" y="2"/>
                  </a:cxn>
                  <a:cxn ang="0">
                    <a:pos x="43" y="10"/>
                  </a:cxn>
                  <a:cxn ang="0">
                    <a:pos x="52" y="17"/>
                  </a:cxn>
                  <a:cxn ang="0">
                    <a:pos x="57" y="26"/>
                  </a:cxn>
                  <a:cxn ang="0">
                    <a:pos x="50" y="31"/>
                  </a:cxn>
                  <a:cxn ang="0">
                    <a:pos x="45" y="34"/>
                  </a:cxn>
                </a:cxnLst>
                <a:rect l="0" t="0" r="r" b="b"/>
                <a:pathLst>
                  <a:path w="57" h="34">
                    <a:moveTo>
                      <a:pt x="45" y="34"/>
                    </a:moveTo>
                    <a:lnTo>
                      <a:pt x="35" y="31"/>
                    </a:lnTo>
                    <a:lnTo>
                      <a:pt x="19" y="26"/>
                    </a:lnTo>
                    <a:lnTo>
                      <a:pt x="6" y="20"/>
                    </a:lnTo>
                    <a:lnTo>
                      <a:pt x="0" y="19"/>
                    </a:lnTo>
                    <a:lnTo>
                      <a:pt x="6" y="15"/>
                    </a:lnTo>
                    <a:lnTo>
                      <a:pt x="12" y="17"/>
                    </a:lnTo>
                    <a:lnTo>
                      <a:pt x="14" y="12"/>
                    </a:lnTo>
                    <a:lnTo>
                      <a:pt x="16" y="7"/>
                    </a:lnTo>
                    <a:lnTo>
                      <a:pt x="19" y="2"/>
                    </a:lnTo>
                    <a:lnTo>
                      <a:pt x="26" y="0"/>
                    </a:lnTo>
                    <a:lnTo>
                      <a:pt x="33" y="2"/>
                    </a:lnTo>
                    <a:lnTo>
                      <a:pt x="43" y="10"/>
                    </a:lnTo>
                    <a:lnTo>
                      <a:pt x="52" y="17"/>
                    </a:lnTo>
                    <a:lnTo>
                      <a:pt x="57" y="26"/>
                    </a:lnTo>
                    <a:lnTo>
                      <a:pt x="50" y="31"/>
                    </a:lnTo>
                    <a:lnTo>
                      <a:pt x="45" y="3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4" name="Freeform 314"/>
              <p:cNvSpPr>
                <a:spLocks/>
              </p:cNvSpPr>
              <p:nvPr/>
            </p:nvSpPr>
            <p:spPr bwMode="auto">
              <a:xfrm>
                <a:off x="2116932" y="1889125"/>
                <a:ext cx="117475" cy="95250"/>
              </a:xfrm>
              <a:custGeom>
                <a:avLst/>
                <a:gdLst/>
                <a:ahLst/>
                <a:cxnLst>
                  <a:cxn ang="0">
                    <a:pos x="74" y="12"/>
                  </a:cxn>
                  <a:cxn ang="0">
                    <a:pos x="69" y="16"/>
                  </a:cxn>
                  <a:cxn ang="0">
                    <a:pos x="66" y="21"/>
                  </a:cxn>
                  <a:cxn ang="0">
                    <a:pos x="59" y="26"/>
                  </a:cxn>
                  <a:cxn ang="0">
                    <a:pos x="54" y="33"/>
                  </a:cxn>
                  <a:cxn ang="0">
                    <a:pos x="45" y="38"/>
                  </a:cxn>
                  <a:cxn ang="0">
                    <a:pos x="37" y="41"/>
                  </a:cxn>
                  <a:cxn ang="0">
                    <a:pos x="26" y="38"/>
                  </a:cxn>
                  <a:cxn ang="0">
                    <a:pos x="23" y="45"/>
                  </a:cxn>
                  <a:cxn ang="0">
                    <a:pos x="30" y="45"/>
                  </a:cxn>
                  <a:cxn ang="0">
                    <a:pos x="25" y="53"/>
                  </a:cxn>
                  <a:cxn ang="0">
                    <a:pos x="18" y="60"/>
                  </a:cxn>
                  <a:cxn ang="0">
                    <a:pos x="7" y="60"/>
                  </a:cxn>
                  <a:cxn ang="0">
                    <a:pos x="7" y="52"/>
                  </a:cxn>
                  <a:cxn ang="0">
                    <a:pos x="7" y="47"/>
                  </a:cxn>
                  <a:cxn ang="0">
                    <a:pos x="2" y="35"/>
                  </a:cxn>
                  <a:cxn ang="0">
                    <a:pos x="0" y="22"/>
                  </a:cxn>
                  <a:cxn ang="0">
                    <a:pos x="0" y="12"/>
                  </a:cxn>
                  <a:cxn ang="0">
                    <a:pos x="6" y="12"/>
                  </a:cxn>
                  <a:cxn ang="0">
                    <a:pos x="12" y="12"/>
                  </a:cxn>
                  <a:cxn ang="0">
                    <a:pos x="11" y="10"/>
                  </a:cxn>
                  <a:cxn ang="0">
                    <a:pos x="12" y="9"/>
                  </a:cxn>
                  <a:cxn ang="0">
                    <a:pos x="14" y="4"/>
                  </a:cxn>
                  <a:cxn ang="0">
                    <a:pos x="26" y="0"/>
                  </a:cxn>
                  <a:cxn ang="0">
                    <a:pos x="38" y="0"/>
                  </a:cxn>
                  <a:cxn ang="0">
                    <a:pos x="50" y="4"/>
                  </a:cxn>
                  <a:cxn ang="0">
                    <a:pos x="61" y="5"/>
                  </a:cxn>
                  <a:cxn ang="0">
                    <a:pos x="74" y="7"/>
                  </a:cxn>
                  <a:cxn ang="0">
                    <a:pos x="74" y="9"/>
                  </a:cxn>
                  <a:cxn ang="0">
                    <a:pos x="74" y="12"/>
                  </a:cxn>
                </a:cxnLst>
                <a:rect l="0" t="0" r="r" b="b"/>
                <a:pathLst>
                  <a:path w="74" h="60">
                    <a:moveTo>
                      <a:pt x="74" y="12"/>
                    </a:moveTo>
                    <a:lnTo>
                      <a:pt x="69" y="16"/>
                    </a:lnTo>
                    <a:lnTo>
                      <a:pt x="66" y="21"/>
                    </a:lnTo>
                    <a:lnTo>
                      <a:pt x="59" y="26"/>
                    </a:lnTo>
                    <a:lnTo>
                      <a:pt x="54" y="33"/>
                    </a:lnTo>
                    <a:lnTo>
                      <a:pt x="45" y="38"/>
                    </a:lnTo>
                    <a:lnTo>
                      <a:pt x="37" y="41"/>
                    </a:lnTo>
                    <a:lnTo>
                      <a:pt x="26" y="38"/>
                    </a:lnTo>
                    <a:lnTo>
                      <a:pt x="23" y="45"/>
                    </a:lnTo>
                    <a:lnTo>
                      <a:pt x="30" y="45"/>
                    </a:lnTo>
                    <a:lnTo>
                      <a:pt x="25" y="53"/>
                    </a:lnTo>
                    <a:lnTo>
                      <a:pt x="18" y="60"/>
                    </a:lnTo>
                    <a:lnTo>
                      <a:pt x="7" y="60"/>
                    </a:lnTo>
                    <a:lnTo>
                      <a:pt x="7" y="52"/>
                    </a:lnTo>
                    <a:lnTo>
                      <a:pt x="7" y="47"/>
                    </a:lnTo>
                    <a:lnTo>
                      <a:pt x="2" y="35"/>
                    </a:lnTo>
                    <a:lnTo>
                      <a:pt x="0" y="22"/>
                    </a:lnTo>
                    <a:lnTo>
                      <a:pt x="0" y="12"/>
                    </a:lnTo>
                    <a:lnTo>
                      <a:pt x="6" y="12"/>
                    </a:lnTo>
                    <a:lnTo>
                      <a:pt x="12" y="12"/>
                    </a:lnTo>
                    <a:lnTo>
                      <a:pt x="11" y="10"/>
                    </a:lnTo>
                    <a:lnTo>
                      <a:pt x="12" y="9"/>
                    </a:lnTo>
                    <a:lnTo>
                      <a:pt x="14" y="4"/>
                    </a:lnTo>
                    <a:lnTo>
                      <a:pt x="26" y="0"/>
                    </a:lnTo>
                    <a:lnTo>
                      <a:pt x="38" y="0"/>
                    </a:lnTo>
                    <a:lnTo>
                      <a:pt x="50" y="4"/>
                    </a:lnTo>
                    <a:lnTo>
                      <a:pt x="61" y="5"/>
                    </a:lnTo>
                    <a:lnTo>
                      <a:pt x="74" y="7"/>
                    </a:lnTo>
                    <a:lnTo>
                      <a:pt x="74" y="9"/>
                    </a:lnTo>
                    <a:lnTo>
                      <a:pt x="7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5" name="Freeform 315"/>
              <p:cNvSpPr>
                <a:spLocks/>
              </p:cNvSpPr>
              <p:nvPr/>
            </p:nvSpPr>
            <p:spPr bwMode="auto">
              <a:xfrm>
                <a:off x="1874044" y="1717675"/>
                <a:ext cx="41275" cy="31750"/>
              </a:xfrm>
              <a:custGeom>
                <a:avLst/>
                <a:gdLst/>
                <a:ahLst/>
                <a:cxnLst>
                  <a:cxn ang="0">
                    <a:pos x="26" y="15"/>
                  </a:cxn>
                  <a:cxn ang="0">
                    <a:pos x="23" y="19"/>
                  </a:cxn>
                  <a:cxn ang="0">
                    <a:pos x="19" y="20"/>
                  </a:cxn>
                  <a:cxn ang="0">
                    <a:pos x="12" y="17"/>
                  </a:cxn>
                  <a:cxn ang="0">
                    <a:pos x="7" y="12"/>
                  </a:cxn>
                  <a:cxn ang="0">
                    <a:pos x="0" y="5"/>
                  </a:cxn>
                  <a:cxn ang="0">
                    <a:pos x="0" y="0"/>
                  </a:cxn>
                  <a:cxn ang="0">
                    <a:pos x="7" y="0"/>
                  </a:cxn>
                  <a:cxn ang="0">
                    <a:pos x="14" y="5"/>
                  </a:cxn>
                  <a:cxn ang="0">
                    <a:pos x="19" y="10"/>
                  </a:cxn>
                  <a:cxn ang="0">
                    <a:pos x="26" y="15"/>
                  </a:cxn>
                </a:cxnLst>
                <a:rect l="0" t="0" r="r" b="b"/>
                <a:pathLst>
                  <a:path w="26" h="20">
                    <a:moveTo>
                      <a:pt x="26" y="15"/>
                    </a:moveTo>
                    <a:lnTo>
                      <a:pt x="23" y="19"/>
                    </a:lnTo>
                    <a:lnTo>
                      <a:pt x="19" y="20"/>
                    </a:lnTo>
                    <a:lnTo>
                      <a:pt x="12" y="17"/>
                    </a:lnTo>
                    <a:lnTo>
                      <a:pt x="7" y="12"/>
                    </a:lnTo>
                    <a:lnTo>
                      <a:pt x="0" y="5"/>
                    </a:lnTo>
                    <a:lnTo>
                      <a:pt x="0" y="0"/>
                    </a:lnTo>
                    <a:lnTo>
                      <a:pt x="7" y="0"/>
                    </a:lnTo>
                    <a:lnTo>
                      <a:pt x="14" y="5"/>
                    </a:lnTo>
                    <a:lnTo>
                      <a:pt x="19" y="10"/>
                    </a:lnTo>
                    <a:lnTo>
                      <a:pt x="26" y="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6" name="Freeform 316"/>
              <p:cNvSpPr>
                <a:spLocks/>
              </p:cNvSpPr>
              <p:nvPr/>
            </p:nvSpPr>
            <p:spPr bwMode="auto">
              <a:xfrm>
                <a:off x="1899444" y="1827213"/>
                <a:ext cx="26988" cy="20637"/>
              </a:xfrm>
              <a:custGeom>
                <a:avLst/>
                <a:gdLst/>
                <a:ahLst/>
                <a:cxnLst>
                  <a:cxn ang="0">
                    <a:pos x="14" y="0"/>
                  </a:cxn>
                  <a:cxn ang="0">
                    <a:pos x="15" y="3"/>
                  </a:cxn>
                  <a:cxn ang="0">
                    <a:pos x="17" y="6"/>
                  </a:cxn>
                  <a:cxn ang="0">
                    <a:pos x="14" y="12"/>
                  </a:cxn>
                  <a:cxn ang="0">
                    <a:pos x="10" y="13"/>
                  </a:cxn>
                  <a:cxn ang="0">
                    <a:pos x="3" y="13"/>
                  </a:cxn>
                  <a:cxn ang="0">
                    <a:pos x="0" y="13"/>
                  </a:cxn>
                  <a:cxn ang="0">
                    <a:pos x="3" y="3"/>
                  </a:cxn>
                  <a:cxn ang="0">
                    <a:pos x="14" y="0"/>
                  </a:cxn>
                </a:cxnLst>
                <a:rect l="0" t="0" r="r" b="b"/>
                <a:pathLst>
                  <a:path w="17" h="13">
                    <a:moveTo>
                      <a:pt x="14" y="0"/>
                    </a:moveTo>
                    <a:lnTo>
                      <a:pt x="15" y="3"/>
                    </a:lnTo>
                    <a:lnTo>
                      <a:pt x="17" y="6"/>
                    </a:lnTo>
                    <a:lnTo>
                      <a:pt x="14" y="12"/>
                    </a:lnTo>
                    <a:lnTo>
                      <a:pt x="10" y="13"/>
                    </a:lnTo>
                    <a:lnTo>
                      <a:pt x="3" y="13"/>
                    </a:lnTo>
                    <a:lnTo>
                      <a:pt x="0" y="13"/>
                    </a:lnTo>
                    <a:lnTo>
                      <a:pt x="3" y="3"/>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7" name="Freeform 317"/>
              <p:cNvSpPr>
                <a:spLocks/>
              </p:cNvSpPr>
              <p:nvPr/>
            </p:nvSpPr>
            <p:spPr bwMode="auto">
              <a:xfrm>
                <a:off x="1885157" y="1638300"/>
                <a:ext cx="150813" cy="79375"/>
              </a:xfrm>
              <a:custGeom>
                <a:avLst/>
                <a:gdLst/>
                <a:ahLst/>
                <a:cxnLst>
                  <a:cxn ang="0">
                    <a:pos x="62" y="36"/>
                  </a:cxn>
                  <a:cxn ang="0">
                    <a:pos x="50" y="34"/>
                  </a:cxn>
                  <a:cxn ang="0">
                    <a:pos x="38" y="34"/>
                  </a:cxn>
                  <a:cxn ang="0">
                    <a:pos x="31" y="31"/>
                  </a:cxn>
                  <a:cxn ang="0">
                    <a:pos x="23" y="33"/>
                  </a:cxn>
                  <a:cxn ang="0">
                    <a:pos x="12" y="31"/>
                  </a:cxn>
                  <a:cxn ang="0">
                    <a:pos x="9" y="29"/>
                  </a:cxn>
                  <a:cxn ang="0">
                    <a:pos x="14" y="24"/>
                  </a:cxn>
                  <a:cxn ang="0">
                    <a:pos x="23" y="22"/>
                  </a:cxn>
                  <a:cxn ang="0">
                    <a:pos x="23" y="19"/>
                  </a:cxn>
                  <a:cxn ang="0">
                    <a:pos x="23" y="17"/>
                  </a:cxn>
                  <a:cxn ang="0">
                    <a:pos x="11" y="17"/>
                  </a:cxn>
                  <a:cxn ang="0">
                    <a:pos x="5" y="17"/>
                  </a:cxn>
                  <a:cxn ang="0">
                    <a:pos x="7" y="14"/>
                  </a:cxn>
                  <a:cxn ang="0">
                    <a:pos x="9" y="12"/>
                  </a:cxn>
                  <a:cxn ang="0">
                    <a:pos x="2" y="10"/>
                  </a:cxn>
                  <a:cxn ang="0">
                    <a:pos x="0" y="3"/>
                  </a:cxn>
                  <a:cxn ang="0">
                    <a:pos x="9" y="2"/>
                  </a:cxn>
                  <a:cxn ang="0">
                    <a:pos x="17" y="0"/>
                  </a:cxn>
                  <a:cxn ang="0">
                    <a:pos x="28" y="3"/>
                  </a:cxn>
                  <a:cxn ang="0">
                    <a:pos x="36" y="9"/>
                  </a:cxn>
                  <a:cxn ang="0">
                    <a:pos x="40" y="7"/>
                  </a:cxn>
                  <a:cxn ang="0">
                    <a:pos x="47" y="5"/>
                  </a:cxn>
                  <a:cxn ang="0">
                    <a:pos x="55" y="10"/>
                  </a:cxn>
                  <a:cxn ang="0">
                    <a:pos x="60" y="17"/>
                  </a:cxn>
                  <a:cxn ang="0">
                    <a:pos x="64" y="14"/>
                  </a:cxn>
                  <a:cxn ang="0">
                    <a:pos x="69" y="12"/>
                  </a:cxn>
                  <a:cxn ang="0">
                    <a:pos x="78" y="17"/>
                  </a:cxn>
                  <a:cxn ang="0">
                    <a:pos x="85" y="24"/>
                  </a:cxn>
                  <a:cxn ang="0">
                    <a:pos x="81" y="26"/>
                  </a:cxn>
                  <a:cxn ang="0">
                    <a:pos x="81" y="29"/>
                  </a:cxn>
                  <a:cxn ang="0">
                    <a:pos x="88" y="34"/>
                  </a:cxn>
                  <a:cxn ang="0">
                    <a:pos x="95" y="43"/>
                  </a:cxn>
                  <a:cxn ang="0">
                    <a:pos x="91" y="48"/>
                  </a:cxn>
                  <a:cxn ang="0">
                    <a:pos x="85" y="50"/>
                  </a:cxn>
                  <a:cxn ang="0">
                    <a:pos x="76" y="46"/>
                  </a:cxn>
                  <a:cxn ang="0">
                    <a:pos x="72" y="43"/>
                  </a:cxn>
                  <a:cxn ang="0">
                    <a:pos x="67" y="38"/>
                  </a:cxn>
                  <a:cxn ang="0">
                    <a:pos x="62" y="36"/>
                  </a:cxn>
                </a:cxnLst>
                <a:rect l="0" t="0" r="r" b="b"/>
                <a:pathLst>
                  <a:path w="95" h="50">
                    <a:moveTo>
                      <a:pt x="62" y="36"/>
                    </a:moveTo>
                    <a:lnTo>
                      <a:pt x="50" y="34"/>
                    </a:lnTo>
                    <a:lnTo>
                      <a:pt x="38" y="34"/>
                    </a:lnTo>
                    <a:lnTo>
                      <a:pt x="31" y="31"/>
                    </a:lnTo>
                    <a:lnTo>
                      <a:pt x="23" y="33"/>
                    </a:lnTo>
                    <a:lnTo>
                      <a:pt x="12" y="31"/>
                    </a:lnTo>
                    <a:lnTo>
                      <a:pt x="9" y="29"/>
                    </a:lnTo>
                    <a:lnTo>
                      <a:pt x="14" y="24"/>
                    </a:lnTo>
                    <a:lnTo>
                      <a:pt x="23" y="22"/>
                    </a:lnTo>
                    <a:lnTo>
                      <a:pt x="23" y="19"/>
                    </a:lnTo>
                    <a:lnTo>
                      <a:pt x="23" y="17"/>
                    </a:lnTo>
                    <a:lnTo>
                      <a:pt x="11" y="17"/>
                    </a:lnTo>
                    <a:lnTo>
                      <a:pt x="5" y="17"/>
                    </a:lnTo>
                    <a:lnTo>
                      <a:pt x="7" y="14"/>
                    </a:lnTo>
                    <a:lnTo>
                      <a:pt x="9" y="12"/>
                    </a:lnTo>
                    <a:lnTo>
                      <a:pt x="2" y="10"/>
                    </a:lnTo>
                    <a:lnTo>
                      <a:pt x="0" y="3"/>
                    </a:lnTo>
                    <a:lnTo>
                      <a:pt x="9" y="2"/>
                    </a:lnTo>
                    <a:lnTo>
                      <a:pt x="17" y="0"/>
                    </a:lnTo>
                    <a:lnTo>
                      <a:pt x="28" y="3"/>
                    </a:lnTo>
                    <a:lnTo>
                      <a:pt x="36" y="9"/>
                    </a:lnTo>
                    <a:lnTo>
                      <a:pt x="40" y="7"/>
                    </a:lnTo>
                    <a:lnTo>
                      <a:pt x="47" y="5"/>
                    </a:lnTo>
                    <a:lnTo>
                      <a:pt x="55" y="10"/>
                    </a:lnTo>
                    <a:lnTo>
                      <a:pt x="60" y="17"/>
                    </a:lnTo>
                    <a:lnTo>
                      <a:pt x="64" y="14"/>
                    </a:lnTo>
                    <a:lnTo>
                      <a:pt x="69" y="12"/>
                    </a:lnTo>
                    <a:lnTo>
                      <a:pt x="78" y="17"/>
                    </a:lnTo>
                    <a:lnTo>
                      <a:pt x="85" y="24"/>
                    </a:lnTo>
                    <a:lnTo>
                      <a:pt x="81" y="26"/>
                    </a:lnTo>
                    <a:lnTo>
                      <a:pt x="81" y="29"/>
                    </a:lnTo>
                    <a:lnTo>
                      <a:pt x="88" y="34"/>
                    </a:lnTo>
                    <a:lnTo>
                      <a:pt x="95" y="43"/>
                    </a:lnTo>
                    <a:lnTo>
                      <a:pt x="91" y="48"/>
                    </a:lnTo>
                    <a:lnTo>
                      <a:pt x="85" y="50"/>
                    </a:lnTo>
                    <a:lnTo>
                      <a:pt x="76" y="46"/>
                    </a:lnTo>
                    <a:lnTo>
                      <a:pt x="72" y="43"/>
                    </a:lnTo>
                    <a:lnTo>
                      <a:pt x="67" y="38"/>
                    </a:lnTo>
                    <a:lnTo>
                      <a:pt x="62"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8" name="Freeform 318"/>
              <p:cNvSpPr>
                <a:spLocks/>
              </p:cNvSpPr>
              <p:nvPr/>
            </p:nvSpPr>
            <p:spPr bwMode="auto">
              <a:xfrm>
                <a:off x="1956594" y="1706563"/>
                <a:ext cx="30163" cy="11112"/>
              </a:xfrm>
              <a:custGeom>
                <a:avLst/>
                <a:gdLst/>
                <a:ahLst/>
                <a:cxnLst>
                  <a:cxn ang="0">
                    <a:pos x="2" y="7"/>
                  </a:cxn>
                  <a:cxn ang="0">
                    <a:pos x="0" y="3"/>
                  </a:cxn>
                  <a:cxn ang="0">
                    <a:pos x="7" y="0"/>
                  </a:cxn>
                  <a:cxn ang="0">
                    <a:pos x="12" y="0"/>
                  </a:cxn>
                  <a:cxn ang="0">
                    <a:pos x="19" y="3"/>
                  </a:cxn>
                  <a:cxn ang="0">
                    <a:pos x="10" y="5"/>
                  </a:cxn>
                  <a:cxn ang="0">
                    <a:pos x="2" y="7"/>
                  </a:cxn>
                </a:cxnLst>
                <a:rect l="0" t="0" r="r" b="b"/>
                <a:pathLst>
                  <a:path w="19" h="7">
                    <a:moveTo>
                      <a:pt x="2" y="7"/>
                    </a:moveTo>
                    <a:lnTo>
                      <a:pt x="0" y="3"/>
                    </a:lnTo>
                    <a:lnTo>
                      <a:pt x="7" y="0"/>
                    </a:lnTo>
                    <a:lnTo>
                      <a:pt x="12" y="0"/>
                    </a:lnTo>
                    <a:lnTo>
                      <a:pt x="19" y="3"/>
                    </a:lnTo>
                    <a:lnTo>
                      <a:pt x="10" y="5"/>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9" name="Freeform 319"/>
              <p:cNvSpPr>
                <a:spLocks/>
              </p:cNvSpPr>
              <p:nvPr/>
            </p:nvSpPr>
            <p:spPr bwMode="auto">
              <a:xfrm>
                <a:off x="2089944" y="1752600"/>
                <a:ext cx="396875" cy="123825"/>
              </a:xfrm>
              <a:custGeom>
                <a:avLst/>
                <a:gdLst/>
                <a:ahLst/>
                <a:cxnLst>
                  <a:cxn ang="0">
                    <a:pos x="244" y="53"/>
                  </a:cxn>
                  <a:cxn ang="0">
                    <a:pos x="246" y="59"/>
                  </a:cxn>
                  <a:cxn ang="0">
                    <a:pos x="244" y="69"/>
                  </a:cxn>
                  <a:cxn ang="0">
                    <a:pos x="220" y="76"/>
                  </a:cxn>
                  <a:cxn ang="0">
                    <a:pos x="200" y="74"/>
                  </a:cxn>
                  <a:cxn ang="0">
                    <a:pos x="189" y="71"/>
                  </a:cxn>
                  <a:cxn ang="0">
                    <a:pos x="145" y="76"/>
                  </a:cxn>
                  <a:cxn ang="0">
                    <a:pos x="126" y="76"/>
                  </a:cxn>
                  <a:cxn ang="0">
                    <a:pos x="119" y="69"/>
                  </a:cxn>
                  <a:cxn ang="0">
                    <a:pos x="105" y="72"/>
                  </a:cxn>
                  <a:cxn ang="0">
                    <a:pos x="86" y="74"/>
                  </a:cxn>
                  <a:cxn ang="0">
                    <a:pos x="66" y="60"/>
                  </a:cxn>
                  <a:cxn ang="0">
                    <a:pos x="64" y="48"/>
                  </a:cxn>
                  <a:cxn ang="0">
                    <a:pos x="57" y="33"/>
                  </a:cxn>
                  <a:cxn ang="0">
                    <a:pos x="43" y="23"/>
                  </a:cxn>
                  <a:cxn ang="0">
                    <a:pos x="28" y="23"/>
                  </a:cxn>
                  <a:cxn ang="0">
                    <a:pos x="4" y="10"/>
                  </a:cxn>
                  <a:cxn ang="0">
                    <a:pos x="5" y="0"/>
                  </a:cxn>
                  <a:cxn ang="0">
                    <a:pos x="28" y="2"/>
                  </a:cxn>
                  <a:cxn ang="0">
                    <a:pos x="48" y="14"/>
                  </a:cxn>
                  <a:cxn ang="0">
                    <a:pos x="66" y="16"/>
                  </a:cxn>
                  <a:cxn ang="0">
                    <a:pos x="76" y="14"/>
                  </a:cxn>
                  <a:cxn ang="0">
                    <a:pos x="79" y="19"/>
                  </a:cxn>
                  <a:cxn ang="0">
                    <a:pos x="95" y="24"/>
                  </a:cxn>
                  <a:cxn ang="0">
                    <a:pos x="83" y="29"/>
                  </a:cxn>
                  <a:cxn ang="0">
                    <a:pos x="91" y="38"/>
                  </a:cxn>
                  <a:cxn ang="0">
                    <a:pos x="105" y="41"/>
                  </a:cxn>
                  <a:cxn ang="0">
                    <a:pos x="102" y="43"/>
                  </a:cxn>
                  <a:cxn ang="0">
                    <a:pos x="110" y="47"/>
                  </a:cxn>
                  <a:cxn ang="0">
                    <a:pos x="145" y="52"/>
                  </a:cxn>
                  <a:cxn ang="0">
                    <a:pos x="162" y="48"/>
                  </a:cxn>
                  <a:cxn ang="0">
                    <a:pos x="177" y="45"/>
                  </a:cxn>
                  <a:cxn ang="0">
                    <a:pos x="189" y="40"/>
                  </a:cxn>
                  <a:cxn ang="0">
                    <a:pos x="208" y="40"/>
                  </a:cxn>
                  <a:cxn ang="0">
                    <a:pos x="234" y="41"/>
                  </a:cxn>
                  <a:cxn ang="0">
                    <a:pos x="250" y="53"/>
                  </a:cxn>
                  <a:cxn ang="0">
                    <a:pos x="244" y="53"/>
                  </a:cxn>
                </a:cxnLst>
                <a:rect l="0" t="0" r="r" b="b"/>
                <a:pathLst>
                  <a:path w="250" h="78">
                    <a:moveTo>
                      <a:pt x="248" y="52"/>
                    </a:moveTo>
                    <a:lnTo>
                      <a:pt x="244" y="53"/>
                    </a:lnTo>
                    <a:lnTo>
                      <a:pt x="243" y="59"/>
                    </a:lnTo>
                    <a:lnTo>
                      <a:pt x="246" y="59"/>
                    </a:lnTo>
                    <a:lnTo>
                      <a:pt x="250" y="60"/>
                    </a:lnTo>
                    <a:lnTo>
                      <a:pt x="244" y="69"/>
                    </a:lnTo>
                    <a:lnTo>
                      <a:pt x="234" y="74"/>
                    </a:lnTo>
                    <a:lnTo>
                      <a:pt x="220" y="76"/>
                    </a:lnTo>
                    <a:lnTo>
                      <a:pt x="207" y="78"/>
                    </a:lnTo>
                    <a:lnTo>
                      <a:pt x="200" y="74"/>
                    </a:lnTo>
                    <a:lnTo>
                      <a:pt x="198" y="69"/>
                    </a:lnTo>
                    <a:lnTo>
                      <a:pt x="189" y="71"/>
                    </a:lnTo>
                    <a:lnTo>
                      <a:pt x="184" y="76"/>
                    </a:lnTo>
                    <a:lnTo>
                      <a:pt x="145" y="76"/>
                    </a:lnTo>
                    <a:lnTo>
                      <a:pt x="134" y="76"/>
                    </a:lnTo>
                    <a:lnTo>
                      <a:pt x="126" y="76"/>
                    </a:lnTo>
                    <a:lnTo>
                      <a:pt x="119" y="72"/>
                    </a:lnTo>
                    <a:lnTo>
                      <a:pt x="119" y="69"/>
                    </a:lnTo>
                    <a:lnTo>
                      <a:pt x="112" y="69"/>
                    </a:lnTo>
                    <a:lnTo>
                      <a:pt x="105" y="72"/>
                    </a:lnTo>
                    <a:lnTo>
                      <a:pt x="98" y="78"/>
                    </a:lnTo>
                    <a:lnTo>
                      <a:pt x="86" y="74"/>
                    </a:lnTo>
                    <a:lnTo>
                      <a:pt x="76" y="69"/>
                    </a:lnTo>
                    <a:lnTo>
                      <a:pt x="66" y="60"/>
                    </a:lnTo>
                    <a:lnTo>
                      <a:pt x="62" y="53"/>
                    </a:lnTo>
                    <a:lnTo>
                      <a:pt x="64" y="48"/>
                    </a:lnTo>
                    <a:lnTo>
                      <a:pt x="67" y="47"/>
                    </a:lnTo>
                    <a:lnTo>
                      <a:pt x="57" y="33"/>
                    </a:lnTo>
                    <a:lnTo>
                      <a:pt x="48" y="21"/>
                    </a:lnTo>
                    <a:lnTo>
                      <a:pt x="43" y="23"/>
                    </a:lnTo>
                    <a:lnTo>
                      <a:pt x="38" y="26"/>
                    </a:lnTo>
                    <a:lnTo>
                      <a:pt x="28" y="23"/>
                    </a:lnTo>
                    <a:lnTo>
                      <a:pt x="16" y="17"/>
                    </a:lnTo>
                    <a:lnTo>
                      <a:pt x="4" y="10"/>
                    </a:lnTo>
                    <a:lnTo>
                      <a:pt x="0" y="7"/>
                    </a:lnTo>
                    <a:lnTo>
                      <a:pt x="5" y="0"/>
                    </a:lnTo>
                    <a:lnTo>
                      <a:pt x="16" y="0"/>
                    </a:lnTo>
                    <a:lnTo>
                      <a:pt x="28" y="2"/>
                    </a:lnTo>
                    <a:lnTo>
                      <a:pt x="40" y="9"/>
                    </a:lnTo>
                    <a:lnTo>
                      <a:pt x="48" y="14"/>
                    </a:lnTo>
                    <a:lnTo>
                      <a:pt x="60" y="17"/>
                    </a:lnTo>
                    <a:lnTo>
                      <a:pt x="66" y="16"/>
                    </a:lnTo>
                    <a:lnTo>
                      <a:pt x="71" y="14"/>
                    </a:lnTo>
                    <a:lnTo>
                      <a:pt x="76" y="14"/>
                    </a:lnTo>
                    <a:lnTo>
                      <a:pt x="79" y="14"/>
                    </a:lnTo>
                    <a:lnTo>
                      <a:pt x="79" y="19"/>
                    </a:lnTo>
                    <a:lnTo>
                      <a:pt x="88" y="23"/>
                    </a:lnTo>
                    <a:lnTo>
                      <a:pt x="95" y="24"/>
                    </a:lnTo>
                    <a:lnTo>
                      <a:pt x="103" y="29"/>
                    </a:lnTo>
                    <a:lnTo>
                      <a:pt x="83" y="29"/>
                    </a:lnTo>
                    <a:lnTo>
                      <a:pt x="86" y="35"/>
                    </a:lnTo>
                    <a:lnTo>
                      <a:pt x="91" y="38"/>
                    </a:lnTo>
                    <a:lnTo>
                      <a:pt x="98" y="38"/>
                    </a:lnTo>
                    <a:lnTo>
                      <a:pt x="105" y="41"/>
                    </a:lnTo>
                    <a:lnTo>
                      <a:pt x="103" y="41"/>
                    </a:lnTo>
                    <a:lnTo>
                      <a:pt x="102" y="43"/>
                    </a:lnTo>
                    <a:lnTo>
                      <a:pt x="105" y="47"/>
                    </a:lnTo>
                    <a:lnTo>
                      <a:pt x="110" y="47"/>
                    </a:lnTo>
                    <a:lnTo>
                      <a:pt x="128" y="48"/>
                    </a:lnTo>
                    <a:lnTo>
                      <a:pt x="145" y="52"/>
                    </a:lnTo>
                    <a:lnTo>
                      <a:pt x="153" y="50"/>
                    </a:lnTo>
                    <a:lnTo>
                      <a:pt x="162" y="48"/>
                    </a:lnTo>
                    <a:lnTo>
                      <a:pt x="169" y="47"/>
                    </a:lnTo>
                    <a:lnTo>
                      <a:pt x="177" y="45"/>
                    </a:lnTo>
                    <a:lnTo>
                      <a:pt x="183" y="41"/>
                    </a:lnTo>
                    <a:lnTo>
                      <a:pt x="189" y="40"/>
                    </a:lnTo>
                    <a:lnTo>
                      <a:pt x="198" y="40"/>
                    </a:lnTo>
                    <a:lnTo>
                      <a:pt x="208" y="40"/>
                    </a:lnTo>
                    <a:lnTo>
                      <a:pt x="222" y="40"/>
                    </a:lnTo>
                    <a:lnTo>
                      <a:pt x="234" y="41"/>
                    </a:lnTo>
                    <a:lnTo>
                      <a:pt x="243" y="45"/>
                    </a:lnTo>
                    <a:lnTo>
                      <a:pt x="250" y="53"/>
                    </a:lnTo>
                    <a:lnTo>
                      <a:pt x="246" y="53"/>
                    </a:lnTo>
                    <a:lnTo>
                      <a:pt x="244" y="53"/>
                    </a:lnTo>
                    <a:lnTo>
                      <a:pt x="248" y="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0" name="Freeform 320"/>
              <p:cNvSpPr>
                <a:spLocks/>
              </p:cNvSpPr>
              <p:nvPr/>
            </p:nvSpPr>
            <p:spPr bwMode="auto">
              <a:xfrm>
                <a:off x="2096294" y="1817688"/>
                <a:ext cx="69850" cy="52387"/>
              </a:xfrm>
              <a:custGeom>
                <a:avLst/>
                <a:gdLst/>
                <a:ahLst/>
                <a:cxnLst>
                  <a:cxn ang="0">
                    <a:pos x="7" y="12"/>
                  </a:cxn>
                  <a:cxn ang="0">
                    <a:pos x="12" y="6"/>
                  </a:cxn>
                  <a:cxn ang="0">
                    <a:pos x="22" y="0"/>
                  </a:cxn>
                  <a:cxn ang="0">
                    <a:pos x="27" y="0"/>
                  </a:cxn>
                  <a:cxn ang="0">
                    <a:pos x="36" y="6"/>
                  </a:cxn>
                  <a:cxn ang="0">
                    <a:pos x="41" y="11"/>
                  </a:cxn>
                  <a:cxn ang="0">
                    <a:pos x="44" y="18"/>
                  </a:cxn>
                  <a:cxn ang="0">
                    <a:pos x="41" y="28"/>
                  </a:cxn>
                  <a:cxn ang="0">
                    <a:pos x="34" y="33"/>
                  </a:cxn>
                  <a:cxn ang="0">
                    <a:pos x="27" y="30"/>
                  </a:cxn>
                  <a:cxn ang="0">
                    <a:pos x="15" y="26"/>
                  </a:cxn>
                  <a:cxn ang="0">
                    <a:pos x="3" y="21"/>
                  </a:cxn>
                  <a:cxn ang="0">
                    <a:pos x="0" y="19"/>
                  </a:cxn>
                  <a:cxn ang="0">
                    <a:pos x="3" y="12"/>
                  </a:cxn>
                  <a:cxn ang="0">
                    <a:pos x="7" y="12"/>
                  </a:cxn>
                </a:cxnLst>
                <a:rect l="0" t="0" r="r" b="b"/>
                <a:pathLst>
                  <a:path w="44" h="33">
                    <a:moveTo>
                      <a:pt x="7" y="12"/>
                    </a:moveTo>
                    <a:lnTo>
                      <a:pt x="12" y="6"/>
                    </a:lnTo>
                    <a:lnTo>
                      <a:pt x="22" y="0"/>
                    </a:lnTo>
                    <a:lnTo>
                      <a:pt x="27" y="0"/>
                    </a:lnTo>
                    <a:lnTo>
                      <a:pt x="36" y="6"/>
                    </a:lnTo>
                    <a:lnTo>
                      <a:pt x="41" y="11"/>
                    </a:lnTo>
                    <a:lnTo>
                      <a:pt x="44" y="18"/>
                    </a:lnTo>
                    <a:lnTo>
                      <a:pt x="41" y="28"/>
                    </a:lnTo>
                    <a:lnTo>
                      <a:pt x="34" y="33"/>
                    </a:lnTo>
                    <a:lnTo>
                      <a:pt x="27" y="30"/>
                    </a:lnTo>
                    <a:lnTo>
                      <a:pt x="15" y="26"/>
                    </a:lnTo>
                    <a:lnTo>
                      <a:pt x="3" y="21"/>
                    </a:lnTo>
                    <a:lnTo>
                      <a:pt x="0" y="19"/>
                    </a:lnTo>
                    <a:lnTo>
                      <a:pt x="3" y="12"/>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1" name="Freeform 321"/>
              <p:cNvSpPr>
                <a:spLocks/>
              </p:cNvSpPr>
              <p:nvPr/>
            </p:nvSpPr>
            <p:spPr bwMode="auto">
              <a:xfrm>
                <a:off x="2104232" y="1717675"/>
                <a:ext cx="61913" cy="19050"/>
              </a:xfrm>
              <a:custGeom>
                <a:avLst/>
                <a:gdLst/>
                <a:ahLst/>
                <a:cxnLst>
                  <a:cxn ang="0">
                    <a:pos x="34" y="0"/>
                  </a:cxn>
                  <a:cxn ang="0">
                    <a:pos x="36" y="0"/>
                  </a:cxn>
                  <a:cxn ang="0">
                    <a:pos x="39" y="0"/>
                  </a:cxn>
                  <a:cxn ang="0">
                    <a:pos x="39" y="3"/>
                  </a:cxn>
                  <a:cxn ang="0">
                    <a:pos x="39" y="7"/>
                  </a:cxn>
                  <a:cxn ang="0">
                    <a:pos x="38" y="10"/>
                  </a:cxn>
                  <a:cxn ang="0">
                    <a:pos x="33" y="12"/>
                  </a:cxn>
                  <a:cxn ang="0">
                    <a:pos x="26" y="10"/>
                  </a:cxn>
                  <a:cxn ang="0">
                    <a:pos x="14" y="8"/>
                  </a:cxn>
                  <a:cxn ang="0">
                    <a:pos x="3" y="7"/>
                  </a:cxn>
                  <a:cxn ang="0">
                    <a:pos x="0" y="7"/>
                  </a:cxn>
                  <a:cxn ang="0">
                    <a:pos x="5" y="2"/>
                  </a:cxn>
                  <a:cxn ang="0">
                    <a:pos x="14" y="0"/>
                  </a:cxn>
                  <a:cxn ang="0">
                    <a:pos x="24" y="0"/>
                  </a:cxn>
                  <a:cxn ang="0">
                    <a:pos x="34" y="0"/>
                  </a:cxn>
                </a:cxnLst>
                <a:rect l="0" t="0" r="r" b="b"/>
                <a:pathLst>
                  <a:path w="39" h="12">
                    <a:moveTo>
                      <a:pt x="34" y="0"/>
                    </a:moveTo>
                    <a:lnTo>
                      <a:pt x="36" y="0"/>
                    </a:lnTo>
                    <a:lnTo>
                      <a:pt x="39" y="0"/>
                    </a:lnTo>
                    <a:lnTo>
                      <a:pt x="39" y="3"/>
                    </a:lnTo>
                    <a:lnTo>
                      <a:pt x="39" y="7"/>
                    </a:lnTo>
                    <a:lnTo>
                      <a:pt x="38" y="10"/>
                    </a:lnTo>
                    <a:lnTo>
                      <a:pt x="33" y="12"/>
                    </a:lnTo>
                    <a:lnTo>
                      <a:pt x="26" y="10"/>
                    </a:lnTo>
                    <a:lnTo>
                      <a:pt x="14" y="8"/>
                    </a:lnTo>
                    <a:lnTo>
                      <a:pt x="3" y="7"/>
                    </a:lnTo>
                    <a:lnTo>
                      <a:pt x="0" y="7"/>
                    </a:lnTo>
                    <a:lnTo>
                      <a:pt x="5" y="2"/>
                    </a:lnTo>
                    <a:lnTo>
                      <a:pt x="14" y="0"/>
                    </a:lnTo>
                    <a:lnTo>
                      <a:pt x="24" y="0"/>
                    </a:lnTo>
                    <a:lnTo>
                      <a:pt x="3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2" name="Freeform 322"/>
              <p:cNvSpPr>
                <a:spLocks/>
              </p:cNvSpPr>
              <p:nvPr/>
            </p:nvSpPr>
            <p:spPr bwMode="auto">
              <a:xfrm>
                <a:off x="2058194" y="1657350"/>
                <a:ext cx="73025" cy="53975"/>
              </a:xfrm>
              <a:custGeom>
                <a:avLst/>
                <a:gdLst/>
                <a:ahLst/>
                <a:cxnLst>
                  <a:cxn ang="0">
                    <a:pos x="10" y="33"/>
                  </a:cxn>
                  <a:cxn ang="0">
                    <a:pos x="12" y="27"/>
                  </a:cxn>
                  <a:cxn ang="0">
                    <a:pos x="15" y="27"/>
                  </a:cxn>
                  <a:cxn ang="0">
                    <a:pos x="5" y="17"/>
                  </a:cxn>
                  <a:cxn ang="0">
                    <a:pos x="0" y="9"/>
                  </a:cxn>
                  <a:cxn ang="0">
                    <a:pos x="3" y="2"/>
                  </a:cxn>
                  <a:cxn ang="0">
                    <a:pos x="10" y="0"/>
                  </a:cxn>
                  <a:cxn ang="0">
                    <a:pos x="17" y="5"/>
                  </a:cxn>
                  <a:cxn ang="0">
                    <a:pos x="29" y="9"/>
                  </a:cxn>
                  <a:cxn ang="0">
                    <a:pos x="31" y="12"/>
                  </a:cxn>
                  <a:cxn ang="0">
                    <a:pos x="37" y="14"/>
                  </a:cxn>
                  <a:cxn ang="0">
                    <a:pos x="43" y="14"/>
                  </a:cxn>
                  <a:cxn ang="0">
                    <a:pos x="46" y="19"/>
                  </a:cxn>
                  <a:cxn ang="0">
                    <a:pos x="44" y="24"/>
                  </a:cxn>
                  <a:cxn ang="0">
                    <a:pos x="46" y="33"/>
                  </a:cxn>
                  <a:cxn ang="0">
                    <a:pos x="32" y="33"/>
                  </a:cxn>
                  <a:cxn ang="0">
                    <a:pos x="20" y="34"/>
                  </a:cxn>
                  <a:cxn ang="0">
                    <a:pos x="12" y="34"/>
                  </a:cxn>
                  <a:cxn ang="0">
                    <a:pos x="10" y="33"/>
                  </a:cxn>
                </a:cxnLst>
                <a:rect l="0" t="0" r="r" b="b"/>
                <a:pathLst>
                  <a:path w="46" h="34">
                    <a:moveTo>
                      <a:pt x="10" y="33"/>
                    </a:moveTo>
                    <a:lnTo>
                      <a:pt x="12" y="27"/>
                    </a:lnTo>
                    <a:lnTo>
                      <a:pt x="15" y="27"/>
                    </a:lnTo>
                    <a:lnTo>
                      <a:pt x="5" y="17"/>
                    </a:lnTo>
                    <a:lnTo>
                      <a:pt x="0" y="9"/>
                    </a:lnTo>
                    <a:lnTo>
                      <a:pt x="3" y="2"/>
                    </a:lnTo>
                    <a:lnTo>
                      <a:pt x="10" y="0"/>
                    </a:lnTo>
                    <a:lnTo>
                      <a:pt x="17" y="5"/>
                    </a:lnTo>
                    <a:lnTo>
                      <a:pt x="29" y="9"/>
                    </a:lnTo>
                    <a:lnTo>
                      <a:pt x="31" y="12"/>
                    </a:lnTo>
                    <a:lnTo>
                      <a:pt x="37" y="14"/>
                    </a:lnTo>
                    <a:lnTo>
                      <a:pt x="43" y="14"/>
                    </a:lnTo>
                    <a:lnTo>
                      <a:pt x="46" y="19"/>
                    </a:lnTo>
                    <a:lnTo>
                      <a:pt x="44" y="24"/>
                    </a:lnTo>
                    <a:lnTo>
                      <a:pt x="46" y="33"/>
                    </a:lnTo>
                    <a:lnTo>
                      <a:pt x="32" y="33"/>
                    </a:lnTo>
                    <a:lnTo>
                      <a:pt x="20" y="34"/>
                    </a:lnTo>
                    <a:lnTo>
                      <a:pt x="12" y="34"/>
                    </a:lnTo>
                    <a:lnTo>
                      <a:pt x="10"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3" name="Freeform 323"/>
              <p:cNvSpPr>
                <a:spLocks/>
              </p:cNvSpPr>
              <p:nvPr/>
            </p:nvSpPr>
            <p:spPr bwMode="auto">
              <a:xfrm>
                <a:off x="2028032" y="1603375"/>
                <a:ext cx="30163" cy="15875"/>
              </a:xfrm>
              <a:custGeom>
                <a:avLst/>
                <a:gdLst/>
                <a:ahLst/>
                <a:cxnLst>
                  <a:cxn ang="0">
                    <a:pos x="19" y="0"/>
                  </a:cxn>
                  <a:cxn ang="0">
                    <a:pos x="19" y="10"/>
                  </a:cxn>
                  <a:cxn ang="0">
                    <a:pos x="10" y="10"/>
                  </a:cxn>
                  <a:cxn ang="0">
                    <a:pos x="3" y="6"/>
                  </a:cxn>
                  <a:cxn ang="0">
                    <a:pos x="0" y="0"/>
                  </a:cxn>
                  <a:cxn ang="0">
                    <a:pos x="10" y="0"/>
                  </a:cxn>
                  <a:cxn ang="0">
                    <a:pos x="19" y="0"/>
                  </a:cxn>
                </a:cxnLst>
                <a:rect l="0" t="0" r="r" b="b"/>
                <a:pathLst>
                  <a:path w="19" h="10">
                    <a:moveTo>
                      <a:pt x="19" y="0"/>
                    </a:moveTo>
                    <a:lnTo>
                      <a:pt x="19" y="10"/>
                    </a:lnTo>
                    <a:lnTo>
                      <a:pt x="10" y="10"/>
                    </a:lnTo>
                    <a:lnTo>
                      <a:pt x="3" y="6"/>
                    </a:lnTo>
                    <a:lnTo>
                      <a:pt x="0" y="0"/>
                    </a:lnTo>
                    <a:lnTo>
                      <a:pt x="10"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4" name="Freeform 324"/>
              <p:cNvSpPr>
                <a:spLocks/>
              </p:cNvSpPr>
              <p:nvPr/>
            </p:nvSpPr>
            <p:spPr bwMode="auto">
              <a:xfrm>
                <a:off x="2108994" y="1531938"/>
                <a:ext cx="249238" cy="168275"/>
              </a:xfrm>
              <a:custGeom>
                <a:avLst/>
                <a:gdLst/>
                <a:ahLst/>
                <a:cxnLst>
                  <a:cxn ang="0">
                    <a:pos x="112" y="43"/>
                  </a:cxn>
                  <a:cxn ang="0">
                    <a:pos x="109" y="33"/>
                  </a:cxn>
                  <a:cxn ang="0">
                    <a:pos x="114" y="33"/>
                  </a:cxn>
                  <a:cxn ang="0">
                    <a:pos x="121" y="41"/>
                  </a:cxn>
                  <a:cxn ang="0">
                    <a:pos x="128" y="48"/>
                  </a:cxn>
                  <a:cxn ang="0">
                    <a:pos x="124" y="57"/>
                  </a:cxn>
                  <a:cxn ang="0">
                    <a:pos x="133" y="57"/>
                  </a:cxn>
                  <a:cxn ang="0">
                    <a:pos x="157" y="64"/>
                  </a:cxn>
                  <a:cxn ang="0">
                    <a:pos x="157" y="70"/>
                  </a:cxn>
                  <a:cxn ang="0">
                    <a:pos x="145" y="74"/>
                  </a:cxn>
                  <a:cxn ang="0">
                    <a:pos x="131" y="81"/>
                  </a:cxn>
                  <a:cxn ang="0">
                    <a:pos x="121" y="89"/>
                  </a:cxn>
                  <a:cxn ang="0">
                    <a:pos x="112" y="79"/>
                  </a:cxn>
                  <a:cxn ang="0">
                    <a:pos x="107" y="88"/>
                  </a:cxn>
                  <a:cxn ang="0">
                    <a:pos x="114" y="96"/>
                  </a:cxn>
                  <a:cxn ang="0">
                    <a:pos x="103" y="103"/>
                  </a:cxn>
                  <a:cxn ang="0">
                    <a:pos x="86" y="94"/>
                  </a:cxn>
                  <a:cxn ang="0">
                    <a:pos x="74" y="106"/>
                  </a:cxn>
                  <a:cxn ang="0">
                    <a:pos x="54" y="96"/>
                  </a:cxn>
                  <a:cxn ang="0">
                    <a:pos x="60" y="93"/>
                  </a:cxn>
                  <a:cxn ang="0">
                    <a:pos x="45" y="89"/>
                  </a:cxn>
                  <a:cxn ang="0">
                    <a:pos x="36" y="81"/>
                  </a:cxn>
                  <a:cxn ang="0">
                    <a:pos x="54" y="72"/>
                  </a:cxn>
                  <a:cxn ang="0">
                    <a:pos x="76" y="70"/>
                  </a:cxn>
                  <a:cxn ang="0">
                    <a:pos x="55" y="67"/>
                  </a:cxn>
                  <a:cxn ang="0">
                    <a:pos x="40" y="70"/>
                  </a:cxn>
                  <a:cxn ang="0">
                    <a:pos x="33" y="64"/>
                  </a:cxn>
                  <a:cxn ang="0">
                    <a:pos x="23" y="69"/>
                  </a:cxn>
                  <a:cxn ang="0">
                    <a:pos x="17" y="64"/>
                  </a:cxn>
                  <a:cxn ang="0">
                    <a:pos x="30" y="57"/>
                  </a:cxn>
                  <a:cxn ang="0">
                    <a:pos x="9" y="53"/>
                  </a:cxn>
                  <a:cxn ang="0">
                    <a:pos x="0" y="41"/>
                  </a:cxn>
                  <a:cxn ang="0">
                    <a:pos x="14" y="43"/>
                  </a:cxn>
                  <a:cxn ang="0">
                    <a:pos x="24" y="43"/>
                  </a:cxn>
                  <a:cxn ang="0">
                    <a:pos x="21" y="38"/>
                  </a:cxn>
                  <a:cxn ang="0">
                    <a:pos x="7" y="33"/>
                  </a:cxn>
                  <a:cxn ang="0">
                    <a:pos x="9" y="26"/>
                  </a:cxn>
                  <a:cxn ang="0">
                    <a:pos x="24" y="27"/>
                  </a:cxn>
                  <a:cxn ang="0">
                    <a:pos x="33" y="26"/>
                  </a:cxn>
                  <a:cxn ang="0">
                    <a:pos x="28" y="22"/>
                  </a:cxn>
                  <a:cxn ang="0">
                    <a:pos x="17" y="19"/>
                  </a:cxn>
                  <a:cxn ang="0">
                    <a:pos x="23" y="10"/>
                  </a:cxn>
                  <a:cxn ang="0">
                    <a:pos x="43" y="10"/>
                  </a:cxn>
                  <a:cxn ang="0">
                    <a:pos x="28" y="0"/>
                  </a:cxn>
                  <a:cxn ang="0">
                    <a:pos x="60" y="5"/>
                  </a:cxn>
                  <a:cxn ang="0">
                    <a:pos x="67" y="15"/>
                  </a:cxn>
                  <a:cxn ang="0">
                    <a:pos x="76" y="27"/>
                  </a:cxn>
                  <a:cxn ang="0">
                    <a:pos x="97" y="29"/>
                  </a:cxn>
                  <a:cxn ang="0">
                    <a:pos x="105" y="43"/>
                  </a:cxn>
                </a:cxnLst>
                <a:rect l="0" t="0" r="r" b="b"/>
                <a:pathLst>
                  <a:path w="157" h="106">
                    <a:moveTo>
                      <a:pt x="105" y="43"/>
                    </a:moveTo>
                    <a:lnTo>
                      <a:pt x="112" y="43"/>
                    </a:lnTo>
                    <a:lnTo>
                      <a:pt x="112" y="36"/>
                    </a:lnTo>
                    <a:lnTo>
                      <a:pt x="109" y="33"/>
                    </a:lnTo>
                    <a:lnTo>
                      <a:pt x="110" y="33"/>
                    </a:lnTo>
                    <a:lnTo>
                      <a:pt x="114" y="33"/>
                    </a:lnTo>
                    <a:lnTo>
                      <a:pt x="119" y="34"/>
                    </a:lnTo>
                    <a:lnTo>
                      <a:pt x="121" y="41"/>
                    </a:lnTo>
                    <a:lnTo>
                      <a:pt x="124" y="45"/>
                    </a:lnTo>
                    <a:lnTo>
                      <a:pt x="128" y="48"/>
                    </a:lnTo>
                    <a:lnTo>
                      <a:pt x="126" y="51"/>
                    </a:lnTo>
                    <a:lnTo>
                      <a:pt x="124" y="57"/>
                    </a:lnTo>
                    <a:lnTo>
                      <a:pt x="128" y="58"/>
                    </a:lnTo>
                    <a:lnTo>
                      <a:pt x="133" y="57"/>
                    </a:lnTo>
                    <a:lnTo>
                      <a:pt x="143" y="58"/>
                    </a:lnTo>
                    <a:lnTo>
                      <a:pt x="157" y="64"/>
                    </a:lnTo>
                    <a:lnTo>
                      <a:pt x="157" y="67"/>
                    </a:lnTo>
                    <a:lnTo>
                      <a:pt x="157" y="70"/>
                    </a:lnTo>
                    <a:lnTo>
                      <a:pt x="150" y="72"/>
                    </a:lnTo>
                    <a:lnTo>
                      <a:pt x="145" y="74"/>
                    </a:lnTo>
                    <a:lnTo>
                      <a:pt x="136" y="76"/>
                    </a:lnTo>
                    <a:lnTo>
                      <a:pt x="131" y="81"/>
                    </a:lnTo>
                    <a:lnTo>
                      <a:pt x="126" y="86"/>
                    </a:lnTo>
                    <a:lnTo>
                      <a:pt x="121" y="89"/>
                    </a:lnTo>
                    <a:lnTo>
                      <a:pt x="114" y="86"/>
                    </a:lnTo>
                    <a:lnTo>
                      <a:pt x="112" y="79"/>
                    </a:lnTo>
                    <a:lnTo>
                      <a:pt x="109" y="82"/>
                    </a:lnTo>
                    <a:lnTo>
                      <a:pt x="107" y="88"/>
                    </a:lnTo>
                    <a:lnTo>
                      <a:pt x="110" y="91"/>
                    </a:lnTo>
                    <a:lnTo>
                      <a:pt x="114" y="96"/>
                    </a:lnTo>
                    <a:lnTo>
                      <a:pt x="103" y="96"/>
                    </a:lnTo>
                    <a:lnTo>
                      <a:pt x="103" y="103"/>
                    </a:lnTo>
                    <a:lnTo>
                      <a:pt x="95" y="100"/>
                    </a:lnTo>
                    <a:lnTo>
                      <a:pt x="86" y="94"/>
                    </a:lnTo>
                    <a:lnTo>
                      <a:pt x="83" y="103"/>
                    </a:lnTo>
                    <a:lnTo>
                      <a:pt x="74" y="106"/>
                    </a:lnTo>
                    <a:lnTo>
                      <a:pt x="60" y="103"/>
                    </a:lnTo>
                    <a:lnTo>
                      <a:pt x="54" y="96"/>
                    </a:lnTo>
                    <a:lnTo>
                      <a:pt x="57" y="94"/>
                    </a:lnTo>
                    <a:lnTo>
                      <a:pt x="60" y="93"/>
                    </a:lnTo>
                    <a:lnTo>
                      <a:pt x="52" y="91"/>
                    </a:lnTo>
                    <a:lnTo>
                      <a:pt x="45" y="89"/>
                    </a:lnTo>
                    <a:lnTo>
                      <a:pt x="38" y="84"/>
                    </a:lnTo>
                    <a:lnTo>
                      <a:pt x="36" y="81"/>
                    </a:lnTo>
                    <a:lnTo>
                      <a:pt x="40" y="74"/>
                    </a:lnTo>
                    <a:lnTo>
                      <a:pt x="54" y="72"/>
                    </a:lnTo>
                    <a:lnTo>
                      <a:pt x="66" y="70"/>
                    </a:lnTo>
                    <a:lnTo>
                      <a:pt x="76" y="70"/>
                    </a:lnTo>
                    <a:lnTo>
                      <a:pt x="64" y="67"/>
                    </a:lnTo>
                    <a:lnTo>
                      <a:pt x="55" y="67"/>
                    </a:lnTo>
                    <a:lnTo>
                      <a:pt x="45" y="69"/>
                    </a:lnTo>
                    <a:lnTo>
                      <a:pt x="40" y="70"/>
                    </a:lnTo>
                    <a:lnTo>
                      <a:pt x="35" y="67"/>
                    </a:lnTo>
                    <a:lnTo>
                      <a:pt x="33" y="64"/>
                    </a:lnTo>
                    <a:lnTo>
                      <a:pt x="26" y="65"/>
                    </a:lnTo>
                    <a:lnTo>
                      <a:pt x="23" y="69"/>
                    </a:lnTo>
                    <a:lnTo>
                      <a:pt x="17" y="65"/>
                    </a:lnTo>
                    <a:lnTo>
                      <a:pt x="17" y="64"/>
                    </a:lnTo>
                    <a:lnTo>
                      <a:pt x="23" y="60"/>
                    </a:lnTo>
                    <a:lnTo>
                      <a:pt x="30" y="57"/>
                    </a:lnTo>
                    <a:lnTo>
                      <a:pt x="17" y="55"/>
                    </a:lnTo>
                    <a:lnTo>
                      <a:pt x="9" y="53"/>
                    </a:lnTo>
                    <a:lnTo>
                      <a:pt x="2" y="48"/>
                    </a:lnTo>
                    <a:lnTo>
                      <a:pt x="0" y="41"/>
                    </a:lnTo>
                    <a:lnTo>
                      <a:pt x="7" y="41"/>
                    </a:lnTo>
                    <a:lnTo>
                      <a:pt x="14" y="43"/>
                    </a:lnTo>
                    <a:lnTo>
                      <a:pt x="23" y="45"/>
                    </a:lnTo>
                    <a:lnTo>
                      <a:pt x="24" y="43"/>
                    </a:lnTo>
                    <a:lnTo>
                      <a:pt x="28" y="41"/>
                    </a:lnTo>
                    <a:lnTo>
                      <a:pt x="21" y="38"/>
                    </a:lnTo>
                    <a:lnTo>
                      <a:pt x="14" y="36"/>
                    </a:lnTo>
                    <a:lnTo>
                      <a:pt x="7" y="33"/>
                    </a:lnTo>
                    <a:lnTo>
                      <a:pt x="5" y="31"/>
                    </a:lnTo>
                    <a:lnTo>
                      <a:pt x="9" y="26"/>
                    </a:lnTo>
                    <a:lnTo>
                      <a:pt x="17" y="26"/>
                    </a:lnTo>
                    <a:lnTo>
                      <a:pt x="24" y="27"/>
                    </a:lnTo>
                    <a:lnTo>
                      <a:pt x="31" y="29"/>
                    </a:lnTo>
                    <a:lnTo>
                      <a:pt x="33" y="26"/>
                    </a:lnTo>
                    <a:lnTo>
                      <a:pt x="36" y="24"/>
                    </a:lnTo>
                    <a:lnTo>
                      <a:pt x="28" y="22"/>
                    </a:lnTo>
                    <a:lnTo>
                      <a:pt x="23" y="24"/>
                    </a:lnTo>
                    <a:lnTo>
                      <a:pt x="17" y="19"/>
                    </a:lnTo>
                    <a:lnTo>
                      <a:pt x="16" y="15"/>
                    </a:lnTo>
                    <a:lnTo>
                      <a:pt x="23" y="10"/>
                    </a:lnTo>
                    <a:lnTo>
                      <a:pt x="35" y="10"/>
                    </a:lnTo>
                    <a:lnTo>
                      <a:pt x="43" y="10"/>
                    </a:lnTo>
                    <a:lnTo>
                      <a:pt x="33" y="7"/>
                    </a:lnTo>
                    <a:lnTo>
                      <a:pt x="28" y="0"/>
                    </a:lnTo>
                    <a:lnTo>
                      <a:pt x="43" y="2"/>
                    </a:lnTo>
                    <a:lnTo>
                      <a:pt x="60" y="5"/>
                    </a:lnTo>
                    <a:lnTo>
                      <a:pt x="66" y="8"/>
                    </a:lnTo>
                    <a:lnTo>
                      <a:pt x="67" y="15"/>
                    </a:lnTo>
                    <a:lnTo>
                      <a:pt x="69" y="22"/>
                    </a:lnTo>
                    <a:lnTo>
                      <a:pt x="76" y="27"/>
                    </a:lnTo>
                    <a:lnTo>
                      <a:pt x="86" y="27"/>
                    </a:lnTo>
                    <a:lnTo>
                      <a:pt x="97" y="29"/>
                    </a:lnTo>
                    <a:lnTo>
                      <a:pt x="102" y="34"/>
                    </a:lnTo>
                    <a:lnTo>
                      <a:pt x="105"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5" name="Freeform 325"/>
              <p:cNvSpPr>
                <a:spLocks/>
              </p:cNvSpPr>
              <p:nvPr/>
            </p:nvSpPr>
            <p:spPr bwMode="auto">
              <a:xfrm>
                <a:off x="2312194" y="2233613"/>
                <a:ext cx="163513" cy="103187"/>
              </a:xfrm>
              <a:custGeom>
                <a:avLst/>
                <a:gdLst/>
                <a:ahLst/>
                <a:cxnLst>
                  <a:cxn ang="0">
                    <a:pos x="6" y="45"/>
                  </a:cxn>
                  <a:cxn ang="0">
                    <a:pos x="10" y="41"/>
                  </a:cxn>
                  <a:cxn ang="0">
                    <a:pos x="12" y="38"/>
                  </a:cxn>
                  <a:cxn ang="0">
                    <a:pos x="12" y="32"/>
                  </a:cxn>
                  <a:cxn ang="0">
                    <a:pos x="12" y="31"/>
                  </a:cxn>
                  <a:cxn ang="0">
                    <a:pos x="12" y="20"/>
                  </a:cxn>
                  <a:cxn ang="0">
                    <a:pos x="13" y="12"/>
                  </a:cxn>
                  <a:cxn ang="0">
                    <a:pos x="18" y="3"/>
                  </a:cxn>
                  <a:cxn ang="0">
                    <a:pos x="29" y="0"/>
                  </a:cxn>
                  <a:cxn ang="0">
                    <a:pos x="32" y="7"/>
                  </a:cxn>
                  <a:cxn ang="0">
                    <a:pos x="36" y="14"/>
                  </a:cxn>
                  <a:cxn ang="0">
                    <a:pos x="37" y="12"/>
                  </a:cxn>
                  <a:cxn ang="0">
                    <a:pos x="41" y="10"/>
                  </a:cxn>
                  <a:cxn ang="0">
                    <a:pos x="48" y="15"/>
                  </a:cxn>
                  <a:cxn ang="0">
                    <a:pos x="58" y="20"/>
                  </a:cxn>
                  <a:cxn ang="0">
                    <a:pos x="67" y="22"/>
                  </a:cxn>
                  <a:cxn ang="0">
                    <a:pos x="77" y="31"/>
                  </a:cxn>
                  <a:cxn ang="0">
                    <a:pos x="77" y="34"/>
                  </a:cxn>
                  <a:cxn ang="0">
                    <a:pos x="80" y="39"/>
                  </a:cxn>
                  <a:cxn ang="0">
                    <a:pos x="92" y="45"/>
                  </a:cxn>
                  <a:cxn ang="0">
                    <a:pos x="103" y="50"/>
                  </a:cxn>
                  <a:cxn ang="0">
                    <a:pos x="94" y="53"/>
                  </a:cxn>
                  <a:cxn ang="0">
                    <a:pos x="86" y="55"/>
                  </a:cxn>
                  <a:cxn ang="0">
                    <a:pos x="77" y="55"/>
                  </a:cxn>
                  <a:cxn ang="0">
                    <a:pos x="72" y="55"/>
                  </a:cxn>
                  <a:cxn ang="0">
                    <a:pos x="68" y="51"/>
                  </a:cxn>
                  <a:cxn ang="0">
                    <a:pos x="61" y="48"/>
                  </a:cxn>
                  <a:cxn ang="0">
                    <a:pos x="55" y="43"/>
                  </a:cxn>
                  <a:cxn ang="0">
                    <a:pos x="53" y="43"/>
                  </a:cxn>
                  <a:cxn ang="0">
                    <a:pos x="49" y="50"/>
                  </a:cxn>
                  <a:cxn ang="0">
                    <a:pos x="43" y="57"/>
                  </a:cxn>
                  <a:cxn ang="0">
                    <a:pos x="34" y="60"/>
                  </a:cxn>
                  <a:cxn ang="0">
                    <a:pos x="29" y="60"/>
                  </a:cxn>
                  <a:cxn ang="0">
                    <a:pos x="25" y="63"/>
                  </a:cxn>
                  <a:cxn ang="0">
                    <a:pos x="24" y="65"/>
                  </a:cxn>
                  <a:cxn ang="0">
                    <a:pos x="18" y="62"/>
                  </a:cxn>
                  <a:cxn ang="0">
                    <a:pos x="20" y="55"/>
                  </a:cxn>
                  <a:cxn ang="0">
                    <a:pos x="8" y="53"/>
                  </a:cxn>
                  <a:cxn ang="0">
                    <a:pos x="0" y="55"/>
                  </a:cxn>
                  <a:cxn ang="0">
                    <a:pos x="1" y="46"/>
                  </a:cxn>
                  <a:cxn ang="0">
                    <a:pos x="6" y="45"/>
                  </a:cxn>
                </a:cxnLst>
                <a:rect l="0" t="0" r="r" b="b"/>
                <a:pathLst>
                  <a:path w="103" h="65">
                    <a:moveTo>
                      <a:pt x="6" y="45"/>
                    </a:moveTo>
                    <a:lnTo>
                      <a:pt x="10" y="41"/>
                    </a:lnTo>
                    <a:lnTo>
                      <a:pt x="12" y="38"/>
                    </a:lnTo>
                    <a:lnTo>
                      <a:pt x="12" y="32"/>
                    </a:lnTo>
                    <a:lnTo>
                      <a:pt x="12" y="31"/>
                    </a:lnTo>
                    <a:lnTo>
                      <a:pt x="12" y="20"/>
                    </a:lnTo>
                    <a:lnTo>
                      <a:pt x="13" y="12"/>
                    </a:lnTo>
                    <a:lnTo>
                      <a:pt x="18" y="3"/>
                    </a:lnTo>
                    <a:lnTo>
                      <a:pt x="29" y="0"/>
                    </a:lnTo>
                    <a:lnTo>
                      <a:pt x="32" y="7"/>
                    </a:lnTo>
                    <a:lnTo>
                      <a:pt x="36" y="14"/>
                    </a:lnTo>
                    <a:lnTo>
                      <a:pt x="37" y="12"/>
                    </a:lnTo>
                    <a:lnTo>
                      <a:pt x="41" y="10"/>
                    </a:lnTo>
                    <a:lnTo>
                      <a:pt x="48" y="15"/>
                    </a:lnTo>
                    <a:lnTo>
                      <a:pt x="58" y="20"/>
                    </a:lnTo>
                    <a:lnTo>
                      <a:pt x="67" y="22"/>
                    </a:lnTo>
                    <a:lnTo>
                      <a:pt x="77" y="31"/>
                    </a:lnTo>
                    <a:lnTo>
                      <a:pt x="77" y="34"/>
                    </a:lnTo>
                    <a:lnTo>
                      <a:pt x="80" y="39"/>
                    </a:lnTo>
                    <a:lnTo>
                      <a:pt x="92" y="45"/>
                    </a:lnTo>
                    <a:lnTo>
                      <a:pt x="103" y="50"/>
                    </a:lnTo>
                    <a:lnTo>
                      <a:pt x="94" y="53"/>
                    </a:lnTo>
                    <a:lnTo>
                      <a:pt x="86" y="55"/>
                    </a:lnTo>
                    <a:lnTo>
                      <a:pt x="77" y="55"/>
                    </a:lnTo>
                    <a:lnTo>
                      <a:pt x="72" y="55"/>
                    </a:lnTo>
                    <a:lnTo>
                      <a:pt x="68" y="51"/>
                    </a:lnTo>
                    <a:lnTo>
                      <a:pt x="61" y="48"/>
                    </a:lnTo>
                    <a:lnTo>
                      <a:pt x="55" y="43"/>
                    </a:lnTo>
                    <a:lnTo>
                      <a:pt x="53" y="43"/>
                    </a:lnTo>
                    <a:lnTo>
                      <a:pt x="49" y="50"/>
                    </a:lnTo>
                    <a:lnTo>
                      <a:pt x="43" y="57"/>
                    </a:lnTo>
                    <a:lnTo>
                      <a:pt x="34" y="60"/>
                    </a:lnTo>
                    <a:lnTo>
                      <a:pt x="29" y="60"/>
                    </a:lnTo>
                    <a:lnTo>
                      <a:pt x="25" y="63"/>
                    </a:lnTo>
                    <a:lnTo>
                      <a:pt x="24" y="65"/>
                    </a:lnTo>
                    <a:lnTo>
                      <a:pt x="18" y="62"/>
                    </a:lnTo>
                    <a:lnTo>
                      <a:pt x="20" y="55"/>
                    </a:lnTo>
                    <a:lnTo>
                      <a:pt x="8" y="53"/>
                    </a:lnTo>
                    <a:lnTo>
                      <a:pt x="0" y="55"/>
                    </a:lnTo>
                    <a:lnTo>
                      <a:pt x="1" y="46"/>
                    </a:lnTo>
                    <a:lnTo>
                      <a:pt x="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6" name="Freeform 326"/>
              <p:cNvSpPr>
                <a:spLocks/>
              </p:cNvSpPr>
              <p:nvPr/>
            </p:nvSpPr>
            <p:spPr bwMode="auto">
              <a:xfrm>
                <a:off x="2543969" y="2139950"/>
                <a:ext cx="49213" cy="41275"/>
              </a:xfrm>
              <a:custGeom>
                <a:avLst/>
                <a:gdLst/>
                <a:ahLst/>
                <a:cxnLst>
                  <a:cxn ang="0">
                    <a:pos x="31" y="14"/>
                  </a:cxn>
                  <a:cxn ang="0">
                    <a:pos x="24" y="23"/>
                  </a:cxn>
                  <a:cxn ang="0">
                    <a:pos x="12" y="26"/>
                  </a:cxn>
                  <a:cxn ang="0">
                    <a:pos x="3" y="23"/>
                  </a:cxn>
                  <a:cxn ang="0">
                    <a:pos x="0" y="14"/>
                  </a:cxn>
                  <a:cxn ang="0">
                    <a:pos x="3" y="2"/>
                  </a:cxn>
                  <a:cxn ang="0">
                    <a:pos x="15" y="0"/>
                  </a:cxn>
                  <a:cxn ang="0">
                    <a:pos x="26" y="4"/>
                  </a:cxn>
                  <a:cxn ang="0">
                    <a:pos x="31" y="14"/>
                  </a:cxn>
                </a:cxnLst>
                <a:rect l="0" t="0" r="r" b="b"/>
                <a:pathLst>
                  <a:path w="31" h="26">
                    <a:moveTo>
                      <a:pt x="31" y="14"/>
                    </a:moveTo>
                    <a:lnTo>
                      <a:pt x="24" y="23"/>
                    </a:lnTo>
                    <a:lnTo>
                      <a:pt x="12" y="26"/>
                    </a:lnTo>
                    <a:lnTo>
                      <a:pt x="3" y="23"/>
                    </a:lnTo>
                    <a:lnTo>
                      <a:pt x="0" y="14"/>
                    </a:lnTo>
                    <a:lnTo>
                      <a:pt x="3" y="2"/>
                    </a:lnTo>
                    <a:lnTo>
                      <a:pt x="15" y="0"/>
                    </a:lnTo>
                    <a:lnTo>
                      <a:pt x="26" y="4"/>
                    </a:lnTo>
                    <a:lnTo>
                      <a:pt x="31"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7" name="Freeform 327"/>
              <p:cNvSpPr>
                <a:spLocks/>
              </p:cNvSpPr>
              <p:nvPr/>
            </p:nvSpPr>
            <p:spPr bwMode="auto">
              <a:xfrm>
                <a:off x="2393157" y="2339975"/>
                <a:ext cx="41275" cy="31750"/>
              </a:xfrm>
              <a:custGeom>
                <a:avLst/>
                <a:gdLst/>
                <a:ahLst/>
                <a:cxnLst>
                  <a:cxn ang="0">
                    <a:pos x="10" y="2"/>
                  </a:cxn>
                  <a:cxn ang="0">
                    <a:pos x="19" y="0"/>
                  </a:cxn>
                  <a:cxn ang="0">
                    <a:pos x="26" y="3"/>
                  </a:cxn>
                  <a:cxn ang="0">
                    <a:pos x="14" y="14"/>
                  </a:cxn>
                  <a:cxn ang="0">
                    <a:pos x="0" y="20"/>
                  </a:cxn>
                  <a:cxn ang="0">
                    <a:pos x="0" y="14"/>
                  </a:cxn>
                  <a:cxn ang="0">
                    <a:pos x="5" y="7"/>
                  </a:cxn>
                  <a:cxn ang="0">
                    <a:pos x="10" y="2"/>
                  </a:cxn>
                </a:cxnLst>
                <a:rect l="0" t="0" r="r" b="b"/>
                <a:pathLst>
                  <a:path w="26" h="20">
                    <a:moveTo>
                      <a:pt x="10" y="2"/>
                    </a:moveTo>
                    <a:lnTo>
                      <a:pt x="19" y="0"/>
                    </a:lnTo>
                    <a:lnTo>
                      <a:pt x="26" y="3"/>
                    </a:lnTo>
                    <a:lnTo>
                      <a:pt x="14" y="14"/>
                    </a:lnTo>
                    <a:lnTo>
                      <a:pt x="0" y="20"/>
                    </a:lnTo>
                    <a:lnTo>
                      <a:pt x="0" y="14"/>
                    </a:lnTo>
                    <a:lnTo>
                      <a:pt x="5" y="7"/>
                    </a:lnTo>
                    <a:lnTo>
                      <a:pt x="1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8" name="Freeform 328"/>
              <p:cNvSpPr>
                <a:spLocks/>
              </p:cNvSpPr>
              <p:nvPr/>
            </p:nvSpPr>
            <p:spPr bwMode="auto">
              <a:xfrm>
                <a:off x="2458244" y="1908175"/>
                <a:ext cx="107950" cy="46037"/>
              </a:xfrm>
              <a:custGeom>
                <a:avLst/>
                <a:gdLst/>
                <a:ahLst/>
                <a:cxnLst>
                  <a:cxn ang="0">
                    <a:pos x="25" y="29"/>
                  </a:cxn>
                  <a:cxn ang="0">
                    <a:pos x="11" y="26"/>
                  </a:cxn>
                  <a:cxn ang="0">
                    <a:pos x="11" y="17"/>
                  </a:cxn>
                  <a:cxn ang="0">
                    <a:pos x="2" y="12"/>
                  </a:cxn>
                  <a:cxn ang="0">
                    <a:pos x="0" y="7"/>
                  </a:cxn>
                  <a:cxn ang="0">
                    <a:pos x="2" y="0"/>
                  </a:cxn>
                  <a:cxn ang="0">
                    <a:pos x="9" y="0"/>
                  </a:cxn>
                  <a:cxn ang="0">
                    <a:pos x="21" y="2"/>
                  </a:cxn>
                  <a:cxn ang="0">
                    <a:pos x="33" y="4"/>
                  </a:cxn>
                  <a:cxn ang="0">
                    <a:pos x="42" y="4"/>
                  </a:cxn>
                  <a:cxn ang="0">
                    <a:pos x="52" y="9"/>
                  </a:cxn>
                  <a:cxn ang="0">
                    <a:pos x="59" y="14"/>
                  </a:cxn>
                  <a:cxn ang="0">
                    <a:pos x="68" y="19"/>
                  </a:cxn>
                  <a:cxn ang="0">
                    <a:pos x="64" y="24"/>
                  </a:cxn>
                  <a:cxn ang="0">
                    <a:pos x="59" y="28"/>
                  </a:cxn>
                  <a:cxn ang="0">
                    <a:pos x="50" y="26"/>
                  </a:cxn>
                  <a:cxn ang="0">
                    <a:pos x="43" y="24"/>
                  </a:cxn>
                  <a:cxn ang="0">
                    <a:pos x="35" y="26"/>
                  </a:cxn>
                  <a:cxn ang="0">
                    <a:pos x="25" y="29"/>
                  </a:cxn>
                </a:cxnLst>
                <a:rect l="0" t="0" r="r" b="b"/>
                <a:pathLst>
                  <a:path w="68" h="29">
                    <a:moveTo>
                      <a:pt x="25" y="29"/>
                    </a:moveTo>
                    <a:lnTo>
                      <a:pt x="11" y="26"/>
                    </a:lnTo>
                    <a:lnTo>
                      <a:pt x="11" y="17"/>
                    </a:lnTo>
                    <a:lnTo>
                      <a:pt x="2" y="12"/>
                    </a:lnTo>
                    <a:lnTo>
                      <a:pt x="0" y="7"/>
                    </a:lnTo>
                    <a:lnTo>
                      <a:pt x="2" y="0"/>
                    </a:lnTo>
                    <a:lnTo>
                      <a:pt x="9" y="0"/>
                    </a:lnTo>
                    <a:lnTo>
                      <a:pt x="21" y="2"/>
                    </a:lnTo>
                    <a:lnTo>
                      <a:pt x="33" y="4"/>
                    </a:lnTo>
                    <a:lnTo>
                      <a:pt x="42" y="4"/>
                    </a:lnTo>
                    <a:lnTo>
                      <a:pt x="52" y="9"/>
                    </a:lnTo>
                    <a:lnTo>
                      <a:pt x="59" y="14"/>
                    </a:lnTo>
                    <a:lnTo>
                      <a:pt x="68" y="19"/>
                    </a:lnTo>
                    <a:lnTo>
                      <a:pt x="64" y="24"/>
                    </a:lnTo>
                    <a:lnTo>
                      <a:pt x="59" y="28"/>
                    </a:lnTo>
                    <a:lnTo>
                      <a:pt x="50" y="26"/>
                    </a:lnTo>
                    <a:lnTo>
                      <a:pt x="43" y="24"/>
                    </a:lnTo>
                    <a:lnTo>
                      <a:pt x="35" y="26"/>
                    </a:lnTo>
                    <a:lnTo>
                      <a:pt x="25"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9" name="Freeform 329"/>
              <p:cNvSpPr>
                <a:spLocks/>
              </p:cNvSpPr>
              <p:nvPr/>
            </p:nvSpPr>
            <p:spPr bwMode="auto">
              <a:xfrm>
                <a:off x="2467769" y="2363788"/>
                <a:ext cx="26988" cy="25400"/>
              </a:xfrm>
              <a:custGeom>
                <a:avLst/>
                <a:gdLst/>
                <a:ahLst/>
                <a:cxnLst>
                  <a:cxn ang="0">
                    <a:pos x="17" y="4"/>
                  </a:cxn>
                  <a:cxn ang="0">
                    <a:pos x="12" y="11"/>
                  </a:cxn>
                  <a:cxn ang="0">
                    <a:pos x="8" y="16"/>
                  </a:cxn>
                  <a:cxn ang="0">
                    <a:pos x="3" y="12"/>
                  </a:cxn>
                  <a:cxn ang="0">
                    <a:pos x="0" y="9"/>
                  </a:cxn>
                  <a:cxn ang="0">
                    <a:pos x="5" y="0"/>
                  </a:cxn>
                  <a:cxn ang="0">
                    <a:pos x="17" y="4"/>
                  </a:cxn>
                </a:cxnLst>
                <a:rect l="0" t="0" r="r" b="b"/>
                <a:pathLst>
                  <a:path w="17" h="16">
                    <a:moveTo>
                      <a:pt x="17" y="4"/>
                    </a:moveTo>
                    <a:lnTo>
                      <a:pt x="12" y="11"/>
                    </a:lnTo>
                    <a:lnTo>
                      <a:pt x="8" y="16"/>
                    </a:lnTo>
                    <a:lnTo>
                      <a:pt x="3" y="12"/>
                    </a:lnTo>
                    <a:lnTo>
                      <a:pt x="0" y="9"/>
                    </a:lnTo>
                    <a:lnTo>
                      <a:pt x="5" y="0"/>
                    </a:lnTo>
                    <a:lnTo>
                      <a:pt x="17"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0" name="Freeform 330"/>
              <p:cNvSpPr>
                <a:spLocks/>
              </p:cNvSpPr>
              <p:nvPr/>
            </p:nvSpPr>
            <p:spPr bwMode="auto">
              <a:xfrm>
                <a:off x="2601119" y="2143125"/>
                <a:ext cx="26988" cy="15875"/>
              </a:xfrm>
              <a:custGeom>
                <a:avLst/>
                <a:gdLst/>
                <a:ahLst/>
                <a:cxnLst>
                  <a:cxn ang="0">
                    <a:pos x="7" y="10"/>
                  </a:cxn>
                  <a:cxn ang="0">
                    <a:pos x="2" y="9"/>
                  </a:cxn>
                  <a:cxn ang="0">
                    <a:pos x="0" y="7"/>
                  </a:cxn>
                  <a:cxn ang="0">
                    <a:pos x="2" y="2"/>
                  </a:cxn>
                  <a:cxn ang="0">
                    <a:pos x="7" y="0"/>
                  </a:cxn>
                  <a:cxn ang="0">
                    <a:pos x="12" y="3"/>
                  </a:cxn>
                  <a:cxn ang="0">
                    <a:pos x="17" y="9"/>
                  </a:cxn>
                  <a:cxn ang="0">
                    <a:pos x="10" y="9"/>
                  </a:cxn>
                  <a:cxn ang="0">
                    <a:pos x="7" y="10"/>
                  </a:cxn>
                </a:cxnLst>
                <a:rect l="0" t="0" r="r" b="b"/>
                <a:pathLst>
                  <a:path w="17" h="10">
                    <a:moveTo>
                      <a:pt x="7" y="10"/>
                    </a:moveTo>
                    <a:lnTo>
                      <a:pt x="2" y="9"/>
                    </a:lnTo>
                    <a:lnTo>
                      <a:pt x="0" y="7"/>
                    </a:lnTo>
                    <a:lnTo>
                      <a:pt x="2" y="2"/>
                    </a:lnTo>
                    <a:lnTo>
                      <a:pt x="7" y="0"/>
                    </a:lnTo>
                    <a:lnTo>
                      <a:pt x="12" y="3"/>
                    </a:lnTo>
                    <a:lnTo>
                      <a:pt x="17" y="9"/>
                    </a:lnTo>
                    <a:lnTo>
                      <a:pt x="10" y="9"/>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1" name="Freeform 331"/>
              <p:cNvSpPr>
                <a:spLocks/>
              </p:cNvSpPr>
              <p:nvPr/>
            </p:nvSpPr>
            <p:spPr bwMode="auto">
              <a:xfrm>
                <a:off x="2497932" y="2100263"/>
                <a:ext cx="15875" cy="15875"/>
              </a:xfrm>
              <a:custGeom>
                <a:avLst/>
                <a:gdLst/>
                <a:ahLst/>
                <a:cxnLst>
                  <a:cxn ang="0">
                    <a:pos x="0" y="10"/>
                  </a:cxn>
                  <a:cxn ang="0">
                    <a:pos x="0" y="5"/>
                  </a:cxn>
                  <a:cxn ang="0">
                    <a:pos x="10" y="0"/>
                  </a:cxn>
                  <a:cxn ang="0">
                    <a:pos x="5" y="6"/>
                  </a:cxn>
                  <a:cxn ang="0">
                    <a:pos x="0" y="10"/>
                  </a:cxn>
                </a:cxnLst>
                <a:rect l="0" t="0" r="r" b="b"/>
                <a:pathLst>
                  <a:path w="10" h="10">
                    <a:moveTo>
                      <a:pt x="0" y="10"/>
                    </a:moveTo>
                    <a:lnTo>
                      <a:pt x="0" y="5"/>
                    </a:lnTo>
                    <a:lnTo>
                      <a:pt x="10" y="0"/>
                    </a:lnTo>
                    <a:lnTo>
                      <a:pt x="5" y="6"/>
                    </a:lnTo>
                    <a:lnTo>
                      <a:pt x="0"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2" name="Freeform 332"/>
              <p:cNvSpPr>
                <a:spLocks/>
              </p:cNvSpPr>
              <p:nvPr/>
            </p:nvSpPr>
            <p:spPr bwMode="auto">
              <a:xfrm>
                <a:off x="2243932" y="1905000"/>
                <a:ext cx="663575" cy="477837"/>
              </a:xfrm>
              <a:custGeom>
                <a:avLst/>
                <a:gdLst/>
                <a:ahLst/>
                <a:cxnLst>
                  <a:cxn ang="0">
                    <a:pos x="375" y="222"/>
                  </a:cxn>
                  <a:cxn ang="0">
                    <a:pos x="347" y="196"/>
                  </a:cxn>
                  <a:cxn ang="0">
                    <a:pos x="328" y="198"/>
                  </a:cxn>
                  <a:cxn ang="0">
                    <a:pos x="326" y="205"/>
                  </a:cxn>
                  <a:cxn ang="0">
                    <a:pos x="344" y="231"/>
                  </a:cxn>
                  <a:cxn ang="0">
                    <a:pos x="366" y="238"/>
                  </a:cxn>
                  <a:cxn ang="0">
                    <a:pos x="376" y="258"/>
                  </a:cxn>
                  <a:cxn ang="0">
                    <a:pos x="342" y="270"/>
                  </a:cxn>
                  <a:cxn ang="0">
                    <a:pos x="321" y="265"/>
                  </a:cxn>
                  <a:cxn ang="0">
                    <a:pos x="347" y="298"/>
                  </a:cxn>
                  <a:cxn ang="0">
                    <a:pos x="328" y="289"/>
                  </a:cxn>
                  <a:cxn ang="0">
                    <a:pos x="290" y="277"/>
                  </a:cxn>
                  <a:cxn ang="0">
                    <a:pos x="258" y="253"/>
                  </a:cxn>
                  <a:cxn ang="0">
                    <a:pos x="225" y="239"/>
                  </a:cxn>
                  <a:cxn ang="0">
                    <a:pos x="203" y="243"/>
                  </a:cxn>
                  <a:cxn ang="0">
                    <a:pos x="175" y="236"/>
                  </a:cxn>
                  <a:cxn ang="0">
                    <a:pos x="187" y="219"/>
                  </a:cxn>
                  <a:cxn ang="0">
                    <a:pos x="227" y="215"/>
                  </a:cxn>
                  <a:cxn ang="0">
                    <a:pos x="233" y="195"/>
                  </a:cxn>
                  <a:cxn ang="0">
                    <a:pos x="251" y="159"/>
                  </a:cxn>
                  <a:cxn ang="0">
                    <a:pos x="206" y="135"/>
                  </a:cxn>
                  <a:cxn ang="0">
                    <a:pos x="197" y="126"/>
                  </a:cxn>
                  <a:cxn ang="0">
                    <a:pos x="175" y="100"/>
                  </a:cxn>
                  <a:cxn ang="0">
                    <a:pos x="151" y="114"/>
                  </a:cxn>
                  <a:cxn ang="0">
                    <a:pos x="132" y="104"/>
                  </a:cxn>
                  <a:cxn ang="0">
                    <a:pos x="92" y="104"/>
                  </a:cxn>
                  <a:cxn ang="0">
                    <a:pos x="55" y="100"/>
                  </a:cxn>
                  <a:cxn ang="0">
                    <a:pos x="13" y="80"/>
                  </a:cxn>
                  <a:cxn ang="0">
                    <a:pos x="27" y="71"/>
                  </a:cxn>
                  <a:cxn ang="0">
                    <a:pos x="3" y="64"/>
                  </a:cxn>
                  <a:cxn ang="0">
                    <a:pos x="5" y="35"/>
                  </a:cxn>
                  <a:cxn ang="0">
                    <a:pos x="20" y="11"/>
                  </a:cxn>
                  <a:cxn ang="0">
                    <a:pos x="56" y="0"/>
                  </a:cxn>
                  <a:cxn ang="0">
                    <a:pos x="65" y="11"/>
                  </a:cxn>
                  <a:cxn ang="0">
                    <a:pos x="49" y="35"/>
                  </a:cxn>
                  <a:cxn ang="0">
                    <a:pos x="53" y="50"/>
                  </a:cxn>
                  <a:cxn ang="0">
                    <a:pos x="65" y="38"/>
                  </a:cxn>
                  <a:cxn ang="0">
                    <a:pos x="91" y="7"/>
                  </a:cxn>
                  <a:cxn ang="0">
                    <a:pos x="127" y="7"/>
                  </a:cxn>
                  <a:cxn ang="0">
                    <a:pos x="137" y="40"/>
                  </a:cxn>
                  <a:cxn ang="0">
                    <a:pos x="154" y="42"/>
                  </a:cxn>
                  <a:cxn ang="0">
                    <a:pos x="173" y="33"/>
                  </a:cxn>
                  <a:cxn ang="0">
                    <a:pos x="209" y="35"/>
                  </a:cxn>
                  <a:cxn ang="0">
                    <a:pos x="237" y="61"/>
                  </a:cxn>
                  <a:cxn ang="0">
                    <a:pos x="266" y="64"/>
                  </a:cxn>
                  <a:cxn ang="0">
                    <a:pos x="289" y="78"/>
                  </a:cxn>
                  <a:cxn ang="0">
                    <a:pos x="314" y="98"/>
                  </a:cxn>
                  <a:cxn ang="0">
                    <a:pos x="338" y="111"/>
                  </a:cxn>
                  <a:cxn ang="0">
                    <a:pos x="335" y="117"/>
                  </a:cxn>
                  <a:cxn ang="0">
                    <a:pos x="326" y="135"/>
                  </a:cxn>
                  <a:cxn ang="0">
                    <a:pos x="349" y="150"/>
                  </a:cxn>
                  <a:cxn ang="0">
                    <a:pos x="376" y="174"/>
                  </a:cxn>
                  <a:cxn ang="0">
                    <a:pos x="404" y="179"/>
                  </a:cxn>
                  <a:cxn ang="0">
                    <a:pos x="402" y="198"/>
                  </a:cxn>
                  <a:cxn ang="0">
                    <a:pos x="392" y="212"/>
                  </a:cxn>
                </a:cxnLst>
                <a:rect l="0" t="0" r="r" b="b"/>
                <a:pathLst>
                  <a:path w="418" h="301">
                    <a:moveTo>
                      <a:pt x="392" y="212"/>
                    </a:moveTo>
                    <a:lnTo>
                      <a:pt x="390" y="221"/>
                    </a:lnTo>
                    <a:lnTo>
                      <a:pt x="385" y="226"/>
                    </a:lnTo>
                    <a:lnTo>
                      <a:pt x="375" y="222"/>
                    </a:lnTo>
                    <a:lnTo>
                      <a:pt x="368" y="219"/>
                    </a:lnTo>
                    <a:lnTo>
                      <a:pt x="362" y="214"/>
                    </a:lnTo>
                    <a:lnTo>
                      <a:pt x="357" y="209"/>
                    </a:lnTo>
                    <a:lnTo>
                      <a:pt x="347" y="196"/>
                    </a:lnTo>
                    <a:lnTo>
                      <a:pt x="333" y="191"/>
                    </a:lnTo>
                    <a:lnTo>
                      <a:pt x="328" y="193"/>
                    </a:lnTo>
                    <a:lnTo>
                      <a:pt x="323" y="196"/>
                    </a:lnTo>
                    <a:lnTo>
                      <a:pt x="328" y="198"/>
                    </a:lnTo>
                    <a:lnTo>
                      <a:pt x="333" y="198"/>
                    </a:lnTo>
                    <a:lnTo>
                      <a:pt x="333" y="205"/>
                    </a:lnTo>
                    <a:lnTo>
                      <a:pt x="330" y="205"/>
                    </a:lnTo>
                    <a:lnTo>
                      <a:pt x="326" y="205"/>
                    </a:lnTo>
                    <a:lnTo>
                      <a:pt x="326" y="212"/>
                    </a:lnTo>
                    <a:lnTo>
                      <a:pt x="333" y="212"/>
                    </a:lnTo>
                    <a:lnTo>
                      <a:pt x="337" y="222"/>
                    </a:lnTo>
                    <a:lnTo>
                      <a:pt x="344" y="231"/>
                    </a:lnTo>
                    <a:lnTo>
                      <a:pt x="354" y="231"/>
                    </a:lnTo>
                    <a:lnTo>
                      <a:pt x="357" y="238"/>
                    </a:lnTo>
                    <a:lnTo>
                      <a:pt x="361" y="238"/>
                    </a:lnTo>
                    <a:lnTo>
                      <a:pt x="366" y="238"/>
                    </a:lnTo>
                    <a:lnTo>
                      <a:pt x="366" y="243"/>
                    </a:lnTo>
                    <a:lnTo>
                      <a:pt x="366" y="248"/>
                    </a:lnTo>
                    <a:lnTo>
                      <a:pt x="371" y="252"/>
                    </a:lnTo>
                    <a:lnTo>
                      <a:pt x="376" y="258"/>
                    </a:lnTo>
                    <a:lnTo>
                      <a:pt x="371" y="269"/>
                    </a:lnTo>
                    <a:lnTo>
                      <a:pt x="368" y="279"/>
                    </a:lnTo>
                    <a:lnTo>
                      <a:pt x="356" y="276"/>
                    </a:lnTo>
                    <a:lnTo>
                      <a:pt x="342" y="270"/>
                    </a:lnTo>
                    <a:lnTo>
                      <a:pt x="328" y="264"/>
                    </a:lnTo>
                    <a:lnTo>
                      <a:pt x="321" y="258"/>
                    </a:lnTo>
                    <a:lnTo>
                      <a:pt x="313" y="258"/>
                    </a:lnTo>
                    <a:lnTo>
                      <a:pt x="321" y="265"/>
                    </a:lnTo>
                    <a:lnTo>
                      <a:pt x="333" y="276"/>
                    </a:lnTo>
                    <a:lnTo>
                      <a:pt x="344" y="284"/>
                    </a:lnTo>
                    <a:lnTo>
                      <a:pt x="350" y="294"/>
                    </a:lnTo>
                    <a:lnTo>
                      <a:pt x="347" y="298"/>
                    </a:lnTo>
                    <a:lnTo>
                      <a:pt x="345" y="301"/>
                    </a:lnTo>
                    <a:lnTo>
                      <a:pt x="342" y="298"/>
                    </a:lnTo>
                    <a:lnTo>
                      <a:pt x="340" y="294"/>
                    </a:lnTo>
                    <a:lnTo>
                      <a:pt x="328" y="289"/>
                    </a:lnTo>
                    <a:lnTo>
                      <a:pt x="319" y="288"/>
                    </a:lnTo>
                    <a:lnTo>
                      <a:pt x="311" y="286"/>
                    </a:lnTo>
                    <a:lnTo>
                      <a:pt x="304" y="282"/>
                    </a:lnTo>
                    <a:lnTo>
                      <a:pt x="290" y="277"/>
                    </a:lnTo>
                    <a:lnTo>
                      <a:pt x="278" y="274"/>
                    </a:lnTo>
                    <a:lnTo>
                      <a:pt x="268" y="267"/>
                    </a:lnTo>
                    <a:lnTo>
                      <a:pt x="270" y="260"/>
                    </a:lnTo>
                    <a:lnTo>
                      <a:pt x="258" y="253"/>
                    </a:lnTo>
                    <a:lnTo>
                      <a:pt x="247" y="246"/>
                    </a:lnTo>
                    <a:lnTo>
                      <a:pt x="239" y="239"/>
                    </a:lnTo>
                    <a:lnTo>
                      <a:pt x="230" y="234"/>
                    </a:lnTo>
                    <a:lnTo>
                      <a:pt x="225" y="239"/>
                    </a:lnTo>
                    <a:lnTo>
                      <a:pt x="220" y="243"/>
                    </a:lnTo>
                    <a:lnTo>
                      <a:pt x="215" y="241"/>
                    </a:lnTo>
                    <a:lnTo>
                      <a:pt x="211" y="239"/>
                    </a:lnTo>
                    <a:lnTo>
                      <a:pt x="203" y="243"/>
                    </a:lnTo>
                    <a:lnTo>
                      <a:pt x="196" y="246"/>
                    </a:lnTo>
                    <a:lnTo>
                      <a:pt x="189" y="245"/>
                    </a:lnTo>
                    <a:lnTo>
                      <a:pt x="182" y="241"/>
                    </a:lnTo>
                    <a:lnTo>
                      <a:pt x="175" y="236"/>
                    </a:lnTo>
                    <a:lnTo>
                      <a:pt x="173" y="233"/>
                    </a:lnTo>
                    <a:lnTo>
                      <a:pt x="175" y="227"/>
                    </a:lnTo>
                    <a:lnTo>
                      <a:pt x="180" y="222"/>
                    </a:lnTo>
                    <a:lnTo>
                      <a:pt x="187" y="219"/>
                    </a:lnTo>
                    <a:lnTo>
                      <a:pt x="194" y="219"/>
                    </a:lnTo>
                    <a:lnTo>
                      <a:pt x="206" y="219"/>
                    </a:lnTo>
                    <a:lnTo>
                      <a:pt x="216" y="219"/>
                    </a:lnTo>
                    <a:lnTo>
                      <a:pt x="227" y="215"/>
                    </a:lnTo>
                    <a:lnTo>
                      <a:pt x="239" y="212"/>
                    </a:lnTo>
                    <a:lnTo>
                      <a:pt x="233" y="207"/>
                    </a:lnTo>
                    <a:lnTo>
                      <a:pt x="230" y="202"/>
                    </a:lnTo>
                    <a:lnTo>
                      <a:pt x="233" y="195"/>
                    </a:lnTo>
                    <a:lnTo>
                      <a:pt x="242" y="193"/>
                    </a:lnTo>
                    <a:lnTo>
                      <a:pt x="251" y="181"/>
                    </a:lnTo>
                    <a:lnTo>
                      <a:pt x="258" y="171"/>
                    </a:lnTo>
                    <a:lnTo>
                      <a:pt x="251" y="159"/>
                    </a:lnTo>
                    <a:lnTo>
                      <a:pt x="239" y="147"/>
                    </a:lnTo>
                    <a:lnTo>
                      <a:pt x="225" y="136"/>
                    </a:lnTo>
                    <a:lnTo>
                      <a:pt x="215" y="133"/>
                    </a:lnTo>
                    <a:lnTo>
                      <a:pt x="206" y="135"/>
                    </a:lnTo>
                    <a:lnTo>
                      <a:pt x="197" y="138"/>
                    </a:lnTo>
                    <a:lnTo>
                      <a:pt x="194" y="135"/>
                    </a:lnTo>
                    <a:lnTo>
                      <a:pt x="194" y="133"/>
                    </a:lnTo>
                    <a:lnTo>
                      <a:pt x="197" y="126"/>
                    </a:lnTo>
                    <a:lnTo>
                      <a:pt x="206" y="126"/>
                    </a:lnTo>
                    <a:lnTo>
                      <a:pt x="197" y="117"/>
                    </a:lnTo>
                    <a:lnTo>
                      <a:pt x="187" y="109"/>
                    </a:lnTo>
                    <a:lnTo>
                      <a:pt x="175" y="100"/>
                    </a:lnTo>
                    <a:lnTo>
                      <a:pt x="168" y="98"/>
                    </a:lnTo>
                    <a:lnTo>
                      <a:pt x="163" y="100"/>
                    </a:lnTo>
                    <a:lnTo>
                      <a:pt x="158" y="107"/>
                    </a:lnTo>
                    <a:lnTo>
                      <a:pt x="151" y="114"/>
                    </a:lnTo>
                    <a:lnTo>
                      <a:pt x="146" y="117"/>
                    </a:lnTo>
                    <a:lnTo>
                      <a:pt x="141" y="112"/>
                    </a:lnTo>
                    <a:lnTo>
                      <a:pt x="141" y="105"/>
                    </a:lnTo>
                    <a:lnTo>
                      <a:pt x="132" y="104"/>
                    </a:lnTo>
                    <a:lnTo>
                      <a:pt x="123" y="104"/>
                    </a:lnTo>
                    <a:lnTo>
                      <a:pt x="113" y="104"/>
                    </a:lnTo>
                    <a:lnTo>
                      <a:pt x="104" y="104"/>
                    </a:lnTo>
                    <a:lnTo>
                      <a:pt x="92" y="104"/>
                    </a:lnTo>
                    <a:lnTo>
                      <a:pt x="82" y="104"/>
                    </a:lnTo>
                    <a:lnTo>
                      <a:pt x="72" y="104"/>
                    </a:lnTo>
                    <a:lnTo>
                      <a:pt x="63" y="105"/>
                    </a:lnTo>
                    <a:lnTo>
                      <a:pt x="55" y="100"/>
                    </a:lnTo>
                    <a:lnTo>
                      <a:pt x="48" y="95"/>
                    </a:lnTo>
                    <a:lnTo>
                      <a:pt x="24" y="95"/>
                    </a:lnTo>
                    <a:lnTo>
                      <a:pt x="17" y="86"/>
                    </a:lnTo>
                    <a:lnTo>
                      <a:pt x="13" y="80"/>
                    </a:lnTo>
                    <a:lnTo>
                      <a:pt x="24" y="80"/>
                    </a:lnTo>
                    <a:lnTo>
                      <a:pt x="36" y="81"/>
                    </a:lnTo>
                    <a:lnTo>
                      <a:pt x="36" y="74"/>
                    </a:lnTo>
                    <a:lnTo>
                      <a:pt x="27" y="71"/>
                    </a:lnTo>
                    <a:lnTo>
                      <a:pt x="18" y="71"/>
                    </a:lnTo>
                    <a:lnTo>
                      <a:pt x="10" y="69"/>
                    </a:lnTo>
                    <a:lnTo>
                      <a:pt x="8" y="69"/>
                    </a:lnTo>
                    <a:lnTo>
                      <a:pt x="3" y="64"/>
                    </a:lnTo>
                    <a:lnTo>
                      <a:pt x="0" y="55"/>
                    </a:lnTo>
                    <a:lnTo>
                      <a:pt x="0" y="45"/>
                    </a:lnTo>
                    <a:lnTo>
                      <a:pt x="1" y="40"/>
                    </a:lnTo>
                    <a:lnTo>
                      <a:pt x="5" y="35"/>
                    </a:lnTo>
                    <a:lnTo>
                      <a:pt x="10" y="33"/>
                    </a:lnTo>
                    <a:lnTo>
                      <a:pt x="12" y="25"/>
                    </a:lnTo>
                    <a:lnTo>
                      <a:pt x="13" y="19"/>
                    </a:lnTo>
                    <a:lnTo>
                      <a:pt x="20" y="11"/>
                    </a:lnTo>
                    <a:lnTo>
                      <a:pt x="31" y="6"/>
                    </a:lnTo>
                    <a:lnTo>
                      <a:pt x="41" y="0"/>
                    </a:lnTo>
                    <a:lnTo>
                      <a:pt x="55" y="0"/>
                    </a:lnTo>
                    <a:lnTo>
                      <a:pt x="56" y="0"/>
                    </a:lnTo>
                    <a:lnTo>
                      <a:pt x="61" y="2"/>
                    </a:lnTo>
                    <a:lnTo>
                      <a:pt x="67" y="4"/>
                    </a:lnTo>
                    <a:lnTo>
                      <a:pt x="72" y="6"/>
                    </a:lnTo>
                    <a:lnTo>
                      <a:pt x="65" y="11"/>
                    </a:lnTo>
                    <a:lnTo>
                      <a:pt x="58" y="16"/>
                    </a:lnTo>
                    <a:lnTo>
                      <a:pt x="51" y="21"/>
                    </a:lnTo>
                    <a:lnTo>
                      <a:pt x="49" y="31"/>
                    </a:lnTo>
                    <a:lnTo>
                      <a:pt x="49" y="35"/>
                    </a:lnTo>
                    <a:lnTo>
                      <a:pt x="53" y="37"/>
                    </a:lnTo>
                    <a:lnTo>
                      <a:pt x="53" y="42"/>
                    </a:lnTo>
                    <a:lnTo>
                      <a:pt x="53" y="47"/>
                    </a:lnTo>
                    <a:lnTo>
                      <a:pt x="53" y="50"/>
                    </a:lnTo>
                    <a:lnTo>
                      <a:pt x="58" y="54"/>
                    </a:lnTo>
                    <a:lnTo>
                      <a:pt x="63" y="50"/>
                    </a:lnTo>
                    <a:lnTo>
                      <a:pt x="68" y="45"/>
                    </a:lnTo>
                    <a:lnTo>
                      <a:pt x="65" y="38"/>
                    </a:lnTo>
                    <a:lnTo>
                      <a:pt x="63" y="31"/>
                    </a:lnTo>
                    <a:lnTo>
                      <a:pt x="68" y="18"/>
                    </a:lnTo>
                    <a:lnTo>
                      <a:pt x="82" y="11"/>
                    </a:lnTo>
                    <a:lnTo>
                      <a:pt x="91" y="7"/>
                    </a:lnTo>
                    <a:lnTo>
                      <a:pt x="99" y="6"/>
                    </a:lnTo>
                    <a:lnTo>
                      <a:pt x="108" y="6"/>
                    </a:lnTo>
                    <a:lnTo>
                      <a:pt x="118" y="6"/>
                    </a:lnTo>
                    <a:lnTo>
                      <a:pt x="127" y="7"/>
                    </a:lnTo>
                    <a:lnTo>
                      <a:pt x="134" y="14"/>
                    </a:lnTo>
                    <a:lnTo>
                      <a:pt x="137" y="25"/>
                    </a:lnTo>
                    <a:lnTo>
                      <a:pt x="139" y="35"/>
                    </a:lnTo>
                    <a:lnTo>
                      <a:pt x="137" y="40"/>
                    </a:lnTo>
                    <a:lnTo>
                      <a:pt x="139" y="45"/>
                    </a:lnTo>
                    <a:lnTo>
                      <a:pt x="142" y="42"/>
                    </a:lnTo>
                    <a:lnTo>
                      <a:pt x="149" y="40"/>
                    </a:lnTo>
                    <a:lnTo>
                      <a:pt x="154" y="42"/>
                    </a:lnTo>
                    <a:lnTo>
                      <a:pt x="160" y="45"/>
                    </a:lnTo>
                    <a:lnTo>
                      <a:pt x="165" y="42"/>
                    </a:lnTo>
                    <a:lnTo>
                      <a:pt x="170" y="38"/>
                    </a:lnTo>
                    <a:lnTo>
                      <a:pt x="173" y="33"/>
                    </a:lnTo>
                    <a:lnTo>
                      <a:pt x="180" y="31"/>
                    </a:lnTo>
                    <a:lnTo>
                      <a:pt x="189" y="31"/>
                    </a:lnTo>
                    <a:lnTo>
                      <a:pt x="199" y="33"/>
                    </a:lnTo>
                    <a:lnTo>
                      <a:pt x="209" y="35"/>
                    </a:lnTo>
                    <a:lnTo>
                      <a:pt x="218" y="40"/>
                    </a:lnTo>
                    <a:lnTo>
                      <a:pt x="225" y="45"/>
                    </a:lnTo>
                    <a:lnTo>
                      <a:pt x="232" y="54"/>
                    </a:lnTo>
                    <a:lnTo>
                      <a:pt x="237" y="61"/>
                    </a:lnTo>
                    <a:lnTo>
                      <a:pt x="249" y="64"/>
                    </a:lnTo>
                    <a:lnTo>
                      <a:pt x="258" y="64"/>
                    </a:lnTo>
                    <a:lnTo>
                      <a:pt x="263" y="64"/>
                    </a:lnTo>
                    <a:lnTo>
                      <a:pt x="266" y="64"/>
                    </a:lnTo>
                    <a:lnTo>
                      <a:pt x="273" y="66"/>
                    </a:lnTo>
                    <a:lnTo>
                      <a:pt x="276" y="68"/>
                    </a:lnTo>
                    <a:lnTo>
                      <a:pt x="280" y="74"/>
                    </a:lnTo>
                    <a:lnTo>
                      <a:pt x="289" y="78"/>
                    </a:lnTo>
                    <a:lnTo>
                      <a:pt x="297" y="83"/>
                    </a:lnTo>
                    <a:lnTo>
                      <a:pt x="304" y="86"/>
                    </a:lnTo>
                    <a:lnTo>
                      <a:pt x="314" y="90"/>
                    </a:lnTo>
                    <a:lnTo>
                      <a:pt x="314" y="98"/>
                    </a:lnTo>
                    <a:lnTo>
                      <a:pt x="319" y="98"/>
                    </a:lnTo>
                    <a:lnTo>
                      <a:pt x="323" y="98"/>
                    </a:lnTo>
                    <a:lnTo>
                      <a:pt x="332" y="100"/>
                    </a:lnTo>
                    <a:lnTo>
                      <a:pt x="338" y="111"/>
                    </a:lnTo>
                    <a:lnTo>
                      <a:pt x="328" y="111"/>
                    </a:lnTo>
                    <a:lnTo>
                      <a:pt x="319" y="117"/>
                    </a:lnTo>
                    <a:lnTo>
                      <a:pt x="328" y="117"/>
                    </a:lnTo>
                    <a:lnTo>
                      <a:pt x="335" y="117"/>
                    </a:lnTo>
                    <a:lnTo>
                      <a:pt x="338" y="117"/>
                    </a:lnTo>
                    <a:lnTo>
                      <a:pt x="344" y="123"/>
                    </a:lnTo>
                    <a:lnTo>
                      <a:pt x="333" y="126"/>
                    </a:lnTo>
                    <a:lnTo>
                      <a:pt x="326" y="135"/>
                    </a:lnTo>
                    <a:lnTo>
                      <a:pt x="332" y="136"/>
                    </a:lnTo>
                    <a:lnTo>
                      <a:pt x="340" y="138"/>
                    </a:lnTo>
                    <a:lnTo>
                      <a:pt x="342" y="145"/>
                    </a:lnTo>
                    <a:lnTo>
                      <a:pt x="349" y="150"/>
                    </a:lnTo>
                    <a:lnTo>
                      <a:pt x="357" y="153"/>
                    </a:lnTo>
                    <a:lnTo>
                      <a:pt x="366" y="157"/>
                    </a:lnTo>
                    <a:lnTo>
                      <a:pt x="368" y="167"/>
                    </a:lnTo>
                    <a:lnTo>
                      <a:pt x="376" y="174"/>
                    </a:lnTo>
                    <a:lnTo>
                      <a:pt x="388" y="171"/>
                    </a:lnTo>
                    <a:lnTo>
                      <a:pt x="395" y="176"/>
                    </a:lnTo>
                    <a:lnTo>
                      <a:pt x="399" y="178"/>
                    </a:lnTo>
                    <a:lnTo>
                      <a:pt x="404" y="179"/>
                    </a:lnTo>
                    <a:lnTo>
                      <a:pt x="414" y="181"/>
                    </a:lnTo>
                    <a:lnTo>
                      <a:pt x="418" y="191"/>
                    </a:lnTo>
                    <a:lnTo>
                      <a:pt x="412" y="196"/>
                    </a:lnTo>
                    <a:lnTo>
                      <a:pt x="402" y="198"/>
                    </a:lnTo>
                    <a:lnTo>
                      <a:pt x="402" y="203"/>
                    </a:lnTo>
                    <a:lnTo>
                      <a:pt x="402" y="205"/>
                    </a:lnTo>
                    <a:lnTo>
                      <a:pt x="399" y="209"/>
                    </a:lnTo>
                    <a:lnTo>
                      <a:pt x="392" y="2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3" name="Freeform 333"/>
              <p:cNvSpPr>
                <a:spLocks/>
              </p:cNvSpPr>
              <p:nvPr/>
            </p:nvSpPr>
            <p:spPr bwMode="auto">
              <a:xfrm>
                <a:off x="2516982" y="2320925"/>
                <a:ext cx="19050" cy="11112"/>
              </a:xfrm>
              <a:custGeom>
                <a:avLst/>
                <a:gdLst/>
                <a:ahLst/>
                <a:cxnLst>
                  <a:cxn ang="0">
                    <a:pos x="12" y="5"/>
                  </a:cxn>
                  <a:cxn ang="0">
                    <a:pos x="5" y="7"/>
                  </a:cxn>
                  <a:cxn ang="0">
                    <a:pos x="0" y="5"/>
                  </a:cxn>
                  <a:cxn ang="0">
                    <a:pos x="5" y="0"/>
                  </a:cxn>
                  <a:cxn ang="0">
                    <a:pos x="12" y="5"/>
                  </a:cxn>
                </a:cxnLst>
                <a:rect l="0" t="0" r="r" b="b"/>
                <a:pathLst>
                  <a:path w="12" h="7">
                    <a:moveTo>
                      <a:pt x="12" y="5"/>
                    </a:moveTo>
                    <a:lnTo>
                      <a:pt x="5" y="7"/>
                    </a:lnTo>
                    <a:lnTo>
                      <a:pt x="0" y="5"/>
                    </a:lnTo>
                    <a:lnTo>
                      <a:pt x="5" y="0"/>
                    </a:lnTo>
                    <a:lnTo>
                      <a:pt x="12"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4" name="Freeform 334"/>
              <p:cNvSpPr>
                <a:spLocks/>
              </p:cNvSpPr>
              <p:nvPr/>
            </p:nvSpPr>
            <p:spPr bwMode="auto">
              <a:xfrm>
                <a:off x="2382044" y="2230438"/>
                <a:ext cx="14288" cy="11112"/>
              </a:xfrm>
              <a:custGeom>
                <a:avLst/>
                <a:gdLst/>
                <a:ahLst/>
                <a:cxnLst>
                  <a:cxn ang="0">
                    <a:pos x="0" y="0"/>
                  </a:cxn>
                  <a:cxn ang="0">
                    <a:pos x="4" y="0"/>
                  </a:cxn>
                  <a:cxn ang="0">
                    <a:pos x="9" y="7"/>
                  </a:cxn>
                  <a:cxn ang="0">
                    <a:pos x="2" y="4"/>
                  </a:cxn>
                  <a:cxn ang="0">
                    <a:pos x="0" y="0"/>
                  </a:cxn>
                </a:cxnLst>
                <a:rect l="0" t="0" r="r" b="b"/>
                <a:pathLst>
                  <a:path w="9" h="7">
                    <a:moveTo>
                      <a:pt x="0" y="0"/>
                    </a:moveTo>
                    <a:lnTo>
                      <a:pt x="4" y="0"/>
                    </a:lnTo>
                    <a:lnTo>
                      <a:pt x="9" y="7"/>
                    </a:lnTo>
                    <a:lnTo>
                      <a:pt x="2" y="4"/>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5" name="Freeform 335"/>
              <p:cNvSpPr>
                <a:spLocks/>
              </p:cNvSpPr>
              <p:nvPr/>
            </p:nvSpPr>
            <p:spPr bwMode="auto">
              <a:xfrm>
                <a:off x="2204244" y="1428750"/>
                <a:ext cx="704850" cy="368300"/>
              </a:xfrm>
              <a:custGeom>
                <a:avLst/>
                <a:gdLst/>
                <a:ahLst/>
                <a:cxnLst>
                  <a:cxn ang="0">
                    <a:pos x="394" y="5"/>
                  </a:cxn>
                  <a:cxn ang="0">
                    <a:pos x="412" y="17"/>
                  </a:cxn>
                  <a:cxn ang="0">
                    <a:pos x="444" y="30"/>
                  </a:cxn>
                  <a:cxn ang="0">
                    <a:pos x="398" y="48"/>
                  </a:cxn>
                  <a:cxn ang="0">
                    <a:pos x="360" y="56"/>
                  </a:cxn>
                  <a:cxn ang="0">
                    <a:pos x="398" y="58"/>
                  </a:cxn>
                  <a:cxn ang="0">
                    <a:pos x="339" y="84"/>
                  </a:cxn>
                  <a:cxn ang="0">
                    <a:pos x="293" y="122"/>
                  </a:cxn>
                  <a:cxn ang="0">
                    <a:pos x="234" y="134"/>
                  </a:cxn>
                  <a:cxn ang="0">
                    <a:pos x="241" y="147"/>
                  </a:cxn>
                  <a:cxn ang="0">
                    <a:pos x="212" y="178"/>
                  </a:cxn>
                  <a:cxn ang="0">
                    <a:pos x="202" y="182"/>
                  </a:cxn>
                  <a:cxn ang="0">
                    <a:pos x="185" y="201"/>
                  </a:cxn>
                  <a:cxn ang="0">
                    <a:pos x="198" y="209"/>
                  </a:cxn>
                  <a:cxn ang="0">
                    <a:pos x="172" y="228"/>
                  </a:cxn>
                  <a:cxn ang="0">
                    <a:pos x="135" y="225"/>
                  </a:cxn>
                  <a:cxn ang="0">
                    <a:pos x="100" y="227"/>
                  </a:cxn>
                  <a:cxn ang="0">
                    <a:pos x="56" y="223"/>
                  </a:cxn>
                  <a:cxn ang="0">
                    <a:pos x="33" y="221"/>
                  </a:cxn>
                  <a:cxn ang="0">
                    <a:pos x="57" y="202"/>
                  </a:cxn>
                  <a:cxn ang="0">
                    <a:pos x="57" y="180"/>
                  </a:cxn>
                  <a:cxn ang="0">
                    <a:pos x="90" y="189"/>
                  </a:cxn>
                  <a:cxn ang="0">
                    <a:pos x="92" y="182"/>
                  </a:cxn>
                  <a:cxn ang="0">
                    <a:pos x="73" y="170"/>
                  </a:cxn>
                  <a:cxn ang="0">
                    <a:pos x="69" y="154"/>
                  </a:cxn>
                  <a:cxn ang="0">
                    <a:pos x="104" y="142"/>
                  </a:cxn>
                  <a:cxn ang="0">
                    <a:pos x="78" y="115"/>
                  </a:cxn>
                  <a:cxn ang="0">
                    <a:pos x="78" y="104"/>
                  </a:cxn>
                  <a:cxn ang="0">
                    <a:pos x="95" y="99"/>
                  </a:cxn>
                  <a:cxn ang="0">
                    <a:pos x="133" y="115"/>
                  </a:cxn>
                  <a:cxn ang="0">
                    <a:pos x="126" y="106"/>
                  </a:cxn>
                  <a:cxn ang="0">
                    <a:pos x="154" y="98"/>
                  </a:cxn>
                  <a:cxn ang="0">
                    <a:pos x="162" y="87"/>
                  </a:cxn>
                  <a:cxn ang="0">
                    <a:pos x="121" y="92"/>
                  </a:cxn>
                  <a:cxn ang="0">
                    <a:pos x="88" y="92"/>
                  </a:cxn>
                  <a:cxn ang="0">
                    <a:pos x="66" y="91"/>
                  </a:cxn>
                  <a:cxn ang="0">
                    <a:pos x="38" y="80"/>
                  </a:cxn>
                  <a:cxn ang="0">
                    <a:pos x="28" y="75"/>
                  </a:cxn>
                  <a:cxn ang="0">
                    <a:pos x="59" y="60"/>
                  </a:cxn>
                  <a:cxn ang="0">
                    <a:pos x="28" y="67"/>
                  </a:cxn>
                  <a:cxn ang="0">
                    <a:pos x="33" y="55"/>
                  </a:cxn>
                  <a:cxn ang="0">
                    <a:pos x="6" y="58"/>
                  </a:cxn>
                  <a:cxn ang="0">
                    <a:pos x="37" y="39"/>
                  </a:cxn>
                  <a:cxn ang="0">
                    <a:pos x="64" y="37"/>
                  </a:cxn>
                  <a:cxn ang="0">
                    <a:pos x="80" y="24"/>
                  </a:cxn>
                  <a:cxn ang="0">
                    <a:pos x="112" y="32"/>
                  </a:cxn>
                  <a:cxn ang="0">
                    <a:pos x="135" y="13"/>
                  </a:cxn>
                  <a:cxn ang="0">
                    <a:pos x="160" y="5"/>
                  </a:cxn>
                  <a:cxn ang="0">
                    <a:pos x="202" y="5"/>
                  </a:cxn>
                  <a:cxn ang="0">
                    <a:pos x="228" y="1"/>
                  </a:cxn>
                  <a:cxn ang="0">
                    <a:pos x="258" y="3"/>
                  </a:cxn>
                  <a:cxn ang="0">
                    <a:pos x="289" y="3"/>
                  </a:cxn>
                  <a:cxn ang="0">
                    <a:pos x="319" y="1"/>
                  </a:cxn>
                  <a:cxn ang="0">
                    <a:pos x="357" y="6"/>
                  </a:cxn>
                </a:cxnLst>
                <a:rect l="0" t="0" r="r" b="b"/>
                <a:pathLst>
                  <a:path w="444" h="232">
                    <a:moveTo>
                      <a:pt x="363" y="12"/>
                    </a:moveTo>
                    <a:lnTo>
                      <a:pt x="358" y="13"/>
                    </a:lnTo>
                    <a:lnTo>
                      <a:pt x="353" y="17"/>
                    </a:lnTo>
                    <a:lnTo>
                      <a:pt x="394" y="5"/>
                    </a:lnTo>
                    <a:lnTo>
                      <a:pt x="398" y="6"/>
                    </a:lnTo>
                    <a:lnTo>
                      <a:pt x="403" y="8"/>
                    </a:lnTo>
                    <a:lnTo>
                      <a:pt x="406" y="12"/>
                    </a:lnTo>
                    <a:lnTo>
                      <a:pt x="412" y="17"/>
                    </a:lnTo>
                    <a:lnTo>
                      <a:pt x="418" y="18"/>
                    </a:lnTo>
                    <a:lnTo>
                      <a:pt x="430" y="22"/>
                    </a:lnTo>
                    <a:lnTo>
                      <a:pt x="439" y="24"/>
                    </a:lnTo>
                    <a:lnTo>
                      <a:pt x="444" y="30"/>
                    </a:lnTo>
                    <a:lnTo>
                      <a:pt x="439" y="36"/>
                    </a:lnTo>
                    <a:lnTo>
                      <a:pt x="432" y="37"/>
                    </a:lnTo>
                    <a:lnTo>
                      <a:pt x="415" y="44"/>
                    </a:lnTo>
                    <a:lnTo>
                      <a:pt x="398" y="48"/>
                    </a:lnTo>
                    <a:lnTo>
                      <a:pt x="387" y="48"/>
                    </a:lnTo>
                    <a:lnTo>
                      <a:pt x="379" y="49"/>
                    </a:lnTo>
                    <a:lnTo>
                      <a:pt x="369" y="51"/>
                    </a:lnTo>
                    <a:lnTo>
                      <a:pt x="360" y="56"/>
                    </a:lnTo>
                    <a:lnTo>
                      <a:pt x="365" y="56"/>
                    </a:lnTo>
                    <a:lnTo>
                      <a:pt x="375" y="58"/>
                    </a:lnTo>
                    <a:lnTo>
                      <a:pt x="386" y="58"/>
                    </a:lnTo>
                    <a:lnTo>
                      <a:pt x="398" y="58"/>
                    </a:lnTo>
                    <a:lnTo>
                      <a:pt x="384" y="65"/>
                    </a:lnTo>
                    <a:lnTo>
                      <a:pt x="370" y="72"/>
                    </a:lnTo>
                    <a:lnTo>
                      <a:pt x="353" y="77"/>
                    </a:lnTo>
                    <a:lnTo>
                      <a:pt x="339" y="84"/>
                    </a:lnTo>
                    <a:lnTo>
                      <a:pt x="324" y="89"/>
                    </a:lnTo>
                    <a:lnTo>
                      <a:pt x="314" y="99"/>
                    </a:lnTo>
                    <a:lnTo>
                      <a:pt x="303" y="110"/>
                    </a:lnTo>
                    <a:lnTo>
                      <a:pt x="293" y="122"/>
                    </a:lnTo>
                    <a:lnTo>
                      <a:pt x="279" y="122"/>
                    </a:lnTo>
                    <a:lnTo>
                      <a:pt x="267" y="123"/>
                    </a:lnTo>
                    <a:lnTo>
                      <a:pt x="248" y="127"/>
                    </a:lnTo>
                    <a:lnTo>
                      <a:pt x="234" y="134"/>
                    </a:lnTo>
                    <a:lnTo>
                      <a:pt x="248" y="134"/>
                    </a:lnTo>
                    <a:lnTo>
                      <a:pt x="245" y="142"/>
                    </a:lnTo>
                    <a:lnTo>
                      <a:pt x="234" y="144"/>
                    </a:lnTo>
                    <a:lnTo>
                      <a:pt x="241" y="147"/>
                    </a:lnTo>
                    <a:lnTo>
                      <a:pt x="248" y="156"/>
                    </a:lnTo>
                    <a:lnTo>
                      <a:pt x="236" y="166"/>
                    </a:lnTo>
                    <a:lnTo>
                      <a:pt x="226" y="178"/>
                    </a:lnTo>
                    <a:lnTo>
                      <a:pt x="212" y="178"/>
                    </a:lnTo>
                    <a:lnTo>
                      <a:pt x="205" y="178"/>
                    </a:lnTo>
                    <a:lnTo>
                      <a:pt x="202" y="178"/>
                    </a:lnTo>
                    <a:lnTo>
                      <a:pt x="200" y="178"/>
                    </a:lnTo>
                    <a:lnTo>
                      <a:pt x="202" y="182"/>
                    </a:lnTo>
                    <a:lnTo>
                      <a:pt x="203" y="187"/>
                    </a:lnTo>
                    <a:lnTo>
                      <a:pt x="200" y="194"/>
                    </a:lnTo>
                    <a:lnTo>
                      <a:pt x="193" y="197"/>
                    </a:lnTo>
                    <a:lnTo>
                      <a:pt x="185" y="201"/>
                    </a:lnTo>
                    <a:lnTo>
                      <a:pt x="183" y="209"/>
                    </a:lnTo>
                    <a:lnTo>
                      <a:pt x="190" y="209"/>
                    </a:lnTo>
                    <a:lnTo>
                      <a:pt x="195" y="209"/>
                    </a:lnTo>
                    <a:lnTo>
                      <a:pt x="198" y="209"/>
                    </a:lnTo>
                    <a:lnTo>
                      <a:pt x="203" y="214"/>
                    </a:lnTo>
                    <a:lnTo>
                      <a:pt x="197" y="220"/>
                    </a:lnTo>
                    <a:lnTo>
                      <a:pt x="186" y="225"/>
                    </a:lnTo>
                    <a:lnTo>
                      <a:pt x="172" y="228"/>
                    </a:lnTo>
                    <a:lnTo>
                      <a:pt x="162" y="232"/>
                    </a:lnTo>
                    <a:lnTo>
                      <a:pt x="152" y="228"/>
                    </a:lnTo>
                    <a:lnTo>
                      <a:pt x="145" y="225"/>
                    </a:lnTo>
                    <a:lnTo>
                      <a:pt x="135" y="225"/>
                    </a:lnTo>
                    <a:lnTo>
                      <a:pt x="126" y="225"/>
                    </a:lnTo>
                    <a:lnTo>
                      <a:pt x="116" y="225"/>
                    </a:lnTo>
                    <a:lnTo>
                      <a:pt x="107" y="225"/>
                    </a:lnTo>
                    <a:lnTo>
                      <a:pt x="100" y="227"/>
                    </a:lnTo>
                    <a:lnTo>
                      <a:pt x="92" y="230"/>
                    </a:lnTo>
                    <a:lnTo>
                      <a:pt x="80" y="228"/>
                    </a:lnTo>
                    <a:lnTo>
                      <a:pt x="68" y="227"/>
                    </a:lnTo>
                    <a:lnTo>
                      <a:pt x="56" y="223"/>
                    </a:lnTo>
                    <a:lnTo>
                      <a:pt x="43" y="220"/>
                    </a:lnTo>
                    <a:lnTo>
                      <a:pt x="40" y="221"/>
                    </a:lnTo>
                    <a:lnTo>
                      <a:pt x="38" y="225"/>
                    </a:lnTo>
                    <a:lnTo>
                      <a:pt x="33" y="221"/>
                    </a:lnTo>
                    <a:lnTo>
                      <a:pt x="33" y="220"/>
                    </a:lnTo>
                    <a:lnTo>
                      <a:pt x="37" y="208"/>
                    </a:lnTo>
                    <a:lnTo>
                      <a:pt x="47" y="204"/>
                    </a:lnTo>
                    <a:lnTo>
                      <a:pt x="57" y="202"/>
                    </a:lnTo>
                    <a:lnTo>
                      <a:pt x="69" y="201"/>
                    </a:lnTo>
                    <a:lnTo>
                      <a:pt x="59" y="194"/>
                    </a:lnTo>
                    <a:lnTo>
                      <a:pt x="54" y="185"/>
                    </a:lnTo>
                    <a:lnTo>
                      <a:pt x="57" y="180"/>
                    </a:lnTo>
                    <a:lnTo>
                      <a:pt x="66" y="180"/>
                    </a:lnTo>
                    <a:lnTo>
                      <a:pt x="74" y="180"/>
                    </a:lnTo>
                    <a:lnTo>
                      <a:pt x="83" y="184"/>
                    </a:lnTo>
                    <a:lnTo>
                      <a:pt x="90" y="189"/>
                    </a:lnTo>
                    <a:lnTo>
                      <a:pt x="97" y="194"/>
                    </a:lnTo>
                    <a:lnTo>
                      <a:pt x="107" y="194"/>
                    </a:lnTo>
                    <a:lnTo>
                      <a:pt x="99" y="187"/>
                    </a:lnTo>
                    <a:lnTo>
                      <a:pt x="92" y="182"/>
                    </a:lnTo>
                    <a:lnTo>
                      <a:pt x="85" y="175"/>
                    </a:lnTo>
                    <a:lnTo>
                      <a:pt x="83" y="168"/>
                    </a:lnTo>
                    <a:lnTo>
                      <a:pt x="76" y="168"/>
                    </a:lnTo>
                    <a:lnTo>
                      <a:pt x="73" y="170"/>
                    </a:lnTo>
                    <a:lnTo>
                      <a:pt x="71" y="171"/>
                    </a:lnTo>
                    <a:lnTo>
                      <a:pt x="64" y="171"/>
                    </a:lnTo>
                    <a:lnTo>
                      <a:pt x="64" y="166"/>
                    </a:lnTo>
                    <a:lnTo>
                      <a:pt x="69" y="154"/>
                    </a:lnTo>
                    <a:lnTo>
                      <a:pt x="78" y="149"/>
                    </a:lnTo>
                    <a:lnTo>
                      <a:pt x="86" y="147"/>
                    </a:lnTo>
                    <a:lnTo>
                      <a:pt x="97" y="146"/>
                    </a:lnTo>
                    <a:lnTo>
                      <a:pt x="104" y="142"/>
                    </a:lnTo>
                    <a:lnTo>
                      <a:pt x="107" y="135"/>
                    </a:lnTo>
                    <a:lnTo>
                      <a:pt x="100" y="125"/>
                    </a:lnTo>
                    <a:lnTo>
                      <a:pt x="90" y="120"/>
                    </a:lnTo>
                    <a:lnTo>
                      <a:pt x="78" y="115"/>
                    </a:lnTo>
                    <a:lnTo>
                      <a:pt x="73" y="110"/>
                    </a:lnTo>
                    <a:lnTo>
                      <a:pt x="76" y="106"/>
                    </a:lnTo>
                    <a:lnTo>
                      <a:pt x="85" y="106"/>
                    </a:lnTo>
                    <a:lnTo>
                      <a:pt x="78" y="104"/>
                    </a:lnTo>
                    <a:lnTo>
                      <a:pt x="78" y="101"/>
                    </a:lnTo>
                    <a:lnTo>
                      <a:pt x="80" y="99"/>
                    </a:lnTo>
                    <a:lnTo>
                      <a:pt x="85" y="101"/>
                    </a:lnTo>
                    <a:lnTo>
                      <a:pt x="95" y="99"/>
                    </a:lnTo>
                    <a:lnTo>
                      <a:pt x="112" y="101"/>
                    </a:lnTo>
                    <a:lnTo>
                      <a:pt x="119" y="104"/>
                    </a:lnTo>
                    <a:lnTo>
                      <a:pt x="126" y="111"/>
                    </a:lnTo>
                    <a:lnTo>
                      <a:pt x="133" y="115"/>
                    </a:lnTo>
                    <a:lnTo>
                      <a:pt x="143" y="118"/>
                    </a:lnTo>
                    <a:lnTo>
                      <a:pt x="138" y="113"/>
                    </a:lnTo>
                    <a:lnTo>
                      <a:pt x="131" y="110"/>
                    </a:lnTo>
                    <a:lnTo>
                      <a:pt x="126" y="106"/>
                    </a:lnTo>
                    <a:lnTo>
                      <a:pt x="124" y="103"/>
                    </a:lnTo>
                    <a:lnTo>
                      <a:pt x="124" y="99"/>
                    </a:lnTo>
                    <a:lnTo>
                      <a:pt x="128" y="98"/>
                    </a:lnTo>
                    <a:lnTo>
                      <a:pt x="154" y="98"/>
                    </a:lnTo>
                    <a:lnTo>
                      <a:pt x="166" y="91"/>
                    </a:lnTo>
                    <a:lnTo>
                      <a:pt x="178" y="84"/>
                    </a:lnTo>
                    <a:lnTo>
                      <a:pt x="171" y="84"/>
                    </a:lnTo>
                    <a:lnTo>
                      <a:pt x="162" y="87"/>
                    </a:lnTo>
                    <a:lnTo>
                      <a:pt x="154" y="92"/>
                    </a:lnTo>
                    <a:lnTo>
                      <a:pt x="142" y="94"/>
                    </a:lnTo>
                    <a:lnTo>
                      <a:pt x="131" y="96"/>
                    </a:lnTo>
                    <a:lnTo>
                      <a:pt x="121" y="92"/>
                    </a:lnTo>
                    <a:lnTo>
                      <a:pt x="114" y="91"/>
                    </a:lnTo>
                    <a:lnTo>
                      <a:pt x="109" y="92"/>
                    </a:lnTo>
                    <a:lnTo>
                      <a:pt x="104" y="96"/>
                    </a:lnTo>
                    <a:lnTo>
                      <a:pt x="88" y="92"/>
                    </a:lnTo>
                    <a:lnTo>
                      <a:pt x="83" y="86"/>
                    </a:lnTo>
                    <a:lnTo>
                      <a:pt x="78" y="86"/>
                    </a:lnTo>
                    <a:lnTo>
                      <a:pt x="71" y="89"/>
                    </a:lnTo>
                    <a:lnTo>
                      <a:pt x="66" y="91"/>
                    </a:lnTo>
                    <a:lnTo>
                      <a:pt x="57" y="89"/>
                    </a:lnTo>
                    <a:lnTo>
                      <a:pt x="49" y="87"/>
                    </a:lnTo>
                    <a:lnTo>
                      <a:pt x="42" y="84"/>
                    </a:lnTo>
                    <a:lnTo>
                      <a:pt x="38" y="80"/>
                    </a:lnTo>
                    <a:lnTo>
                      <a:pt x="43" y="77"/>
                    </a:lnTo>
                    <a:lnTo>
                      <a:pt x="52" y="75"/>
                    </a:lnTo>
                    <a:lnTo>
                      <a:pt x="37" y="75"/>
                    </a:lnTo>
                    <a:lnTo>
                      <a:pt x="28" y="75"/>
                    </a:lnTo>
                    <a:lnTo>
                      <a:pt x="31" y="67"/>
                    </a:lnTo>
                    <a:lnTo>
                      <a:pt x="40" y="63"/>
                    </a:lnTo>
                    <a:lnTo>
                      <a:pt x="49" y="61"/>
                    </a:lnTo>
                    <a:lnTo>
                      <a:pt x="59" y="60"/>
                    </a:lnTo>
                    <a:lnTo>
                      <a:pt x="54" y="58"/>
                    </a:lnTo>
                    <a:lnTo>
                      <a:pt x="49" y="58"/>
                    </a:lnTo>
                    <a:lnTo>
                      <a:pt x="38" y="61"/>
                    </a:lnTo>
                    <a:lnTo>
                      <a:pt x="28" y="67"/>
                    </a:lnTo>
                    <a:lnTo>
                      <a:pt x="23" y="65"/>
                    </a:lnTo>
                    <a:lnTo>
                      <a:pt x="19" y="63"/>
                    </a:lnTo>
                    <a:lnTo>
                      <a:pt x="26" y="56"/>
                    </a:lnTo>
                    <a:lnTo>
                      <a:pt x="33" y="55"/>
                    </a:lnTo>
                    <a:lnTo>
                      <a:pt x="19" y="55"/>
                    </a:lnTo>
                    <a:lnTo>
                      <a:pt x="14" y="56"/>
                    </a:lnTo>
                    <a:lnTo>
                      <a:pt x="11" y="58"/>
                    </a:lnTo>
                    <a:lnTo>
                      <a:pt x="6" y="58"/>
                    </a:lnTo>
                    <a:lnTo>
                      <a:pt x="0" y="58"/>
                    </a:lnTo>
                    <a:lnTo>
                      <a:pt x="6" y="48"/>
                    </a:lnTo>
                    <a:lnTo>
                      <a:pt x="19" y="43"/>
                    </a:lnTo>
                    <a:lnTo>
                      <a:pt x="37" y="39"/>
                    </a:lnTo>
                    <a:lnTo>
                      <a:pt x="50" y="39"/>
                    </a:lnTo>
                    <a:lnTo>
                      <a:pt x="57" y="39"/>
                    </a:lnTo>
                    <a:lnTo>
                      <a:pt x="62" y="39"/>
                    </a:lnTo>
                    <a:lnTo>
                      <a:pt x="64" y="37"/>
                    </a:lnTo>
                    <a:lnTo>
                      <a:pt x="66" y="36"/>
                    </a:lnTo>
                    <a:lnTo>
                      <a:pt x="73" y="32"/>
                    </a:lnTo>
                    <a:lnTo>
                      <a:pt x="78" y="29"/>
                    </a:lnTo>
                    <a:lnTo>
                      <a:pt x="80" y="24"/>
                    </a:lnTo>
                    <a:lnTo>
                      <a:pt x="86" y="24"/>
                    </a:lnTo>
                    <a:lnTo>
                      <a:pt x="93" y="24"/>
                    </a:lnTo>
                    <a:lnTo>
                      <a:pt x="104" y="29"/>
                    </a:lnTo>
                    <a:lnTo>
                      <a:pt x="112" y="32"/>
                    </a:lnTo>
                    <a:lnTo>
                      <a:pt x="121" y="36"/>
                    </a:lnTo>
                    <a:lnTo>
                      <a:pt x="123" y="25"/>
                    </a:lnTo>
                    <a:lnTo>
                      <a:pt x="128" y="18"/>
                    </a:lnTo>
                    <a:lnTo>
                      <a:pt x="135" y="13"/>
                    </a:lnTo>
                    <a:lnTo>
                      <a:pt x="145" y="13"/>
                    </a:lnTo>
                    <a:lnTo>
                      <a:pt x="150" y="13"/>
                    </a:lnTo>
                    <a:lnTo>
                      <a:pt x="155" y="12"/>
                    </a:lnTo>
                    <a:lnTo>
                      <a:pt x="160" y="5"/>
                    </a:lnTo>
                    <a:lnTo>
                      <a:pt x="167" y="5"/>
                    </a:lnTo>
                    <a:lnTo>
                      <a:pt x="183" y="5"/>
                    </a:lnTo>
                    <a:lnTo>
                      <a:pt x="197" y="5"/>
                    </a:lnTo>
                    <a:lnTo>
                      <a:pt x="202" y="5"/>
                    </a:lnTo>
                    <a:lnTo>
                      <a:pt x="209" y="5"/>
                    </a:lnTo>
                    <a:lnTo>
                      <a:pt x="215" y="5"/>
                    </a:lnTo>
                    <a:lnTo>
                      <a:pt x="226" y="5"/>
                    </a:lnTo>
                    <a:lnTo>
                      <a:pt x="228" y="1"/>
                    </a:lnTo>
                    <a:lnTo>
                      <a:pt x="233" y="1"/>
                    </a:lnTo>
                    <a:lnTo>
                      <a:pt x="241" y="5"/>
                    </a:lnTo>
                    <a:lnTo>
                      <a:pt x="252" y="8"/>
                    </a:lnTo>
                    <a:lnTo>
                      <a:pt x="258" y="3"/>
                    </a:lnTo>
                    <a:lnTo>
                      <a:pt x="267" y="0"/>
                    </a:lnTo>
                    <a:lnTo>
                      <a:pt x="274" y="1"/>
                    </a:lnTo>
                    <a:lnTo>
                      <a:pt x="283" y="3"/>
                    </a:lnTo>
                    <a:lnTo>
                      <a:pt x="289" y="3"/>
                    </a:lnTo>
                    <a:lnTo>
                      <a:pt x="296" y="3"/>
                    </a:lnTo>
                    <a:lnTo>
                      <a:pt x="300" y="1"/>
                    </a:lnTo>
                    <a:lnTo>
                      <a:pt x="308" y="1"/>
                    </a:lnTo>
                    <a:lnTo>
                      <a:pt x="319" y="1"/>
                    </a:lnTo>
                    <a:lnTo>
                      <a:pt x="329" y="3"/>
                    </a:lnTo>
                    <a:lnTo>
                      <a:pt x="339" y="3"/>
                    </a:lnTo>
                    <a:lnTo>
                      <a:pt x="350" y="5"/>
                    </a:lnTo>
                    <a:lnTo>
                      <a:pt x="357" y="6"/>
                    </a:lnTo>
                    <a:lnTo>
                      <a:pt x="363"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6" name="Freeform 336"/>
              <p:cNvSpPr>
                <a:spLocks/>
              </p:cNvSpPr>
              <p:nvPr/>
            </p:nvSpPr>
            <p:spPr bwMode="auto">
              <a:xfrm>
                <a:off x="2647157" y="1392238"/>
                <a:ext cx="1381125" cy="1047750"/>
              </a:xfrm>
              <a:custGeom>
                <a:avLst/>
                <a:gdLst/>
                <a:ahLst/>
                <a:cxnLst>
                  <a:cxn ang="0">
                    <a:pos x="322" y="427"/>
                  </a:cxn>
                  <a:cxn ang="0">
                    <a:pos x="291" y="409"/>
                  </a:cxn>
                  <a:cxn ang="0">
                    <a:pos x="275" y="377"/>
                  </a:cxn>
                  <a:cxn ang="0">
                    <a:pos x="255" y="348"/>
                  </a:cxn>
                  <a:cxn ang="0">
                    <a:pos x="193" y="265"/>
                  </a:cxn>
                  <a:cxn ang="0">
                    <a:pos x="108" y="258"/>
                  </a:cxn>
                  <a:cxn ang="0">
                    <a:pos x="86" y="262"/>
                  </a:cxn>
                  <a:cxn ang="0">
                    <a:pos x="59" y="241"/>
                  </a:cxn>
                  <a:cxn ang="0">
                    <a:pos x="43" y="222"/>
                  </a:cxn>
                  <a:cxn ang="0">
                    <a:pos x="74" y="207"/>
                  </a:cxn>
                  <a:cxn ang="0">
                    <a:pos x="7" y="194"/>
                  </a:cxn>
                  <a:cxn ang="0">
                    <a:pos x="53" y="165"/>
                  </a:cxn>
                  <a:cxn ang="0">
                    <a:pos x="100" y="133"/>
                  </a:cxn>
                  <a:cxn ang="0">
                    <a:pos x="110" y="103"/>
                  </a:cxn>
                  <a:cxn ang="0">
                    <a:pos x="157" y="71"/>
                  </a:cxn>
                  <a:cxn ang="0">
                    <a:pos x="232" y="52"/>
                  </a:cxn>
                  <a:cxn ang="0">
                    <a:pos x="270" y="59"/>
                  </a:cxn>
                  <a:cxn ang="0">
                    <a:pos x="305" y="55"/>
                  </a:cxn>
                  <a:cxn ang="0">
                    <a:pos x="361" y="60"/>
                  </a:cxn>
                  <a:cxn ang="0">
                    <a:pos x="363" y="35"/>
                  </a:cxn>
                  <a:cxn ang="0">
                    <a:pos x="396" y="17"/>
                  </a:cxn>
                  <a:cxn ang="0">
                    <a:pos x="470" y="14"/>
                  </a:cxn>
                  <a:cxn ang="0">
                    <a:pos x="549" y="0"/>
                  </a:cxn>
                  <a:cxn ang="0">
                    <a:pos x="614" y="0"/>
                  </a:cxn>
                  <a:cxn ang="0">
                    <a:pos x="700" y="29"/>
                  </a:cxn>
                  <a:cxn ang="0">
                    <a:pos x="683" y="55"/>
                  </a:cxn>
                  <a:cxn ang="0">
                    <a:pos x="655" y="59"/>
                  </a:cxn>
                  <a:cxn ang="0">
                    <a:pos x="666" y="81"/>
                  </a:cxn>
                  <a:cxn ang="0">
                    <a:pos x="710" y="95"/>
                  </a:cxn>
                  <a:cxn ang="0">
                    <a:pos x="750" y="74"/>
                  </a:cxn>
                  <a:cxn ang="0">
                    <a:pos x="805" y="66"/>
                  </a:cxn>
                  <a:cxn ang="0">
                    <a:pos x="870" y="76"/>
                  </a:cxn>
                  <a:cxn ang="0">
                    <a:pos x="812" y="109"/>
                  </a:cxn>
                  <a:cxn ang="0">
                    <a:pos x="795" y="131"/>
                  </a:cxn>
                  <a:cxn ang="0">
                    <a:pos x="747" y="182"/>
                  </a:cxn>
                  <a:cxn ang="0">
                    <a:pos x="769" y="207"/>
                  </a:cxn>
                  <a:cxn ang="0">
                    <a:pos x="764" y="232"/>
                  </a:cxn>
                  <a:cxn ang="0">
                    <a:pos x="769" y="270"/>
                  </a:cxn>
                  <a:cxn ang="0">
                    <a:pos x="767" y="296"/>
                  </a:cxn>
                  <a:cxn ang="0">
                    <a:pos x="741" y="330"/>
                  </a:cxn>
                  <a:cxn ang="0">
                    <a:pos x="721" y="337"/>
                  </a:cxn>
                  <a:cxn ang="0">
                    <a:pos x="700" y="348"/>
                  </a:cxn>
                  <a:cxn ang="0">
                    <a:pos x="735" y="385"/>
                  </a:cxn>
                  <a:cxn ang="0">
                    <a:pos x="698" y="389"/>
                  </a:cxn>
                  <a:cxn ang="0">
                    <a:pos x="674" y="404"/>
                  </a:cxn>
                  <a:cxn ang="0">
                    <a:pos x="724" y="420"/>
                  </a:cxn>
                  <a:cxn ang="0">
                    <a:pos x="673" y="456"/>
                  </a:cxn>
                  <a:cxn ang="0">
                    <a:pos x="587" y="476"/>
                  </a:cxn>
                  <a:cxn ang="0">
                    <a:pos x="518" y="526"/>
                  </a:cxn>
                  <a:cxn ang="0">
                    <a:pos x="464" y="542"/>
                  </a:cxn>
                  <a:cxn ang="0">
                    <a:pos x="464" y="575"/>
                  </a:cxn>
                  <a:cxn ang="0">
                    <a:pos x="434" y="635"/>
                  </a:cxn>
                  <a:cxn ang="0">
                    <a:pos x="406" y="659"/>
                  </a:cxn>
                  <a:cxn ang="0">
                    <a:pos x="353" y="633"/>
                  </a:cxn>
                  <a:cxn ang="0">
                    <a:pos x="310" y="573"/>
                  </a:cxn>
                  <a:cxn ang="0">
                    <a:pos x="289" y="537"/>
                  </a:cxn>
                  <a:cxn ang="0">
                    <a:pos x="272" y="504"/>
                  </a:cxn>
                </a:cxnLst>
                <a:rect l="0" t="0" r="r" b="b"/>
                <a:pathLst>
                  <a:path w="870" h="660">
                    <a:moveTo>
                      <a:pt x="292" y="463"/>
                    </a:moveTo>
                    <a:lnTo>
                      <a:pt x="299" y="459"/>
                    </a:lnTo>
                    <a:lnTo>
                      <a:pt x="306" y="463"/>
                    </a:lnTo>
                    <a:lnTo>
                      <a:pt x="308" y="451"/>
                    </a:lnTo>
                    <a:lnTo>
                      <a:pt x="313" y="444"/>
                    </a:lnTo>
                    <a:lnTo>
                      <a:pt x="317" y="435"/>
                    </a:lnTo>
                    <a:lnTo>
                      <a:pt x="322" y="427"/>
                    </a:lnTo>
                    <a:lnTo>
                      <a:pt x="306" y="421"/>
                    </a:lnTo>
                    <a:lnTo>
                      <a:pt x="289" y="418"/>
                    </a:lnTo>
                    <a:lnTo>
                      <a:pt x="274" y="413"/>
                    </a:lnTo>
                    <a:lnTo>
                      <a:pt x="267" y="406"/>
                    </a:lnTo>
                    <a:lnTo>
                      <a:pt x="272" y="404"/>
                    </a:lnTo>
                    <a:lnTo>
                      <a:pt x="277" y="406"/>
                    </a:lnTo>
                    <a:lnTo>
                      <a:pt x="291" y="409"/>
                    </a:lnTo>
                    <a:lnTo>
                      <a:pt x="306" y="413"/>
                    </a:lnTo>
                    <a:lnTo>
                      <a:pt x="310" y="409"/>
                    </a:lnTo>
                    <a:lnTo>
                      <a:pt x="311" y="406"/>
                    </a:lnTo>
                    <a:lnTo>
                      <a:pt x="299" y="397"/>
                    </a:lnTo>
                    <a:lnTo>
                      <a:pt x="292" y="389"/>
                    </a:lnTo>
                    <a:lnTo>
                      <a:pt x="286" y="380"/>
                    </a:lnTo>
                    <a:lnTo>
                      <a:pt x="275" y="377"/>
                    </a:lnTo>
                    <a:lnTo>
                      <a:pt x="268" y="380"/>
                    </a:lnTo>
                    <a:lnTo>
                      <a:pt x="262" y="385"/>
                    </a:lnTo>
                    <a:lnTo>
                      <a:pt x="251" y="384"/>
                    </a:lnTo>
                    <a:lnTo>
                      <a:pt x="248" y="377"/>
                    </a:lnTo>
                    <a:lnTo>
                      <a:pt x="253" y="365"/>
                    </a:lnTo>
                    <a:lnTo>
                      <a:pt x="260" y="354"/>
                    </a:lnTo>
                    <a:lnTo>
                      <a:pt x="255" y="348"/>
                    </a:lnTo>
                    <a:lnTo>
                      <a:pt x="248" y="346"/>
                    </a:lnTo>
                    <a:lnTo>
                      <a:pt x="248" y="339"/>
                    </a:lnTo>
                    <a:lnTo>
                      <a:pt x="239" y="322"/>
                    </a:lnTo>
                    <a:lnTo>
                      <a:pt x="231" y="305"/>
                    </a:lnTo>
                    <a:lnTo>
                      <a:pt x="220" y="289"/>
                    </a:lnTo>
                    <a:lnTo>
                      <a:pt x="210" y="277"/>
                    </a:lnTo>
                    <a:lnTo>
                      <a:pt x="193" y="265"/>
                    </a:lnTo>
                    <a:lnTo>
                      <a:pt x="177" y="258"/>
                    </a:lnTo>
                    <a:lnTo>
                      <a:pt x="160" y="251"/>
                    </a:lnTo>
                    <a:lnTo>
                      <a:pt x="141" y="251"/>
                    </a:lnTo>
                    <a:lnTo>
                      <a:pt x="131" y="251"/>
                    </a:lnTo>
                    <a:lnTo>
                      <a:pt x="126" y="251"/>
                    </a:lnTo>
                    <a:lnTo>
                      <a:pt x="117" y="255"/>
                    </a:lnTo>
                    <a:lnTo>
                      <a:pt x="108" y="258"/>
                    </a:lnTo>
                    <a:lnTo>
                      <a:pt x="102" y="255"/>
                    </a:lnTo>
                    <a:lnTo>
                      <a:pt x="95" y="253"/>
                    </a:lnTo>
                    <a:lnTo>
                      <a:pt x="86" y="253"/>
                    </a:lnTo>
                    <a:lnTo>
                      <a:pt x="84" y="256"/>
                    </a:lnTo>
                    <a:lnTo>
                      <a:pt x="86" y="258"/>
                    </a:lnTo>
                    <a:lnTo>
                      <a:pt x="90" y="260"/>
                    </a:lnTo>
                    <a:lnTo>
                      <a:pt x="86" y="262"/>
                    </a:lnTo>
                    <a:lnTo>
                      <a:pt x="83" y="262"/>
                    </a:lnTo>
                    <a:lnTo>
                      <a:pt x="72" y="260"/>
                    </a:lnTo>
                    <a:lnTo>
                      <a:pt x="64" y="258"/>
                    </a:lnTo>
                    <a:lnTo>
                      <a:pt x="53" y="253"/>
                    </a:lnTo>
                    <a:lnTo>
                      <a:pt x="50" y="250"/>
                    </a:lnTo>
                    <a:lnTo>
                      <a:pt x="53" y="244"/>
                    </a:lnTo>
                    <a:lnTo>
                      <a:pt x="59" y="241"/>
                    </a:lnTo>
                    <a:lnTo>
                      <a:pt x="48" y="234"/>
                    </a:lnTo>
                    <a:lnTo>
                      <a:pt x="40" y="232"/>
                    </a:lnTo>
                    <a:lnTo>
                      <a:pt x="29" y="232"/>
                    </a:lnTo>
                    <a:lnTo>
                      <a:pt x="21" y="232"/>
                    </a:lnTo>
                    <a:lnTo>
                      <a:pt x="28" y="224"/>
                    </a:lnTo>
                    <a:lnTo>
                      <a:pt x="36" y="222"/>
                    </a:lnTo>
                    <a:lnTo>
                      <a:pt x="43" y="222"/>
                    </a:lnTo>
                    <a:lnTo>
                      <a:pt x="50" y="222"/>
                    </a:lnTo>
                    <a:lnTo>
                      <a:pt x="53" y="220"/>
                    </a:lnTo>
                    <a:lnTo>
                      <a:pt x="59" y="219"/>
                    </a:lnTo>
                    <a:lnTo>
                      <a:pt x="88" y="219"/>
                    </a:lnTo>
                    <a:lnTo>
                      <a:pt x="91" y="212"/>
                    </a:lnTo>
                    <a:lnTo>
                      <a:pt x="95" y="207"/>
                    </a:lnTo>
                    <a:lnTo>
                      <a:pt x="74" y="207"/>
                    </a:lnTo>
                    <a:lnTo>
                      <a:pt x="71" y="210"/>
                    </a:lnTo>
                    <a:lnTo>
                      <a:pt x="69" y="212"/>
                    </a:lnTo>
                    <a:lnTo>
                      <a:pt x="59" y="212"/>
                    </a:lnTo>
                    <a:lnTo>
                      <a:pt x="50" y="212"/>
                    </a:lnTo>
                    <a:lnTo>
                      <a:pt x="40" y="208"/>
                    </a:lnTo>
                    <a:lnTo>
                      <a:pt x="24" y="203"/>
                    </a:lnTo>
                    <a:lnTo>
                      <a:pt x="7" y="194"/>
                    </a:lnTo>
                    <a:lnTo>
                      <a:pt x="0" y="189"/>
                    </a:lnTo>
                    <a:lnTo>
                      <a:pt x="2" y="181"/>
                    </a:lnTo>
                    <a:lnTo>
                      <a:pt x="9" y="177"/>
                    </a:lnTo>
                    <a:lnTo>
                      <a:pt x="19" y="177"/>
                    </a:lnTo>
                    <a:lnTo>
                      <a:pt x="29" y="177"/>
                    </a:lnTo>
                    <a:lnTo>
                      <a:pt x="40" y="170"/>
                    </a:lnTo>
                    <a:lnTo>
                      <a:pt x="53" y="165"/>
                    </a:lnTo>
                    <a:lnTo>
                      <a:pt x="64" y="162"/>
                    </a:lnTo>
                    <a:lnTo>
                      <a:pt x="74" y="164"/>
                    </a:lnTo>
                    <a:lnTo>
                      <a:pt x="84" y="162"/>
                    </a:lnTo>
                    <a:lnTo>
                      <a:pt x="96" y="162"/>
                    </a:lnTo>
                    <a:lnTo>
                      <a:pt x="105" y="150"/>
                    </a:lnTo>
                    <a:lnTo>
                      <a:pt x="110" y="134"/>
                    </a:lnTo>
                    <a:lnTo>
                      <a:pt x="100" y="133"/>
                    </a:lnTo>
                    <a:lnTo>
                      <a:pt x="88" y="131"/>
                    </a:lnTo>
                    <a:lnTo>
                      <a:pt x="76" y="129"/>
                    </a:lnTo>
                    <a:lnTo>
                      <a:pt x="72" y="124"/>
                    </a:lnTo>
                    <a:lnTo>
                      <a:pt x="76" y="117"/>
                    </a:lnTo>
                    <a:lnTo>
                      <a:pt x="83" y="117"/>
                    </a:lnTo>
                    <a:lnTo>
                      <a:pt x="95" y="110"/>
                    </a:lnTo>
                    <a:lnTo>
                      <a:pt x="110" y="103"/>
                    </a:lnTo>
                    <a:lnTo>
                      <a:pt x="122" y="95"/>
                    </a:lnTo>
                    <a:lnTo>
                      <a:pt x="133" y="88"/>
                    </a:lnTo>
                    <a:lnTo>
                      <a:pt x="138" y="91"/>
                    </a:lnTo>
                    <a:lnTo>
                      <a:pt x="146" y="93"/>
                    </a:lnTo>
                    <a:lnTo>
                      <a:pt x="153" y="88"/>
                    </a:lnTo>
                    <a:lnTo>
                      <a:pt x="155" y="79"/>
                    </a:lnTo>
                    <a:lnTo>
                      <a:pt x="157" y="71"/>
                    </a:lnTo>
                    <a:lnTo>
                      <a:pt x="165" y="67"/>
                    </a:lnTo>
                    <a:lnTo>
                      <a:pt x="177" y="64"/>
                    </a:lnTo>
                    <a:lnTo>
                      <a:pt x="189" y="62"/>
                    </a:lnTo>
                    <a:lnTo>
                      <a:pt x="200" y="60"/>
                    </a:lnTo>
                    <a:lnTo>
                      <a:pt x="213" y="60"/>
                    </a:lnTo>
                    <a:lnTo>
                      <a:pt x="222" y="55"/>
                    </a:lnTo>
                    <a:lnTo>
                      <a:pt x="232" y="52"/>
                    </a:lnTo>
                    <a:lnTo>
                      <a:pt x="241" y="48"/>
                    </a:lnTo>
                    <a:lnTo>
                      <a:pt x="251" y="48"/>
                    </a:lnTo>
                    <a:lnTo>
                      <a:pt x="256" y="50"/>
                    </a:lnTo>
                    <a:lnTo>
                      <a:pt x="262" y="55"/>
                    </a:lnTo>
                    <a:lnTo>
                      <a:pt x="265" y="60"/>
                    </a:lnTo>
                    <a:lnTo>
                      <a:pt x="272" y="64"/>
                    </a:lnTo>
                    <a:lnTo>
                      <a:pt x="270" y="59"/>
                    </a:lnTo>
                    <a:lnTo>
                      <a:pt x="270" y="53"/>
                    </a:lnTo>
                    <a:lnTo>
                      <a:pt x="275" y="48"/>
                    </a:lnTo>
                    <a:lnTo>
                      <a:pt x="284" y="55"/>
                    </a:lnTo>
                    <a:lnTo>
                      <a:pt x="299" y="60"/>
                    </a:lnTo>
                    <a:lnTo>
                      <a:pt x="303" y="60"/>
                    </a:lnTo>
                    <a:lnTo>
                      <a:pt x="306" y="60"/>
                    </a:lnTo>
                    <a:lnTo>
                      <a:pt x="305" y="55"/>
                    </a:lnTo>
                    <a:lnTo>
                      <a:pt x="303" y="50"/>
                    </a:lnTo>
                    <a:lnTo>
                      <a:pt x="306" y="43"/>
                    </a:lnTo>
                    <a:lnTo>
                      <a:pt x="315" y="43"/>
                    </a:lnTo>
                    <a:lnTo>
                      <a:pt x="329" y="43"/>
                    </a:lnTo>
                    <a:lnTo>
                      <a:pt x="341" y="48"/>
                    </a:lnTo>
                    <a:lnTo>
                      <a:pt x="351" y="53"/>
                    </a:lnTo>
                    <a:lnTo>
                      <a:pt x="361" y="60"/>
                    </a:lnTo>
                    <a:lnTo>
                      <a:pt x="384" y="60"/>
                    </a:lnTo>
                    <a:lnTo>
                      <a:pt x="373" y="55"/>
                    </a:lnTo>
                    <a:lnTo>
                      <a:pt x="365" y="52"/>
                    </a:lnTo>
                    <a:lnTo>
                      <a:pt x="356" y="45"/>
                    </a:lnTo>
                    <a:lnTo>
                      <a:pt x="354" y="40"/>
                    </a:lnTo>
                    <a:lnTo>
                      <a:pt x="356" y="35"/>
                    </a:lnTo>
                    <a:lnTo>
                      <a:pt x="363" y="35"/>
                    </a:lnTo>
                    <a:lnTo>
                      <a:pt x="370" y="35"/>
                    </a:lnTo>
                    <a:lnTo>
                      <a:pt x="375" y="35"/>
                    </a:lnTo>
                    <a:lnTo>
                      <a:pt x="370" y="31"/>
                    </a:lnTo>
                    <a:lnTo>
                      <a:pt x="365" y="28"/>
                    </a:lnTo>
                    <a:lnTo>
                      <a:pt x="375" y="23"/>
                    </a:lnTo>
                    <a:lnTo>
                      <a:pt x="385" y="19"/>
                    </a:lnTo>
                    <a:lnTo>
                      <a:pt x="396" y="17"/>
                    </a:lnTo>
                    <a:lnTo>
                      <a:pt x="408" y="17"/>
                    </a:lnTo>
                    <a:lnTo>
                      <a:pt x="423" y="16"/>
                    </a:lnTo>
                    <a:lnTo>
                      <a:pt x="440" y="21"/>
                    </a:lnTo>
                    <a:lnTo>
                      <a:pt x="451" y="21"/>
                    </a:lnTo>
                    <a:lnTo>
                      <a:pt x="451" y="14"/>
                    </a:lnTo>
                    <a:lnTo>
                      <a:pt x="459" y="14"/>
                    </a:lnTo>
                    <a:lnTo>
                      <a:pt x="470" y="14"/>
                    </a:lnTo>
                    <a:lnTo>
                      <a:pt x="487" y="11"/>
                    </a:lnTo>
                    <a:lnTo>
                      <a:pt x="504" y="7"/>
                    </a:lnTo>
                    <a:lnTo>
                      <a:pt x="511" y="4"/>
                    </a:lnTo>
                    <a:lnTo>
                      <a:pt x="521" y="2"/>
                    </a:lnTo>
                    <a:lnTo>
                      <a:pt x="530" y="0"/>
                    </a:lnTo>
                    <a:lnTo>
                      <a:pt x="540" y="0"/>
                    </a:lnTo>
                    <a:lnTo>
                      <a:pt x="549" y="0"/>
                    </a:lnTo>
                    <a:lnTo>
                      <a:pt x="559" y="0"/>
                    </a:lnTo>
                    <a:lnTo>
                      <a:pt x="568" y="0"/>
                    </a:lnTo>
                    <a:lnTo>
                      <a:pt x="578" y="0"/>
                    </a:lnTo>
                    <a:lnTo>
                      <a:pt x="585" y="0"/>
                    </a:lnTo>
                    <a:lnTo>
                      <a:pt x="595" y="0"/>
                    </a:lnTo>
                    <a:lnTo>
                      <a:pt x="604" y="0"/>
                    </a:lnTo>
                    <a:lnTo>
                      <a:pt x="614" y="0"/>
                    </a:lnTo>
                    <a:lnTo>
                      <a:pt x="623" y="0"/>
                    </a:lnTo>
                    <a:lnTo>
                      <a:pt x="633" y="2"/>
                    </a:lnTo>
                    <a:lnTo>
                      <a:pt x="643" y="5"/>
                    </a:lnTo>
                    <a:lnTo>
                      <a:pt x="654" y="11"/>
                    </a:lnTo>
                    <a:lnTo>
                      <a:pt x="671" y="19"/>
                    </a:lnTo>
                    <a:lnTo>
                      <a:pt x="690" y="29"/>
                    </a:lnTo>
                    <a:lnTo>
                      <a:pt x="700" y="29"/>
                    </a:lnTo>
                    <a:lnTo>
                      <a:pt x="712" y="31"/>
                    </a:lnTo>
                    <a:lnTo>
                      <a:pt x="722" y="33"/>
                    </a:lnTo>
                    <a:lnTo>
                      <a:pt x="735" y="35"/>
                    </a:lnTo>
                    <a:lnTo>
                      <a:pt x="726" y="43"/>
                    </a:lnTo>
                    <a:lnTo>
                      <a:pt x="712" y="48"/>
                    </a:lnTo>
                    <a:lnTo>
                      <a:pt x="695" y="52"/>
                    </a:lnTo>
                    <a:lnTo>
                      <a:pt x="683" y="55"/>
                    </a:lnTo>
                    <a:lnTo>
                      <a:pt x="571" y="60"/>
                    </a:lnTo>
                    <a:lnTo>
                      <a:pt x="576" y="60"/>
                    </a:lnTo>
                    <a:lnTo>
                      <a:pt x="588" y="62"/>
                    </a:lnTo>
                    <a:lnTo>
                      <a:pt x="604" y="60"/>
                    </a:lnTo>
                    <a:lnTo>
                      <a:pt x="623" y="60"/>
                    </a:lnTo>
                    <a:lnTo>
                      <a:pt x="638" y="59"/>
                    </a:lnTo>
                    <a:lnTo>
                      <a:pt x="655" y="59"/>
                    </a:lnTo>
                    <a:lnTo>
                      <a:pt x="666" y="59"/>
                    </a:lnTo>
                    <a:lnTo>
                      <a:pt x="674" y="60"/>
                    </a:lnTo>
                    <a:lnTo>
                      <a:pt x="669" y="66"/>
                    </a:lnTo>
                    <a:lnTo>
                      <a:pt x="662" y="74"/>
                    </a:lnTo>
                    <a:lnTo>
                      <a:pt x="655" y="83"/>
                    </a:lnTo>
                    <a:lnTo>
                      <a:pt x="655" y="86"/>
                    </a:lnTo>
                    <a:lnTo>
                      <a:pt x="666" y="81"/>
                    </a:lnTo>
                    <a:lnTo>
                      <a:pt x="683" y="71"/>
                    </a:lnTo>
                    <a:lnTo>
                      <a:pt x="700" y="60"/>
                    </a:lnTo>
                    <a:lnTo>
                      <a:pt x="716" y="57"/>
                    </a:lnTo>
                    <a:lnTo>
                      <a:pt x="724" y="62"/>
                    </a:lnTo>
                    <a:lnTo>
                      <a:pt x="728" y="72"/>
                    </a:lnTo>
                    <a:lnTo>
                      <a:pt x="721" y="79"/>
                    </a:lnTo>
                    <a:lnTo>
                      <a:pt x="710" y="95"/>
                    </a:lnTo>
                    <a:lnTo>
                      <a:pt x="698" y="107"/>
                    </a:lnTo>
                    <a:lnTo>
                      <a:pt x="693" y="117"/>
                    </a:lnTo>
                    <a:lnTo>
                      <a:pt x="704" y="109"/>
                    </a:lnTo>
                    <a:lnTo>
                      <a:pt x="719" y="95"/>
                    </a:lnTo>
                    <a:lnTo>
                      <a:pt x="731" y="81"/>
                    </a:lnTo>
                    <a:lnTo>
                      <a:pt x="741" y="74"/>
                    </a:lnTo>
                    <a:lnTo>
                      <a:pt x="750" y="74"/>
                    </a:lnTo>
                    <a:lnTo>
                      <a:pt x="762" y="74"/>
                    </a:lnTo>
                    <a:lnTo>
                      <a:pt x="771" y="74"/>
                    </a:lnTo>
                    <a:lnTo>
                      <a:pt x="774" y="74"/>
                    </a:lnTo>
                    <a:lnTo>
                      <a:pt x="779" y="74"/>
                    </a:lnTo>
                    <a:lnTo>
                      <a:pt x="786" y="76"/>
                    </a:lnTo>
                    <a:lnTo>
                      <a:pt x="795" y="69"/>
                    </a:lnTo>
                    <a:lnTo>
                      <a:pt x="805" y="66"/>
                    </a:lnTo>
                    <a:lnTo>
                      <a:pt x="829" y="66"/>
                    </a:lnTo>
                    <a:lnTo>
                      <a:pt x="833" y="59"/>
                    </a:lnTo>
                    <a:lnTo>
                      <a:pt x="839" y="59"/>
                    </a:lnTo>
                    <a:lnTo>
                      <a:pt x="846" y="59"/>
                    </a:lnTo>
                    <a:lnTo>
                      <a:pt x="857" y="64"/>
                    </a:lnTo>
                    <a:lnTo>
                      <a:pt x="865" y="69"/>
                    </a:lnTo>
                    <a:lnTo>
                      <a:pt x="870" y="76"/>
                    </a:lnTo>
                    <a:lnTo>
                      <a:pt x="864" y="83"/>
                    </a:lnTo>
                    <a:lnTo>
                      <a:pt x="858" y="88"/>
                    </a:lnTo>
                    <a:lnTo>
                      <a:pt x="846" y="91"/>
                    </a:lnTo>
                    <a:lnTo>
                      <a:pt x="834" y="100"/>
                    </a:lnTo>
                    <a:lnTo>
                      <a:pt x="822" y="105"/>
                    </a:lnTo>
                    <a:lnTo>
                      <a:pt x="807" y="109"/>
                    </a:lnTo>
                    <a:lnTo>
                      <a:pt x="812" y="109"/>
                    </a:lnTo>
                    <a:lnTo>
                      <a:pt x="817" y="109"/>
                    </a:lnTo>
                    <a:lnTo>
                      <a:pt x="814" y="115"/>
                    </a:lnTo>
                    <a:lnTo>
                      <a:pt x="808" y="121"/>
                    </a:lnTo>
                    <a:lnTo>
                      <a:pt x="800" y="122"/>
                    </a:lnTo>
                    <a:lnTo>
                      <a:pt x="795" y="124"/>
                    </a:lnTo>
                    <a:lnTo>
                      <a:pt x="795" y="127"/>
                    </a:lnTo>
                    <a:lnTo>
                      <a:pt x="795" y="131"/>
                    </a:lnTo>
                    <a:lnTo>
                      <a:pt x="786" y="139"/>
                    </a:lnTo>
                    <a:lnTo>
                      <a:pt x="772" y="143"/>
                    </a:lnTo>
                    <a:lnTo>
                      <a:pt x="772" y="148"/>
                    </a:lnTo>
                    <a:lnTo>
                      <a:pt x="772" y="152"/>
                    </a:lnTo>
                    <a:lnTo>
                      <a:pt x="765" y="162"/>
                    </a:lnTo>
                    <a:lnTo>
                      <a:pt x="752" y="172"/>
                    </a:lnTo>
                    <a:lnTo>
                      <a:pt x="747" y="182"/>
                    </a:lnTo>
                    <a:lnTo>
                      <a:pt x="743" y="194"/>
                    </a:lnTo>
                    <a:lnTo>
                      <a:pt x="750" y="194"/>
                    </a:lnTo>
                    <a:lnTo>
                      <a:pt x="759" y="194"/>
                    </a:lnTo>
                    <a:lnTo>
                      <a:pt x="769" y="196"/>
                    </a:lnTo>
                    <a:lnTo>
                      <a:pt x="779" y="203"/>
                    </a:lnTo>
                    <a:lnTo>
                      <a:pt x="774" y="205"/>
                    </a:lnTo>
                    <a:lnTo>
                      <a:pt x="769" y="207"/>
                    </a:lnTo>
                    <a:lnTo>
                      <a:pt x="772" y="210"/>
                    </a:lnTo>
                    <a:lnTo>
                      <a:pt x="781" y="213"/>
                    </a:lnTo>
                    <a:lnTo>
                      <a:pt x="788" y="217"/>
                    </a:lnTo>
                    <a:lnTo>
                      <a:pt x="791" y="225"/>
                    </a:lnTo>
                    <a:lnTo>
                      <a:pt x="786" y="231"/>
                    </a:lnTo>
                    <a:lnTo>
                      <a:pt x="776" y="232"/>
                    </a:lnTo>
                    <a:lnTo>
                      <a:pt x="764" y="232"/>
                    </a:lnTo>
                    <a:lnTo>
                      <a:pt x="755" y="232"/>
                    </a:lnTo>
                    <a:lnTo>
                      <a:pt x="748" y="234"/>
                    </a:lnTo>
                    <a:lnTo>
                      <a:pt x="747" y="239"/>
                    </a:lnTo>
                    <a:lnTo>
                      <a:pt x="752" y="246"/>
                    </a:lnTo>
                    <a:lnTo>
                      <a:pt x="762" y="248"/>
                    </a:lnTo>
                    <a:lnTo>
                      <a:pt x="765" y="260"/>
                    </a:lnTo>
                    <a:lnTo>
                      <a:pt x="769" y="270"/>
                    </a:lnTo>
                    <a:lnTo>
                      <a:pt x="767" y="275"/>
                    </a:lnTo>
                    <a:lnTo>
                      <a:pt x="769" y="280"/>
                    </a:lnTo>
                    <a:lnTo>
                      <a:pt x="759" y="280"/>
                    </a:lnTo>
                    <a:lnTo>
                      <a:pt x="753" y="287"/>
                    </a:lnTo>
                    <a:lnTo>
                      <a:pt x="755" y="291"/>
                    </a:lnTo>
                    <a:lnTo>
                      <a:pt x="760" y="294"/>
                    </a:lnTo>
                    <a:lnTo>
                      <a:pt x="767" y="296"/>
                    </a:lnTo>
                    <a:lnTo>
                      <a:pt x="774" y="298"/>
                    </a:lnTo>
                    <a:lnTo>
                      <a:pt x="764" y="306"/>
                    </a:lnTo>
                    <a:lnTo>
                      <a:pt x="752" y="311"/>
                    </a:lnTo>
                    <a:lnTo>
                      <a:pt x="752" y="315"/>
                    </a:lnTo>
                    <a:lnTo>
                      <a:pt x="755" y="320"/>
                    </a:lnTo>
                    <a:lnTo>
                      <a:pt x="748" y="327"/>
                    </a:lnTo>
                    <a:lnTo>
                      <a:pt x="741" y="330"/>
                    </a:lnTo>
                    <a:lnTo>
                      <a:pt x="733" y="332"/>
                    </a:lnTo>
                    <a:lnTo>
                      <a:pt x="728" y="339"/>
                    </a:lnTo>
                    <a:lnTo>
                      <a:pt x="719" y="332"/>
                    </a:lnTo>
                    <a:lnTo>
                      <a:pt x="712" y="327"/>
                    </a:lnTo>
                    <a:lnTo>
                      <a:pt x="705" y="327"/>
                    </a:lnTo>
                    <a:lnTo>
                      <a:pt x="710" y="334"/>
                    </a:lnTo>
                    <a:lnTo>
                      <a:pt x="721" y="337"/>
                    </a:lnTo>
                    <a:lnTo>
                      <a:pt x="728" y="341"/>
                    </a:lnTo>
                    <a:lnTo>
                      <a:pt x="733" y="349"/>
                    </a:lnTo>
                    <a:lnTo>
                      <a:pt x="731" y="360"/>
                    </a:lnTo>
                    <a:lnTo>
                      <a:pt x="726" y="365"/>
                    </a:lnTo>
                    <a:lnTo>
                      <a:pt x="717" y="361"/>
                    </a:lnTo>
                    <a:lnTo>
                      <a:pt x="709" y="356"/>
                    </a:lnTo>
                    <a:lnTo>
                      <a:pt x="700" y="348"/>
                    </a:lnTo>
                    <a:lnTo>
                      <a:pt x="697" y="341"/>
                    </a:lnTo>
                    <a:lnTo>
                      <a:pt x="692" y="341"/>
                    </a:lnTo>
                    <a:lnTo>
                      <a:pt x="692" y="349"/>
                    </a:lnTo>
                    <a:lnTo>
                      <a:pt x="705" y="360"/>
                    </a:lnTo>
                    <a:lnTo>
                      <a:pt x="722" y="372"/>
                    </a:lnTo>
                    <a:lnTo>
                      <a:pt x="728" y="377"/>
                    </a:lnTo>
                    <a:lnTo>
                      <a:pt x="735" y="385"/>
                    </a:lnTo>
                    <a:lnTo>
                      <a:pt x="738" y="392"/>
                    </a:lnTo>
                    <a:lnTo>
                      <a:pt x="741" y="404"/>
                    </a:lnTo>
                    <a:lnTo>
                      <a:pt x="736" y="409"/>
                    </a:lnTo>
                    <a:lnTo>
                      <a:pt x="728" y="411"/>
                    </a:lnTo>
                    <a:lnTo>
                      <a:pt x="714" y="406"/>
                    </a:lnTo>
                    <a:lnTo>
                      <a:pt x="705" y="397"/>
                    </a:lnTo>
                    <a:lnTo>
                      <a:pt x="698" y="389"/>
                    </a:lnTo>
                    <a:lnTo>
                      <a:pt x="688" y="385"/>
                    </a:lnTo>
                    <a:lnTo>
                      <a:pt x="685" y="385"/>
                    </a:lnTo>
                    <a:lnTo>
                      <a:pt x="681" y="385"/>
                    </a:lnTo>
                    <a:lnTo>
                      <a:pt x="683" y="392"/>
                    </a:lnTo>
                    <a:lnTo>
                      <a:pt x="686" y="397"/>
                    </a:lnTo>
                    <a:lnTo>
                      <a:pt x="681" y="403"/>
                    </a:lnTo>
                    <a:lnTo>
                      <a:pt x="674" y="404"/>
                    </a:lnTo>
                    <a:lnTo>
                      <a:pt x="674" y="408"/>
                    </a:lnTo>
                    <a:lnTo>
                      <a:pt x="681" y="411"/>
                    </a:lnTo>
                    <a:lnTo>
                      <a:pt x="688" y="413"/>
                    </a:lnTo>
                    <a:lnTo>
                      <a:pt x="698" y="416"/>
                    </a:lnTo>
                    <a:lnTo>
                      <a:pt x="707" y="416"/>
                    </a:lnTo>
                    <a:lnTo>
                      <a:pt x="717" y="418"/>
                    </a:lnTo>
                    <a:lnTo>
                      <a:pt x="724" y="420"/>
                    </a:lnTo>
                    <a:lnTo>
                      <a:pt x="731" y="421"/>
                    </a:lnTo>
                    <a:lnTo>
                      <a:pt x="719" y="427"/>
                    </a:lnTo>
                    <a:lnTo>
                      <a:pt x="709" y="432"/>
                    </a:lnTo>
                    <a:lnTo>
                      <a:pt x="697" y="435"/>
                    </a:lnTo>
                    <a:lnTo>
                      <a:pt x="688" y="444"/>
                    </a:lnTo>
                    <a:lnTo>
                      <a:pt x="679" y="449"/>
                    </a:lnTo>
                    <a:lnTo>
                      <a:pt x="673" y="456"/>
                    </a:lnTo>
                    <a:lnTo>
                      <a:pt x="657" y="458"/>
                    </a:lnTo>
                    <a:lnTo>
                      <a:pt x="645" y="459"/>
                    </a:lnTo>
                    <a:lnTo>
                      <a:pt x="633" y="461"/>
                    </a:lnTo>
                    <a:lnTo>
                      <a:pt x="619" y="468"/>
                    </a:lnTo>
                    <a:lnTo>
                      <a:pt x="597" y="468"/>
                    </a:lnTo>
                    <a:lnTo>
                      <a:pt x="588" y="471"/>
                    </a:lnTo>
                    <a:lnTo>
                      <a:pt x="587" y="476"/>
                    </a:lnTo>
                    <a:lnTo>
                      <a:pt x="573" y="485"/>
                    </a:lnTo>
                    <a:lnTo>
                      <a:pt x="563" y="497"/>
                    </a:lnTo>
                    <a:lnTo>
                      <a:pt x="556" y="511"/>
                    </a:lnTo>
                    <a:lnTo>
                      <a:pt x="545" y="516"/>
                    </a:lnTo>
                    <a:lnTo>
                      <a:pt x="537" y="518"/>
                    </a:lnTo>
                    <a:lnTo>
                      <a:pt x="526" y="519"/>
                    </a:lnTo>
                    <a:lnTo>
                      <a:pt x="518" y="526"/>
                    </a:lnTo>
                    <a:lnTo>
                      <a:pt x="509" y="526"/>
                    </a:lnTo>
                    <a:lnTo>
                      <a:pt x="509" y="516"/>
                    </a:lnTo>
                    <a:lnTo>
                      <a:pt x="502" y="521"/>
                    </a:lnTo>
                    <a:lnTo>
                      <a:pt x="499" y="528"/>
                    </a:lnTo>
                    <a:lnTo>
                      <a:pt x="487" y="533"/>
                    </a:lnTo>
                    <a:lnTo>
                      <a:pt x="475" y="537"/>
                    </a:lnTo>
                    <a:lnTo>
                      <a:pt x="464" y="542"/>
                    </a:lnTo>
                    <a:lnTo>
                      <a:pt x="461" y="552"/>
                    </a:lnTo>
                    <a:lnTo>
                      <a:pt x="461" y="554"/>
                    </a:lnTo>
                    <a:lnTo>
                      <a:pt x="463" y="557"/>
                    </a:lnTo>
                    <a:lnTo>
                      <a:pt x="459" y="559"/>
                    </a:lnTo>
                    <a:lnTo>
                      <a:pt x="459" y="562"/>
                    </a:lnTo>
                    <a:lnTo>
                      <a:pt x="461" y="568"/>
                    </a:lnTo>
                    <a:lnTo>
                      <a:pt x="464" y="575"/>
                    </a:lnTo>
                    <a:lnTo>
                      <a:pt x="459" y="583"/>
                    </a:lnTo>
                    <a:lnTo>
                      <a:pt x="452" y="588"/>
                    </a:lnTo>
                    <a:lnTo>
                      <a:pt x="444" y="592"/>
                    </a:lnTo>
                    <a:lnTo>
                      <a:pt x="442" y="600"/>
                    </a:lnTo>
                    <a:lnTo>
                      <a:pt x="440" y="616"/>
                    </a:lnTo>
                    <a:lnTo>
                      <a:pt x="442" y="628"/>
                    </a:lnTo>
                    <a:lnTo>
                      <a:pt x="434" y="635"/>
                    </a:lnTo>
                    <a:lnTo>
                      <a:pt x="432" y="647"/>
                    </a:lnTo>
                    <a:lnTo>
                      <a:pt x="428" y="655"/>
                    </a:lnTo>
                    <a:lnTo>
                      <a:pt x="421" y="660"/>
                    </a:lnTo>
                    <a:lnTo>
                      <a:pt x="416" y="659"/>
                    </a:lnTo>
                    <a:lnTo>
                      <a:pt x="416" y="655"/>
                    </a:lnTo>
                    <a:lnTo>
                      <a:pt x="409" y="657"/>
                    </a:lnTo>
                    <a:lnTo>
                      <a:pt x="406" y="659"/>
                    </a:lnTo>
                    <a:lnTo>
                      <a:pt x="397" y="654"/>
                    </a:lnTo>
                    <a:lnTo>
                      <a:pt x="392" y="647"/>
                    </a:lnTo>
                    <a:lnTo>
                      <a:pt x="387" y="638"/>
                    </a:lnTo>
                    <a:lnTo>
                      <a:pt x="382" y="636"/>
                    </a:lnTo>
                    <a:lnTo>
                      <a:pt x="370" y="638"/>
                    </a:lnTo>
                    <a:lnTo>
                      <a:pt x="360" y="643"/>
                    </a:lnTo>
                    <a:lnTo>
                      <a:pt x="353" y="633"/>
                    </a:lnTo>
                    <a:lnTo>
                      <a:pt x="344" y="628"/>
                    </a:lnTo>
                    <a:lnTo>
                      <a:pt x="341" y="623"/>
                    </a:lnTo>
                    <a:lnTo>
                      <a:pt x="341" y="619"/>
                    </a:lnTo>
                    <a:lnTo>
                      <a:pt x="330" y="609"/>
                    </a:lnTo>
                    <a:lnTo>
                      <a:pt x="320" y="599"/>
                    </a:lnTo>
                    <a:lnTo>
                      <a:pt x="311" y="585"/>
                    </a:lnTo>
                    <a:lnTo>
                      <a:pt x="310" y="573"/>
                    </a:lnTo>
                    <a:lnTo>
                      <a:pt x="311" y="566"/>
                    </a:lnTo>
                    <a:lnTo>
                      <a:pt x="318" y="562"/>
                    </a:lnTo>
                    <a:lnTo>
                      <a:pt x="308" y="559"/>
                    </a:lnTo>
                    <a:lnTo>
                      <a:pt x="299" y="562"/>
                    </a:lnTo>
                    <a:lnTo>
                      <a:pt x="296" y="554"/>
                    </a:lnTo>
                    <a:lnTo>
                      <a:pt x="294" y="545"/>
                    </a:lnTo>
                    <a:lnTo>
                      <a:pt x="289" y="537"/>
                    </a:lnTo>
                    <a:lnTo>
                      <a:pt x="284" y="532"/>
                    </a:lnTo>
                    <a:lnTo>
                      <a:pt x="279" y="523"/>
                    </a:lnTo>
                    <a:lnTo>
                      <a:pt x="277" y="516"/>
                    </a:lnTo>
                    <a:lnTo>
                      <a:pt x="279" y="509"/>
                    </a:lnTo>
                    <a:lnTo>
                      <a:pt x="282" y="504"/>
                    </a:lnTo>
                    <a:lnTo>
                      <a:pt x="277" y="501"/>
                    </a:lnTo>
                    <a:lnTo>
                      <a:pt x="272" y="504"/>
                    </a:lnTo>
                    <a:lnTo>
                      <a:pt x="272" y="492"/>
                    </a:lnTo>
                    <a:lnTo>
                      <a:pt x="280" y="476"/>
                    </a:lnTo>
                    <a:lnTo>
                      <a:pt x="292" y="464"/>
                    </a:lnTo>
                    <a:lnTo>
                      <a:pt x="292" y="46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7" name="Freeform 337"/>
              <p:cNvSpPr>
                <a:spLocks/>
              </p:cNvSpPr>
              <p:nvPr/>
            </p:nvSpPr>
            <p:spPr bwMode="auto">
              <a:xfrm>
                <a:off x="3056732" y="2052638"/>
                <a:ext cx="68263" cy="44450"/>
              </a:xfrm>
              <a:custGeom>
                <a:avLst/>
                <a:gdLst/>
                <a:ahLst/>
                <a:cxnLst>
                  <a:cxn ang="0">
                    <a:pos x="10" y="28"/>
                  </a:cxn>
                  <a:cxn ang="0">
                    <a:pos x="4" y="21"/>
                  </a:cxn>
                  <a:cxn ang="0">
                    <a:pos x="0" y="9"/>
                  </a:cxn>
                  <a:cxn ang="0">
                    <a:pos x="4" y="2"/>
                  </a:cxn>
                  <a:cxn ang="0">
                    <a:pos x="12" y="0"/>
                  </a:cxn>
                  <a:cxn ang="0">
                    <a:pos x="19" y="2"/>
                  </a:cxn>
                  <a:cxn ang="0">
                    <a:pos x="26" y="7"/>
                  </a:cxn>
                  <a:cxn ang="0">
                    <a:pos x="33" y="12"/>
                  </a:cxn>
                  <a:cxn ang="0">
                    <a:pos x="43" y="18"/>
                  </a:cxn>
                  <a:cxn ang="0">
                    <a:pos x="34" y="24"/>
                  </a:cxn>
                  <a:cxn ang="0">
                    <a:pos x="22" y="28"/>
                  </a:cxn>
                  <a:cxn ang="0">
                    <a:pos x="10" y="28"/>
                  </a:cxn>
                </a:cxnLst>
                <a:rect l="0" t="0" r="r" b="b"/>
                <a:pathLst>
                  <a:path w="43" h="28">
                    <a:moveTo>
                      <a:pt x="10" y="28"/>
                    </a:moveTo>
                    <a:lnTo>
                      <a:pt x="4" y="21"/>
                    </a:lnTo>
                    <a:lnTo>
                      <a:pt x="0" y="9"/>
                    </a:lnTo>
                    <a:lnTo>
                      <a:pt x="4" y="2"/>
                    </a:lnTo>
                    <a:lnTo>
                      <a:pt x="12" y="0"/>
                    </a:lnTo>
                    <a:lnTo>
                      <a:pt x="19" y="2"/>
                    </a:lnTo>
                    <a:lnTo>
                      <a:pt x="26" y="7"/>
                    </a:lnTo>
                    <a:lnTo>
                      <a:pt x="33" y="12"/>
                    </a:lnTo>
                    <a:lnTo>
                      <a:pt x="43" y="18"/>
                    </a:lnTo>
                    <a:lnTo>
                      <a:pt x="34" y="24"/>
                    </a:lnTo>
                    <a:lnTo>
                      <a:pt x="22" y="28"/>
                    </a:lnTo>
                    <a:lnTo>
                      <a:pt x="10"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8" name="Freeform 338"/>
              <p:cNvSpPr>
                <a:spLocks/>
              </p:cNvSpPr>
              <p:nvPr/>
            </p:nvSpPr>
            <p:spPr bwMode="auto">
              <a:xfrm>
                <a:off x="3882232" y="1827213"/>
                <a:ext cx="34925" cy="20637"/>
              </a:xfrm>
              <a:custGeom>
                <a:avLst/>
                <a:gdLst/>
                <a:ahLst/>
                <a:cxnLst>
                  <a:cxn ang="0">
                    <a:pos x="6" y="13"/>
                  </a:cxn>
                  <a:cxn ang="0">
                    <a:pos x="1" y="10"/>
                  </a:cxn>
                  <a:cxn ang="0">
                    <a:pos x="0" y="6"/>
                  </a:cxn>
                  <a:cxn ang="0">
                    <a:pos x="1" y="1"/>
                  </a:cxn>
                  <a:cxn ang="0">
                    <a:pos x="5" y="0"/>
                  </a:cxn>
                  <a:cxn ang="0">
                    <a:pos x="13" y="0"/>
                  </a:cxn>
                  <a:cxn ang="0">
                    <a:pos x="13" y="3"/>
                  </a:cxn>
                  <a:cxn ang="0">
                    <a:pos x="13" y="6"/>
                  </a:cxn>
                  <a:cxn ang="0">
                    <a:pos x="22" y="6"/>
                  </a:cxn>
                  <a:cxn ang="0">
                    <a:pos x="15" y="10"/>
                  </a:cxn>
                  <a:cxn ang="0">
                    <a:pos x="6" y="13"/>
                  </a:cxn>
                </a:cxnLst>
                <a:rect l="0" t="0" r="r" b="b"/>
                <a:pathLst>
                  <a:path w="22" h="13">
                    <a:moveTo>
                      <a:pt x="6" y="13"/>
                    </a:moveTo>
                    <a:lnTo>
                      <a:pt x="1" y="10"/>
                    </a:lnTo>
                    <a:lnTo>
                      <a:pt x="0" y="6"/>
                    </a:lnTo>
                    <a:lnTo>
                      <a:pt x="1" y="1"/>
                    </a:lnTo>
                    <a:lnTo>
                      <a:pt x="5" y="0"/>
                    </a:lnTo>
                    <a:lnTo>
                      <a:pt x="13" y="0"/>
                    </a:lnTo>
                    <a:lnTo>
                      <a:pt x="13" y="3"/>
                    </a:lnTo>
                    <a:lnTo>
                      <a:pt x="13" y="6"/>
                    </a:lnTo>
                    <a:lnTo>
                      <a:pt x="22" y="6"/>
                    </a:lnTo>
                    <a:lnTo>
                      <a:pt x="15" y="10"/>
                    </a:lnTo>
                    <a:lnTo>
                      <a:pt x="6"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9" name="Freeform 339"/>
              <p:cNvSpPr>
                <a:spLocks/>
              </p:cNvSpPr>
              <p:nvPr/>
            </p:nvSpPr>
            <p:spPr bwMode="auto">
              <a:xfrm>
                <a:off x="2958307" y="2716213"/>
                <a:ext cx="150813" cy="147637"/>
              </a:xfrm>
              <a:custGeom>
                <a:avLst/>
                <a:gdLst/>
                <a:ahLst/>
                <a:cxnLst>
                  <a:cxn ang="0">
                    <a:pos x="2" y="74"/>
                  </a:cxn>
                  <a:cxn ang="0">
                    <a:pos x="4" y="67"/>
                  </a:cxn>
                  <a:cxn ang="0">
                    <a:pos x="9" y="60"/>
                  </a:cxn>
                  <a:cxn ang="0">
                    <a:pos x="5" y="59"/>
                  </a:cxn>
                  <a:cxn ang="0">
                    <a:pos x="21" y="38"/>
                  </a:cxn>
                  <a:cxn ang="0">
                    <a:pos x="33" y="16"/>
                  </a:cxn>
                  <a:cxn ang="0">
                    <a:pos x="48" y="0"/>
                  </a:cxn>
                  <a:cxn ang="0">
                    <a:pos x="52" y="5"/>
                  </a:cxn>
                  <a:cxn ang="0">
                    <a:pos x="38" y="31"/>
                  </a:cxn>
                  <a:cxn ang="0">
                    <a:pos x="41" y="35"/>
                  </a:cxn>
                  <a:cxn ang="0">
                    <a:pos x="48" y="33"/>
                  </a:cxn>
                  <a:cxn ang="0">
                    <a:pos x="52" y="38"/>
                  </a:cxn>
                  <a:cxn ang="0">
                    <a:pos x="60" y="41"/>
                  </a:cxn>
                  <a:cxn ang="0">
                    <a:pos x="60" y="45"/>
                  </a:cxn>
                  <a:cxn ang="0">
                    <a:pos x="74" y="43"/>
                  </a:cxn>
                  <a:cxn ang="0">
                    <a:pos x="81" y="48"/>
                  </a:cxn>
                  <a:cxn ang="0">
                    <a:pos x="83" y="59"/>
                  </a:cxn>
                  <a:cxn ang="0">
                    <a:pos x="83" y="62"/>
                  </a:cxn>
                  <a:cxn ang="0">
                    <a:pos x="83" y="69"/>
                  </a:cxn>
                  <a:cxn ang="0">
                    <a:pos x="88" y="72"/>
                  </a:cxn>
                  <a:cxn ang="0">
                    <a:pos x="93" y="76"/>
                  </a:cxn>
                  <a:cxn ang="0">
                    <a:pos x="91" y="90"/>
                  </a:cxn>
                  <a:cxn ang="0">
                    <a:pos x="83" y="90"/>
                  </a:cxn>
                  <a:cxn ang="0">
                    <a:pos x="79" y="86"/>
                  </a:cxn>
                  <a:cxn ang="0">
                    <a:pos x="74" y="79"/>
                  </a:cxn>
                  <a:cxn ang="0">
                    <a:pos x="66" y="81"/>
                  </a:cxn>
                  <a:cxn ang="0">
                    <a:pos x="55" y="86"/>
                  </a:cxn>
                  <a:cxn ang="0">
                    <a:pos x="60" y="78"/>
                  </a:cxn>
                  <a:cxn ang="0">
                    <a:pos x="47" y="76"/>
                  </a:cxn>
                  <a:cxn ang="0">
                    <a:pos x="36" y="79"/>
                  </a:cxn>
                  <a:cxn ang="0">
                    <a:pos x="21" y="76"/>
                  </a:cxn>
                  <a:cxn ang="0">
                    <a:pos x="5" y="78"/>
                  </a:cxn>
                </a:cxnLst>
                <a:rect l="0" t="0" r="r" b="b"/>
                <a:pathLst>
                  <a:path w="95" h="93">
                    <a:moveTo>
                      <a:pt x="5" y="78"/>
                    </a:moveTo>
                    <a:lnTo>
                      <a:pt x="2" y="74"/>
                    </a:lnTo>
                    <a:lnTo>
                      <a:pt x="0" y="72"/>
                    </a:lnTo>
                    <a:lnTo>
                      <a:pt x="4" y="67"/>
                    </a:lnTo>
                    <a:lnTo>
                      <a:pt x="9" y="64"/>
                    </a:lnTo>
                    <a:lnTo>
                      <a:pt x="9" y="60"/>
                    </a:lnTo>
                    <a:lnTo>
                      <a:pt x="7" y="59"/>
                    </a:lnTo>
                    <a:lnTo>
                      <a:pt x="5" y="59"/>
                    </a:lnTo>
                    <a:lnTo>
                      <a:pt x="14" y="48"/>
                    </a:lnTo>
                    <a:lnTo>
                      <a:pt x="21" y="38"/>
                    </a:lnTo>
                    <a:lnTo>
                      <a:pt x="26" y="24"/>
                    </a:lnTo>
                    <a:lnTo>
                      <a:pt x="33" y="16"/>
                    </a:lnTo>
                    <a:lnTo>
                      <a:pt x="38" y="5"/>
                    </a:lnTo>
                    <a:lnTo>
                      <a:pt x="48" y="0"/>
                    </a:lnTo>
                    <a:lnTo>
                      <a:pt x="50" y="2"/>
                    </a:lnTo>
                    <a:lnTo>
                      <a:pt x="52" y="5"/>
                    </a:lnTo>
                    <a:lnTo>
                      <a:pt x="45" y="19"/>
                    </a:lnTo>
                    <a:lnTo>
                      <a:pt x="38" y="31"/>
                    </a:lnTo>
                    <a:lnTo>
                      <a:pt x="38" y="36"/>
                    </a:lnTo>
                    <a:lnTo>
                      <a:pt x="41" y="35"/>
                    </a:lnTo>
                    <a:lnTo>
                      <a:pt x="45" y="33"/>
                    </a:lnTo>
                    <a:lnTo>
                      <a:pt x="48" y="33"/>
                    </a:lnTo>
                    <a:lnTo>
                      <a:pt x="53" y="35"/>
                    </a:lnTo>
                    <a:lnTo>
                      <a:pt x="52" y="38"/>
                    </a:lnTo>
                    <a:lnTo>
                      <a:pt x="52" y="41"/>
                    </a:lnTo>
                    <a:lnTo>
                      <a:pt x="60" y="41"/>
                    </a:lnTo>
                    <a:lnTo>
                      <a:pt x="60" y="43"/>
                    </a:lnTo>
                    <a:lnTo>
                      <a:pt x="60" y="45"/>
                    </a:lnTo>
                    <a:lnTo>
                      <a:pt x="66" y="43"/>
                    </a:lnTo>
                    <a:lnTo>
                      <a:pt x="74" y="43"/>
                    </a:lnTo>
                    <a:lnTo>
                      <a:pt x="81" y="43"/>
                    </a:lnTo>
                    <a:lnTo>
                      <a:pt x="81" y="48"/>
                    </a:lnTo>
                    <a:lnTo>
                      <a:pt x="81" y="59"/>
                    </a:lnTo>
                    <a:lnTo>
                      <a:pt x="83" y="59"/>
                    </a:lnTo>
                    <a:lnTo>
                      <a:pt x="86" y="59"/>
                    </a:lnTo>
                    <a:lnTo>
                      <a:pt x="83" y="62"/>
                    </a:lnTo>
                    <a:lnTo>
                      <a:pt x="81" y="65"/>
                    </a:lnTo>
                    <a:lnTo>
                      <a:pt x="83" y="69"/>
                    </a:lnTo>
                    <a:lnTo>
                      <a:pt x="84" y="74"/>
                    </a:lnTo>
                    <a:lnTo>
                      <a:pt x="88" y="72"/>
                    </a:lnTo>
                    <a:lnTo>
                      <a:pt x="91" y="71"/>
                    </a:lnTo>
                    <a:lnTo>
                      <a:pt x="93" y="76"/>
                    </a:lnTo>
                    <a:lnTo>
                      <a:pt x="95" y="81"/>
                    </a:lnTo>
                    <a:lnTo>
                      <a:pt x="91" y="90"/>
                    </a:lnTo>
                    <a:lnTo>
                      <a:pt x="86" y="93"/>
                    </a:lnTo>
                    <a:lnTo>
                      <a:pt x="83" y="90"/>
                    </a:lnTo>
                    <a:lnTo>
                      <a:pt x="83" y="88"/>
                    </a:lnTo>
                    <a:lnTo>
                      <a:pt x="79" y="86"/>
                    </a:lnTo>
                    <a:lnTo>
                      <a:pt x="78" y="86"/>
                    </a:lnTo>
                    <a:lnTo>
                      <a:pt x="74" y="79"/>
                    </a:lnTo>
                    <a:lnTo>
                      <a:pt x="72" y="72"/>
                    </a:lnTo>
                    <a:lnTo>
                      <a:pt x="66" y="81"/>
                    </a:lnTo>
                    <a:lnTo>
                      <a:pt x="59" y="86"/>
                    </a:lnTo>
                    <a:lnTo>
                      <a:pt x="55" y="86"/>
                    </a:lnTo>
                    <a:lnTo>
                      <a:pt x="57" y="81"/>
                    </a:lnTo>
                    <a:lnTo>
                      <a:pt x="60" y="78"/>
                    </a:lnTo>
                    <a:lnTo>
                      <a:pt x="52" y="78"/>
                    </a:lnTo>
                    <a:lnTo>
                      <a:pt x="47" y="76"/>
                    </a:lnTo>
                    <a:lnTo>
                      <a:pt x="41" y="78"/>
                    </a:lnTo>
                    <a:lnTo>
                      <a:pt x="36" y="79"/>
                    </a:lnTo>
                    <a:lnTo>
                      <a:pt x="28" y="78"/>
                    </a:lnTo>
                    <a:lnTo>
                      <a:pt x="21" y="76"/>
                    </a:lnTo>
                    <a:lnTo>
                      <a:pt x="12" y="76"/>
                    </a:lnTo>
                    <a:lnTo>
                      <a:pt x="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0" name="Freeform 340"/>
              <p:cNvSpPr>
                <a:spLocks/>
              </p:cNvSpPr>
              <p:nvPr/>
            </p:nvSpPr>
            <p:spPr bwMode="auto">
              <a:xfrm>
                <a:off x="7455694" y="1779588"/>
                <a:ext cx="177800" cy="68262"/>
              </a:xfrm>
              <a:custGeom>
                <a:avLst/>
                <a:gdLst/>
                <a:ahLst/>
                <a:cxnLst>
                  <a:cxn ang="0">
                    <a:pos x="89" y="33"/>
                  </a:cxn>
                  <a:cxn ang="0">
                    <a:pos x="82" y="35"/>
                  </a:cxn>
                  <a:cxn ang="0">
                    <a:pos x="76" y="38"/>
                  </a:cxn>
                  <a:cxn ang="0">
                    <a:pos x="70" y="35"/>
                  </a:cxn>
                  <a:cxn ang="0">
                    <a:pos x="67" y="33"/>
                  </a:cxn>
                  <a:cxn ang="0">
                    <a:pos x="62" y="35"/>
                  </a:cxn>
                  <a:cxn ang="0">
                    <a:pos x="57" y="36"/>
                  </a:cxn>
                  <a:cxn ang="0">
                    <a:pos x="52" y="38"/>
                  </a:cxn>
                  <a:cxn ang="0">
                    <a:pos x="46" y="42"/>
                  </a:cxn>
                  <a:cxn ang="0">
                    <a:pos x="39" y="40"/>
                  </a:cxn>
                  <a:cxn ang="0">
                    <a:pos x="36" y="36"/>
                  </a:cxn>
                  <a:cxn ang="0">
                    <a:pos x="31" y="40"/>
                  </a:cxn>
                  <a:cxn ang="0">
                    <a:pos x="26" y="43"/>
                  </a:cxn>
                  <a:cxn ang="0">
                    <a:pos x="15" y="40"/>
                  </a:cxn>
                  <a:cxn ang="0">
                    <a:pos x="7" y="36"/>
                  </a:cxn>
                  <a:cxn ang="0">
                    <a:pos x="0" y="28"/>
                  </a:cxn>
                  <a:cxn ang="0">
                    <a:pos x="0" y="21"/>
                  </a:cxn>
                  <a:cxn ang="0">
                    <a:pos x="7" y="6"/>
                  </a:cxn>
                  <a:cxn ang="0">
                    <a:pos x="22" y="0"/>
                  </a:cxn>
                  <a:cxn ang="0">
                    <a:pos x="31" y="2"/>
                  </a:cxn>
                  <a:cxn ang="0">
                    <a:pos x="38" y="9"/>
                  </a:cxn>
                  <a:cxn ang="0">
                    <a:pos x="43" y="14"/>
                  </a:cxn>
                  <a:cxn ang="0">
                    <a:pos x="53" y="18"/>
                  </a:cxn>
                  <a:cxn ang="0">
                    <a:pos x="55" y="7"/>
                  </a:cxn>
                  <a:cxn ang="0">
                    <a:pos x="62" y="4"/>
                  </a:cxn>
                  <a:cxn ang="0">
                    <a:pos x="70" y="4"/>
                  </a:cxn>
                  <a:cxn ang="0">
                    <a:pos x="86" y="9"/>
                  </a:cxn>
                  <a:cxn ang="0">
                    <a:pos x="100" y="12"/>
                  </a:cxn>
                  <a:cxn ang="0">
                    <a:pos x="112" y="18"/>
                  </a:cxn>
                  <a:cxn ang="0">
                    <a:pos x="107" y="26"/>
                  </a:cxn>
                  <a:cxn ang="0">
                    <a:pos x="103" y="33"/>
                  </a:cxn>
                  <a:cxn ang="0">
                    <a:pos x="89" y="33"/>
                  </a:cxn>
                </a:cxnLst>
                <a:rect l="0" t="0" r="r" b="b"/>
                <a:pathLst>
                  <a:path w="112" h="43">
                    <a:moveTo>
                      <a:pt x="89" y="33"/>
                    </a:moveTo>
                    <a:lnTo>
                      <a:pt x="82" y="35"/>
                    </a:lnTo>
                    <a:lnTo>
                      <a:pt x="76" y="38"/>
                    </a:lnTo>
                    <a:lnTo>
                      <a:pt x="70" y="35"/>
                    </a:lnTo>
                    <a:lnTo>
                      <a:pt x="67" y="33"/>
                    </a:lnTo>
                    <a:lnTo>
                      <a:pt x="62" y="35"/>
                    </a:lnTo>
                    <a:lnTo>
                      <a:pt x="57" y="36"/>
                    </a:lnTo>
                    <a:lnTo>
                      <a:pt x="52" y="38"/>
                    </a:lnTo>
                    <a:lnTo>
                      <a:pt x="46" y="42"/>
                    </a:lnTo>
                    <a:lnTo>
                      <a:pt x="39" y="40"/>
                    </a:lnTo>
                    <a:lnTo>
                      <a:pt x="36" y="36"/>
                    </a:lnTo>
                    <a:lnTo>
                      <a:pt x="31" y="40"/>
                    </a:lnTo>
                    <a:lnTo>
                      <a:pt x="26" y="43"/>
                    </a:lnTo>
                    <a:lnTo>
                      <a:pt x="15" y="40"/>
                    </a:lnTo>
                    <a:lnTo>
                      <a:pt x="7" y="36"/>
                    </a:lnTo>
                    <a:lnTo>
                      <a:pt x="0" y="28"/>
                    </a:lnTo>
                    <a:lnTo>
                      <a:pt x="0" y="21"/>
                    </a:lnTo>
                    <a:lnTo>
                      <a:pt x="7" y="6"/>
                    </a:lnTo>
                    <a:lnTo>
                      <a:pt x="22" y="0"/>
                    </a:lnTo>
                    <a:lnTo>
                      <a:pt x="31" y="2"/>
                    </a:lnTo>
                    <a:lnTo>
                      <a:pt x="38" y="9"/>
                    </a:lnTo>
                    <a:lnTo>
                      <a:pt x="43" y="14"/>
                    </a:lnTo>
                    <a:lnTo>
                      <a:pt x="53" y="18"/>
                    </a:lnTo>
                    <a:lnTo>
                      <a:pt x="55" y="7"/>
                    </a:lnTo>
                    <a:lnTo>
                      <a:pt x="62" y="4"/>
                    </a:lnTo>
                    <a:lnTo>
                      <a:pt x="70" y="4"/>
                    </a:lnTo>
                    <a:lnTo>
                      <a:pt x="86" y="9"/>
                    </a:lnTo>
                    <a:lnTo>
                      <a:pt x="100" y="12"/>
                    </a:lnTo>
                    <a:lnTo>
                      <a:pt x="112" y="18"/>
                    </a:lnTo>
                    <a:lnTo>
                      <a:pt x="107" y="26"/>
                    </a:lnTo>
                    <a:lnTo>
                      <a:pt x="103" y="33"/>
                    </a:lnTo>
                    <a:lnTo>
                      <a:pt x="89"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1" name="Freeform 341"/>
              <p:cNvSpPr>
                <a:spLocks/>
              </p:cNvSpPr>
              <p:nvPr/>
            </p:nvSpPr>
            <p:spPr bwMode="auto">
              <a:xfrm>
                <a:off x="1629569" y="3248025"/>
                <a:ext cx="919163" cy="617537"/>
              </a:xfrm>
              <a:custGeom>
                <a:avLst/>
                <a:gdLst/>
                <a:ahLst/>
                <a:cxnLst>
                  <a:cxn ang="0">
                    <a:pos x="283" y="123"/>
                  </a:cxn>
                  <a:cxn ang="0">
                    <a:pos x="285" y="171"/>
                  </a:cxn>
                  <a:cxn ang="0">
                    <a:pos x="299" y="198"/>
                  </a:cxn>
                  <a:cxn ang="0">
                    <a:pos x="330" y="226"/>
                  </a:cxn>
                  <a:cxn ang="0">
                    <a:pos x="368" y="222"/>
                  </a:cxn>
                  <a:cxn ang="0">
                    <a:pos x="387" y="193"/>
                  </a:cxn>
                  <a:cxn ang="0">
                    <a:pos x="416" y="174"/>
                  </a:cxn>
                  <a:cxn ang="0">
                    <a:pos x="438" y="176"/>
                  </a:cxn>
                  <a:cxn ang="0">
                    <a:pos x="430" y="207"/>
                  </a:cxn>
                  <a:cxn ang="0">
                    <a:pos x="421" y="221"/>
                  </a:cxn>
                  <a:cxn ang="0">
                    <a:pos x="414" y="250"/>
                  </a:cxn>
                  <a:cxn ang="0">
                    <a:pos x="416" y="262"/>
                  </a:cxn>
                  <a:cxn ang="0">
                    <a:pos x="464" y="260"/>
                  </a:cxn>
                  <a:cxn ang="0">
                    <a:pos x="488" y="277"/>
                  </a:cxn>
                  <a:cxn ang="0">
                    <a:pos x="485" y="331"/>
                  </a:cxn>
                  <a:cxn ang="0">
                    <a:pos x="519" y="363"/>
                  </a:cxn>
                  <a:cxn ang="0">
                    <a:pos x="565" y="358"/>
                  </a:cxn>
                  <a:cxn ang="0">
                    <a:pos x="565" y="380"/>
                  </a:cxn>
                  <a:cxn ang="0">
                    <a:pos x="564" y="372"/>
                  </a:cxn>
                  <a:cxn ang="0">
                    <a:pos x="540" y="368"/>
                  </a:cxn>
                  <a:cxn ang="0">
                    <a:pos x="536" y="380"/>
                  </a:cxn>
                  <a:cxn ang="0">
                    <a:pos x="512" y="375"/>
                  </a:cxn>
                  <a:cxn ang="0">
                    <a:pos x="488" y="367"/>
                  </a:cxn>
                  <a:cxn ang="0">
                    <a:pos x="467" y="346"/>
                  </a:cxn>
                  <a:cxn ang="0">
                    <a:pos x="461" y="351"/>
                  </a:cxn>
                  <a:cxn ang="0">
                    <a:pos x="448" y="324"/>
                  </a:cxn>
                  <a:cxn ang="0">
                    <a:pos x="426" y="298"/>
                  </a:cxn>
                  <a:cxn ang="0">
                    <a:pos x="395" y="293"/>
                  </a:cxn>
                  <a:cxn ang="0">
                    <a:pos x="350" y="270"/>
                  </a:cxn>
                  <a:cxn ang="0">
                    <a:pos x="328" y="255"/>
                  </a:cxn>
                  <a:cxn ang="0">
                    <a:pos x="297" y="262"/>
                  </a:cxn>
                  <a:cxn ang="0">
                    <a:pos x="275" y="257"/>
                  </a:cxn>
                  <a:cxn ang="0">
                    <a:pos x="246" y="243"/>
                  </a:cxn>
                  <a:cxn ang="0">
                    <a:pos x="215" y="229"/>
                  </a:cxn>
                  <a:cxn ang="0">
                    <a:pos x="192" y="219"/>
                  </a:cxn>
                  <a:cxn ang="0">
                    <a:pos x="172" y="203"/>
                  </a:cxn>
                  <a:cxn ang="0">
                    <a:pos x="172" y="176"/>
                  </a:cxn>
                  <a:cxn ang="0">
                    <a:pos x="144" y="135"/>
                  </a:cxn>
                  <a:cxn ang="0">
                    <a:pos x="115" y="107"/>
                  </a:cxn>
                  <a:cxn ang="0">
                    <a:pos x="96" y="83"/>
                  </a:cxn>
                  <a:cxn ang="0">
                    <a:pos x="79" y="68"/>
                  </a:cxn>
                  <a:cxn ang="0">
                    <a:pos x="58" y="31"/>
                  </a:cxn>
                  <a:cxn ang="0">
                    <a:pos x="31" y="18"/>
                  </a:cxn>
                  <a:cxn ang="0">
                    <a:pos x="48" y="54"/>
                  </a:cxn>
                  <a:cxn ang="0">
                    <a:pos x="75" y="95"/>
                  </a:cxn>
                  <a:cxn ang="0">
                    <a:pos x="92" y="133"/>
                  </a:cxn>
                  <a:cxn ang="0">
                    <a:pos x="108" y="153"/>
                  </a:cxn>
                  <a:cxn ang="0">
                    <a:pos x="86" y="138"/>
                  </a:cxn>
                  <a:cxn ang="0">
                    <a:pos x="74" y="112"/>
                  </a:cxn>
                  <a:cxn ang="0">
                    <a:pos x="36" y="83"/>
                  </a:cxn>
                  <a:cxn ang="0">
                    <a:pos x="20" y="50"/>
                  </a:cxn>
                  <a:cxn ang="0">
                    <a:pos x="12" y="26"/>
                  </a:cxn>
                  <a:cxn ang="0">
                    <a:pos x="32" y="0"/>
                  </a:cxn>
                  <a:cxn ang="0">
                    <a:pos x="139" y="11"/>
                  </a:cxn>
                  <a:cxn ang="0">
                    <a:pos x="173" y="33"/>
                  </a:cxn>
                  <a:cxn ang="0">
                    <a:pos x="197" y="57"/>
                  </a:cxn>
                  <a:cxn ang="0">
                    <a:pos x="215" y="42"/>
                  </a:cxn>
                  <a:cxn ang="0">
                    <a:pos x="242" y="62"/>
                  </a:cxn>
                  <a:cxn ang="0">
                    <a:pos x="261" y="97"/>
                  </a:cxn>
                  <a:cxn ang="0">
                    <a:pos x="283" y="98"/>
                  </a:cxn>
                </a:cxnLst>
                <a:rect l="0" t="0" r="r" b="b"/>
                <a:pathLst>
                  <a:path w="579" h="389">
                    <a:moveTo>
                      <a:pt x="285" y="104"/>
                    </a:moveTo>
                    <a:lnTo>
                      <a:pt x="285" y="107"/>
                    </a:lnTo>
                    <a:lnTo>
                      <a:pt x="287" y="112"/>
                    </a:lnTo>
                    <a:lnTo>
                      <a:pt x="283" y="123"/>
                    </a:lnTo>
                    <a:lnTo>
                      <a:pt x="282" y="133"/>
                    </a:lnTo>
                    <a:lnTo>
                      <a:pt x="282" y="162"/>
                    </a:lnTo>
                    <a:lnTo>
                      <a:pt x="282" y="166"/>
                    </a:lnTo>
                    <a:lnTo>
                      <a:pt x="285" y="171"/>
                    </a:lnTo>
                    <a:lnTo>
                      <a:pt x="285" y="176"/>
                    </a:lnTo>
                    <a:lnTo>
                      <a:pt x="287" y="183"/>
                    </a:lnTo>
                    <a:lnTo>
                      <a:pt x="292" y="190"/>
                    </a:lnTo>
                    <a:lnTo>
                      <a:pt x="299" y="198"/>
                    </a:lnTo>
                    <a:lnTo>
                      <a:pt x="309" y="210"/>
                    </a:lnTo>
                    <a:lnTo>
                      <a:pt x="321" y="221"/>
                    </a:lnTo>
                    <a:lnTo>
                      <a:pt x="325" y="222"/>
                    </a:lnTo>
                    <a:lnTo>
                      <a:pt x="330" y="226"/>
                    </a:lnTo>
                    <a:lnTo>
                      <a:pt x="344" y="222"/>
                    </a:lnTo>
                    <a:lnTo>
                      <a:pt x="359" y="219"/>
                    </a:lnTo>
                    <a:lnTo>
                      <a:pt x="364" y="221"/>
                    </a:lnTo>
                    <a:lnTo>
                      <a:pt x="368" y="222"/>
                    </a:lnTo>
                    <a:lnTo>
                      <a:pt x="373" y="217"/>
                    </a:lnTo>
                    <a:lnTo>
                      <a:pt x="375" y="214"/>
                    </a:lnTo>
                    <a:lnTo>
                      <a:pt x="381" y="203"/>
                    </a:lnTo>
                    <a:lnTo>
                      <a:pt x="387" y="193"/>
                    </a:lnTo>
                    <a:lnTo>
                      <a:pt x="388" y="183"/>
                    </a:lnTo>
                    <a:lnTo>
                      <a:pt x="395" y="178"/>
                    </a:lnTo>
                    <a:lnTo>
                      <a:pt x="404" y="174"/>
                    </a:lnTo>
                    <a:lnTo>
                      <a:pt x="416" y="174"/>
                    </a:lnTo>
                    <a:lnTo>
                      <a:pt x="421" y="174"/>
                    </a:lnTo>
                    <a:lnTo>
                      <a:pt x="426" y="176"/>
                    </a:lnTo>
                    <a:lnTo>
                      <a:pt x="431" y="176"/>
                    </a:lnTo>
                    <a:lnTo>
                      <a:pt x="438" y="176"/>
                    </a:lnTo>
                    <a:lnTo>
                      <a:pt x="438" y="178"/>
                    </a:lnTo>
                    <a:lnTo>
                      <a:pt x="438" y="181"/>
                    </a:lnTo>
                    <a:lnTo>
                      <a:pt x="433" y="191"/>
                    </a:lnTo>
                    <a:lnTo>
                      <a:pt x="430" y="207"/>
                    </a:lnTo>
                    <a:lnTo>
                      <a:pt x="426" y="215"/>
                    </a:lnTo>
                    <a:lnTo>
                      <a:pt x="423" y="224"/>
                    </a:lnTo>
                    <a:lnTo>
                      <a:pt x="423" y="221"/>
                    </a:lnTo>
                    <a:lnTo>
                      <a:pt x="421" y="221"/>
                    </a:lnTo>
                    <a:lnTo>
                      <a:pt x="419" y="221"/>
                    </a:lnTo>
                    <a:lnTo>
                      <a:pt x="419" y="231"/>
                    </a:lnTo>
                    <a:lnTo>
                      <a:pt x="419" y="245"/>
                    </a:lnTo>
                    <a:lnTo>
                      <a:pt x="414" y="250"/>
                    </a:lnTo>
                    <a:lnTo>
                      <a:pt x="411" y="255"/>
                    </a:lnTo>
                    <a:lnTo>
                      <a:pt x="411" y="257"/>
                    </a:lnTo>
                    <a:lnTo>
                      <a:pt x="411" y="260"/>
                    </a:lnTo>
                    <a:lnTo>
                      <a:pt x="416" y="262"/>
                    </a:lnTo>
                    <a:lnTo>
                      <a:pt x="428" y="260"/>
                    </a:lnTo>
                    <a:lnTo>
                      <a:pt x="440" y="260"/>
                    </a:lnTo>
                    <a:lnTo>
                      <a:pt x="450" y="260"/>
                    </a:lnTo>
                    <a:lnTo>
                      <a:pt x="464" y="260"/>
                    </a:lnTo>
                    <a:lnTo>
                      <a:pt x="476" y="264"/>
                    </a:lnTo>
                    <a:lnTo>
                      <a:pt x="488" y="270"/>
                    </a:lnTo>
                    <a:lnTo>
                      <a:pt x="488" y="274"/>
                    </a:lnTo>
                    <a:lnTo>
                      <a:pt x="488" y="277"/>
                    </a:lnTo>
                    <a:lnTo>
                      <a:pt x="486" y="288"/>
                    </a:lnTo>
                    <a:lnTo>
                      <a:pt x="485" y="300"/>
                    </a:lnTo>
                    <a:lnTo>
                      <a:pt x="485" y="317"/>
                    </a:lnTo>
                    <a:lnTo>
                      <a:pt x="485" y="331"/>
                    </a:lnTo>
                    <a:lnTo>
                      <a:pt x="491" y="343"/>
                    </a:lnTo>
                    <a:lnTo>
                      <a:pt x="504" y="351"/>
                    </a:lnTo>
                    <a:lnTo>
                      <a:pt x="509" y="356"/>
                    </a:lnTo>
                    <a:lnTo>
                      <a:pt x="519" y="363"/>
                    </a:lnTo>
                    <a:lnTo>
                      <a:pt x="534" y="358"/>
                    </a:lnTo>
                    <a:lnTo>
                      <a:pt x="550" y="353"/>
                    </a:lnTo>
                    <a:lnTo>
                      <a:pt x="559" y="353"/>
                    </a:lnTo>
                    <a:lnTo>
                      <a:pt x="565" y="358"/>
                    </a:lnTo>
                    <a:lnTo>
                      <a:pt x="572" y="363"/>
                    </a:lnTo>
                    <a:lnTo>
                      <a:pt x="579" y="368"/>
                    </a:lnTo>
                    <a:lnTo>
                      <a:pt x="572" y="375"/>
                    </a:lnTo>
                    <a:lnTo>
                      <a:pt x="565" y="380"/>
                    </a:lnTo>
                    <a:lnTo>
                      <a:pt x="562" y="379"/>
                    </a:lnTo>
                    <a:lnTo>
                      <a:pt x="560" y="377"/>
                    </a:lnTo>
                    <a:lnTo>
                      <a:pt x="560" y="374"/>
                    </a:lnTo>
                    <a:lnTo>
                      <a:pt x="564" y="372"/>
                    </a:lnTo>
                    <a:lnTo>
                      <a:pt x="557" y="367"/>
                    </a:lnTo>
                    <a:lnTo>
                      <a:pt x="550" y="363"/>
                    </a:lnTo>
                    <a:lnTo>
                      <a:pt x="545" y="363"/>
                    </a:lnTo>
                    <a:lnTo>
                      <a:pt x="540" y="368"/>
                    </a:lnTo>
                    <a:lnTo>
                      <a:pt x="534" y="372"/>
                    </a:lnTo>
                    <a:lnTo>
                      <a:pt x="533" y="375"/>
                    </a:lnTo>
                    <a:lnTo>
                      <a:pt x="534" y="379"/>
                    </a:lnTo>
                    <a:lnTo>
                      <a:pt x="536" y="380"/>
                    </a:lnTo>
                    <a:lnTo>
                      <a:pt x="533" y="386"/>
                    </a:lnTo>
                    <a:lnTo>
                      <a:pt x="529" y="389"/>
                    </a:lnTo>
                    <a:lnTo>
                      <a:pt x="517" y="382"/>
                    </a:lnTo>
                    <a:lnTo>
                      <a:pt x="512" y="375"/>
                    </a:lnTo>
                    <a:lnTo>
                      <a:pt x="504" y="372"/>
                    </a:lnTo>
                    <a:lnTo>
                      <a:pt x="497" y="374"/>
                    </a:lnTo>
                    <a:lnTo>
                      <a:pt x="495" y="372"/>
                    </a:lnTo>
                    <a:lnTo>
                      <a:pt x="488" y="367"/>
                    </a:lnTo>
                    <a:lnTo>
                      <a:pt x="485" y="360"/>
                    </a:lnTo>
                    <a:lnTo>
                      <a:pt x="479" y="355"/>
                    </a:lnTo>
                    <a:lnTo>
                      <a:pt x="474" y="351"/>
                    </a:lnTo>
                    <a:lnTo>
                      <a:pt x="467" y="346"/>
                    </a:lnTo>
                    <a:lnTo>
                      <a:pt x="466" y="346"/>
                    </a:lnTo>
                    <a:lnTo>
                      <a:pt x="466" y="348"/>
                    </a:lnTo>
                    <a:lnTo>
                      <a:pt x="466" y="351"/>
                    </a:lnTo>
                    <a:lnTo>
                      <a:pt x="461" y="351"/>
                    </a:lnTo>
                    <a:lnTo>
                      <a:pt x="455" y="341"/>
                    </a:lnTo>
                    <a:lnTo>
                      <a:pt x="455" y="332"/>
                    </a:lnTo>
                    <a:lnTo>
                      <a:pt x="452" y="325"/>
                    </a:lnTo>
                    <a:lnTo>
                      <a:pt x="448" y="324"/>
                    </a:lnTo>
                    <a:lnTo>
                      <a:pt x="436" y="312"/>
                    </a:lnTo>
                    <a:lnTo>
                      <a:pt x="430" y="298"/>
                    </a:lnTo>
                    <a:lnTo>
                      <a:pt x="428" y="298"/>
                    </a:lnTo>
                    <a:lnTo>
                      <a:pt x="426" y="298"/>
                    </a:lnTo>
                    <a:lnTo>
                      <a:pt x="421" y="300"/>
                    </a:lnTo>
                    <a:lnTo>
                      <a:pt x="418" y="301"/>
                    </a:lnTo>
                    <a:lnTo>
                      <a:pt x="404" y="296"/>
                    </a:lnTo>
                    <a:lnTo>
                      <a:pt x="395" y="293"/>
                    </a:lnTo>
                    <a:lnTo>
                      <a:pt x="381" y="288"/>
                    </a:lnTo>
                    <a:lnTo>
                      <a:pt x="369" y="286"/>
                    </a:lnTo>
                    <a:lnTo>
                      <a:pt x="357" y="277"/>
                    </a:lnTo>
                    <a:lnTo>
                      <a:pt x="350" y="270"/>
                    </a:lnTo>
                    <a:lnTo>
                      <a:pt x="344" y="264"/>
                    </a:lnTo>
                    <a:lnTo>
                      <a:pt x="337" y="258"/>
                    </a:lnTo>
                    <a:lnTo>
                      <a:pt x="333" y="258"/>
                    </a:lnTo>
                    <a:lnTo>
                      <a:pt x="328" y="255"/>
                    </a:lnTo>
                    <a:lnTo>
                      <a:pt x="323" y="255"/>
                    </a:lnTo>
                    <a:lnTo>
                      <a:pt x="313" y="260"/>
                    </a:lnTo>
                    <a:lnTo>
                      <a:pt x="304" y="265"/>
                    </a:lnTo>
                    <a:lnTo>
                      <a:pt x="297" y="262"/>
                    </a:lnTo>
                    <a:lnTo>
                      <a:pt x="294" y="260"/>
                    </a:lnTo>
                    <a:lnTo>
                      <a:pt x="287" y="258"/>
                    </a:lnTo>
                    <a:lnTo>
                      <a:pt x="282" y="260"/>
                    </a:lnTo>
                    <a:lnTo>
                      <a:pt x="275" y="257"/>
                    </a:lnTo>
                    <a:lnTo>
                      <a:pt x="266" y="253"/>
                    </a:lnTo>
                    <a:lnTo>
                      <a:pt x="258" y="248"/>
                    </a:lnTo>
                    <a:lnTo>
                      <a:pt x="252" y="245"/>
                    </a:lnTo>
                    <a:lnTo>
                      <a:pt x="246" y="243"/>
                    </a:lnTo>
                    <a:lnTo>
                      <a:pt x="239" y="245"/>
                    </a:lnTo>
                    <a:lnTo>
                      <a:pt x="230" y="238"/>
                    </a:lnTo>
                    <a:lnTo>
                      <a:pt x="223" y="233"/>
                    </a:lnTo>
                    <a:lnTo>
                      <a:pt x="215" y="229"/>
                    </a:lnTo>
                    <a:lnTo>
                      <a:pt x="206" y="227"/>
                    </a:lnTo>
                    <a:lnTo>
                      <a:pt x="203" y="226"/>
                    </a:lnTo>
                    <a:lnTo>
                      <a:pt x="201" y="224"/>
                    </a:lnTo>
                    <a:lnTo>
                      <a:pt x="192" y="219"/>
                    </a:lnTo>
                    <a:lnTo>
                      <a:pt x="185" y="215"/>
                    </a:lnTo>
                    <a:lnTo>
                      <a:pt x="178" y="210"/>
                    </a:lnTo>
                    <a:lnTo>
                      <a:pt x="177" y="207"/>
                    </a:lnTo>
                    <a:lnTo>
                      <a:pt x="172" y="203"/>
                    </a:lnTo>
                    <a:lnTo>
                      <a:pt x="170" y="196"/>
                    </a:lnTo>
                    <a:lnTo>
                      <a:pt x="172" y="190"/>
                    </a:lnTo>
                    <a:lnTo>
                      <a:pt x="175" y="183"/>
                    </a:lnTo>
                    <a:lnTo>
                      <a:pt x="172" y="176"/>
                    </a:lnTo>
                    <a:lnTo>
                      <a:pt x="170" y="171"/>
                    </a:lnTo>
                    <a:lnTo>
                      <a:pt x="161" y="157"/>
                    </a:lnTo>
                    <a:lnTo>
                      <a:pt x="153" y="147"/>
                    </a:lnTo>
                    <a:lnTo>
                      <a:pt x="144" y="135"/>
                    </a:lnTo>
                    <a:lnTo>
                      <a:pt x="135" y="128"/>
                    </a:lnTo>
                    <a:lnTo>
                      <a:pt x="125" y="121"/>
                    </a:lnTo>
                    <a:lnTo>
                      <a:pt x="117" y="116"/>
                    </a:lnTo>
                    <a:lnTo>
                      <a:pt x="115" y="107"/>
                    </a:lnTo>
                    <a:lnTo>
                      <a:pt x="113" y="100"/>
                    </a:lnTo>
                    <a:lnTo>
                      <a:pt x="108" y="93"/>
                    </a:lnTo>
                    <a:lnTo>
                      <a:pt x="101" y="90"/>
                    </a:lnTo>
                    <a:lnTo>
                      <a:pt x="96" y="83"/>
                    </a:lnTo>
                    <a:lnTo>
                      <a:pt x="94" y="78"/>
                    </a:lnTo>
                    <a:lnTo>
                      <a:pt x="89" y="76"/>
                    </a:lnTo>
                    <a:lnTo>
                      <a:pt x="87" y="78"/>
                    </a:lnTo>
                    <a:lnTo>
                      <a:pt x="79" y="68"/>
                    </a:lnTo>
                    <a:lnTo>
                      <a:pt x="70" y="61"/>
                    </a:lnTo>
                    <a:lnTo>
                      <a:pt x="67" y="50"/>
                    </a:lnTo>
                    <a:lnTo>
                      <a:pt x="63" y="42"/>
                    </a:lnTo>
                    <a:lnTo>
                      <a:pt x="58" y="31"/>
                    </a:lnTo>
                    <a:lnTo>
                      <a:pt x="56" y="25"/>
                    </a:lnTo>
                    <a:lnTo>
                      <a:pt x="43" y="19"/>
                    </a:lnTo>
                    <a:lnTo>
                      <a:pt x="32" y="14"/>
                    </a:lnTo>
                    <a:lnTo>
                      <a:pt x="31" y="18"/>
                    </a:lnTo>
                    <a:lnTo>
                      <a:pt x="31" y="21"/>
                    </a:lnTo>
                    <a:lnTo>
                      <a:pt x="32" y="33"/>
                    </a:lnTo>
                    <a:lnTo>
                      <a:pt x="41" y="47"/>
                    </a:lnTo>
                    <a:lnTo>
                      <a:pt x="48" y="54"/>
                    </a:lnTo>
                    <a:lnTo>
                      <a:pt x="56" y="61"/>
                    </a:lnTo>
                    <a:lnTo>
                      <a:pt x="61" y="69"/>
                    </a:lnTo>
                    <a:lnTo>
                      <a:pt x="67" y="81"/>
                    </a:lnTo>
                    <a:lnTo>
                      <a:pt x="75" y="95"/>
                    </a:lnTo>
                    <a:lnTo>
                      <a:pt x="84" y="109"/>
                    </a:lnTo>
                    <a:lnTo>
                      <a:pt x="86" y="117"/>
                    </a:lnTo>
                    <a:lnTo>
                      <a:pt x="89" y="126"/>
                    </a:lnTo>
                    <a:lnTo>
                      <a:pt x="92" y="133"/>
                    </a:lnTo>
                    <a:lnTo>
                      <a:pt x="99" y="140"/>
                    </a:lnTo>
                    <a:lnTo>
                      <a:pt x="106" y="141"/>
                    </a:lnTo>
                    <a:lnTo>
                      <a:pt x="110" y="148"/>
                    </a:lnTo>
                    <a:lnTo>
                      <a:pt x="108" y="153"/>
                    </a:lnTo>
                    <a:lnTo>
                      <a:pt x="106" y="157"/>
                    </a:lnTo>
                    <a:lnTo>
                      <a:pt x="101" y="150"/>
                    </a:lnTo>
                    <a:lnTo>
                      <a:pt x="98" y="145"/>
                    </a:lnTo>
                    <a:lnTo>
                      <a:pt x="86" y="138"/>
                    </a:lnTo>
                    <a:lnTo>
                      <a:pt x="79" y="129"/>
                    </a:lnTo>
                    <a:lnTo>
                      <a:pt x="75" y="128"/>
                    </a:lnTo>
                    <a:lnTo>
                      <a:pt x="74" y="126"/>
                    </a:lnTo>
                    <a:lnTo>
                      <a:pt x="74" y="112"/>
                    </a:lnTo>
                    <a:lnTo>
                      <a:pt x="65" y="104"/>
                    </a:lnTo>
                    <a:lnTo>
                      <a:pt x="58" y="97"/>
                    </a:lnTo>
                    <a:lnTo>
                      <a:pt x="46" y="88"/>
                    </a:lnTo>
                    <a:lnTo>
                      <a:pt x="36" y="83"/>
                    </a:lnTo>
                    <a:lnTo>
                      <a:pt x="43" y="83"/>
                    </a:lnTo>
                    <a:lnTo>
                      <a:pt x="46" y="78"/>
                    </a:lnTo>
                    <a:lnTo>
                      <a:pt x="32" y="62"/>
                    </a:lnTo>
                    <a:lnTo>
                      <a:pt x="20" y="50"/>
                    </a:lnTo>
                    <a:lnTo>
                      <a:pt x="15" y="45"/>
                    </a:lnTo>
                    <a:lnTo>
                      <a:pt x="15" y="38"/>
                    </a:lnTo>
                    <a:lnTo>
                      <a:pt x="13" y="31"/>
                    </a:lnTo>
                    <a:lnTo>
                      <a:pt x="12" y="26"/>
                    </a:lnTo>
                    <a:lnTo>
                      <a:pt x="5" y="14"/>
                    </a:lnTo>
                    <a:lnTo>
                      <a:pt x="0" y="4"/>
                    </a:lnTo>
                    <a:lnTo>
                      <a:pt x="0" y="0"/>
                    </a:lnTo>
                    <a:lnTo>
                      <a:pt x="32" y="0"/>
                    </a:lnTo>
                    <a:lnTo>
                      <a:pt x="87" y="18"/>
                    </a:lnTo>
                    <a:lnTo>
                      <a:pt x="129" y="18"/>
                    </a:lnTo>
                    <a:lnTo>
                      <a:pt x="129" y="11"/>
                    </a:lnTo>
                    <a:lnTo>
                      <a:pt x="139" y="11"/>
                    </a:lnTo>
                    <a:lnTo>
                      <a:pt x="149" y="12"/>
                    </a:lnTo>
                    <a:lnTo>
                      <a:pt x="160" y="18"/>
                    </a:lnTo>
                    <a:lnTo>
                      <a:pt x="166" y="23"/>
                    </a:lnTo>
                    <a:lnTo>
                      <a:pt x="173" y="33"/>
                    </a:lnTo>
                    <a:lnTo>
                      <a:pt x="177" y="38"/>
                    </a:lnTo>
                    <a:lnTo>
                      <a:pt x="182" y="47"/>
                    </a:lnTo>
                    <a:lnTo>
                      <a:pt x="189" y="54"/>
                    </a:lnTo>
                    <a:lnTo>
                      <a:pt x="197" y="57"/>
                    </a:lnTo>
                    <a:lnTo>
                      <a:pt x="201" y="54"/>
                    </a:lnTo>
                    <a:lnTo>
                      <a:pt x="204" y="49"/>
                    </a:lnTo>
                    <a:lnTo>
                      <a:pt x="208" y="43"/>
                    </a:lnTo>
                    <a:lnTo>
                      <a:pt x="215" y="42"/>
                    </a:lnTo>
                    <a:lnTo>
                      <a:pt x="223" y="42"/>
                    </a:lnTo>
                    <a:lnTo>
                      <a:pt x="232" y="47"/>
                    </a:lnTo>
                    <a:lnTo>
                      <a:pt x="237" y="52"/>
                    </a:lnTo>
                    <a:lnTo>
                      <a:pt x="242" y="62"/>
                    </a:lnTo>
                    <a:lnTo>
                      <a:pt x="246" y="71"/>
                    </a:lnTo>
                    <a:lnTo>
                      <a:pt x="249" y="80"/>
                    </a:lnTo>
                    <a:lnTo>
                      <a:pt x="254" y="88"/>
                    </a:lnTo>
                    <a:lnTo>
                      <a:pt x="261" y="97"/>
                    </a:lnTo>
                    <a:lnTo>
                      <a:pt x="270" y="100"/>
                    </a:lnTo>
                    <a:lnTo>
                      <a:pt x="285" y="104"/>
                    </a:lnTo>
                    <a:lnTo>
                      <a:pt x="283" y="100"/>
                    </a:lnTo>
                    <a:lnTo>
                      <a:pt x="283" y="98"/>
                    </a:lnTo>
                    <a:lnTo>
                      <a:pt x="285" y="1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2" name="Freeform 342"/>
              <p:cNvSpPr>
                <a:spLocks/>
              </p:cNvSpPr>
              <p:nvPr/>
            </p:nvSpPr>
            <p:spPr bwMode="auto">
              <a:xfrm>
                <a:off x="2437607" y="2673350"/>
                <a:ext cx="26988" cy="12700"/>
              </a:xfrm>
              <a:custGeom>
                <a:avLst/>
                <a:gdLst/>
                <a:ahLst/>
                <a:cxnLst>
                  <a:cxn ang="0">
                    <a:pos x="0" y="0"/>
                  </a:cxn>
                  <a:cxn ang="0">
                    <a:pos x="10" y="1"/>
                  </a:cxn>
                  <a:cxn ang="0">
                    <a:pos x="17" y="8"/>
                  </a:cxn>
                  <a:cxn ang="0">
                    <a:pos x="15" y="8"/>
                  </a:cxn>
                  <a:cxn ang="0">
                    <a:pos x="13" y="8"/>
                  </a:cxn>
                  <a:cxn ang="0">
                    <a:pos x="5" y="7"/>
                  </a:cxn>
                  <a:cxn ang="0">
                    <a:pos x="0" y="3"/>
                  </a:cxn>
                  <a:cxn ang="0">
                    <a:pos x="0" y="0"/>
                  </a:cxn>
                </a:cxnLst>
                <a:rect l="0" t="0" r="r" b="b"/>
                <a:pathLst>
                  <a:path w="17" h="8">
                    <a:moveTo>
                      <a:pt x="0" y="0"/>
                    </a:moveTo>
                    <a:lnTo>
                      <a:pt x="10" y="1"/>
                    </a:lnTo>
                    <a:lnTo>
                      <a:pt x="17" y="8"/>
                    </a:lnTo>
                    <a:lnTo>
                      <a:pt x="15" y="8"/>
                    </a:lnTo>
                    <a:lnTo>
                      <a:pt x="13" y="8"/>
                    </a:lnTo>
                    <a:lnTo>
                      <a:pt x="5" y="7"/>
                    </a:lnTo>
                    <a:lnTo>
                      <a:pt x="0" y="3"/>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3" name="Freeform 343"/>
              <p:cNvSpPr>
                <a:spLocks/>
              </p:cNvSpPr>
              <p:nvPr/>
            </p:nvSpPr>
            <p:spPr bwMode="auto">
              <a:xfrm>
                <a:off x="1372394" y="2749550"/>
                <a:ext cx="109538" cy="68262"/>
              </a:xfrm>
              <a:custGeom>
                <a:avLst/>
                <a:gdLst/>
                <a:ahLst/>
                <a:cxnLst>
                  <a:cxn ang="0">
                    <a:pos x="0" y="2"/>
                  </a:cxn>
                  <a:cxn ang="0">
                    <a:pos x="3" y="0"/>
                  </a:cxn>
                  <a:cxn ang="0">
                    <a:pos x="7" y="0"/>
                  </a:cxn>
                  <a:cxn ang="0">
                    <a:pos x="14" y="2"/>
                  </a:cxn>
                  <a:cxn ang="0">
                    <a:pos x="21" y="7"/>
                  </a:cxn>
                  <a:cxn ang="0">
                    <a:pos x="34" y="12"/>
                  </a:cxn>
                  <a:cxn ang="0">
                    <a:pos x="46" y="20"/>
                  </a:cxn>
                  <a:cxn ang="0">
                    <a:pos x="57" y="29"/>
                  </a:cxn>
                  <a:cxn ang="0">
                    <a:pos x="69" y="39"/>
                  </a:cxn>
                  <a:cxn ang="0">
                    <a:pos x="69" y="43"/>
                  </a:cxn>
                  <a:cxn ang="0">
                    <a:pos x="65" y="43"/>
                  </a:cxn>
                  <a:cxn ang="0">
                    <a:pos x="64" y="43"/>
                  </a:cxn>
                  <a:cxn ang="0">
                    <a:pos x="53" y="39"/>
                  </a:cxn>
                  <a:cxn ang="0">
                    <a:pos x="43" y="34"/>
                  </a:cxn>
                  <a:cxn ang="0">
                    <a:pos x="33" y="27"/>
                  </a:cxn>
                  <a:cxn ang="0">
                    <a:pos x="26" y="24"/>
                  </a:cxn>
                  <a:cxn ang="0">
                    <a:pos x="27" y="20"/>
                  </a:cxn>
                  <a:cxn ang="0">
                    <a:pos x="31" y="19"/>
                  </a:cxn>
                  <a:cxn ang="0">
                    <a:pos x="22" y="17"/>
                  </a:cxn>
                  <a:cxn ang="0">
                    <a:pos x="14" y="15"/>
                  </a:cxn>
                  <a:cxn ang="0">
                    <a:pos x="7" y="12"/>
                  </a:cxn>
                  <a:cxn ang="0">
                    <a:pos x="5" y="8"/>
                  </a:cxn>
                  <a:cxn ang="0">
                    <a:pos x="7" y="5"/>
                  </a:cxn>
                  <a:cxn ang="0">
                    <a:pos x="10" y="3"/>
                  </a:cxn>
                  <a:cxn ang="0">
                    <a:pos x="3" y="2"/>
                  </a:cxn>
                  <a:cxn ang="0">
                    <a:pos x="2" y="2"/>
                  </a:cxn>
                  <a:cxn ang="0">
                    <a:pos x="0" y="2"/>
                  </a:cxn>
                </a:cxnLst>
                <a:rect l="0" t="0" r="r" b="b"/>
                <a:pathLst>
                  <a:path w="69" h="43">
                    <a:moveTo>
                      <a:pt x="0" y="2"/>
                    </a:moveTo>
                    <a:lnTo>
                      <a:pt x="3" y="0"/>
                    </a:lnTo>
                    <a:lnTo>
                      <a:pt x="7" y="0"/>
                    </a:lnTo>
                    <a:lnTo>
                      <a:pt x="14" y="2"/>
                    </a:lnTo>
                    <a:lnTo>
                      <a:pt x="21" y="7"/>
                    </a:lnTo>
                    <a:lnTo>
                      <a:pt x="34" y="12"/>
                    </a:lnTo>
                    <a:lnTo>
                      <a:pt x="46" y="20"/>
                    </a:lnTo>
                    <a:lnTo>
                      <a:pt x="57" y="29"/>
                    </a:lnTo>
                    <a:lnTo>
                      <a:pt x="69" y="39"/>
                    </a:lnTo>
                    <a:lnTo>
                      <a:pt x="69" y="43"/>
                    </a:lnTo>
                    <a:lnTo>
                      <a:pt x="65" y="43"/>
                    </a:lnTo>
                    <a:lnTo>
                      <a:pt x="64" y="43"/>
                    </a:lnTo>
                    <a:lnTo>
                      <a:pt x="53" y="39"/>
                    </a:lnTo>
                    <a:lnTo>
                      <a:pt x="43" y="34"/>
                    </a:lnTo>
                    <a:lnTo>
                      <a:pt x="33" y="27"/>
                    </a:lnTo>
                    <a:lnTo>
                      <a:pt x="26" y="24"/>
                    </a:lnTo>
                    <a:lnTo>
                      <a:pt x="27" y="20"/>
                    </a:lnTo>
                    <a:lnTo>
                      <a:pt x="31" y="19"/>
                    </a:lnTo>
                    <a:lnTo>
                      <a:pt x="22" y="17"/>
                    </a:lnTo>
                    <a:lnTo>
                      <a:pt x="14" y="15"/>
                    </a:lnTo>
                    <a:lnTo>
                      <a:pt x="7" y="12"/>
                    </a:lnTo>
                    <a:lnTo>
                      <a:pt x="5" y="8"/>
                    </a:lnTo>
                    <a:lnTo>
                      <a:pt x="7" y="5"/>
                    </a:lnTo>
                    <a:lnTo>
                      <a:pt x="10" y="3"/>
                    </a:lnTo>
                    <a:lnTo>
                      <a:pt x="3" y="2"/>
                    </a:lnTo>
                    <a:lnTo>
                      <a:pt x="2" y="2"/>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4" name="Freeform 344"/>
              <p:cNvSpPr>
                <a:spLocks/>
              </p:cNvSpPr>
              <p:nvPr/>
            </p:nvSpPr>
            <p:spPr bwMode="auto">
              <a:xfrm>
                <a:off x="1262857" y="2647950"/>
                <a:ext cx="33338" cy="55562"/>
              </a:xfrm>
              <a:custGeom>
                <a:avLst/>
                <a:gdLst/>
                <a:ahLst/>
                <a:cxnLst>
                  <a:cxn ang="0">
                    <a:pos x="7" y="12"/>
                  </a:cxn>
                  <a:cxn ang="0">
                    <a:pos x="4" y="9"/>
                  </a:cxn>
                  <a:cxn ang="0">
                    <a:pos x="0" y="4"/>
                  </a:cxn>
                  <a:cxn ang="0">
                    <a:pos x="0" y="0"/>
                  </a:cxn>
                  <a:cxn ang="0">
                    <a:pos x="5" y="0"/>
                  </a:cxn>
                  <a:cxn ang="0">
                    <a:pos x="12" y="4"/>
                  </a:cxn>
                  <a:cxn ang="0">
                    <a:pos x="9" y="5"/>
                  </a:cxn>
                  <a:cxn ang="0">
                    <a:pos x="9" y="9"/>
                  </a:cxn>
                  <a:cxn ang="0">
                    <a:pos x="14" y="5"/>
                  </a:cxn>
                  <a:cxn ang="0">
                    <a:pos x="16" y="2"/>
                  </a:cxn>
                  <a:cxn ang="0">
                    <a:pos x="16" y="7"/>
                  </a:cxn>
                  <a:cxn ang="0">
                    <a:pos x="16" y="14"/>
                  </a:cxn>
                  <a:cxn ang="0">
                    <a:pos x="17" y="16"/>
                  </a:cxn>
                  <a:cxn ang="0">
                    <a:pos x="19" y="19"/>
                  </a:cxn>
                  <a:cxn ang="0">
                    <a:pos x="17" y="21"/>
                  </a:cxn>
                  <a:cxn ang="0">
                    <a:pos x="16" y="24"/>
                  </a:cxn>
                  <a:cxn ang="0">
                    <a:pos x="19" y="29"/>
                  </a:cxn>
                  <a:cxn ang="0">
                    <a:pos x="21" y="35"/>
                  </a:cxn>
                  <a:cxn ang="0">
                    <a:pos x="14" y="31"/>
                  </a:cxn>
                  <a:cxn ang="0">
                    <a:pos x="14" y="24"/>
                  </a:cxn>
                  <a:cxn ang="0">
                    <a:pos x="14" y="21"/>
                  </a:cxn>
                  <a:cxn ang="0">
                    <a:pos x="16" y="19"/>
                  </a:cxn>
                  <a:cxn ang="0">
                    <a:pos x="10" y="14"/>
                  </a:cxn>
                  <a:cxn ang="0">
                    <a:pos x="7" y="12"/>
                  </a:cxn>
                </a:cxnLst>
                <a:rect l="0" t="0" r="r" b="b"/>
                <a:pathLst>
                  <a:path w="21" h="35">
                    <a:moveTo>
                      <a:pt x="7" y="12"/>
                    </a:moveTo>
                    <a:lnTo>
                      <a:pt x="4" y="9"/>
                    </a:lnTo>
                    <a:lnTo>
                      <a:pt x="0" y="4"/>
                    </a:lnTo>
                    <a:lnTo>
                      <a:pt x="0" y="0"/>
                    </a:lnTo>
                    <a:lnTo>
                      <a:pt x="5" y="0"/>
                    </a:lnTo>
                    <a:lnTo>
                      <a:pt x="12" y="4"/>
                    </a:lnTo>
                    <a:lnTo>
                      <a:pt x="9" y="5"/>
                    </a:lnTo>
                    <a:lnTo>
                      <a:pt x="9" y="9"/>
                    </a:lnTo>
                    <a:lnTo>
                      <a:pt x="14" y="5"/>
                    </a:lnTo>
                    <a:lnTo>
                      <a:pt x="16" y="2"/>
                    </a:lnTo>
                    <a:lnTo>
                      <a:pt x="16" y="7"/>
                    </a:lnTo>
                    <a:lnTo>
                      <a:pt x="16" y="14"/>
                    </a:lnTo>
                    <a:lnTo>
                      <a:pt x="17" y="16"/>
                    </a:lnTo>
                    <a:lnTo>
                      <a:pt x="19" y="19"/>
                    </a:lnTo>
                    <a:lnTo>
                      <a:pt x="17" y="21"/>
                    </a:lnTo>
                    <a:lnTo>
                      <a:pt x="16" y="24"/>
                    </a:lnTo>
                    <a:lnTo>
                      <a:pt x="19" y="29"/>
                    </a:lnTo>
                    <a:lnTo>
                      <a:pt x="21" y="35"/>
                    </a:lnTo>
                    <a:lnTo>
                      <a:pt x="14" y="31"/>
                    </a:lnTo>
                    <a:lnTo>
                      <a:pt x="14" y="24"/>
                    </a:lnTo>
                    <a:lnTo>
                      <a:pt x="14" y="21"/>
                    </a:lnTo>
                    <a:lnTo>
                      <a:pt x="16" y="19"/>
                    </a:lnTo>
                    <a:lnTo>
                      <a:pt x="10" y="14"/>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5" name="Freeform 345"/>
              <p:cNvSpPr>
                <a:spLocks/>
              </p:cNvSpPr>
              <p:nvPr/>
            </p:nvSpPr>
            <p:spPr bwMode="auto">
              <a:xfrm>
                <a:off x="772319" y="2525713"/>
                <a:ext cx="47625" cy="31750"/>
              </a:xfrm>
              <a:custGeom>
                <a:avLst/>
                <a:gdLst/>
                <a:ahLst/>
                <a:cxnLst>
                  <a:cxn ang="0">
                    <a:pos x="24" y="0"/>
                  </a:cxn>
                  <a:cxn ang="0">
                    <a:pos x="27" y="0"/>
                  </a:cxn>
                  <a:cxn ang="0">
                    <a:pos x="30" y="0"/>
                  </a:cxn>
                  <a:cxn ang="0">
                    <a:pos x="30" y="7"/>
                  </a:cxn>
                  <a:cxn ang="0">
                    <a:pos x="20" y="12"/>
                  </a:cxn>
                  <a:cxn ang="0">
                    <a:pos x="10" y="20"/>
                  </a:cxn>
                  <a:cxn ang="0">
                    <a:pos x="5" y="15"/>
                  </a:cxn>
                  <a:cxn ang="0">
                    <a:pos x="0" y="14"/>
                  </a:cxn>
                  <a:cxn ang="0">
                    <a:pos x="0" y="7"/>
                  </a:cxn>
                  <a:cxn ang="0">
                    <a:pos x="12" y="2"/>
                  </a:cxn>
                  <a:cxn ang="0">
                    <a:pos x="24" y="0"/>
                  </a:cxn>
                </a:cxnLst>
                <a:rect l="0" t="0" r="r" b="b"/>
                <a:pathLst>
                  <a:path w="30" h="20">
                    <a:moveTo>
                      <a:pt x="24" y="0"/>
                    </a:moveTo>
                    <a:lnTo>
                      <a:pt x="27" y="0"/>
                    </a:lnTo>
                    <a:lnTo>
                      <a:pt x="30" y="0"/>
                    </a:lnTo>
                    <a:lnTo>
                      <a:pt x="30" y="7"/>
                    </a:lnTo>
                    <a:lnTo>
                      <a:pt x="20" y="12"/>
                    </a:lnTo>
                    <a:lnTo>
                      <a:pt x="10" y="20"/>
                    </a:lnTo>
                    <a:lnTo>
                      <a:pt x="5" y="15"/>
                    </a:lnTo>
                    <a:lnTo>
                      <a:pt x="0" y="14"/>
                    </a:lnTo>
                    <a:lnTo>
                      <a:pt x="0" y="7"/>
                    </a:lnTo>
                    <a:lnTo>
                      <a:pt x="12" y="2"/>
                    </a:lnTo>
                    <a:lnTo>
                      <a:pt x="2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6" name="Freeform 346"/>
              <p:cNvSpPr>
                <a:spLocks/>
              </p:cNvSpPr>
              <p:nvPr/>
            </p:nvSpPr>
            <p:spPr bwMode="auto">
              <a:xfrm>
                <a:off x="4596607" y="3098800"/>
                <a:ext cx="63500" cy="38100"/>
              </a:xfrm>
              <a:custGeom>
                <a:avLst/>
                <a:gdLst/>
                <a:ahLst/>
                <a:cxnLst>
                  <a:cxn ang="0">
                    <a:pos x="0" y="2"/>
                  </a:cxn>
                  <a:cxn ang="0">
                    <a:pos x="0" y="5"/>
                  </a:cxn>
                  <a:cxn ang="0">
                    <a:pos x="4" y="7"/>
                  </a:cxn>
                  <a:cxn ang="0">
                    <a:pos x="9" y="8"/>
                  </a:cxn>
                  <a:cxn ang="0">
                    <a:pos x="19" y="14"/>
                  </a:cxn>
                  <a:cxn ang="0">
                    <a:pos x="31" y="22"/>
                  </a:cxn>
                  <a:cxn ang="0">
                    <a:pos x="33" y="22"/>
                  </a:cxn>
                  <a:cxn ang="0">
                    <a:pos x="35" y="24"/>
                  </a:cxn>
                  <a:cxn ang="0">
                    <a:pos x="36" y="22"/>
                  </a:cxn>
                  <a:cxn ang="0">
                    <a:pos x="38" y="21"/>
                  </a:cxn>
                  <a:cxn ang="0">
                    <a:pos x="36" y="15"/>
                  </a:cxn>
                  <a:cxn ang="0">
                    <a:pos x="36" y="12"/>
                  </a:cxn>
                  <a:cxn ang="0">
                    <a:pos x="36" y="8"/>
                  </a:cxn>
                  <a:cxn ang="0">
                    <a:pos x="38" y="7"/>
                  </a:cxn>
                  <a:cxn ang="0">
                    <a:pos x="40" y="0"/>
                  </a:cxn>
                  <a:cxn ang="0">
                    <a:pos x="31" y="2"/>
                  </a:cxn>
                  <a:cxn ang="0">
                    <a:pos x="22" y="3"/>
                  </a:cxn>
                  <a:cxn ang="0">
                    <a:pos x="12" y="0"/>
                  </a:cxn>
                  <a:cxn ang="0">
                    <a:pos x="0" y="2"/>
                  </a:cxn>
                </a:cxnLst>
                <a:rect l="0" t="0" r="r" b="b"/>
                <a:pathLst>
                  <a:path w="40" h="24">
                    <a:moveTo>
                      <a:pt x="0" y="2"/>
                    </a:moveTo>
                    <a:lnTo>
                      <a:pt x="0" y="5"/>
                    </a:lnTo>
                    <a:lnTo>
                      <a:pt x="4" y="7"/>
                    </a:lnTo>
                    <a:lnTo>
                      <a:pt x="9" y="8"/>
                    </a:lnTo>
                    <a:lnTo>
                      <a:pt x="19" y="14"/>
                    </a:lnTo>
                    <a:lnTo>
                      <a:pt x="31" y="22"/>
                    </a:lnTo>
                    <a:lnTo>
                      <a:pt x="33" y="22"/>
                    </a:lnTo>
                    <a:lnTo>
                      <a:pt x="35" y="24"/>
                    </a:lnTo>
                    <a:lnTo>
                      <a:pt x="36" y="22"/>
                    </a:lnTo>
                    <a:lnTo>
                      <a:pt x="38" y="21"/>
                    </a:lnTo>
                    <a:lnTo>
                      <a:pt x="36" y="15"/>
                    </a:lnTo>
                    <a:lnTo>
                      <a:pt x="36" y="12"/>
                    </a:lnTo>
                    <a:lnTo>
                      <a:pt x="36" y="8"/>
                    </a:lnTo>
                    <a:lnTo>
                      <a:pt x="38" y="7"/>
                    </a:lnTo>
                    <a:lnTo>
                      <a:pt x="40" y="0"/>
                    </a:lnTo>
                    <a:lnTo>
                      <a:pt x="31" y="2"/>
                    </a:lnTo>
                    <a:lnTo>
                      <a:pt x="22" y="3"/>
                    </a:lnTo>
                    <a:lnTo>
                      <a:pt x="12" y="0"/>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7" name="Freeform 347"/>
              <p:cNvSpPr>
                <a:spLocks/>
              </p:cNvSpPr>
              <p:nvPr/>
            </p:nvSpPr>
            <p:spPr bwMode="auto">
              <a:xfrm>
                <a:off x="4509294" y="2967038"/>
                <a:ext cx="22225" cy="41275"/>
              </a:xfrm>
              <a:custGeom>
                <a:avLst/>
                <a:gdLst/>
                <a:ahLst/>
                <a:cxnLst>
                  <a:cxn ang="0">
                    <a:pos x="4" y="6"/>
                  </a:cxn>
                  <a:cxn ang="0">
                    <a:pos x="7" y="2"/>
                  </a:cxn>
                  <a:cxn ang="0">
                    <a:pos x="12" y="0"/>
                  </a:cxn>
                  <a:cxn ang="0">
                    <a:pos x="12" y="4"/>
                  </a:cxn>
                  <a:cxn ang="0">
                    <a:pos x="14" y="7"/>
                  </a:cxn>
                  <a:cxn ang="0">
                    <a:pos x="10" y="18"/>
                  </a:cxn>
                  <a:cxn ang="0">
                    <a:pos x="10" y="26"/>
                  </a:cxn>
                  <a:cxn ang="0">
                    <a:pos x="5" y="23"/>
                  </a:cxn>
                  <a:cxn ang="0">
                    <a:pos x="4" y="18"/>
                  </a:cxn>
                  <a:cxn ang="0">
                    <a:pos x="2" y="11"/>
                  </a:cxn>
                  <a:cxn ang="0">
                    <a:pos x="0" y="7"/>
                  </a:cxn>
                  <a:cxn ang="0">
                    <a:pos x="2" y="6"/>
                  </a:cxn>
                  <a:cxn ang="0">
                    <a:pos x="4" y="6"/>
                  </a:cxn>
                </a:cxnLst>
                <a:rect l="0" t="0" r="r" b="b"/>
                <a:pathLst>
                  <a:path w="14" h="26">
                    <a:moveTo>
                      <a:pt x="4" y="6"/>
                    </a:moveTo>
                    <a:lnTo>
                      <a:pt x="7" y="2"/>
                    </a:lnTo>
                    <a:lnTo>
                      <a:pt x="12" y="0"/>
                    </a:lnTo>
                    <a:lnTo>
                      <a:pt x="12" y="4"/>
                    </a:lnTo>
                    <a:lnTo>
                      <a:pt x="14" y="7"/>
                    </a:lnTo>
                    <a:lnTo>
                      <a:pt x="10" y="18"/>
                    </a:lnTo>
                    <a:lnTo>
                      <a:pt x="10" y="26"/>
                    </a:lnTo>
                    <a:lnTo>
                      <a:pt x="5" y="23"/>
                    </a:lnTo>
                    <a:lnTo>
                      <a:pt x="4" y="18"/>
                    </a:lnTo>
                    <a:lnTo>
                      <a:pt x="2" y="11"/>
                    </a:lnTo>
                    <a:lnTo>
                      <a:pt x="0" y="7"/>
                    </a:lnTo>
                    <a:lnTo>
                      <a:pt x="2" y="6"/>
                    </a:lnTo>
                    <a:lnTo>
                      <a:pt x="4"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8" name="Freeform 348"/>
              <p:cNvSpPr>
                <a:spLocks/>
              </p:cNvSpPr>
              <p:nvPr/>
            </p:nvSpPr>
            <p:spPr bwMode="auto">
              <a:xfrm>
                <a:off x="4504532" y="3016250"/>
                <a:ext cx="31750" cy="60325"/>
              </a:xfrm>
              <a:custGeom>
                <a:avLst/>
                <a:gdLst/>
                <a:ahLst/>
                <a:cxnLst>
                  <a:cxn ang="0">
                    <a:pos x="5" y="17"/>
                  </a:cxn>
                  <a:cxn ang="0">
                    <a:pos x="1" y="11"/>
                  </a:cxn>
                  <a:cxn ang="0">
                    <a:pos x="0" y="5"/>
                  </a:cxn>
                  <a:cxn ang="0">
                    <a:pos x="5" y="2"/>
                  </a:cxn>
                  <a:cxn ang="0">
                    <a:pos x="10" y="0"/>
                  </a:cxn>
                  <a:cxn ang="0">
                    <a:pos x="13" y="0"/>
                  </a:cxn>
                  <a:cxn ang="0">
                    <a:pos x="17" y="2"/>
                  </a:cxn>
                  <a:cxn ang="0">
                    <a:pos x="20" y="12"/>
                  </a:cxn>
                  <a:cxn ang="0">
                    <a:pos x="20" y="23"/>
                  </a:cxn>
                  <a:cxn ang="0">
                    <a:pos x="15" y="33"/>
                  </a:cxn>
                  <a:cxn ang="0">
                    <a:pos x="7" y="38"/>
                  </a:cxn>
                  <a:cxn ang="0">
                    <a:pos x="1" y="33"/>
                  </a:cxn>
                  <a:cxn ang="0">
                    <a:pos x="1" y="26"/>
                  </a:cxn>
                  <a:cxn ang="0">
                    <a:pos x="3" y="21"/>
                  </a:cxn>
                  <a:cxn ang="0">
                    <a:pos x="5" y="17"/>
                  </a:cxn>
                </a:cxnLst>
                <a:rect l="0" t="0" r="r" b="b"/>
                <a:pathLst>
                  <a:path w="20" h="38">
                    <a:moveTo>
                      <a:pt x="5" y="17"/>
                    </a:moveTo>
                    <a:lnTo>
                      <a:pt x="1" y="11"/>
                    </a:lnTo>
                    <a:lnTo>
                      <a:pt x="0" y="5"/>
                    </a:lnTo>
                    <a:lnTo>
                      <a:pt x="5" y="2"/>
                    </a:lnTo>
                    <a:lnTo>
                      <a:pt x="10" y="0"/>
                    </a:lnTo>
                    <a:lnTo>
                      <a:pt x="13" y="0"/>
                    </a:lnTo>
                    <a:lnTo>
                      <a:pt x="17" y="2"/>
                    </a:lnTo>
                    <a:lnTo>
                      <a:pt x="20" y="12"/>
                    </a:lnTo>
                    <a:lnTo>
                      <a:pt x="20" y="23"/>
                    </a:lnTo>
                    <a:lnTo>
                      <a:pt x="15" y="33"/>
                    </a:lnTo>
                    <a:lnTo>
                      <a:pt x="7" y="38"/>
                    </a:lnTo>
                    <a:lnTo>
                      <a:pt x="1" y="33"/>
                    </a:lnTo>
                    <a:lnTo>
                      <a:pt x="1" y="26"/>
                    </a:lnTo>
                    <a:lnTo>
                      <a:pt x="3" y="21"/>
                    </a:lnTo>
                    <a:lnTo>
                      <a:pt x="5"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9" name="Freeform 349"/>
              <p:cNvSpPr>
                <a:spLocks/>
              </p:cNvSpPr>
              <p:nvPr/>
            </p:nvSpPr>
            <p:spPr bwMode="auto">
              <a:xfrm>
                <a:off x="4375944" y="3052763"/>
                <a:ext cx="15875" cy="12700"/>
              </a:xfrm>
              <a:custGeom>
                <a:avLst/>
                <a:gdLst/>
                <a:ahLst/>
                <a:cxnLst>
                  <a:cxn ang="0">
                    <a:pos x="10" y="5"/>
                  </a:cxn>
                  <a:cxn ang="0">
                    <a:pos x="7" y="7"/>
                  </a:cxn>
                  <a:cxn ang="0">
                    <a:pos x="5" y="8"/>
                  </a:cxn>
                  <a:cxn ang="0">
                    <a:pos x="2" y="5"/>
                  </a:cxn>
                  <a:cxn ang="0">
                    <a:pos x="0" y="3"/>
                  </a:cxn>
                  <a:cxn ang="0">
                    <a:pos x="3" y="0"/>
                  </a:cxn>
                  <a:cxn ang="0">
                    <a:pos x="7" y="0"/>
                  </a:cxn>
                  <a:cxn ang="0">
                    <a:pos x="8" y="1"/>
                  </a:cxn>
                  <a:cxn ang="0">
                    <a:pos x="10" y="5"/>
                  </a:cxn>
                </a:cxnLst>
                <a:rect l="0" t="0" r="r" b="b"/>
                <a:pathLst>
                  <a:path w="10" h="8">
                    <a:moveTo>
                      <a:pt x="10" y="5"/>
                    </a:moveTo>
                    <a:lnTo>
                      <a:pt x="7" y="7"/>
                    </a:lnTo>
                    <a:lnTo>
                      <a:pt x="5" y="8"/>
                    </a:lnTo>
                    <a:lnTo>
                      <a:pt x="2" y="5"/>
                    </a:lnTo>
                    <a:lnTo>
                      <a:pt x="0" y="3"/>
                    </a:lnTo>
                    <a:lnTo>
                      <a:pt x="3" y="0"/>
                    </a:lnTo>
                    <a:lnTo>
                      <a:pt x="7" y="0"/>
                    </a:lnTo>
                    <a:lnTo>
                      <a:pt x="8" y="1"/>
                    </a:lnTo>
                    <a:lnTo>
                      <a:pt x="1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0" name="Freeform 350"/>
              <p:cNvSpPr>
                <a:spLocks/>
              </p:cNvSpPr>
              <p:nvPr/>
            </p:nvSpPr>
            <p:spPr bwMode="auto">
              <a:xfrm>
                <a:off x="4542632" y="2587625"/>
                <a:ext cx="19050" cy="25400"/>
              </a:xfrm>
              <a:custGeom>
                <a:avLst/>
                <a:gdLst/>
                <a:ahLst/>
                <a:cxnLst>
                  <a:cxn ang="0">
                    <a:pos x="10" y="12"/>
                  </a:cxn>
                  <a:cxn ang="0">
                    <a:pos x="1" y="11"/>
                  </a:cxn>
                  <a:cxn ang="0">
                    <a:pos x="0" y="5"/>
                  </a:cxn>
                  <a:cxn ang="0">
                    <a:pos x="0" y="2"/>
                  </a:cxn>
                  <a:cxn ang="0">
                    <a:pos x="0" y="0"/>
                  </a:cxn>
                  <a:cxn ang="0">
                    <a:pos x="8" y="0"/>
                  </a:cxn>
                  <a:cxn ang="0">
                    <a:pos x="10" y="5"/>
                  </a:cxn>
                  <a:cxn ang="0">
                    <a:pos x="12" y="11"/>
                  </a:cxn>
                  <a:cxn ang="0">
                    <a:pos x="10" y="14"/>
                  </a:cxn>
                  <a:cxn ang="0">
                    <a:pos x="10" y="16"/>
                  </a:cxn>
                  <a:cxn ang="0">
                    <a:pos x="10" y="14"/>
                  </a:cxn>
                  <a:cxn ang="0">
                    <a:pos x="10" y="12"/>
                  </a:cxn>
                </a:cxnLst>
                <a:rect l="0" t="0" r="r" b="b"/>
                <a:pathLst>
                  <a:path w="12" h="16">
                    <a:moveTo>
                      <a:pt x="10" y="12"/>
                    </a:moveTo>
                    <a:lnTo>
                      <a:pt x="1" y="11"/>
                    </a:lnTo>
                    <a:lnTo>
                      <a:pt x="0" y="5"/>
                    </a:lnTo>
                    <a:lnTo>
                      <a:pt x="0" y="2"/>
                    </a:lnTo>
                    <a:lnTo>
                      <a:pt x="0" y="0"/>
                    </a:lnTo>
                    <a:lnTo>
                      <a:pt x="8" y="0"/>
                    </a:lnTo>
                    <a:lnTo>
                      <a:pt x="10" y="5"/>
                    </a:lnTo>
                    <a:lnTo>
                      <a:pt x="12" y="11"/>
                    </a:lnTo>
                    <a:lnTo>
                      <a:pt x="10" y="14"/>
                    </a:lnTo>
                    <a:lnTo>
                      <a:pt x="10" y="16"/>
                    </a:lnTo>
                    <a:lnTo>
                      <a:pt x="10" y="14"/>
                    </a:lnTo>
                    <a:lnTo>
                      <a:pt x="10"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1" name="Freeform 351"/>
              <p:cNvSpPr>
                <a:spLocks/>
              </p:cNvSpPr>
              <p:nvPr/>
            </p:nvSpPr>
            <p:spPr bwMode="auto">
              <a:xfrm>
                <a:off x="4566444" y="2566988"/>
                <a:ext cx="36513" cy="50800"/>
              </a:xfrm>
              <a:custGeom>
                <a:avLst/>
                <a:gdLst/>
                <a:ahLst/>
                <a:cxnLst>
                  <a:cxn ang="0">
                    <a:pos x="4" y="29"/>
                  </a:cxn>
                  <a:cxn ang="0">
                    <a:pos x="7" y="25"/>
                  </a:cxn>
                  <a:cxn ang="0">
                    <a:pos x="11" y="22"/>
                  </a:cxn>
                  <a:cxn ang="0">
                    <a:pos x="2" y="18"/>
                  </a:cxn>
                  <a:cxn ang="0">
                    <a:pos x="0" y="15"/>
                  </a:cxn>
                  <a:cxn ang="0">
                    <a:pos x="2" y="5"/>
                  </a:cxn>
                  <a:cxn ang="0">
                    <a:pos x="9" y="0"/>
                  </a:cxn>
                  <a:cxn ang="0">
                    <a:pos x="17" y="1"/>
                  </a:cxn>
                  <a:cxn ang="0">
                    <a:pos x="23" y="12"/>
                  </a:cxn>
                  <a:cxn ang="0">
                    <a:pos x="17" y="15"/>
                  </a:cxn>
                  <a:cxn ang="0">
                    <a:pos x="16" y="22"/>
                  </a:cxn>
                  <a:cxn ang="0">
                    <a:pos x="12" y="29"/>
                  </a:cxn>
                  <a:cxn ang="0">
                    <a:pos x="7" y="32"/>
                  </a:cxn>
                  <a:cxn ang="0">
                    <a:pos x="2" y="31"/>
                  </a:cxn>
                  <a:cxn ang="0">
                    <a:pos x="0" y="29"/>
                  </a:cxn>
                  <a:cxn ang="0">
                    <a:pos x="0" y="27"/>
                  </a:cxn>
                  <a:cxn ang="0">
                    <a:pos x="2" y="27"/>
                  </a:cxn>
                  <a:cxn ang="0">
                    <a:pos x="4" y="29"/>
                  </a:cxn>
                </a:cxnLst>
                <a:rect l="0" t="0" r="r" b="b"/>
                <a:pathLst>
                  <a:path w="23" h="32">
                    <a:moveTo>
                      <a:pt x="4" y="29"/>
                    </a:moveTo>
                    <a:lnTo>
                      <a:pt x="7" y="25"/>
                    </a:lnTo>
                    <a:lnTo>
                      <a:pt x="11" y="22"/>
                    </a:lnTo>
                    <a:lnTo>
                      <a:pt x="2" y="18"/>
                    </a:lnTo>
                    <a:lnTo>
                      <a:pt x="0" y="15"/>
                    </a:lnTo>
                    <a:lnTo>
                      <a:pt x="2" y="5"/>
                    </a:lnTo>
                    <a:lnTo>
                      <a:pt x="9" y="0"/>
                    </a:lnTo>
                    <a:lnTo>
                      <a:pt x="17" y="1"/>
                    </a:lnTo>
                    <a:lnTo>
                      <a:pt x="23" y="12"/>
                    </a:lnTo>
                    <a:lnTo>
                      <a:pt x="17" y="15"/>
                    </a:lnTo>
                    <a:lnTo>
                      <a:pt x="16" y="22"/>
                    </a:lnTo>
                    <a:lnTo>
                      <a:pt x="12" y="29"/>
                    </a:lnTo>
                    <a:lnTo>
                      <a:pt x="7" y="32"/>
                    </a:lnTo>
                    <a:lnTo>
                      <a:pt x="2" y="31"/>
                    </a:lnTo>
                    <a:lnTo>
                      <a:pt x="0" y="29"/>
                    </a:lnTo>
                    <a:lnTo>
                      <a:pt x="0" y="27"/>
                    </a:lnTo>
                    <a:lnTo>
                      <a:pt x="2" y="27"/>
                    </a:lnTo>
                    <a:lnTo>
                      <a:pt x="4"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2" name="Freeform 352"/>
              <p:cNvSpPr>
                <a:spLocks/>
              </p:cNvSpPr>
              <p:nvPr/>
            </p:nvSpPr>
            <p:spPr bwMode="auto">
              <a:xfrm>
                <a:off x="4725194" y="2506663"/>
                <a:ext cx="19050" cy="30162"/>
              </a:xfrm>
              <a:custGeom>
                <a:avLst/>
                <a:gdLst/>
                <a:ahLst/>
                <a:cxnLst>
                  <a:cxn ang="0">
                    <a:pos x="9" y="7"/>
                  </a:cxn>
                  <a:cxn ang="0">
                    <a:pos x="5" y="12"/>
                  </a:cxn>
                  <a:cxn ang="0">
                    <a:pos x="2" y="19"/>
                  </a:cxn>
                  <a:cxn ang="0">
                    <a:pos x="0" y="15"/>
                  </a:cxn>
                  <a:cxn ang="0">
                    <a:pos x="2" y="14"/>
                  </a:cxn>
                  <a:cxn ang="0">
                    <a:pos x="3" y="5"/>
                  </a:cxn>
                  <a:cxn ang="0">
                    <a:pos x="12" y="0"/>
                  </a:cxn>
                  <a:cxn ang="0">
                    <a:pos x="10" y="3"/>
                  </a:cxn>
                  <a:cxn ang="0">
                    <a:pos x="9" y="7"/>
                  </a:cxn>
                </a:cxnLst>
                <a:rect l="0" t="0" r="r" b="b"/>
                <a:pathLst>
                  <a:path w="12" h="19">
                    <a:moveTo>
                      <a:pt x="9" y="7"/>
                    </a:moveTo>
                    <a:lnTo>
                      <a:pt x="5" y="12"/>
                    </a:lnTo>
                    <a:lnTo>
                      <a:pt x="2" y="19"/>
                    </a:lnTo>
                    <a:lnTo>
                      <a:pt x="0" y="15"/>
                    </a:lnTo>
                    <a:lnTo>
                      <a:pt x="2" y="14"/>
                    </a:lnTo>
                    <a:lnTo>
                      <a:pt x="3" y="5"/>
                    </a:lnTo>
                    <a:lnTo>
                      <a:pt x="12" y="0"/>
                    </a:lnTo>
                    <a:lnTo>
                      <a:pt x="10" y="3"/>
                    </a:lnTo>
                    <a:lnTo>
                      <a:pt x="9"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3" name="Freeform 353"/>
              <p:cNvSpPr>
                <a:spLocks/>
              </p:cNvSpPr>
              <p:nvPr/>
            </p:nvSpPr>
            <p:spPr bwMode="auto">
              <a:xfrm>
                <a:off x="4809332" y="2465388"/>
                <a:ext cx="26988" cy="38100"/>
              </a:xfrm>
              <a:custGeom>
                <a:avLst/>
                <a:gdLst/>
                <a:ahLst/>
                <a:cxnLst>
                  <a:cxn ang="0">
                    <a:pos x="14" y="12"/>
                  </a:cxn>
                  <a:cxn ang="0">
                    <a:pos x="14" y="15"/>
                  </a:cxn>
                  <a:cxn ang="0">
                    <a:pos x="14" y="19"/>
                  </a:cxn>
                  <a:cxn ang="0">
                    <a:pos x="9" y="21"/>
                  </a:cxn>
                  <a:cxn ang="0">
                    <a:pos x="5" y="24"/>
                  </a:cxn>
                  <a:cxn ang="0">
                    <a:pos x="0" y="21"/>
                  </a:cxn>
                  <a:cxn ang="0">
                    <a:pos x="0" y="15"/>
                  </a:cxn>
                  <a:cxn ang="0">
                    <a:pos x="5" y="14"/>
                  </a:cxn>
                  <a:cxn ang="0">
                    <a:pos x="11" y="12"/>
                  </a:cxn>
                  <a:cxn ang="0">
                    <a:pos x="9" y="9"/>
                  </a:cxn>
                  <a:cxn ang="0">
                    <a:pos x="7" y="5"/>
                  </a:cxn>
                  <a:cxn ang="0">
                    <a:pos x="9" y="2"/>
                  </a:cxn>
                  <a:cxn ang="0">
                    <a:pos x="12" y="0"/>
                  </a:cxn>
                  <a:cxn ang="0">
                    <a:pos x="14" y="3"/>
                  </a:cxn>
                  <a:cxn ang="0">
                    <a:pos x="17" y="5"/>
                  </a:cxn>
                  <a:cxn ang="0">
                    <a:pos x="16" y="9"/>
                  </a:cxn>
                  <a:cxn ang="0">
                    <a:pos x="14" y="12"/>
                  </a:cxn>
                </a:cxnLst>
                <a:rect l="0" t="0" r="r" b="b"/>
                <a:pathLst>
                  <a:path w="17" h="24">
                    <a:moveTo>
                      <a:pt x="14" y="12"/>
                    </a:moveTo>
                    <a:lnTo>
                      <a:pt x="14" y="15"/>
                    </a:lnTo>
                    <a:lnTo>
                      <a:pt x="14" y="19"/>
                    </a:lnTo>
                    <a:lnTo>
                      <a:pt x="9" y="21"/>
                    </a:lnTo>
                    <a:lnTo>
                      <a:pt x="5" y="24"/>
                    </a:lnTo>
                    <a:lnTo>
                      <a:pt x="0" y="21"/>
                    </a:lnTo>
                    <a:lnTo>
                      <a:pt x="0" y="15"/>
                    </a:lnTo>
                    <a:lnTo>
                      <a:pt x="5" y="14"/>
                    </a:lnTo>
                    <a:lnTo>
                      <a:pt x="11" y="12"/>
                    </a:lnTo>
                    <a:lnTo>
                      <a:pt x="9" y="9"/>
                    </a:lnTo>
                    <a:lnTo>
                      <a:pt x="7" y="5"/>
                    </a:lnTo>
                    <a:lnTo>
                      <a:pt x="9" y="2"/>
                    </a:lnTo>
                    <a:lnTo>
                      <a:pt x="12" y="0"/>
                    </a:lnTo>
                    <a:lnTo>
                      <a:pt x="14" y="3"/>
                    </a:lnTo>
                    <a:lnTo>
                      <a:pt x="17" y="5"/>
                    </a:lnTo>
                    <a:lnTo>
                      <a:pt x="16" y="9"/>
                    </a:lnTo>
                    <a:lnTo>
                      <a:pt x="1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4" name="Freeform 354"/>
              <p:cNvSpPr>
                <a:spLocks/>
              </p:cNvSpPr>
              <p:nvPr/>
            </p:nvSpPr>
            <p:spPr bwMode="auto">
              <a:xfrm>
                <a:off x="4858544" y="3170238"/>
                <a:ext cx="52388" cy="7937"/>
              </a:xfrm>
              <a:custGeom>
                <a:avLst/>
                <a:gdLst/>
                <a:ahLst/>
                <a:cxnLst>
                  <a:cxn ang="0">
                    <a:pos x="33" y="5"/>
                  </a:cxn>
                  <a:cxn ang="0">
                    <a:pos x="24" y="5"/>
                  </a:cxn>
                  <a:cxn ang="0">
                    <a:pos x="19" y="5"/>
                  </a:cxn>
                  <a:cxn ang="0">
                    <a:pos x="11" y="3"/>
                  </a:cxn>
                  <a:cxn ang="0">
                    <a:pos x="0" y="1"/>
                  </a:cxn>
                  <a:cxn ang="0">
                    <a:pos x="17" y="0"/>
                  </a:cxn>
                  <a:cxn ang="0">
                    <a:pos x="33" y="5"/>
                  </a:cxn>
                </a:cxnLst>
                <a:rect l="0" t="0" r="r" b="b"/>
                <a:pathLst>
                  <a:path w="33" h="5">
                    <a:moveTo>
                      <a:pt x="33" y="5"/>
                    </a:moveTo>
                    <a:lnTo>
                      <a:pt x="24" y="5"/>
                    </a:lnTo>
                    <a:lnTo>
                      <a:pt x="19" y="5"/>
                    </a:lnTo>
                    <a:lnTo>
                      <a:pt x="11" y="3"/>
                    </a:lnTo>
                    <a:lnTo>
                      <a:pt x="0" y="1"/>
                    </a:lnTo>
                    <a:lnTo>
                      <a:pt x="17" y="0"/>
                    </a:lnTo>
                    <a:lnTo>
                      <a:pt x="3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5" name="Freeform 355"/>
              <p:cNvSpPr>
                <a:spLocks/>
              </p:cNvSpPr>
              <p:nvPr/>
            </p:nvSpPr>
            <p:spPr bwMode="auto">
              <a:xfrm>
                <a:off x="5052219" y="3160713"/>
                <a:ext cx="49213" cy="25400"/>
              </a:xfrm>
              <a:custGeom>
                <a:avLst/>
                <a:gdLst/>
                <a:ahLst/>
                <a:cxnLst>
                  <a:cxn ang="0">
                    <a:pos x="7" y="16"/>
                  </a:cxn>
                  <a:cxn ang="0">
                    <a:pos x="4" y="14"/>
                  </a:cxn>
                  <a:cxn ang="0">
                    <a:pos x="0" y="12"/>
                  </a:cxn>
                  <a:cxn ang="0">
                    <a:pos x="0" y="11"/>
                  </a:cxn>
                  <a:cxn ang="0">
                    <a:pos x="14" y="4"/>
                  </a:cxn>
                  <a:cxn ang="0">
                    <a:pos x="31" y="0"/>
                  </a:cxn>
                  <a:cxn ang="0">
                    <a:pos x="28" y="4"/>
                  </a:cxn>
                  <a:cxn ang="0">
                    <a:pos x="24" y="6"/>
                  </a:cxn>
                  <a:cxn ang="0">
                    <a:pos x="23" y="7"/>
                  </a:cxn>
                  <a:cxn ang="0">
                    <a:pos x="23" y="11"/>
                  </a:cxn>
                  <a:cxn ang="0">
                    <a:pos x="16" y="14"/>
                  </a:cxn>
                  <a:cxn ang="0">
                    <a:pos x="7" y="16"/>
                  </a:cxn>
                </a:cxnLst>
                <a:rect l="0" t="0" r="r" b="b"/>
                <a:pathLst>
                  <a:path w="31" h="16">
                    <a:moveTo>
                      <a:pt x="7" y="16"/>
                    </a:moveTo>
                    <a:lnTo>
                      <a:pt x="4" y="14"/>
                    </a:lnTo>
                    <a:lnTo>
                      <a:pt x="0" y="12"/>
                    </a:lnTo>
                    <a:lnTo>
                      <a:pt x="0" y="11"/>
                    </a:lnTo>
                    <a:lnTo>
                      <a:pt x="14" y="4"/>
                    </a:lnTo>
                    <a:lnTo>
                      <a:pt x="31" y="0"/>
                    </a:lnTo>
                    <a:lnTo>
                      <a:pt x="28" y="4"/>
                    </a:lnTo>
                    <a:lnTo>
                      <a:pt x="24" y="6"/>
                    </a:lnTo>
                    <a:lnTo>
                      <a:pt x="23" y="7"/>
                    </a:lnTo>
                    <a:lnTo>
                      <a:pt x="23" y="11"/>
                    </a:lnTo>
                    <a:lnTo>
                      <a:pt x="16" y="14"/>
                    </a:lnTo>
                    <a:lnTo>
                      <a:pt x="7"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6" name="Freeform 356"/>
              <p:cNvSpPr>
                <a:spLocks/>
              </p:cNvSpPr>
              <p:nvPr/>
            </p:nvSpPr>
            <p:spPr bwMode="auto">
              <a:xfrm>
                <a:off x="5530057" y="3729038"/>
                <a:ext cx="25400" cy="11112"/>
              </a:xfrm>
              <a:custGeom>
                <a:avLst/>
                <a:gdLst/>
                <a:ahLst/>
                <a:cxnLst>
                  <a:cxn ang="0">
                    <a:pos x="0" y="4"/>
                  </a:cxn>
                  <a:cxn ang="0">
                    <a:pos x="4" y="5"/>
                  </a:cxn>
                  <a:cxn ang="0">
                    <a:pos x="7" y="7"/>
                  </a:cxn>
                  <a:cxn ang="0">
                    <a:pos x="11" y="4"/>
                  </a:cxn>
                  <a:cxn ang="0">
                    <a:pos x="16" y="0"/>
                  </a:cxn>
                  <a:cxn ang="0">
                    <a:pos x="7" y="0"/>
                  </a:cxn>
                  <a:cxn ang="0">
                    <a:pos x="0" y="4"/>
                  </a:cxn>
                </a:cxnLst>
                <a:rect l="0" t="0" r="r" b="b"/>
                <a:pathLst>
                  <a:path w="16" h="7">
                    <a:moveTo>
                      <a:pt x="0" y="4"/>
                    </a:moveTo>
                    <a:lnTo>
                      <a:pt x="4" y="5"/>
                    </a:lnTo>
                    <a:lnTo>
                      <a:pt x="7" y="7"/>
                    </a:lnTo>
                    <a:lnTo>
                      <a:pt x="11" y="4"/>
                    </a:lnTo>
                    <a:lnTo>
                      <a:pt x="16" y="0"/>
                    </a:lnTo>
                    <a:lnTo>
                      <a:pt x="7" y="0"/>
                    </a:lnTo>
                    <a:lnTo>
                      <a:pt x="0"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7" name="Freeform 357"/>
              <p:cNvSpPr>
                <a:spLocks/>
              </p:cNvSpPr>
              <p:nvPr/>
            </p:nvSpPr>
            <p:spPr bwMode="auto">
              <a:xfrm>
                <a:off x="5407819" y="2081213"/>
                <a:ext cx="49213" cy="34925"/>
              </a:xfrm>
              <a:custGeom>
                <a:avLst/>
                <a:gdLst/>
                <a:ahLst/>
                <a:cxnLst>
                  <a:cxn ang="0">
                    <a:pos x="7" y="5"/>
                  </a:cxn>
                  <a:cxn ang="0">
                    <a:pos x="9" y="1"/>
                  </a:cxn>
                  <a:cxn ang="0">
                    <a:pos x="12" y="0"/>
                  </a:cxn>
                  <a:cxn ang="0">
                    <a:pos x="21" y="3"/>
                  </a:cxn>
                  <a:cxn ang="0">
                    <a:pos x="31" y="6"/>
                  </a:cxn>
                  <a:cxn ang="0">
                    <a:pos x="31" y="13"/>
                  </a:cxn>
                  <a:cxn ang="0">
                    <a:pos x="19" y="18"/>
                  </a:cxn>
                  <a:cxn ang="0">
                    <a:pos x="9" y="22"/>
                  </a:cxn>
                  <a:cxn ang="0">
                    <a:pos x="2" y="20"/>
                  </a:cxn>
                  <a:cxn ang="0">
                    <a:pos x="0" y="17"/>
                  </a:cxn>
                  <a:cxn ang="0">
                    <a:pos x="2" y="10"/>
                  </a:cxn>
                  <a:cxn ang="0">
                    <a:pos x="7" y="5"/>
                  </a:cxn>
                </a:cxnLst>
                <a:rect l="0" t="0" r="r" b="b"/>
                <a:pathLst>
                  <a:path w="31" h="22">
                    <a:moveTo>
                      <a:pt x="7" y="5"/>
                    </a:moveTo>
                    <a:lnTo>
                      <a:pt x="9" y="1"/>
                    </a:lnTo>
                    <a:lnTo>
                      <a:pt x="12" y="0"/>
                    </a:lnTo>
                    <a:lnTo>
                      <a:pt x="21" y="3"/>
                    </a:lnTo>
                    <a:lnTo>
                      <a:pt x="31" y="6"/>
                    </a:lnTo>
                    <a:lnTo>
                      <a:pt x="31" y="13"/>
                    </a:lnTo>
                    <a:lnTo>
                      <a:pt x="19" y="18"/>
                    </a:lnTo>
                    <a:lnTo>
                      <a:pt x="9" y="22"/>
                    </a:lnTo>
                    <a:lnTo>
                      <a:pt x="2" y="20"/>
                    </a:lnTo>
                    <a:lnTo>
                      <a:pt x="0" y="17"/>
                    </a:lnTo>
                    <a:lnTo>
                      <a:pt x="2"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8" name="Freeform 358"/>
              <p:cNvSpPr>
                <a:spLocks/>
              </p:cNvSpPr>
              <p:nvPr/>
            </p:nvSpPr>
            <p:spPr bwMode="auto">
              <a:xfrm>
                <a:off x="5647532" y="2047875"/>
                <a:ext cx="41275" cy="26987"/>
              </a:xfrm>
              <a:custGeom>
                <a:avLst/>
                <a:gdLst/>
                <a:ahLst/>
                <a:cxnLst>
                  <a:cxn ang="0">
                    <a:pos x="26" y="14"/>
                  </a:cxn>
                  <a:cxn ang="0">
                    <a:pos x="23" y="17"/>
                  </a:cxn>
                  <a:cxn ang="0">
                    <a:pos x="19" y="17"/>
                  </a:cxn>
                  <a:cxn ang="0">
                    <a:pos x="7" y="12"/>
                  </a:cxn>
                  <a:cxn ang="0">
                    <a:pos x="0" y="5"/>
                  </a:cxn>
                  <a:cxn ang="0">
                    <a:pos x="4" y="0"/>
                  </a:cxn>
                  <a:cxn ang="0">
                    <a:pos x="12" y="2"/>
                  </a:cxn>
                  <a:cxn ang="0">
                    <a:pos x="21" y="5"/>
                  </a:cxn>
                  <a:cxn ang="0">
                    <a:pos x="26" y="14"/>
                  </a:cxn>
                </a:cxnLst>
                <a:rect l="0" t="0" r="r" b="b"/>
                <a:pathLst>
                  <a:path w="26" h="17">
                    <a:moveTo>
                      <a:pt x="26" y="14"/>
                    </a:moveTo>
                    <a:lnTo>
                      <a:pt x="23" y="17"/>
                    </a:lnTo>
                    <a:lnTo>
                      <a:pt x="19" y="17"/>
                    </a:lnTo>
                    <a:lnTo>
                      <a:pt x="7" y="12"/>
                    </a:lnTo>
                    <a:lnTo>
                      <a:pt x="0" y="5"/>
                    </a:lnTo>
                    <a:lnTo>
                      <a:pt x="4" y="0"/>
                    </a:lnTo>
                    <a:lnTo>
                      <a:pt x="12" y="2"/>
                    </a:lnTo>
                    <a:lnTo>
                      <a:pt x="21" y="5"/>
                    </a:lnTo>
                    <a:lnTo>
                      <a:pt x="26"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9" name="Freeform 359"/>
              <p:cNvSpPr>
                <a:spLocks/>
              </p:cNvSpPr>
              <p:nvPr/>
            </p:nvSpPr>
            <p:spPr bwMode="auto">
              <a:xfrm>
                <a:off x="5909469" y="1908175"/>
                <a:ext cx="36513" cy="25400"/>
              </a:xfrm>
              <a:custGeom>
                <a:avLst/>
                <a:gdLst/>
                <a:ahLst/>
                <a:cxnLst>
                  <a:cxn ang="0">
                    <a:pos x="2" y="16"/>
                  </a:cxn>
                  <a:cxn ang="0">
                    <a:pos x="12" y="12"/>
                  </a:cxn>
                  <a:cxn ang="0">
                    <a:pos x="23" y="10"/>
                  </a:cxn>
                  <a:cxn ang="0">
                    <a:pos x="16" y="4"/>
                  </a:cxn>
                  <a:cxn ang="0">
                    <a:pos x="11" y="0"/>
                  </a:cxn>
                  <a:cxn ang="0">
                    <a:pos x="4" y="4"/>
                  </a:cxn>
                  <a:cxn ang="0">
                    <a:pos x="2" y="10"/>
                  </a:cxn>
                  <a:cxn ang="0">
                    <a:pos x="0" y="12"/>
                  </a:cxn>
                  <a:cxn ang="0">
                    <a:pos x="2" y="16"/>
                  </a:cxn>
                </a:cxnLst>
                <a:rect l="0" t="0" r="r" b="b"/>
                <a:pathLst>
                  <a:path w="23" h="16">
                    <a:moveTo>
                      <a:pt x="2" y="16"/>
                    </a:moveTo>
                    <a:lnTo>
                      <a:pt x="12" y="12"/>
                    </a:lnTo>
                    <a:lnTo>
                      <a:pt x="23" y="10"/>
                    </a:lnTo>
                    <a:lnTo>
                      <a:pt x="16" y="4"/>
                    </a:lnTo>
                    <a:lnTo>
                      <a:pt x="11" y="0"/>
                    </a:lnTo>
                    <a:lnTo>
                      <a:pt x="4" y="4"/>
                    </a:lnTo>
                    <a:lnTo>
                      <a:pt x="2" y="10"/>
                    </a:lnTo>
                    <a:lnTo>
                      <a:pt x="0" y="12"/>
                    </a:lnTo>
                    <a:lnTo>
                      <a:pt x="2"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0" name="Freeform 360"/>
              <p:cNvSpPr>
                <a:spLocks/>
              </p:cNvSpPr>
              <p:nvPr/>
            </p:nvSpPr>
            <p:spPr bwMode="auto">
              <a:xfrm>
                <a:off x="7527132" y="1885950"/>
                <a:ext cx="76200" cy="30162"/>
              </a:xfrm>
              <a:custGeom>
                <a:avLst/>
                <a:gdLst/>
                <a:ahLst/>
                <a:cxnLst>
                  <a:cxn ang="0">
                    <a:pos x="0" y="14"/>
                  </a:cxn>
                  <a:cxn ang="0">
                    <a:pos x="8" y="4"/>
                  </a:cxn>
                  <a:cxn ang="0">
                    <a:pos x="24" y="0"/>
                  </a:cxn>
                  <a:cxn ang="0">
                    <a:pos x="32" y="0"/>
                  </a:cxn>
                  <a:cxn ang="0">
                    <a:pos x="41" y="6"/>
                  </a:cxn>
                  <a:cxn ang="0">
                    <a:pos x="44" y="11"/>
                  </a:cxn>
                  <a:cxn ang="0">
                    <a:pos x="48" y="19"/>
                  </a:cxn>
                  <a:cxn ang="0">
                    <a:pos x="32" y="19"/>
                  </a:cxn>
                  <a:cxn ang="0">
                    <a:pos x="17" y="14"/>
                  </a:cxn>
                  <a:cxn ang="0">
                    <a:pos x="1" y="12"/>
                  </a:cxn>
                  <a:cxn ang="0">
                    <a:pos x="0" y="14"/>
                  </a:cxn>
                </a:cxnLst>
                <a:rect l="0" t="0" r="r" b="b"/>
                <a:pathLst>
                  <a:path w="48" h="19">
                    <a:moveTo>
                      <a:pt x="0" y="14"/>
                    </a:moveTo>
                    <a:lnTo>
                      <a:pt x="8" y="4"/>
                    </a:lnTo>
                    <a:lnTo>
                      <a:pt x="24" y="0"/>
                    </a:lnTo>
                    <a:lnTo>
                      <a:pt x="32" y="0"/>
                    </a:lnTo>
                    <a:lnTo>
                      <a:pt x="41" y="6"/>
                    </a:lnTo>
                    <a:lnTo>
                      <a:pt x="44" y="11"/>
                    </a:lnTo>
                    <a:lnTo>
                      <a:pt x="48" y="19"/>
                    </a:lnTo>
                    <a:lnTo>
                      <a:pt x="32" y="19"/>
                    </a:lnTo>
                    <a:lnTo>
                      <a:pt x="17" y="14"/>
                    </a:lnTo>
                    <a:lnTo>
                      <a:pt x="1" y="12"/>
                    </a:lnTo>
                    <a:lnTo>
                      <a:pt x="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1" name="Freeform 361"/>
              <p:cNvSpPr>
                <a:spLocks/>
              </p:cNvSpPr>
              <p:nvPr/>
            </p:nvSpPr>
            <p:spPr bwMode="auto">
              <a:xfrm>
                <a:off x="7671594" y="1809750"/>
                <a:ext cx="103188" cy="38100"/>
              </a:xfrm>
              <a:custGeom>
                <a:avLst/>
                <a:gdLst/>
                <a:ahLst/>
                <a:cxnLst>
                  <a:cxn ang="0">
                    <a:pos x="0" y="0"/>
                  </a:cxn>
                  <a:cxn ang="0">
                    <a:pos x="2" y="0"/>
                  </a:cxn>
                  <a:cxn ang="0">
                    <a:pos x="8" y="2"/>
                  </a:cxn>
                  <a:cxn ang="0">
                    <a:pos x="19" y="4"/>
                  </a:cxn>
                  <a:cxn ang="0">
                    <a:pos x="29" y="5"/>
                  </a:cxn>
                  <a:cxn ang="0">
                    <a:pos x="39" y="7"/>
                  </a:cxn>
                  <a:cxn ang="0">
                    <a:pos x="50" y="9"/>
                  </a:cxn>
                  <a:cxn ang="0">
                    <a:pos x="55" y="9"/>
                  </a:cxn>
                  <a:cxn ang="0">
                    <a:pos x="60" y="11"/>
                  </a:cxn>
                  <a:cxn ang="0">
                    <a:pos x="62" y="12"/>
                  </a:cxn>
                  <a:cxn ang="0">
                    <a:pos x="65" y="16"/>
                  </a:cxn>
                  <a:cxn ang="0">
                    <a:pos x="62" y="17"/>
                  </a:cxn>
                  <a:cxn ang="0">
                    <a:pos x="55" y="21"/>
                  </a:cxn>
                  <a:cxn ang="0">
                    <a:pos x="48" y="23"/>
                  </a:cxn>
                  <a:cxn ang="0">
                    <a:pos x="41" y="24"/>
                  </a:cxn>
                  <a:cxn ang="0">
                    <a:pos x="29" y="23"/>
                  </a:cxn>
                  <a:cxn ang="0">
                    <a:pos x="17" y="19"/>
                  </a:cxn>
                  <a:cxn ang="0">
                    <a:pos x="8" y="12"/>
                  </a:cxn>
                  <a:cxn ang="0">
                    <a:pos x="5" y="5"/>
                  </a:cxn>
                  <a:cxn ang="0">
                    <a:pos x="0" y="0"/>
                  </a:cxn>
                </a:cxnLst>
                <a:rect l="0" t="0" r="r" b="b"/>
                <a:pathLst>
                  <a:path w="65" h="24">
                    <a:moveTo>
                      <a:pt x="0" y="0"/>
                    </a:moveTo>
                    <a:lnTo>
                      <a:pt x="2" y="0"/>
                    </a:lnTo>
                    <a:lnTo>
                      <a:pt x="8" y="2"/>
                    </a:lnTo>
                    <a:lnTo>
                      <a:pt x="19" y="4"/>
                    </a:lnTo>
                    <a:lnTo>
                      <a:pt x="29" y="5"/>
                    </a:lnTo>
                    <a:lnTo>
                      <a:pt x="39" y="7"/>
                    </a:lnTo>
                    <a:lnTo>
                      <a:pt x="50" y="9"/>
                    </a:lnTo>
                    <a:lnTo>
                      <a:pt x="55" y="9"/>
                    </a:lnTo>
                    <a:lnTo>
                      <a:pt x="60" y="11"/>
                    </a:lnTo>
                    <a:lnTo>
                      <a:pt x="62" y="12"/>
                    </a:lnTo>
                    <a:lnTo>
                      <a:pt x="65" y="16"/>
                    </a:lnTo>
                    <a:lnTo>
                      <a:pt x="62" y="17"/>
                    </a:lnTo>
                    <a:lnTo>
                      <a:pt x="55" y="21"/>
                    </a:lnTo>
                    <a:lnTo>
                      <a:pt x="48" y="23"/>
                    </a:lnTo>
                    <a:lnTo>
                      <a:pt x="41" y="24"/>
                    </a:lnTo>
                    <a:lnTo>
                      <a:pt x="29" y="23"/>
                    </a:lnTo>
                    <a:lnTo>
                      <a:pt x="17" y="19"/>
                    </a:lnTo>
                    <a:lnTo>
                      <a:pt x="8" y="12"/>
                    </a:lnTo>
                    <a:lnTo>
                      <a:pt x="5" y="5"/>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2" name="Freeform 362"/>
              <p:cNvSpPr>
                <a:spLocks/>
              </p:cNvSpPr>
              <p:nvPr/>
            </p:nvSpPr>
            <p:spPr bwMode="auto">
              <a:xfrm>
                <a:off x="7523957" y="1865313"/>
                <a:ext cx="22225" cy="20637"/>
              </a:xfrm>
              <a:custGeom>
                <a:avLst/>
                <a:gdLst/>
                <a:ahLst/>
                <a:cxnLst>
                  <a:cxn ang="0">
                    <a:pos x="14" y="7"/>
                  </a:cxn>
                  <a:cxn ang="0">
                    <a:pos x="10" y="10"/>
                  </a:cxn>
                  <a:cxn ang="0">
                    <a:pos x="7" y="13"/>
                  </a:cxn>
                  <a:cxn ang="0">
                    <a:pos x="0" y="10"/>
                  </a:cxn>
                  <a:cxn ang="0">
                    <a:pos x="0" y="7"/>
                  </a:cxn>
                  <a:cxn ang="0">
                    <a:pos x="2" y="0"/>
                  </a:cxn>
                  <a:cxn ang="0">
                    <a:pos x="7" y="0"/>
                  </a:cxn>
                  <a:cxn ang="0">
                    <a:pos x="10" y="1"/>
                  </a:cxn>
                  <a:cxn ang="0">
                    <a:pos x="14" y="7"/>
                  </a:cxn>
                </a:cxnLst>
                <a:rect l="0" t="0" r="r" b="b"/>
                <a:pathLst>
                  <a:path w="14" h="13">
                    <a:moveTo>
                      <a:pt x="14" y="7"/>
                    </a:moveTo>
                    <a:lnTo>
                      <a:pt x="10" y="10"/>
                    </a:lnTo>
                    <a:lnTo>
                      <a:pt x="7" y="13"/>
                    </a:lnTo>
                    <a:lnTo>
                      <a:pt x="0" y="10"/>
                    </a:lnTo>
                    <a:lnTo>
                      <a:pt x="0" y="7"/>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3" name="Freeform 363"/>
              <p:cNvSpPr>
                <a:spLocks/>
              </p:cNvSpPr>
              <p:nvPr/>
            </p:nvSpPr>
            <p:spPr bwMode="auto">
              <a:xfrm>
                <a:off x="2840832" y="2768600"/>
                <a:ext cx="57150" cy="26987"/>
              </a:xfrm>
              <a:custGeom>
                <a:avLst/>
                <a:gdLst/>
                <a:ahLst/>
                <a:cxnLst>
                  <a:cxn ang="0">
                    <a:pos x="29" y="17"/>
                  </a:cxn>
                  <a:cxn ang="0">
                    <a:pos x="33" y="15"/>
                  </a:cxn>
                  <a:cxn ang="0">
                    <a:pos x="36" y="14"/>
                  </a:cxn>
                  <a:cxn ang="0">
                    <a:pos x="28" y="8"/>
                  </a:cxn>
                  <a:cxn ang="0">
                    <a:pos x="19" y="3"/>
                  </a:cxn>
                  <a:cxn ang="0">
                    <a:pos x="9" y="0"/>
                  </a:cxn>
                  <a:cxn ang="0">
                    <a:pos x="0" y="2"/>
                  </a:cxn>
                  <a:cxn ang="0">
                    <a:pos x="5" y="5"/>
                  </a:cxn>
                  <a:cxn ang="0">
                    <a:pos x="14" y="10"/>
                  </a:cxn>
                  <a:cxn ang="0">
                    <a:pos x="21" y="14"/>
                  </a:cxn>
                  <a:cxn ang="0">
                    <a:pos x="29" y="17"/>
                  </a:cxn>
                </a:cxnLst>
                <a:rect l="0" t="0" r="r" b="b"/>
                <a:pathLst>
                  <a:path w="36" h="17">
                    <a:moveTo>
                      <a:pt x="29" y="17"/>
                    </a:moveTo>
                    <a:lnTo>
                      <a:pt x="33" y="15"/>
                    </a:lnTo>
                    <a:lnTo>
                      <a:pt x="36" y="14"/>
                    </a:lnTo>
                    <a:lnTo>
                      <a:pt x="28" y="8"/>
                    </a:lnTo>
                    <a:lnTo>
                      <a:pt x="19" y="3"/>
                    </a:lnTo>
                    <a:lnTo>
                      <a:pt x="9" y="0"/>
                    </a:lnTo>
                    <a:lnTo>
                      <a:pt x="0" y="2"/>
                    </a:lnTo>
                    <a:lnTo>
                      <a:pt x="5" y="5"/>
                    </a:lnTo>
                    <a:lnTo>
                      <a:pt x="14" y="10"/>
                    </a:lnTo>
                    <a:lnTo>
                      <a:pt x="21" y="14"/>
                    </a:lnTo>
                    <a:lnTo>
                      <a:pt x="29"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4" name="Freeform 364"/>
              <p:cNvSpPr>
                <a:spLocks/>
              </p:cNvSpPr>
              <p:nvPr/>
            </p:nvSpPr>
            <p:spPr bwMode="auto">
              <a:xfrm>
                <a:off x="2847182" y="2859088"/>
                <a:ext cx="42863" cy="26987"/>
              </a:xfrm>
              <a:custGeom>
                <a:avLst/>
                <a:gdLst/>
                <a:ahLst/>
                <a:cxnLst>
                  <a:cxn ang="0">
                    <a:pos x="1" y="0"/>
                  </a:cxn>
                  <a:cxn ang="0">
                    <a:pos x="5" y="5"/>
                  </a:cxn>
                  <a:cxn ang="0">
                    <a:pos x="12" y="8"/>
                  </a:cxn>
                  <a:cxn ang="0">
                    <a:pos x="27" y="8"/>
                  </a:cxn>
                  <a:cxn ang="0">
                    <a:pos x="27" y="12"/>
                  </a:cxn>
                  <a:cxn ang="0">
                    <a:pos x="24" y="13"/>
                  </a:cxn>
                  <a:cxn ang="0">
                    <a:pos x="20" y="17"/>
                  </a:cxn>
                  <a:cxn ang="0">
                    <a:pos x="15" y="13"/>
                  </a:cxn>
                  <a:cxn ang="0">
                    <a:pos x="8" y="10"/>
                  </a:cxn>
                  <a:cxn ang="0">
                    <a:pos x="1" y="6"/>
                  </a:cxn>
                  <a:cxn ang="0">
                    <a:pos x="0" y="3"/>
                  </a:cxn>
                  <a:cxn ang="0">
                    <a:pos x="0" y="0"/>
                  </a:cxn>
                  <a:cxn ang="0">
                    <a:pos x="1" y="0"/>
                  </a:cxn>
                </a:cxnLst>
                <a:rect l="0" t="0" r="r" b="b"/>
                <a:pathLst>
                  <a:path w="27" h="17">
                    <a:moveTo>
                      <a:pt x="1" y="0"/>
                    </a:moveTo>
                    <a:lnTo>
                      <a:pt x="5" y="5"/>
                    </a:lnTo>
                    <a:lnTo>
                      <a:pt x="12" y="8"/>
                    </a:lnTo>
                    <a:lnTo>
                      <a:pt x="27" y="8"/>
                    </a:lnTo>
                    <a:lnTo>
                      <a:pt x="27" y="12"/>
                    </a:lnTo>
                    <a:lnTo>
                      <a:pt x="24" y="13"/>
                    </a:lnTo>
                    <a:lnTo>
                      <a:pt x="20" y="17"/>
                    </a:lnTo>
                    <a:lnTo>
                      <a:pt x="15" y="13"/>
                    </a:lnTo>
                    <a:lnTo>
                      <a:pt x="8" y="10"/>
                    </a:lnTo>
                    <a:lnTo>
                      <a:pt x="1" y="6"/>
                    </a:lnTo>
                    <a:lnTo>
                      <a:pt x="0" y="3"/>
                    </a:lnTo>
                    <a:lnTo>
                      <a:pt x="0" y="0"/>
                    </a:lnTo>
                    <a:lnTo>
                      <a:pt x="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5" name="Freeform 365"/>
              <p:cNvSpPr>
                <a:spLocks/>
              </p:cNvSpPr>
              <p:nvPr/>
            </p:nvSpPr>
            <p:spPr bwMode="auto">
              <a:xfrm>
                <a:off x="2909094" y="2859088"/>
                <a:ext cx="33338" cy="38100"/>
              </a:xfrm>
              <a:custGeom>
                <a:avLst/>
                <a:gdLst/>
                <a:ahLst/>
                <a:cxnLst>
                  <a:cxn ang="0">
                    <a:pos x="21" y="13"/>
                  </a:cxn>
                  <a:cxn ang="0">
                    <a:pos x="21" y="17"/>
                  </a:cxn>
                  <a:cxn ang="0">
                    <a:pos x="16" y="20"/>
                  </a:cxn>
                  <a:cxn ang="0">
                    <a:pos x="9" y="24"/>
                  </a:cxn>
                  <a:cxn ang="0">
                    <a:pos x="2" y="20"/>
                  </a:cxn>
                  <a:cxn ang="0">
                    <a:pos x="0" y="17"/>
                  </a:cxn>
                  <a:cxn ang="0">
                    <a:pos x="0" y="12"/>
                  </a:cxn>
                  <a:cxn ang="0">
                    <a:pos x="4" y="8"/>
                  </a:cxn>
                  <a:cxn ang="0">
                    <a:pos x="7" y="1"/>
                  </a:cxn>
                  <a:cxn ang="0">
                    <a:pos x="12" y="0"/>
                  </a:cxn>
                  <a:cxn ang="0">
                    <a:pos x="14" y="1"/>
                  </a:cxn>
                  <a:cxn ang="0">
                    <a:pos x="16" y="5"/>
                  </a:cxn>
                  <a:cxn ang="0">
                    <a:pos x="12" y="10"/>
                  </a:cxn>
                  <a:cxn ang="0">
                    <a:pos x="21" y="13"/>
                  </a:cxn>
                </a:cxnLst>
                <a:rect l="0" t="0" r="r" b="b"/>
                <a:pathLst>
                  <a:path w="21" h="24">
                    <a:moveTo>
                      <a:pt x="21" y="13"/>
                    </a:moveTo>
                    <a:lnTo>
                      <a:pt x="21" y="17"/>
                    </a:lnTo>
                    <a:lnTo>
                      <a:pt x="16" y="20"/>
                    </a:lnTo>
                    <a:lnTo>
                      <a:pt x="9" y="24"/>
                    </a:lnTo>
                    <a:lnTo>
                      <a:pt x="2" y="20"/>
                    </a:lnTo>
                    <a:lnTo>
                      <a:pt x="0" y="17"/>
                    </a:lnTo>
                    <a:lnTo>
                      <a:pt x="0" y="12"/>
                    </a:lnTo>
                    <a:lnTo>
                      <a:pt x="4" y="8"/>
                    </a:lnTo>
                    <a:lnTo>
                      <a:pt x="7" y="1"/>
                    </a:lnTo>
                    <a:lnTo>
                      <a:pt x="12" y="0"/>
                    </a:lnTo>
                    <a:lnTo>
                      <a:pt x="14" y="1"/>
                    </a:lnTo>
                    <a:lnTo>
                      <a:pt x="16" y="5"/>
                    </a:lnTo>
                    <a:lnTo>
                      <a:pt x="12" y="10"/>
                    </a:lnTo>
                    <a:lnTo>
                      <a:pt x="21"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6" name="Freeform 366"/>
              <p:cNvSpPr>
                <a:spLocks/>
              </p:cNvSpPr>
              <p:nvPr/>
            </p:nvSpPr>
            <p:spPr bwMode="auto">
              <a:xfrm>
                <a:off x="484982" y="2438400"/>
                <a:ext cx="34925" cy="15875"/>
              </a:xfrm>
              <a:custGeom>
                <a:avLst/>
                <a:gdLst/>
                <a:ahLst/>
                <a:cxnLst>
                  <a:cxn ang="0">
                    <a:pos x="7" y="5"/>
                  </a:cxn>
                  <a:cxn ang="0">
                    <a:pos x="9" y="0"/>
                  </a:cxn>
                  <a:cxn ang="0">
                    <a:pos x="15" y="1"/>
                  </a:cxn>
                  <a:cxn ang="0">
                    <a:pos x="21" y="3"/>
                  </a:cxn>
                  <a:cxn ang="0">
                    <a:pos x="22" y="10"/>
                  </a:cxn>
                  <a:cxn ang="0">
                    <a:pos x="5" y="10"/>
                  </a:cxn>
                  <a:cxn ang="0">
                    <a:pos x="2" y="7"/>
                  </a:cxn>
                  <a:cxn ang="0">
                    <a:pos x="0" y="5"/>
                  </a:cxn>
                  <a:cxn ang="0">
                    <a:pos x="7" y="5"/>
                  </a:cxn>
                </a:cxnLst>
                <a:rect l="0" t="0" r="r" b="b"/>
                <a:pathLst>
                  <a:path w="22" h="10">
                    <a:moveTo>
                      <a:pt x="7" y="5"/>
                    </a:moveTo>
                    <a:lnTo>
                      <a:pt x="9" y="0"/>
                    </a:lnTo>
                    <a:lnTo>
                      <a:pt x="15" y="1"/>
                    </a:lnTo>
                    <a:lnTo>
                      <a:pt x="21" y="3"/>
                    </a:lnTo>
                    <a:lnTo>
                      <a:pt x="22" y="10"/>
                    </a:lnTo>
                    <a:lnTo>
                      <a:pt x="5" y="10"/>
                    </a:lnTo>
                    <a:lnTo>
                      <a:pt x="2" y="7"/>
                    </a:lnTo>
                    <a:lnTo>
                      <a:pt x="0" y="5"/>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7" name="Freeform 367"/>
              <p:cNvSpPr>
                <a:spLocks/>
              </p:cNvSpPr>
              <p:nvPr/>
            </p:nvSpPr>
            <p:spPr bwMode="auto">
              <a:xfrm>
                <a:off x="751682" y="3579813"/>
                <a:ext cx="20638" cy="15875"/>
              </a:xfrm>
              <a:custGeom>
                <a:avLst/>
                <a:gdLst/>
                <a:ahLst/>
                <a:cxnLst>
                  <a:cxn ang="0">
                    <a:pos x="13" y="5"/>
                  </a:cxn>
                  <a:cxn ang="0">
                    <a:pos x="13" y="8"/>
                  </a:cxn>
                  <a:cxn ang="0">
                    <a:pos x="6" y="8"/>
                  </a:cxn>
                  <a:cxn ang="0">
                    <a:pos x="2" y="10"/>
                  </a:cxn>
                  <a:cxn ang="0">
                    <a:pos x="0" y="8"/>
                  </a:cxn>
                  <a:cxn ang="0">
                    <a:pos x="0" y="6"/>
                  </a:cxn>
                  <a:cxn ang="0">
                    <a:pos x="0" y="3"/>
                  </a:cxn>
                  <a:cxn ang="0">
                    <a:pos x="0" y="0"/>
                  </a:cxn>
                  <a:cxn ang="0">
                    <a:pos x="6" y="0"/>
                  </a:cxn>
                  <a:cxn ang="0">
                    <a:pos x="13" y="5"/>
                  </a:cxn>
                </a:cxnLst>
                <a:rect l="0" t="0" r="r" b="b"/>
                <a:pathLst>
                  <a:path w="13" h="10">
                    <a:moveTo>
                      <a:pt x="13" y="5"/>
                    </a:moveTo>
                    <a:lnTo>
                      <a:pt x="13" y="8"/>
                    </a:lnTo>
                    <a:lnTo>
                      <a:pt x="6" y="8"/>
                    </a:lnTo>
                    <a:lnTo>
                      <a:pt x="2" y="10"/>
                    </a:lnTo>
                    <a:lnTo>
                      <a:pt x="0" y="8"/>
                    </a:lnTo>
                    <a:lnTo>
                      <a:pt x="0" y="6"/>
                    </a:lnTo>
                    <a:lnTo>
                      <a:pt x="0" y="3"/>
                    </a:lnTo>
                    <a:lnTo>
                      <a:pt x="0" y="0"/>
                    </a:lnTo>
                    <a:lnTo>
                      <a:pt x="6" y="0"/>
                    </a:lnTo>
                    <a:lnTo>
                      <a:pt x="1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8" name="Freeform 368"/>
              <p:cNvSpPr>
                <a:spLocks/>
              </p:cNvSpPr>
              <p:nvPr/>
            </p:nvSpPr>
            <p:spPr bwMode="auto">
              <a:xfrm>
                <a:off x="735807" y="3551238"/>
                <a:ext cx="11113" cy="7937"/>
              </a:xfrm>
              <a:custGeom>
                <a:avLst/>
                <a:gdLst/>
                <a:ahLst/>
                <a:cxnLst>
                  <a:cxn ang="0">
                    <a:pos x="7" y="5"/>
                  </a:cxn>
                  <a:cxn ang="0">
                    <a:pos x="5" y="5"/>
                  </a:cxn>
                  <a:cxn ang="0">
                    <a:pos x="4" y="5"/>
                  </a:cxn>
                  <a:cxn ang="0">
                    <a:pos x="2" y="2"/>
                  </a:cxn>
                  <a:cxn ang="0">
                    <a:pos x="0" y="0"/>
                  </a:cxn>
                  <a:cxn ang="0">
                    <a:pos x="4" y="0"/>
                  </a:cxn>
                  <a:cxn ang="0">
                    <a:pos x="7" y="5"/>
                  </a:cxn>
                </a:cxnLst>
                <a:rect l="0" t="0" r="r" b="b"/>
                <a:pathLst>
                  <a:path w="7" h="5">
                    <a:moveTo>
                      <a:pt x="7" y="5"/>
                    </a:moveTo>
                    <a:lnTo>
                      <a:pt x="5" y="5"/>
                    </a:lnTo>
                    <a:lnTo>
                      <a:pt x="4" y="5"/>
                    </a:lnTo>
                    <a:lnTo>
                      <a:pt x="2" y="2"/>
                    </a:lnTo>
                    <a:lnTo>
                      <a:pt x="0" y="0"/>
                    </a:lnTo>
                    <a:lnTo>
                      <a:pt x="4" y="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9" name="Freeform 369"/>
              <p:cNvSpPr>
                <a:spLocks/>
              </p:cNvSpPr>
              <p:nvPr/>
            </p:nvSpPr>
            <p:spPr bwMode="auto">
              <a:xfrm>
                <a:off x="713582" y="3543300"/>
                <a:ext cx="17463" cy="7937"/>
              </a:xfrm>
              <a:custGeom>
                <a:avLst/>
                <a:gdLst/>
                <a:ahLst/>
                <a:cxnLst>
                  <a:cxn ang="0">
                    <a:pos x="11" y="0"/>
                  </a:cxn>
                  <a:cxn ang="0">
                    <a:pos x="7" y="4"/>
                  </a:cxn>
                  <a:cxn ang="0">
                    <a:pos x="4" y="5"/>
                  </a:cxn>
                  <a:cxn ang="0">
                    <a:pos x="0" y="2"/>
                  </a:cxn>
                  <a:cxn ang="0">
                    <a:pos x="0" y="0"/>
                  </a:cxn>
                  <a:cxn ang="0">
                    <a:pos x="11" y="0"/>
                  </a:cxn>
                </a:cxnLst>
                <a:rect l="0" t="0" r="r" b="b"/>
                <a:pathLst>
                  <a:path w="11" h="5">
                    <a:moveTo>
                      <a:pt x="11" y="0"/>
                    </a:moveTo>
                    <a:lnTo>
                      <a:pt x="7" y="4"/>
                    </a:lnTo>
                    <a:lnTo>
                      <a:pt x="4" y="5"/>
                    </a:lnTo>
                    <a:lnTo>
                      <a:pt x="0" y="2"/>
                    </a:lnTo>
                    <a:lnTo>
                      <a:pt x="0" y="0"/>
                    </a:lnTo>
                    <a:lnTo>
                      <a:pt x="1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0" name="Freeform 370"/>
              <p:cNvSpPr>
                <a:spLocks/>
              </p:cNvSpPr>
              <p:nvPr/>
            </p:nvSpPr>
            <p:spPr bwMode="auto">
              <a:xfrm>
                <a:off x="694532" y="3535363"/>
                <a:ext cx="14288" cy="7937"/>
              </a:xfrm>
              <a:custGeom>
                <a:avLst/>
                <a:gdLst/>
                <a:ahLst/>
                <a:cxnLst>
                  <a:cxn ang="0">
                    <a:pos x="4" y="0"/>
                  </a:cxn>
                  <a:cxn ang="0">
                    <a:pos x="6" y="0"/>
                  </a:cxn>
                  <a:cxn ang="0">
                    <a:pos x="9" y="0"/>
                  </a:cxn>
                  <a:cxn ang="0">
                    <a:pos x="9" y="2"/>
                  </a:cxn>
                  <a:cxn ang="0">
                    <a:pos x="7" y="3"/>
                  </a:cxn>
                  <a:cxn ang="0">
                    <a:pos x="6" y="5"/>
                  </a:cxn>
                  <a:cxn ang="0">
                    <a:pos x="2" y="3"/>
                  </a:cxn>
                  <a:cxn ang="0">
                    <a:pos x="0" y="2"/>
                  </a:cxn>
                  <a:cxn ang="0">
                    <a:pos x="2" y="0"/>
                  </a:cxn>
                  <a:cxn ang="0">
                    <a:pos x="6" y="0"/>
                  </a:cxn>
                  <a:cxn ang="0">
                    <a:pos x="4" y="0"/>
                  </a:cxn>
                </a:cxnLst>
                <a:rect l="0" t="0" r="r" b="b"/>
                <a:pathLst>
                  <a:path w="9" h="5">
                    <a:moveTo>
                      <a:pt x="4" y="0"/>
                    </a:moveTo>
                    <a:lnTo>
                      <a:pt x="6" y="0"/>
                    </a:lnTo>
                    <a:lnTo>
                      <a:pt x="9" y="0"/>
                    </a:lnTo>
                    <a:lnTo>
                      <a:pt x="9" y="2"/>
                    </a:lnTo>
                    <a:lnTo>
                      <a:pt x="7" y="3"/>
                    </a:lnTo>
                    <a:lnTo>
                      <a:pt x="6" y="5"/>
                    </a:lnTo>
                    <a:lnTo>
                      <a:pt x="2" y="3"/>
                    </a:lnTo>
                    <a:lnTo>
                      <a:pt x="0" y="2"/>
                    </a:lnTo>
                    <a:lnTo>
                      <a:pt x="2" y="0"/>
                    </a:lnTo>
                    <a:lnTo>
                      <a:pt x="6"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1" name="Freeform 371"/>
              <p:cNvSpPr>
                <a:spLocks/>
              </p:cNvSpPr>
              <p:nvPr/>
            </p:nvSpPr>
            <p:spPr bwMode="auto">
              <a:xfrm>
                <a:off x="662782" y="3516313"/>
                <a:ext cx="12700" cy="11112"/>
              </a:xfrm>
              <a:custGeom>
                <a:avLst/>
                <a:gdLst/>
                <a:ahLst/>
                <a:cxnLst>
                  <a:cxn ang="0">
                    <a:pos x="8" y="2"/>
                  </a:cxn>
                  <a:cxn ang="0">
                    <a:pos x="8" y="3"/>
                  </a:cxn>
                  <a:cxn ang="0">
                    <a:pos x="8" y="7"/>
                  </a:cxn>
                  <a:cxn ang="0">
                    <a:pos x="5" y="7"/>
                  </a:cxn>
                  <a:cxn ang="0">
                    <a:pos x="1" y="5"/>
                  </a:cxn>
                  <a:cxn ang="0">
                    <a:pos x="0" y="3"/>
                  </a:cxn>
                  <a:cxn ang="0">
                    <a:pos x="1" y="2"/>
                  </a:cxn>
                  <a:cxn ang="0">
                    <a:pos x="3" y="0"/>
                  </a:cxn>
                  <a:cxn ang="0">
                    <a:pos x="5" y="0"/>
                  </a:cxn>
                  <a:cxn ang="0">
                    <a:pos x="8" y="2"/>
                  </a:cxn>
                </a:cxnLst>
                <a:rect l="0" t="0" r="r" b="b"/>
                <a:pathLst>
                  <a:path w="8" h="7">
                    <a:moveTo>
                      <a:pt x="8" y="2"/>
                    </a:moveTo>
                    <a:lnTo>
                      <a:pt x="8" y="3"/>
                    </a:lnTo>
                    <a:lnTo>
                      <a:pt x="8" y="7"/>
                    </a:lnTo>
                    <a:lnTo>
                      <a:pt x="5" y="7"/>
                    </a:lnTo>
                    <a:lnTo>
                      <a:pt x="1" y="5"/>
                    </a:lnTo>
                    <a:lnTo>
                      <a:pt x="0" y="3"/>
                    </a:lnTo>
                    <a:lnTo>
                      <a:pt x="1" y="2"/>
                    </a:lnTo>
                    <a:lnTo>
                      <a:pt x="3" y="0"/>
                    </a:lnTo>
                    <a:lnTo>
                      <a:pt x="5" y="0"/>
                    </a:lnTo>
                    <a:lnTo>
                      <a:pt x="8"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grpSp>
        <p:cxnSp>
          <p:nvCxnSpPr>
            <p:cNvPr id="408" name="Straight Connector 407"/>
            <p:cNvCxnSpPr>
              <a:stCxn id="405" idx="1"/>
              <a:endCxn id="405" idx="3"/>
            </p:cNvCxnSpPr>
            <p:nvPr/>
          </p:nvCxnSpPr>
          <p:spPr>
            <a:xfrm>
              <a:off x="3542201" y="4851699"/>
              <a:ext cx="3684601"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pic>
          <p:nvPicPr>
            <p:cNvPr id="410" name="Picture 409"/>
            <p:cNvPicPr>
              <a:picLocks noChangeAspect="1"/>
            </p:cNvPicPr>
            <p:nvPr/>
          </p:nvPicPr>
          <p:blipFill rotWithShape="1">
            <a:blip r:embed="rId10">
              <a:extLst>
                <a:ext uri="{28A0092B-C50C-407E-A947-70E740481C1C}">
                  <a14:useLocalDpi xmlns:a14="http://schemas.microsoft.com/office/drawing/2010/main" val="0"/>
                </a:ext>
              </a:extLst>
            </a:blip>
            <a:srcRect t="32902" b="25103"/>
            <a:stretch/>
          </p:blipFill>
          <p:spPr>
            <a:xfrm>
              <a:off x="4754793" y="3578267"/>
              <a:ext cx="897288" cy="376814"/>
            </a:xfrm>
            <a:prstGeom prst="rect">
              <a:avLst/>
            </a:prstGeom>
          </p:spPr>
        </p:pic>
        <p:pic>
          <p:nvPicPr>
            <p:cNvPr id="411" name="Picture 410"/>
            <p:cNvPicPr>
              <a:picLocks noChangeAspect="1"/>
            </p:cNvPicPr>
            <p:nvPr/>
          </p:nvPicPr>
          <p:blipFill rotWithShape="1">
            <a:blip r:embed="rId11" cstate="print">
              <a:extLst>
                <a:ext uri="{28A0092B-C50C-407E-A947-70E740481C1C}">
                  <a14:useLocalDpi xmlns:a14="http://schemas.microsoft.com/office/drawing/2010/main" val="0"/>
                </a:ext>
              </a:extLst>
            </a:blip>
            <a:srcRect l="3544"/>
            <a:stretch/>
          </p:blipFill>
          <p:spPr>
            <a:xfrm>
              <a:off x="5096921" y="5522022"/>
              <a:ext cx="793898" cy="293329"/>
            </a:xfrm>
            <a:prstGeom prst="rect">
              <a:avLst/>
            </a:prstGeom>
          </p:spPr>
        </p:pic>
      </p:grpSp>
      <p:pic>
        <p:nvPicPr>
          <p:cNvPr id="612" name="Picture 18" descr="Related imag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1361920" y="3837379"/>
            <a:ext cx="529148" cy="589460"/>
          </a:xfrm>
          <a:prstGeom prst="rect">
            <a:avLst/>
          </a:prstGeom>
          <a:noFill/>
          <a:extLst>
            <a:ext uri="{909E8E84-426E-40DD-AFC4-6F175D3DCCD1}">
              <a14:hiddenFill xmlns:a14="http://schemas.microsoft.com/office/drawing/2010/main">
                <a:solidFill>
                  <a:srgbClr val="FFFFFF"/>
                </a:solidFill>
              </a14:hiddenFill>
            </a:ext>
          </a:extLst>
        </p:spPr>
      </p:pic>
      <p:pic>
        <p:nvPicPr>
          <p:cNvPr id="613" name="Picture 4" descr="Image result for jpmorgan logo"/>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35128" b="38205"/>
          <a:stretch/>
        </p:blipFill>
        <p:spPr bwMode="auto">
          <a:xfrm>
            <a:off x="4771408" y="5285558"/>
            <a:ext cx="751327" cy="20347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614" name="Picture 10" descr="Image result for morgan stanley logo"/>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619936" y="5378559"/>
            <a:ext cx="972281" cy="243070"/>
          </a:xfrm>
          <a:prstGeom prst="rect">
            <a:avLst/>
          </a:prstGeom>
          <a:solidFill>
            <a:srgbClr val="F4F9FD"/>
          </a:solidFill>
        </p:spPr>
      </p:pic>
      <p:pic>
        <p:nvPicPr>
          <p:cNvPr id="621" name="Picture 12" descr="Image result for charles schwab"/>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289264" y="5769302"/>
            <a:ext cx="388945" cy="388945"/>
          </a:xfrm>
          <a:prstGeom prst="rect">
            <a:avLst/>
          </a:prstGeom>
          <a:noFill/>
          <a:extLst>
            <a:ext uri="{909E8E84-426E-40DD-AFC4-6F175D3DCCD1}">
              <a14:hiddenFill xmlns:a14="http://schemas.microsoft.com/office/drawing/2010/main">
                <a:solidFill>
                  <a:srgbClr val="FFFFFF"/>
                </a:solidFill>
              </a14:hiddenFill>
            </a:ext>
          </a:extLst>
        </p:spPr>
      </p:pic>
      <p:pic>
        <p:nvPicPr>
          <p:cNvPr id="622" name="Picture 8" descr="Related image"/>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752899" y="5941823"/>
            <a:ext cx="403800" cy="402814"/>
          </a:xfrm>
          <a:prstGeom prst="rect">
            <a:avLst/>
          </a:prstGeom>
          <a:solidFill>
            <a:schemeClr val="bg1"/>
          </a:solidFill>
        </p:spPr>
      </p:pic>
      <p:pic>
        <p:nvPicPr>
          <p:cNvPr id="623" name="Picture 622"/>
          <p:cNvPicPr>
            <a:picLocks noChangeAspect="1"/>
          </p:cNvPicPr>
          <p:nvPr/>
        </p:nvPicPr>
        <p:blipFill rotWithShape="1">
          <a:blip r:embed="rId17" cstate="print">
            <a:extLst>
              <a:ext uri="{28A0092B-C50C-407E-A947-70E740481C1C}">
                <a14:useLocalDpi xmlns:a14="http://schemas.microsoft.com/office/drawing/2010/main" val="0"/>
              </a:ext>
            </a:extLst>
          </a:blip>
          <a:srcRect r="7198"/>
          <a:stretch/>
        </p:blipFill>
        <p:spPr>
          <a:xfrm>
            <a:off x="5688048" y="4442682"/>
            <a:ext cx="789901" cy="478785"/>
          </a:xfrm>
          <a:prstGeom prst="rect">
            <a:avLst/>
          </a:prstGeom>
        </p:spPr>
      </p:pic>
      <p:pic>
        <p:nvPicPr>
          <p:cNvPr id="624" name="Picture 623"/>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710358" y="4742562"/>
            <a:ext cx="635507" cy="313863"/>
          </a:xfrm>
          <a:prstGeom prst="rect">
            <a:avLst/>
          </a:prstGeom>
        </p:spPr>
      </p:pic>
      <p:sp>
        <p:nvSpPr>
          <p:cNvPr id="252" name="Title 2"/>
          <p:cNvSpPr txBox="1">
            <a:spLocks/>
          </p:cNvSpPr>
          <p:nvPr/>
        </p:nvSpPr>
        <p:spPr>
          <a:xfrm>
            <a:off x="3379898" y="56206"/>
            <a:ext cx="338328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Key </a:t>
            </a:r>
            <a:r>
              <a:rPr lang="en-US" sz="4400" b="0" kern="1200" dirty="0" smtClean="0">
                <a:latin typeface="KPMG Extralight" panose="020B0303030202040204" pitchFamily="34" charset="0"/>
                <a:cs typeface="+mj-cs"/>
              </a:rPr>
              <a:t>Findings &amp; Initiatives</a:t>
            </a:r>
            <a:endParaRPr lang="en-US" sz="4400" b="0" kern="1200" baseline="30000" dirty="0">
              <a:latin typeface="KPMG Extralight" panose="020B0303030202040204" pitchFamily="34" charset="0"/>
              <a:ea typeface="+mj-ea"/>
              <a:cs typeface="+mj-cs"/>
            </a:endParaRPr>
          </a:p>
        </p:txBody>
      </p:sp>
    </p:spTree>
    <p:extLst>
      <p:ext uri="{BB962C8B-B14F-4D97-AF65-F5344CB8AC3E}">
        <p14:creationId xmlns:p14="http://schemas.microsoft.com/office/powerpoint/2010/main" val="324529916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997"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86" name="TextBox 85"/>
          <p:cNvSpPr txBox="1"/>
          <p:nvPr/>
        </p:nvSpPr>
        <p:spPr>
          <a:xfrm>
            <a:off x="88798" y="211341"/>
            <a:ext cx="3172392" cy="615553"/>
          </a:xfrm>
          <a:prstGeom prst="rect">
            <a:avLst/>
          </a:prstGeom>
          <a:noFill/>
        </p:spPr>
        <p:txBody>
          <a:bodyPr wrap="square" lIns="0" tIns="0" rIns="0" bIns="0" rtlCol="0">
            <a:spAutoFit/>
          </a:bodyPr>
          <a:lstStyle/>
          <a:p>
            <a:r>
              <a:rPr lang="en-US" sz="4000" b="1" dirty="0" smtClean="0">
                <a:solidFill>
                  <a:srgbClr val="FFFFFF"/>
                </a:solidFill>
                <a:latin typeface="KPMG Extralight" panose="020B0303030202040204" pitchFamily="34" charset="0"/>
                <a:cs typeface="Arial" pitchFamily="34" charset="0"/>
              </a:rPr>
              <a:t>Technology Enablement</a:t>
            </a:r>
            <a:endParaRPr lang="en-GB" sz="4000" b="1" dirty="0" smtClean="0">
              <a:solidFill>
                <a:srgbClr val="FFFFFF"/>
              </a:solidFill>
              <a:latin typeface="KPMG Extralight" panose="020B0303030202040204" pitchFamily="34" charset="0"/>
              <a:cs typeface="Arial" pitchFamily="34" charset="0"/>
            </a:endParaRPr>
          </a:p>
        </p:txBody>
      </p:sp>
      <p:graphicFrame>
        <p:nvGraphicFramePr>
          <p:cNvPr id="31" name="Table 30"/>
          <p:cNvGraphicFramePr>
            <a:graphicFrameLocks noGrp="1"/>
          </p:cNvGraphicFramePr>
          <p:nvPr>
            <p:extLst>
              <p:ext uri="{D42A27DB-BD31-4B8C-83A1-F6EECF244321}">
                <p14:modId xmlns:p14="http://schemas.microsoft.com/office/powerpoint/2010/main" val="3305041421"/>
              </p:ext>
            </p:extLst>
          </p:nvPr>
        </p:nvGraphicFramePr>
        <p:xfrm>
          <a:off x="112335" y="2841952"/>
          <a:ext cx="3053407" cy="320040"/>
        </p:xfrm>
        <a:graphic>
          <a:graphicData uri="http://schemas.openxmlformats.org/drawingml/2006/table">
            <a:tbl>
              <a:tblPr bandRow="1">
                <a:tableStyleId>{5C22544A-7EE6-4342-B048-85BDC9FD1C3A}</a:tableStyleId>
              </a:tblPr>
              <a:tblGrid>
                <a:gridCol w="3053407"/>
              </a:tblGrid>
              <a:tr h="230385">
                <a:tc>
                  <a:txBody>
                    <a:bodyPr/>
                    <a:lstStyle/>
                    <a:p>
                      <a:endParaRPr lang="en-US" sz="1500" b="1" dirty="0"/>
                    </a:p>
                  </a:txBody>
                  <a:tcPr anchor="ctr">
                    <a:solidFill>
                      <a:srgbClr val="DBCDDB"/>
                    </a:solidFill>
                  </a:tcPr>
                </a:tc>
              </a:tr>
            </a:tbl>
          </a:graphicData>
        </a:graphic>
      </p:graphicFrame>
      <p:sp>
        <p:nvSpPr>
          <p:cNvPr id="32" name="TextBox 31"/>
          <p:cNvSpPr txBox="1"/>
          <p:nvPr/>
        </p:nvSpPr>
        <p:spPr>
          <a:xfrm>
            <a:off x="2795989" y="2950601"/>
            <a:ext cx="382639" cy="116869"/>
          </a:xfrm>
          <a:prstGeom prst="rect">
            <a:avLst/>
          </a:prstGeom>
          <a:noFill/>
        </p:spPr>
        <p:txBody>
          <a:bodyPr wrap="none" lIns="21772" tIns="21772" rIns="21772" bIns="21772" rtlCol="0" anchor="ctr" anchorCtr="0">
            <a:noAutofit/>
          </a:bodyPr>
          <a:lstStyle/>
          <a:p>
            <a:pPr algn="r"/>
            <a:r>
              <a:rPr lang="en-AU" sz="800" b="1" dirty="0">
                <a:solidFill>
                  <a:srgbClr val="000000"/>
                </a:solidFill>
                <a:cs typeface="Arial" panose="020B0604020202020204" pitchFamily="34" charset="0"/>
              </a:rPr>
              <a:t>Innovating</a:t>
            </a:r>
          </a:p>
        </p:txBody>
      </p:sp>
      <p:sp>
        <p:nvSpPr>
          <p:cNvPr id="33" name="TextBox 32"/>
          <p:cNvSpPr txBox="1"/>
          <p:nvPr/>
        </p:nvSpPr>
        <p:spPr>
          <a:xfrm>
            <a:off x="711797"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Basic</a:t>
            </a:r>
          </a:p>
        </p:txBody>
      </p:sp>
      <p:sp>
        <p:nvSpPr>
          <p:cNvPr id="34" name="TextBox 33"/>
          <p:cNvSpPr txBox="1"/>
          <p:nvPr/>
        </p:nvSpPr>
        <p:spPr>
          <a:xfrm>
            <a:off x="1970881"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Leading</a:t>
            </a:r>
          </a:p>
        </p:txBody>
      </p:sp>
      <p:sp>
        <p:nvSpPr>
          <p:cNvPr id="35" name="TextBox 34"/>
          <p:cNvSpPr txBox="1"/>
          <p:nvPr/>
        </p:nvSpPr>
        <p:spPr>
          <a:xfrm>
            <a:off x="112641" y="2958916"/>
            <a:ext cx="382639" cy="116869"/>
          </a:xfrm>
          <a:prstGeom prst="rect">
            <a:avLst/>
          </a:prstGeom>
          <a:noFill/>
        </p:spPr>
        <p:txBody>
          <a:bodyPr wrap="none" lIns="21772" tIns="21772" rIns="21772" bIns="21772" rtlCol="0" anchor="ctr" anchorCtr="0">
            <a:noAutofit/>
          </a:bodyPr>
          <a:lstStyle/>
          <a:p>
            <a:r>
              <a:rPr lang="en-AU" sz="800" b="1" dirty="0">
                <a:solidFill>
                  <a:srgbClr val="000000"/>
                </a:solidFill>
                <a:cs typeface="Arial" panose="020B0604020202020204" pitchFamily="34" charset="0"/>
              </a:rPr>
              <a:t>Lagging</a:t>
            </a:r>
          </a:p>
        </p:txBody>
      </p:sp>
      <p:sp>
        <p:nvSpPr>
          <p:cNvPr id="36" name="TextBox 35"/>
          <p:cNvSpPr txBox="1"/>
          <p:nvPr/>
        </p:nvSpPr>
        <p:spPr>
          <a:xfrm>
            <a:off x="1322592"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Progressed</a:t>
            </a:r>
          </a:p>
        </p:txBody>
      </p:sp>
      <p:sp>
        <p:nvSpPr>
          <p:cNvPr id="3" name="Rectangle 2"/>
          <p:cNvSpPr/>
          <p:nvPr/>
        </p:nvSpPr>
        <p:spPr>
          <a:xfrm>
            <a:off x="11798" y="964056"/>
            <a:ext cx="3249392" cy="1292662"/>
          </a:xfrm>
          <a:prstGeom prst="rect">
            <a:avLst/>
          </a:prstGeom>
        </p:spPr>
        <p:txBody>
          <a:bodyPr wrap="square">
            <a:spAutoFit/>
          </a:bodyPr>
          <a:lstStyle/>
          <a:p>
            <a:r>
              <a:rPr lang="en-US" sz="1300" dirty="0" smtClean="0">
                <a:solidFill>
                  <a:srgbClr val="FFFFFF"/>
                </a:solidFill>
              </a:rPr>
              <a:t>The </a:t>
            </a:r>
            <a:r>
              <a:rPr lang="en-US" sz="1300" dirty="0">
                <a:solidFill>
                  <a:srgbClr val="FFFFFF"/>
                </a:solidFill>
              </a:rPr>
              <a:t>extent to which an </a:t>
            </a:r>
            <a:r>
              <a:rPr lang="en-US" sz="1300" dirty="0" err="1">
                <a:solidFill>
                  <a:srgbClr val="FFFFFF"/>
                </a:solidFill>
              </a:rPr>
              <a:t>organisation</a:t>
            </a:r>
            <a:r>
              <a:rPr lang="en-US" sz="1300" dirty="0">
                <a:solidFill>
                  <a:srgbClr val="FFFFFF"/>
                </a:solidFill>
              </a:rPr>
              <a:t> monitors its own technology footprint in the digital marketplace and reacts to improve and enhance its digital propositions through the implementation and application of technology enablers</a:t>
            </a:r>
            <a:r>
              <a:rPr lang="en-US" sz="1300" dirty="0" smtClean="0">
                <a:solidFill>
                  <a:srgbClr val="FFFFFF"/>
                </a:solidFill>
              </a:rPr>
              <a:t>.</a:t>
            </a:r>
            <a:endParaRPr lang="en-US" sz="1300" dirty="0">
              <a:solidFill>
                <a:srgbClr val="FFFFFF"/>
              </a:solidFill>
            </a:endParaRPr>
          </a:p>
        </p:txBody>
      </p:sp>
      <p:sp>
        <p:nvSpPr>
          <p:cNvPr id="100" name="Rectangle 99"/>
          <p:cNvSpPr/>
          <p:nvPr/>
        </p:nvSpPr>
        <p:spPr>
          <a:xfrm>
            <a:off x="102170" y="2525696"/>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cxnSp>
        <p:nvCxnSpPr>
          <p:cNvPr id="102" name="Straight Connector 101"/>
          <p:cNvCxnSpPr/>
          <p:nvPr/>
        </p:nvCxnSpPr>
        <p:spPr>
          <a:xfrm>
            <a:off x="605465" y="2864194"/>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193805" y="2857101"/>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1821118" y="2864194"/>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2483889" y="2857101"/>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5" name="Isosceles Triangle 114"/>
          <p:cNvSpPr/>
          <p:nvPr/>
        </p:nvSpPr>
        <p:spPr>
          <a:xfrm flipV="1">
            <a:off x="1000828" y="2359283"/>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6" name="Isosceles Triangle 115"/>
          <p:cNvSpPr/>
          <p:nvPr/>
        </p:nvSpPr>
        <p:spPr>
          <a:xfrm flipV="1">
            <a:off x="930094" y="2359283"/>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7" name="Isosceles Triangle 116"/>
          <p:cNvSpPr/>
          <p:nvPr/>
        </p:nvSpPr>
        <p:spPr>
          <a:xfrm flipV="1">
            <a:off x="2763348" y="2359283"/>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8" name="Isosceles Triangle 117"/>
          <p:cNvSpPr/>
          <p:nvPr/>
        </p:nvSpPr>
        <p:spPr>
          <a:xfrm flipV="1">
            <a:off x="2469899" y="2359283"/>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1018945700"/>
              </p:ext>
            </p:extLst>
          </p:nvPr>
        </p:nvGraphicFramePr>
        <p:xfrm>
          <a:off x="3793054" y="995656"/>
          <a:ext cx="8154904" cy="2590800"/>
        </p:xfrm>
        <a:graphic>
          <a:graphicData uri="http://schemas.openxmlformats.org/drawingml/2006/table">
            <a:tbl>
              <a:tblPr firstRow="1" bandRow="1">
                <a:tableStyleId>{00A15C55-8517-42AA-B614-E9B94910E393}</a:tableStyleId>
              </a:tblPr>
              <a:tblGrid>
                <a:gridCol w="1857375"/>
                <a:gridCol w="6297529"/>
              </a:tblGrid>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API Management</a:t>
                      </a:r>
                      <a:endParaRPr lang="en-US"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Implement an API solution manager to better operate </a:t>
                      </a:r>
                      <a:r>
                        <a:rPr lang="en-US" sz="1400" b="0" kern="1200" dirty="0" err="1" smtClean="0">
                          <a:solidFill>
                            <a:srgbClr val="00338D"/>
                          </a:solidFill>
                          <a:latin typeface="+mn-lt"/>
                          <a:ea typeface="+mn-ea"/>
                          <a:cs typeface="+mn-cs"/>
                        </a:rPr>
                        <a:t>FBNQuest’s</a:t>
                      </a:r>
                      <a:r>
                        <a:rPr lang="en-US" sz="1400" b="0" kern="1200" dirty="0" smtClean="0">
                          <a:solidFill>
                            <a:srgbClr val="00338D"/>
                          </a:solidFill>
                          <a:latin typeface="+mn-lt"/>
                          <a:ea typeface="+mn-ea"/>
                          <a:cs typeface="+mn-cs"/>
                        </a:rPr>
                        <a:t> integration architecture</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API </a:t>
                      </a:r>
                      <a:r>
                        <a:rPr lang="en-US" sz="1400" b="0" kern="1200" spc="-10" dirty="0" err="1" smtClean="0">
                          <a:solidFill>
                            <a:schemeClr val="bg1"/>
                          </a:solidFill>
                          <a:latin typeface="+mn-lt"/>
                          <a:ea typeface="+mn-ea"/>
                          <a:cs typeface="+mn-cs"/>
                        </a:rPr>
                        <a:t>Monetisation</a:t>
                      </a:r>
                      <a:endParaRPr lang="en-US" sz="1400" b="0" kern="1200" spc="-10" dirty="0" smtClean="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kern="1200" dirty="0" smtClean="0">
                          <a:solidFill>
                            <a:srgbClr val="00338D"/>
                          </a:solidFill>
                          <a:latin typeface="+mn-lt"/>
                          <a:ea typeface="+mn-ea"/>
                          <a:cs typeface="+mn-cs"/>
                        </a:rPr>
                        <a:t>Expose </a:t>
                      </a:r>
                      <a:r>
                        <a:rPr lang="en-US" sz="1400" kern="1200" dirty="0" err="1" smtClean="0">
                          <a:solidFill>
                            <a:srgbClr val="00338D"/>
                          </a:solidFill>
                          <a:latin typeface="+mn-lt"/>
                          <a:ea typeface="+mn-ea"/>
                          <a:cs typeface="+mn-cs"/>
                        </a:rPr>
                        <a:t>FBNQuest’s</a:t>
                      </a:r>
                      <a:r>
                        <a:rPr lang="en-US" sz="1400" kern="1200" dirty="0" smtClean="0">
                          <a:solidFill>
                            <a:srgbClr val="00338D"/>
                          </a:solidFill>
                          <a:latin typeface="+mn-lt"/>
                          <a:ea typeface="+mn-ea"/>
                          <a:cs typeface="+mn-cs"/>
                        </a:rPr>
                        <a:t> strategic products externally via APIs to diversify revenue streams, enable customer growth and support partnership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Cloud Governance</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kern="1200" dirty="0" smtClean="0">
                          <a:solidFill>
                            <a:srgbClr val="00338D"/>
                          </a:solidFill>
                          <a:latin typeface="+mn-lt"/>
                          <a:ea typeface="+mn-ea"/>
                          <a:cs typeface="+mn-cs"/>
                        </a:rPr>
                        <a:t>Establish and execute a cloud governance framework to continuously guide the measurement, monitoring, tracking and prediction of cloud take-up</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Data and Analytics Automation</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kern="1200" dirty="0" smtClean="0">
                          <a:solidFill>
                            <a:srgbClr val="00338D"/>
                          </a:solidFill>
                          <a:latin typeface="+mn-lt"/>
                          <a:ea typeface="+mn-ea"/>
                          <a:cs typeface="+mn-cs"/>
                        </a:rPr>
                        <a:t>Develop a business intelligence (BI) and analytics strategy and road map to facilitate the execution of intelligent reporting and analysi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User Experience Improvement</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kern="1200" dirty="0" smtClean="0">
                          <a:solidFill>
                            <a:srgbClr val="00338D"/>
                          </a:solidFill>
                          <a:latin typeface="+mn-lt"/>
                          <a:ea typeface="+mn-ea"/>
                          <a:cs typeface="+mn-cs"/>
                        </a:rPr>
                        <a:t>Establish and document a framework to guide proactive measurement of user experience and continuous improvement of the proces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bl>
          </a:graphicData>
        </a:graphic>
      </p:graphicFrame>
      <p:pic>
        <p:nvPicPr>
          <p:cNvPr id="449" name="Picture 44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33859" y="995111"/>
            <a:ext cx="405670" cy="405670"/>
          </a:xfrm>
          <a:prstGeom prst="rect">
            <a:avLst/>
          </a:prstGeom>
        </p:spPr>
      </p:pic>
      <p:pic>
        <p:nvPicPr>
          <p:cNvPr id="450" name="Picture 44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33859" y="1451221"/>
            <a:ext cx="405670" cy="405670"/>
          </a:xfrm>
          <a:prstGeom prst="rect">
            <a:avLst/>
          </a:prstGeom>
        </p:spPr>
      </p:pic>
      <p:pic>
        <p:nvPicPr>
          <p:cNvPr id="451" name="Picture 45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33859" y="1974707"/>
            <a:ext cx="405670" cy="405670"/>
          </a:xfrm>
          <a:prstGeom prst="rect">
            <a:avLst/>
          </a:prstGeom>
        </p:spPr>
      </p:pic>
      <p:pic>
        <p:nvPicPr>
          <p:cNvPr id="452" name="Picture 45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33859" y="2430817"/>
            <a:ext cx="405670" cy="405670"/>
          </a:xfrm>
          <a:prstGeom prst="rect">
            <a:avLst/>
          </a:prstGeom>
        </p:spPr>
      </p:pic>
      <p:sp>
        <p:nvSpPr>
          <p:cNvPr id="453" name="Rectangle 452"/>
          <p:cNvSpPr/>
          <p:nvPr/>
        </p:nvSpPr>
        <p:spPr>
          <a:xfrm>
            <a:off x="3323435" y="595736"/>
            <a:ext cx="8595360" cy="307777"/>
          </a:xfrm>
          <a:prstGeom prst="rect">
            <a:avLst/>
          </a:prstGeom>
        </p:spPr>
        <p:txBody>
          <a:bodyPr wrap="square">
            <a:spAutoFit/>
          </a:bodyPr>
          <a:lstStyle/>
          <a:p>
            <a:pPr defTabSz="713603">
              <a:defRPr/>
            </a:pPr>
            <a:r>
              <a:rPr lang="en-US" sz="1400" dirty="0" smtClean="0">
                <a:solidFill>
                  <a:srgbClr val="00338D"/>
                </a:solidFill>
              </a:rPr>
              <a:t>The following key initiatives have been identified for </a:t>
            </a:r>
            <a:r>
              <a:rPr lang="en-US" sz="1400" dirty="0" err="1" smtClean="0">
                <a:solidFill>
                  <a:srgbClr val="00338D"/>
                </a:solidFill>
              </a:rPr>
              <a:t>FBNQuest</a:t>
            </a:r>
            <a:r>
              <a:rPr lang="en-US" sz="1400" dirty="0" smtClean="0">
                <a:solidFill>
                  <a:srgbClr val="00338D"/>
                </a:solidFill>
              </a:rPr>
              <a:t> with respect to Technology Enablement: </a:t>
            </a:r>
            <a:endParaRPr lang="en-US" sz="1400" dirty="0">
              <a:solidFill>
                <a:srgbClr val="00338D"/>
              </a:solidFill>
            </a:endParaRPr>
          </a:p>
        </p:txBody>
      </p:sp>
      <p:grpSp>
        <p:nvGrpSpPr>
          <p:cNvPr id="454" name="Group 453"/>
          <p:cNvGrpSpPr/>
          <p:nvPr/>
        </p:nvGrpSpPr>
        <p:grpSpPr>
          <a:xfrm>
            <a:off x="7347937" y="121697"/>
            <a:ext cx="4568864" cy="274320"/>
            <a:chOff x="7916790" y="356874"/>
            <a:chExt cx="4568864" cy="274320"/>
          </a:xfrm>
        </p:grpSpPr>
        <p:grpSp>
          <p:nvGrpSpPr>
            <p:cNvPr id="455" name="Group 454"/>
            <p:cNvGrpSpPr/>
            <p:nvPr/>
          </p:nvGrpSpPr>
          <p:grpSpPr>
            <a:xfrm>
              <a:off x="7916790" y="356874"/>
              <a:ext cx="2337497" cy="274320"/>
              <a:chOff x="3793151" y="6476333"/>
              <a:chExt cx="2337497" cy="274320"/>
            </a:xfrm>
          </p:grpSpPr>
          <p:sp>
            <p:nvSpPr>
              <p:cNvPr id="460" name="Isosceles Triangle 459"/>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61" name="TextBox 460"/>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62"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63"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4" name="Isosceles Triangle 463"/>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456" name="Isosceles Triangle 45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57" name="TextBox 45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58" name="Isosceles Triangle 45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59" name="TextBox 45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465" name="Picture 46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53248" y="20474"/>
            <a:ext cx="548640" cy="155207"/>
          </a:xfrm>
          <a:prstGeom prst="rect">
            <a:avLst/>
          </a:prstGeom>
          <a:solidFill>
            <a:srgbClr val="BFBFBF"/>
          </a:solidFill>
        </p:spPr>
      </p:pic>
      <p:sp>
        <p:nvSpPr>
          <p:cNvPr id="403" name="TextBox 402"/>
          <p:cNvSpPr txBox="1"/>
          <p:nvPr/>
        </p:nvSpPr>
        <p:spPr>
          <a:xfrm>
            <a:off x="70161" y="3397010"/>
            <a:ext cx="3017520" cy="184666"/>
          </a:xfrm>
          <a:prstGeom prst="rect">
            <a:avLst/>
          </a:prstGeom>
          <a:noFill/>
        </p:spPr>
        <p:txBody>
          <a:bodyPr wrap="square" lIns="0" tIns="0" rIns="0" bIns="0" rtlCol="0">
            <a:spAutoFit/>
          </a:bodyPr>
          <a:lstStyle>
            <a:defPPr>
              <a:defRPr lang="en-US"/>
            </a:defPPr>
            <a:lvl1pPr>
              <a:defRPr sz="1200" b="1">
                <a:solidFill>
                  <a:srgbClr val="FFFFFF"/>
                </a:solidFill>
                <a:cs typeface="Arial" pitchFamily="34" charset="0"/>
              </a:defRPr>
            </a:lvl1pPr>
          </a:lstStyle>
          <a:p>
            <a:r>
              <a:rPr lang="en-US" dirty="0" smtClean="0"/>
              <a:t>API </a:t>
            </a:r>
            <a:r>
              <a:rPr lang="en-US" dirty="0"/>
              <a:t>implementation and </a:t>
            </a:r>
            <a:r>
              <a:rPr lang="en-US" dirty="0" smtClean="0"/>
              <a:t>management</a:t>
            </a:r>
            <a:endParaRPr lang="en-US" dirty="0"/>
          </a:p>
        </p:txBody>
      </p:sp>
      <p:sp>
        <p:nvSpPr>
          <p:cNvPr id="404" name="TextBox 403"/>
          <p:cNvSpPr txBox="1"/>
          <p:nvPr/>
        </p:nvSpPr>
        <p:spPr>
          <a:xfrm>
            <a:off x="88888" y="4117529"/>
            <a:ext cx="3174580" cy="184666"/>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Scalable </a:t>
            </a:r>
            <a:r>
              <a:rPr lang="en-US" sz="1200" b="1" dirty="0">
                <a:solidFill>
                  <a:srgbClr val="FFFFFF"/>
                </a:solidFill>
                <a:cs typeface="Arial" pitchFamily="34" charset="0"/>
              </a:rPr>
              <a:t>cloud hosting </a:t>
            </a:r>
            <a:r>
              <a:rPr lang="en-US" sz="1200" b="1" dirty="0" smtClean="0">
                <a:solidFill>
                  <a:srgbClr val="FFFFFF"/>
                </a:solidFill>
                <a:cs typeface="Arial" pitchFamily="34" charset="0"/>
              </a:rPr>
              <a:t>models</a:t>
            </a:r>
            <a:endParaRPr lang="en-US" sz="1200" b="1" dirty="0">
              <a:solidFill>
                <a:srgbClr val="FFFFFF"/>
              </a:solidFill>
              <a:cs typeface="Arial" pitchFamily="34" charset="0"/>
            </a:endParaRPr>
          </a:p>
        </p:txBody>
      </p:sp>
      <p:sp>
        <p:nvSpPr>
          <p:cNvPr id="405" name="Rectangle 404"/>
          <p:cNvSpPr/>
          <p:nvPr/>
        </p:nvSpPr>
        <p:spPr>
          <a:xfrm>
            <a:off x="101012" y="3650406"/>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06" name="Isosceles Triangle 405"/>
          <p:cNvSpPr/>
          <p:nvPr/>
        </p:nvSpPr>
        <p:spPr>
          <a:xfrm>
            <a:off x="739967" y="3750707"/>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7" name="Isosceles Triangle 406"/>
          <p:cNvSpPr/>
          <p:nvPr/>
        </p:nvSpPr>
        <p:spPr>
          <a:xfrm>
            <a:off x="662657" y="3750707"/>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8" name="Rectangle 407"/>
          <p:cNvSpPr/>
          <p:nvPr/>
        </p:nvSpPr>
        <p:spPr>
          <a:xfrm>
            <a:off x="87900" y="4344853"/>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10" name="Isosceles Triangle 409"/>
          <p:cNvSpPr/>
          <p:nvPr/>
        </p:nvSpPr>
        <p:spPr>
          <a:xfrm>
            <a:off x="2689473" y="3750707"/>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1" name="Isosceles Triangle 410"/>
          <p:cNvSpPr/>
          <p:nvPr/>
        </p:nvSpPr>
        <p:spPr>
          <a:xfrm>
            <a:off x="2295234" y="3750707"/>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2" name="Isosceles Triangle 411"/>
          <p:cNvSpPr/>
          <p:nvPr/>
        </p:nvSpPr>
        <p:spPr>
          <a:xfrm>
            <a:off x="805481" y="4442669"/>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3" name="Isosceles Triangle 412"/>
          <p:cNvSpPr/>
          <p:nvPr/>
        </p:nvSpPr>
        <p:spPr>
          <a:xfrm>
            <a:off x="2952279" y="4442669"/>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4" name="Isosceles Triangle 413"/>
          <p:cNvSpPr/>
          <p:nvPr/>
        </p:nvSpPr>
        <p:spPr>
          <a:xfrm>
            <a:off x="2866046" y="4442669"/>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5" name="Isosceles Triangle 414"/>
          <p:cNvSpPr/>
          <p:nvPr/>
        </p:nvSpPr>
        <p:spPr>
          <a:xfrm>
            <a:off x="901675" y="4442669"/>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6" name="TextBox 415"/>
          <p:cNvSpPr txBox="1"/>
          <p:nvPr/>
        </p:nvSpPr>
        <p:spPr>
          <a:xfrm>
            <a:off x="78188" y="4789118"/>
            <a:ext cx="3174580" cy="369332"/>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Optimal </a:t>
            </a:r>
            <a:r>
              <a:rPr lang="en-US" sz="1200" b="1" dirty="0" err="1">
                <a:solidFill>
                  <a:srgbClr val="FFFFFF"/>
                </a:solidFill>
                <a:cs typeface="Arial" pitchFamily="34" charset="0"/>
              </a:rPr>
              <a:t>utilisation</a:t>
            </a:r>
            <a:r>
              <a:rPr lang="en-US" sz="1200" b="1" dirty="0">
                <a:solidFill>
                  <a:srgbClr val="FFFFFF"/>
                </a:solidFill>
                <a:cs typeface="Arial" pitchFamily="34" charset="0"/>
              </a:rPr>
              <a:t> of data &amp; analytics and artificial </a:t>
            </a:r>
            <a:r>
              <a:rPr lang="en-US" sz="1200" b="1" dirty="0" smtClean="0">
                <a:solidFill>
                  <a:srgbClr val="FFFFFF"/>
                </a:solidFill>
                <a:cs typeface="Arial" pitchFamily="34" charset="0"/>
              </a:rPr>
              <a:t>intelligence </a:t>
            </a:r>
            <a:endParaRPr lang="en-US" sz="1200" b="1" dirty="0">
              <a:solidFill>
                <a:srgbClr val="FFFFFF"/>
              </a:solidFill>
              <a:cs typeface="Arial" pitchFamily="34" charset="0"/>
            </a:endParaRPr>
          </a:p>
        </p:txBody>
      </p:sp>
      <p:sp>
        <p:nvSpPr>
          <p:cNvPr id="417" name="Rectangle 416"/>
          <p:cNvSpPr/>
          <p:nvPr/>
        </p:nvSpPr>
        <p:spPr>
          <a:xfrm>
            <a:off x="77200" y="5189696"/>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18" name="Isosceles Triangle 417"/>
          <p:cNvSpPr/>
          <p:nvPr/>
        </p:nvSpPr>
        <p:spPr>
          <a:xfrm>
            <a:off x="968033" y="5287512"/>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9" name="Isosceles Triangle 418"/>
          <p:cNvSpPr/>
          <p:nvPr/>
        </p:nvSpPr>
        <p:spPr>
          <a:xfrm>
            <a:off x="2768323" y="5287512"/>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0" name="Isosceles Triangle 419"/>
          <p:cNvSpPr/>
          <p:nvPr/>
        </p:nvSpPr>
        <p:spPr>
          <a:xfrm>
            <a:off x="2374092" y="5287512"/>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1" name="Isosceles Triangle 420"/>
          <p:cNvSpPr/>
          <p:nvPr/>
        </p:nvSpPr>
        <p:spPr>
          <a:xfrm>
            <a:off x="727345" y="5287512"/>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2" name="TextBox 421"/>
          <p:cNvSpPr txBox="1"/>
          <p:nvPr/>
        </p:nvSpPr>
        <p:spPr>
          <a:xfrm>
            <a:off x="67740" y="5575163"/>
            <a:ext cx="3174580" cy="369332"/>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Application </a:t>
            </a:r>
            <a:r>
              <a:rPr lang="en-US" sz="1200" b="1" dirty="0">
                <a:solidFill>
                  <a:srgbClr val="FFFFFF"/>
                </a:solidFill>
                <a:cs typeface="Arial" pitchFamily="34" charset="0"/>
              </a:rPr>
              <a:t>of best practice user experience </a:t>
            </a:r>
            <a:r>
              <a:rPr lang="en-US" sz="1200" b="1" dirty="0" smtClean="0">
                <a:solidFill>
                  <a:srgbClr val="FFFFFF"/>
                </a:solidFill>
                <a:cs typeface="Arial" pitchFamily="34" charset="0"/>
              </a:rPr>
              <a:t>standards</a:t>
            </a:r>
            <a:endParaRPr lang="en-US" sz="1200" b="1" dirty="0">
              <a:solidFill>
                <a:srgbClr val="FFFFFF"/>
              </a:solidFill>
              <a:cs typeface="Arial" pitchFamily="34" charset="0"/>
            </a:endParaRPr>
          </a:p>
        </p:txBody>
      </p:sp>
      <p:sp>
        <p:nvSpPr>
          <p:cNvPr id="423" name="Rectangle 422"/>
          <p:cNvSpPr/>
          <p:nvPr/>
        </p:nvSpPr>
        <p:spPr>
          <a:xfrm>
            <a:off x="66752" y="5975741"/>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24" name="Isosceles Triangle 423"/>
          <p:cNvSpPr/>
          <p:nvPr/>
        </p:nvSpPr>
        <p:spPr>
          <a:xfrm>
            <a:off x="1640977" y="6073557"/>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5" name="Isosceles Triangle 424"/>
          <p:cNvSpPr/>
          <p:nvPr/>
        </p:nvSpPr>
        <p:spPr>
          <a:xfrm>
            <a:off x="2748254" y="6073557"/>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6" name="Isosceles Triangle 425"/>
          <p:cNvSpPr/>
          <p:nvPr/>
        </p:nvSpPr>
        <p:spPr>
          <a:xfrm>
            <a:off x="2642773" y="6073557"/>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7" name="Isosceles Triangle 426"/>
          <p:cNvSpPr/>
          <p:nvPr/>
        </p:nvSpPr>
        <p:spPr>
          <a:xfrm>
            <a:off x="1294415" y="6073557"/>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pic>
        <p:nvPicPr>
          <p:cNvPr id="428" name="Picture 4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33859" y="2931351"/>
            <a:ext cx="405670" cy="405670"/>
          </a:xfrm>
          <a:prstGeom prst="rect">
            <a:avLst/>
          </a:prstGeom>
        </p:spPr>
      </p:pic>
      <p:sp>
        <p:nvSpPr>
          <p:cNvPr id="437" name="Snip Diagonal Corner Rectangle 436"/>
          <p:cNvSpPr/>
          <p:nvPr/>
        </p:nvSpPr>
        <p:spPr>
          <a:xfrm>
            <a:off x="6810046" y="4016169"/>
            <a:ext cx="5106756" cy="2384631"/>
          </a:xfrm>
          <a:prstGeom prst="snip2Diag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defTabSz="890789">
              <a:buFont typeface="Arial" panose="020B0604020202020204" pitchFamily="34" charset="0"/>
              <a:buChar char="•"/>
              <a:defRPr/>
            </a:pPr>
            <a:r>
              <a:rPr lang="en-US" sz="1400" dirty="0">
                <a:solidFill>
                  <a:schemeClr val="bg1"/>
                </a:solidFill>
              </a:rPr>
              <a:t>Global players are adopting robust API and cloud </a:t>
            </a:r>
            <a:r>
              <a:rPr lang="en-US" sz="1400" dirty="0" smtClean="0">
                <a:solidFill>
                  <a:schemeClr val="bg1"/>
                </a:solidFill>
              </a:rPr>
              <a:t>strategies</a:t>
            </a:r>
          </a:p>
          <a:p>
            <a:pPr marL="171450" indent="-171450" defTabSz="890789">
              <a:buFont typeface="Arial" panose="020B0604020202020204" pitchFamily="34" charset="0"/>
              <a:buChar char="•"/>
              <a:defRPr/>
            </a:pPr>
            <a:r>
              <a:rPr lang="en-US" sz="1400" dirty="0" smtClean="0">
                <a:solidFill>
                  <a:schemeClr val="bg1"/>
                </a:solidFill>
              </a:rPr>
              <a:t>90</a:t>
            </a:r>
            <a:r>
              <a:rPr lang="en-US" sz="1400" dirty="0">
                <a:solidFill>
                  <a:schemeClr val="bg1"/>
                </a:solidFill>
              </a:rPr>
              <a:t>% of </a:t>
            </a:r>
            <a:r>
              <a:rPr lang="en-US" sz="1400" b="1" dirty="0">
                <a:solidFill>
                  <a:schemeClr val="bg1"/>
                </a:solidFill>
              </a:rPr>
              <a:t>Goldman Sachs </a:t>
            </a:r>
            <a:r>
              <a:rPr lang="en-US" sz="1400" dirty="0" smtClean="0">
                <a:solidFill>
                  <a:schemeClr val="bg1"/>
                </a:solidFill>
              </a:rPr>
              <a:t>servers </a:t>
            </a:r>
            <a:r>
              <a:rPr lang="en-US" sz="1400" dirty="0">
                <a:solidFill>
                  <a:schemeClr val="bg1"/>
                </a:solidFill>
              </a:rPr>
              <a:t>(over 200,000) </a:t>
            </a:r>
            <a:r>
              <a:rPr lang="en-US" sz="1400" dirty="0" smtClean="0">
                <a:solidFill>
                  <a:schemeClr val="bg1"/>
                </a:solidFill>
              </a:rPr>
              <a:t>are </a:t>
            </a:r>
            <a:r>
              <a:rPr lang="en-US" sz="1400" dirty="0">
                <a:solidFill>
                  <a:schemeClr val="bg1"/>
                </a:solidFill>
              </a:rPr>
              <a:t>cloud hosted </a:t>
            </a:r>
            <a:endParaRPr lang="en-US" sz="1400" dirty="0" smtClean="0">
              <a:solidFill>
                <a:schemeClr val="bg1"/>
              </a:solidFill>
            </a:endParaRPr>
          </a:p>
          <a:p>
            <a:pPr marL="171450" lvl="0" indent="-171450" defTabSz="890789">
              <a:spcAft>
                <a:spcPts val="100"/>
              </a:spcAft>
              <a:buFont typeface="Arial" panose="020B0604020202020204" pitchFamily="34" charset="0"/>
              <a:buChar char="•"/>
              <a:defRPr/>
            </a:pPr>
            <a:r>
              <a:rPr lang="en-US" sz="1400" b="1" dirty="0" smtClean="0">
                <a:solidFill>
                  <a:schemeClr val="bg1"/>
                </a:solidFill>
              </a:rPr>
              <a:t>DBS</a:t>
            </a:r>
            <a:r>
              <a:rPr lang="en-US" sz="1400" dirty="0" smtClean="0">
                <a:solidFill>
                  <a:schemeClr val="bg1"/>
                </a:solidFill>
              </a:rPr>
              <a:t> and </a:t>
            </a:r>
            <a:r>
              <a:rPr lang="en-US" sz="1400" b="1" dirty="0">
                <a:solidFill>
                  <a:schemeClr val="bg1"/>
                </a:solidFill>
              </a:rPr>
              <a:t>JP Morgan </a:t>
            </a:r>
            <a:r>
              <a:rPr lang="en-US" sz="1400" dirty="0">
                <a:solidFill>
                  <a:schemeClr val="bg1"/>
                </a:solidFill>
              </a:rPr>
              <a:t>have exposed over 150 live </a:t>
            </a:r>
            <a:r>
              <a:rPr lang="en-US" sz="1400" dirty="0" smtClean="0">
                <a:solidFill>
                  <a:schemeClr val="bg1"/>
                </a:solidFill>
              </a:rPr>
              <a:t>APIs</a:t>
            </a:r>
          </a:p>
          <a:p>
            <a:pPr marL="171450" lvl="0" indent="-171450" defTabSz="890789">
              <a:spcAft>
                <a:spcPts val="100"/>
              </a:spcAft>
              <a:buFont typeface="Arial" panose="020B0604020202020204" pitchFamily="34" charset="0"/>
              <a:buChar char="•"/>
              <a:defRPr/>
            </a:pPr>
            <a:r>
              <a:rPr lang="en-US" sz="1400" dirty="0" err="1">
                <a:solidFill>
                  <a:schemeClr val="bg1"/>
                </a:solidFill>
              </a:rPr>
              <a:t>H</a:t>
            </a:r>
            <a:r>
              <a:rPr lang="en-US" sz="1400" dirty="0" err="1" smtClean="0">
                <a:solidFill>
                  <a:schemeClr val="bg1"/>
                </a:solidFill>
              </a:rPr>
              <a:t>ackathons</a:t>
            </a:r>
            <a:r>
              <a:rPr lang="en-US" sz="1400" dirty="0" smtClean="0">
                <a:solidFill>
                  <a:schemeClr val="bg1"/>
                </a:solidFill>
              </a:rPr>
              <a:t> are key to driving API adoption by external developers and </a:t>
            </a:r>
            <a:r>
              <a:rPr lang="en-US" sz="1400" dirty="0" err="1" smtClean="0">
                <a:solidFill>
                  <a:schemeClr val="bg1"/>
                </a:solidFill>
              </a:rPr>
              <a:t>Fintechs</a:t>
            </a:r>
            <a:endParaRPr lang="en-US" sz="1400" dirty="0" smtClean="0">
              <a:solidFill>
                <a:schemeClr val="bg1"/>
              </a:solidFill>
            </a:endParaRPr>
          </a:p>
          <a:p>
            <a:pPr marL="171450" indent="-171450" defTabSz="890789">
              <a:buFont typeface="Arial" panose="020B0604020202020204" pitchFamily="34" charset="0"/>
              <a:buChar char="•"/>
              <a:defRPr/>
            </a:pPr>
            <a:r>
              <a:rPr lang="en-US" sz="1400" i="1" dirty="0" smtClean="0">
                <a:solidFill>
                  <a:schemeClr val="bg1"/>
                </a:solidFill>
              </a:rPr>
              <a:t>Refer to Detailed Assessment – Technology Enablement for details.</a:t>
            </a:r>
            <a:endParaRPr lang="en-US" sz="1400" i="1" dirty="0">
              <a:solidFill>
                <a:schemeClr val="bg1"/>
              </a:solidFill>
            </a:endParaRPr>
          </a:p>
        </p:txBody>
      </p:sp>
      <p:grpSp>
        <p:nvGrpSpPr>
          <p:cNvPr id="438" name="Group 437"/>
          <p:cNvGrpSpPr/>
          <p:nvPr/>
        </p:nvGrpSpPr>
        <p:grpSpPr>
          <a:xfrm>
            <a:off x="3814470" y="4026391"/>
            <a:ext cx="2940035" cy="2373244"/>
            <a:chOff x="3542201" y="3302599"/>
            <a:chExt cx="3684601" cy="3098199"/>
          </a:xfrm>
        </p:grpSpPr>
        <p:sp>
          <p:nvSpPr>
            <p:cNvPr id="439" name="Rectangle 438"/>
            <p:cNvSpPr/>
            <p:nvPr/>
          </p:nvSpPr>
          <p:spPr>
            <a:xfrm>
              <a:off x="3542201" y="3302599"/>
              <a:ext cx="3684601" cy="3098199"/>
            </a:xfrm>
            <a:prstGeom prst="rect">
              <a:avLst/>
            </a:prstGeom>
            <a:noFill/>
            <a:ln w="190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440" name="Freeform 28"/>
            <p:cNvSpPr>
              <a:spLocks/>
            </p:cNvSpPr>
            <p:nvPr/>
          </p:nvSpPr>
          <p:spPr bwMode="auto">
            <a:xfrm>
              <a:off x="3636441" y="3702411"/>
              <a:ext cx="924879" cy="732677"/>
            </a:xfrm>
            <a:custGeom>
              <a:avLst/>
              <a:gdLst>
                <a:gd name="T0" fmla="*/ 27 w 14387"/>
                <a:gd name="T1" fmla="*/ 10280 h 13637"/>
                <a:gd name="T2" fmla="*/ 47 w 14387"/>
                <a:gd name="T3" fmla="*/ 9679 h 13637"/>
                <a:gd name="T4" fmla="*/ 46 w 14387"/>
                <a:gd name="T5" fmla="*/ 9104 h 13637"/>
                <a:gd name="T6" fmla="*/ 85 w 14387"/>
                <a:gd name="T7" fmla="*/ 8599 h 13637"/>
                <a:gd name="T8" fmla="*/ 145 w 14387"/>
                <a:gd name="T9" fmla="*/ 7943 h 13637"/>
                <a:gd name="T10" fmla="*/ 173 w 14387"/>
                <a:gd name="T11" fmla="*/ 7168 h 13637"/>
                <a:gd name="T12" fmla="*/ 735 w 14387"/>
                <a:gd name="T13" fmla="*/ 6372 h 13637"/>
                <a:gd name="T14" fmla="*/ 1085 w 14387"/>
                <a:gd name="T15" fmla="*/ 5576 h 13637"/>
                <a:gd name="T16" fmla="*/ 1306 w 14387"/>
                <a:gd name="T17" fmla="*/ 5168 h 13637"/>
                <a:gd name="T18" fmla="*/ 1420 w 14387"/>
                <a:gd name="T19" fmla="*/ 4292 h 13637"/>
                <a:gd name="T20" fmla="*/ 1138 w 14387"/>
                <a:gd name="T21" fmla="*/ 3442 h 13637"/>
                <a:gd name="T22" fmla="*/ 1262 w 14387"/>
                <a:gd name="T23" fmla="*/ 2953 h 13637"/>
                <a:gd name="T24" fmla="*/ 1245 w 14387"/>
                <a:gd name="T25" fmla="*/ 2311 h 13637"/>
                <a:gd name="T26" fmla="*/ 1486 w 14387"/>
                <a:gd name="T27" fmla="*/ 1710 h 13637"/>
                <a:gd name="T28" fmla="*/ 1959 w 14387"/>
                <a:gd name="T29" fmla="*/ 1064 h 13637"/>
                <a:gd name="T30" fmla="*/ 1975 w 14387"/>
                <a:gd name="T31" fmla="*/ 561 h 13637"/>
                <a:gd name="T32" fmla="*/ 3297 w 14387"/>
                <a:gd name="T33" fmla="*/ 55 h 13637"/>
                <a:gd name="T34" fmla="*/ 4430 w 14387"/>
                <a:gd name="T35" fmla="*/ 360 h 13637"/>
                <a:gd name="T36" fmla="*/ 5116 w 14387"/>
                <a:gd name="T37" fmla="*/ 1009 h 13637"/>
                <a:gd name="T38" fmla="*/ 5881 w 14387"/>
                <a:gd name="T39" fmla="*/ 1050 h 13637"/>
                <a:gd name="T40" fmla="*/ 6805 w 14387"/>
                <a:gd name="T41" fmla="*/ 1048 h 13637"/>
                <a:gd name="T42" fmla="*/ 7701 w 14387"/>
                <a:gd name="T43" fmla="*/ 1563 h 13637"/>
                <a:gd name="T44" fmla="*/ 8779 w 14387"/>
                <a:gd name="T45" fmla="*/ 1265 h 13637"/>
                <a:gd name="T46" fmla="*/ 9583 w 14387"/>
                <a:gd name="T47" fmla="*/ 794 h 13637"/>
                <a:gd name="T48" fmla="*/ 10879 w 14387"/>
                <a:gd name="T49" fmla="*/ 894 h 13637"/>
                <a:gd name="T50" fmla="*/ 11840 w 14387"/>
                <a:gd name="T51" fmla="*/ 1014 h 13637"/>
                <a:gd name="T52" fmla="*/ 12680 w 14387"/>
                <a:gd name="T53" fmla="*/ 357 h 13637"/>
                <a:gd name="T54" fmla="*/ 13485 w 14387"/>
                <a:gd name="T55" fmla="*/ 718 h 13637"/>
                <a:gd name="T56" fmla="*/ 13812 w 14387"/>
                <a:gd name="T57" fmla="*/ 2019 h 13637"/>
                <a:gd name="T58" fmla="*/ 14343 w 14387"/>
                <a:gd name="T59" fmla="*/ 2628 h 13637"/>
                <a:gd name="T60" fmla="*/ 14087 w 14387"/>
                <a:gd name="T61" fmla="*/ 3450 h 13637"/>
                <a:gd name="T62" fmla="*/ 13437 w 14387"/>
                <a:gd name="T63" fmla="*/ 3985 h 13637"/>
                <a:gd name="T64" fmla="*/ 13139 w 14387"/>
                <a:gd name="T65" fmla="*/ 4887 h 13637"/>
                <a:gd name="T66" fmla="*/ 12755 w 14387"/>
                <a:gd name="T67" fmla="*/ 5747 h 13637"/>
                <a:gd name="T68" fmla="*/ 12420 w 14387"/>
                <a:gd name="T69" fmla="*/ 6297 h 13637"/>
                <a:gd name="T70" fmla="*/ 12098 w 14387"/>
                <a:gd name="T71" fmla="*/ 7371 h 13637"/>
                <a:gd name="T72" fmla="*/ 11472 w 14387"/>
                <a:gd name="T73" fmla="*/ 8095 h 13637"/>
                <a:gd name="T74" fmla="*/ 11249 w 14387"/>
                <a:gd name="T75" fmla="*/ 8865 h 13637"/>
                <a:gd name="T76" fmla="*/ 10986 w 14387"/>
                <a:gd name="T77" fmla="*/ 9595 h 13637"/>
                <a:gd name="T78" fmla="*/ 10450 w 14387"/>
                <a:gd name="T79" fmla="*/ 10430 h 13637"/>
                <a:gd name="T80" fmla="*/ 9601 w 14387"/>
                <a:gd name="T81" fmla="*/ 9618 h 13637"/>
                <a:gd name="T82" fmla="*/ 8897 w 14387"/>
                <a:gd name="T83" fmla="*/ 9834 h 13637"/>
                <a:gd name="T84" fmla="*/ 8187 w 14387"/>
                <a:gd name="T85" fmla="*/ 10571 h 13637"/>
                <a:gd name="T86" fmla="*/ 7519 w 14387"/>
                <a:gd name="T87" fmla="*/ 11196 h 13637"/>
                <a:gd name="T88" fmla="*/ 7414 w 14387"/>
                <a:gd name="T89" fmla="*/ 11917 h 13637"/>
                <a:gd name="T90" fmla="*/ 7130 w 14387"/>
                <a:gd name="T91" fmla="*/ 12682 h 13637"/>
                <a:gd name="T92" fmla="*/ 7039 w 14387"/>
                <a:gd name="T93" fmla="*/ 13363 h 13637"/>
                <a:gd name="T94" fmla="*/ 6654 w 14387"/>
                <a:gd name="T95" fmla="*/ 12729 h 13637"/>
                <a:gd name="T96" fmla="*/ 6463 w 14387"/>
                <a:gd name="T97" fmla="*/ 13222 h 13637"/>
                <a:gd name="T98" fmla="*/ 5535 w 14387"/>
                <a:gd name="T99" fmla="*/ 13389 h 13637"/>
                <a:gd name="T100" fmla="*/ 5020 w 14387"/>
                <a:gd name="T101" fmla="*/ 13460 h 13637"/>
                <a:gd name="T102" fmla="*/ 4437 w 14387"/>
                <a:gd name="T103" fmla="*/ 13515 h 13637"/>
                <a:gd name="T104" fmla="*/ 3751 w 14387"/>
                <a:gd name="T105" fmla="*/ 13365 h 13637"/>
                <a:gd name="T106" fmla="*/ 3432 w 14387"/>
                <a:gd name="T107" fmla="*/ 12710 h 13637"/>
                <a:gd name="T108" fmla="*/ 2988 w 14387"/>
                <a:gd name="T109" fmla="*/ 11804 h 13637"/>
                <a:gd name="T110" fmla="*/ 2684 w 14387"/>
                <a:gd name="T111" fmla="*/ 11216 h 13637"/>
                <a:gd name="T112" fmla="*/ 1929 w 14387"/>
                <a:gd name="T113" fmla="*/ 10569 h 13637"/>
                <a:gd name="T114" fmla="*/ 890 w 14387"/>
                <a:gd name="T115" fmla="*/ 10343 h 13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7" h="13637">
                  <a:moveTo>
                    <a:pt x="659" y="10386"/>
                  </a:moveTo>
                  <a:lnTo>
                    <a:pt x="561" y="10435"/>
                  </a:lnTo>
                  <a:lnTo>
                    <a:pt x="294" y="10452"/>
                  </a:lnTo>
                  <a:lnTo>
                    <a:pt x="159" y="10419"/>
                  </a:lnTo>
                  <a:lnTo>
                    <a:pt x="50" y="10435"/>
                  </a:lnTo>
                  <a:lnTo>
                    <a:pt x="0" y="10367"/>
                  </a:lnTo>
                  <a:lnTo>
                    <a:pt x="27" y="10280"/>
                  </a:lnTo>
                  <a:lnTo>
                    <a:pt x="43" y="10181"/>
                  </a:lnTo>
                  <a:lnTo>
                    <a:pt x="43" y="9929"/>
                  </a:lnTo>
                  <a:lnTo>
                    <a:pt x="29" y="9877"/>
                  </a:lnTo>
                  <a:lnTo>
                    <a:pt x="60" y="9839"/>
                  </a:lnTo>
                  <a:lnTo>
                    <a:pt x="40" y="9780"/>
                  </a:lnTo>
                  <a:lnTo>
                    <a:pt x="65" y="9730"/>
                  </a:lnTo>
                  <a:lnTo>
                    <a:pt x="47" y="9679"/>
                  </a:lnTo>
                  <a:lnTo>
                    <a:pt x="32" y="9584"/>
                  </a:lnTo>
                  <a:lnTo>
                    <a:pt x="35" y="9475"/>
                  </a:lnTo>
                  <a:lnTo>
                    <a:pt x="58" y="9374"/>
                  </a:lnTo>
                  <a:lnTo>
                    <a:pt x="62" y="9292"/>
                  </a:lnTo>
                  <a:lnTo>
                    <a:pt x="46" y="9222"/>
                  </a:lnTo>
                  <a:lnTo>
                    <a:pt x="57" y="9146"/>
                  </a:lnTo>
                  <a:lnTo>
                    <a:pt x="46" y="9104"/>
                  </a:lnTo>
                  <a:lnTo>
                    <a:pt x="35" y="9044"/>
                  </a:lnTo>
                  <a:lnTo>
                    <a:pt x="39" y="8985"/>
                  </a:lnTo>
                  <a:lnTo>
                    <a:pt x="50" y="8938"/>
                  </a:lnTo>
                  <a:lnTo>
                    <a:pt x="40" y="8837"/>
                  </a:lnTo>
                  <a:lnTo>
                    <a:pt x="57" y="8745"/>
                  </a:lnTo>
                  <a:lnTo>
                    <a:pt x="85" y="8641"/>
                  </a:lnTo>
                  <a:lnTo>
                    <a:pt x="85" y="8599"/>
                  </a:lnTo>
                  <a:lnTo>
                    <a:pt x="101" y="8492"/>
                  </a:lnTo>
                  <a:lnTo>
                    <a:pt x="104" y="8421"/>
                  </a:lnTo>
                  <a:lnTo>
                    <a:pt x="116" y="8354"/>
                  </a:lnTo>
                  <a:lnTo>
                    <a:pt x="138" y="8302"/>
                  </a:lnTo>
                  <a:lnTo>
                    <a:pt x="148" y="8190"/>
                  </a:lnTo>
                  <a:lnTo>
                    <a:pt x="132" y="8109"/>
                  </a:lnTo>
                  <a:lnTo>
                    <a:pt x="145" y="7943"/>
                  </a:lnTo>
                  <a:lnTo>
                    <a:pt x="140" y="7804"/>
                  </a:lnTo>
                  <a:lnTo>
                    <a:pt x="119" y="7704"/>
                  </a:lnTo>
                  <a:lnTo>
                    <a:pt x="140" y="7603"/>
                  </a:lnTo>
                  <a:lnTo>
                    <a:pt x="141" y="7413"/>
                  </a:lnTo>
                  <a:lnTo>
                    <a:pt x="181" y="7360"/>
                  </a:lnTo>
                  <a:lnTo>
                    <a:pt x="218" y="7214"/>
                  </a:lnTo>
                  <a:lnTo>
                    <a:pt x="173" y="7168"/>
                  </a:lnTo>
                  <a:lnTo>
                    <a:pt x="174" y="7018"/>
                  </a:lnTo>
                  <a:lnTo>
                    <a:pt x="217" y="6870"/>
                  </a:lnTo>
                  <a:lnTo>
                    <a:pt x="267" y="6797"/>
                  </a:lnTo>
                  <a:lnTo>
                    <a:pt x="333" y="6773"/>
                  </a:lnTo>
                  <a:lnTo>
                    <a:pt x="433" y="6772"/>
                  </a:lnTo>
                  <a:lnTo>
                    <a:pt x="688" y="6473"/>
                  </a:lnTo>
                  <a:lnTo>
                    <a:pt x="735" y="6372"/>
                  </a:lnTo>
                  <a:lnTo>
                    <a:pt x="730" y="6175"/>
                  </a:lnTo>
                  <a:lnTo>
                    <a:pt x="777" y="6078"/>
                  </a:lnTo>
                  <a:lnTo>
                    <a:pt x="804" y="5968"/>
                  </a:lnTo>
                  <a:lnTo>
                    <a:pt x="865" y="5927"/>
                  </a:lnTo>
                  <a:lnTo>
                    <a:pt x="912" y="5818"/>
                  </a:lnTo>
                  <a:lnTo>
                    <a:pt x="997" y="5681"/>
                  </a:lnTo>
                  <a:lnTo>
                    <a:pt x="1085" y="5576"/>
                  </a:lnTo>
                  <a:lnTo>
                    <a:pt x="1154" y="5538"/>
                  </a:lnTo>
                  <a:lnTo>
                    <a:pt x="1207" y="5488"/>
                  </a:lnTo>
                  <a:lnTo>
                    <a:pt x="1253" y="5436"/>
                  </a:lnTo>
                  <a:lnTo>
                    <a:pt x="1253" y="5338"/>
                  </a:lnTo>
                  <a:lnTo>
                    <a:pt x="1292" y="5240"/>
                  </a:lnTo>
                  <a:lnTo>
                    <a:pt x="1328" y="5211"/>
                  </a:lnTo>
                  <a:lnTo>
                    <a:pt x="1306" y="5168"/>
                  </a:lnTo>
                  <a:lnTo>
                    <a:pt x="1344" y="5116"/>
                  </a:lnTo>
                  <a:lnTo>
                    <a:pt x="1260" y="5070"/>
                  </a:lnTo>
                  <a:lnTo>
                    <a:pt x="1259" y="4871"/>
                  </a:lnTo>
                  <a:lnTo>
                    <a:pt x="1348" y="4819"/>
                  </a:lnTo>
                  <a:lnTo>
                    <a:pt x="1408" y="4743"/>
                  </a:lnTo>
                  <a:lnTo>
                    <a:pt x="1432" y="4625"/>
                  </a:lnTo>
                  <a:lnTo>
                    <a:pt x="1420" y="4292"/>
                  </a:lnTo>
                  <a:lnTo>
                    <a:pt x="1431" y="4175"/>
                  </a:lnTo>
                  <a:lnTo>
                    <a:pt x="1430" y="4062"/>
                  </a:lnTo>
                  <a:lnTo>
                    <a:pt x="1441" y="3970"/>
                  </a:lnTo>
                  <a:lnTo>
                    <a:pt x="1356" y="3842"/>
                  </a:lnTo>
                  <a:lnTo>
                    <a:pt x="1308" y="3738"/>
                  </a:lnTo>
                  <a:lnTo>
                    <a:pt x="1138" y="3543"/>
                  </a:lnTo>
                  <a:lnTo>
                    <a:pt x="1138" y="3442"/>
                  </a:lnTo>
                  <a:lnTo>
                    <a:pt x="1183" y="3342"/>
                  </a:lnTo>
                  <a:lnTo>
                    <a:pt x="1138" y="3296"/>
                  </a:lnTo>
                  <a:lnTo>
                    <a:pt x="1135" y="3197"/>
                  </a:lnTo>
                  <a:lnTo>
                    <a:pt x="1182" y="3146"/>
                  </a:lnTo>
                  <a:lnTo>
                    <a:pt x="1224" y="3045"/>
                  </a:lnTo>
                  <a:lnTo>
                    <a:pt x="1228" y="2996"/>
                  </a:lnTo>
                  <a:lnTo>
                    <a:pt x="1262" y="2953"/>
                  </a:lnTo>
                  <a:lnTo>
                    <a:pt x="1237" y="2850"/>
                  </a:lnTo>
                  <a:lnTo>
                    <a:pt x="1270" y="2797"/>
                  </a:lnTo>
                  <a:lnTo>
                    <a:pt x="1231" y="2752"/>
                  </a:lnTo>
                  <a:lnTo>
                    <a:pt x="1240" y="2615"/>
                  </a:lnTo>
                  <a:lnTo>
                    <a:pt x="1207" y="2515"/>
                  </a:lnTo>
                  <a:lnTo>
                    <a:pt x="1232" y="2412"/>
                  </a:lnTo>
                  <a:lnTo>
                    <a:pt x="1245" y="2311"/>
                  </a:lnTo>
                  <a:lnTo>
                    <a:pt x="1276" y="2201"/>
                  </a:lnTo>
                  <a:lnTo>
                    <a:pt x="1315" y="2107"/>
                  </a:lnTo>
                  <a:lnTo>
                    <a:pt x="1330" y="2008"/>
                  </a:lnTo>
                  <a:lnTo>
                    <a:pt x="1351" y="1925"/>
                  </a:lnTo>
                  <a:lnTo>
                    <a:pt x="1447" y="1810"/>
                  </a:lnTo>
                  <a:lnTo>
                    <a:pt x="1450" y="1755"/>
                  </a:lnTo>
                  <a:lnTo>
                    <a:pt x="1486" y="1710"/>
                  </a:lnTo>
                  <a:lnTo>
                    <a:pt x="1523" y="1616"/>
                  </a:lnTo>
                  <a:lnTo>
                    <a:pt x="1788" y="1464"/>
                  </a:lnTo>
                  <a:lnTo>
                    <a:pt x="1830" y="1359"/>
                  </a:lnTo>
                  <a:lnTo>
                    <a:pt x="1916" y="1268"/>
                  </a:lnTo>
                  <a:lnTo>
                    <a:pt x="1960" y="1165"/>
                  </a:lnTo>
                  <a:lnTo>
                    <a:pt x="2000" y="1116"/>
                  </a:lnTo>
                  <a:lnTo>
                    <a:pt x="1959" y="1064"/>
                  </a:lnTo>
                  <a:lnTo>
                    <a:pt x="1960" y="868"/>
                  </a:lnTo>
                  <a:lnTo>
                    <a:pt x="1998" y="819"/>
                  </a:lnTo>
                  <a:lnTo>
                    <a:pt x="1934" y="760"/>
                  </a:lnTo>
                  <a:lnTo>
                    <a:pt x="1975" y="708"/>
                  </a:lnTo>
                  <a:lnTo>
                    <a:pt x="1938" y="664"/>
                  </a:lnTo>
                  <a:lnTo>
                    <a:pt x="1975" y="612"/>
                  </a:lnTo>
                  <a:lnTo>
                    <a:pt x="1975" y="561"/>
                  </a:lnTo>
                  <a:lnTo>
                    <a:pt x="2025" y="507"/>
                  </a:lnTo>
                  <a:lnTo>
                    <a:pt x="2189" y="365"/>
                  </a:lnTo>
                  <a:lnTo>
                    <a:pt x="2318" y="316"/>
                  </a:lnTo>
                  <a:lnTo>
                    <a:pt x="2665" y="117"/>
                  </a:lnTo>
                  <a:lnTo>
                    <a:pt x="3101" y="118"/>
                  </a:lnTo>
                  <a:lnTo>
                    <a:pt x="3177" y="63"/>
                  </a:lnTo>
                  <a:lnTo>
                    <a:pt x="3297" y="55"/>
                  </a:lnTo>
                  <a:lnTo>
                    <a:pt x="3406" y="16"/>
                  </a:lnTo>
                  <a:lnTo>
                    <a:pt x="3528" y="15"/>
                  </a:lnTo>
                  <a:lnTo>
                    <a:pt x="3641" y="0"/>
                  </a:lnTo>
                  <a:lnTo>
                    <a:pt x="3748" y="19"/>
                  </a:lnTo>
                  <a:lnTo>
                    <a:pt x="3832" y="118"/>
                  </a:lnTo>
                  <a:lnTo>
                    <a:pt x="3925" y="170"/>
                  </a:lnTo>
                  <a:lnTo>
                    <a:pt x="4430" y="360"/>
                  </a:lnTo>
                  <a:lnTo>
                    <a:pt x="4708" y="474"/>
                  </a:lnTo>
                  <a:lnTo>
                    <a:pt x="4809" y="583"/>
                  </a:lnTo>
                  <a:lnTo>
                    <a:pt x="4813" y="730"/>
                  </a:lnTo>
                  <a:lnTo>
                    <a:pt x="4782" y="835"/>
                  </a:lnTo>
                  <a:lnTo>
                    <a:pt x="4906" y="907"/>
                  </a:lnTo>
                  <a:lnTo>
                    <a:pt x="5041" y="944"/>
                  </a:lnTo>
                  <a:lnTo>
                    <a:pt x="5116" y="1009"/>
                  </a:lnTo>
                  <a:lnTo>
                    <a:pt x="5292" y="1394"/>
                  </a:lnTo>
                  <a:lnTo>
                    <a:pt x="5350" y="1329"/>
                  </a:lnTo>
                  <a:lnTo>
                    <a:pt x="5440" y="1279"/>
                  </a:lnTo>
                  <a:lnTo>
                    <a:pt x="5529" y="1181"/>
                  </a:lnTo>
                  <a:lnTo>
                    <a:pt x="5662" y="1129"/>
                  </a:lnTo>
                  <a:lnTo>
                    <a:pt x="5791" y="1127"/>
                  </a:lnTo>
                  <a:lnTo>
                    <a:pt x="5881" y="1050"/>
                  </a:lnTo>
                  <a:lnTo>
                    <a:pt x="6001" y="933"/>
                  </a:lnTo>
                  <a:lnTo>
                    <a:pt x="6132" y="933"/>
                  </a:lnTo>
                  <a:lnTo>
                    <a:pt x="6394" y="833"/>
                  </a:lnTo>
                  <a:lnTo>
                    <a:pt x="6526" y="833"/>
                  </a:lnTo>
                  <a:lnTo>
                    <a:pt x="6698" y="885"/>
                  </a:lnTo>
                  <a:lnTo>
                    <a:pt x="6740" y="983"/>
                  </a:lnTo>
                  <a:lnTo>
                    <a:pt x="6805" y="1048"/>
                  </a:lnTo>
                  <a:lnTo>
                    <a:pt x="6866" y="1078"/>
                  </a:lnTo>
                  <a:lnTo>
                    <a:pt x="6974" y="1081"/>
                  </a:lnTo>
                  <a:lnTo>
                    <a:pt x="7142" y="1216"/>
                  </a:lnTo>
                  <a:lnTo>
                    <a:pt x="7431" y="1428"/>
                  </a:lnTo>
                  <a:lnTo>
                    <a:pt x="7560" y="1477"/>
                  </a:lnTo>
                  <a:lnTo>
                    <a:pt x="7646" y="1525"/>
                  </a:lnTo>
                  <a:lnTo>
                    <a:pt x="7701" y="1563"/>
                  </a:lnTo>
                  <a:lnTo>
                    <a:pt x="7880" y="1519"/>
                  </a:lnTo>
                  <a:lnTo>
                    <a:pt x="8012" y="1467"/>
                  </a:lnTo>
                  <a:lnTo>
                    <a:pt x="8147" y="1516"/>
                  </a:lnTo>
                  <a:lnTo>
                    <a:pt x="8322" y="1570"/>
                  </a:lnTo>
                  <a:lnTo>
                    <a:pt x="8577" y="1567"/>
                  </a:lnTo>
                  <a:lnTo>
                    <a:pt x="8631" y="1371"/>
                  </a:lnTo>
                  <a:lnTo>
                    <a:pt x="8779" y="1265"/>
                  </a:lnTo>
                  <a:lnTo>
                    <a:pt x="8818" y="1119"/>
                  </a:lnTo>
                  <a:lnTo>
                    <a:pt x="8908" y="1016"/>
                  </a:lnTo>
                  <a:lnTo>
                    <a:pt x="9083" y="915"/>
                  </a:lnTo>
                  <a:lnTo>
                    <a:pt x="9226" y="879"/>
                  </a:lnTo>
                  <a:lnTo>
                    <a:pt x="9346" y="838"/>
                  </a:lnTo>
                  <a:lnTo>
                    <a:pt x="9477" y="853"/>
                  </a:lnTo>
                  <a:lnTo>
                    <a:pt x="9583" y="794"/>
                  </a:lnTo>
                  <a:lnTo>
                    <a:pt x="9677" y="845"/>
                  </a:lnTo>
                  <a:lnTo>
                    <a:pt x="9901" y="791"/>
                  </a:lnTo>
                  <a:lnTo>
                    <a:pt x="10199" y="769"/>
                  </a:lnTo>
                  <a:lnTo>
                    <a:pt x="10370" y="740"/>
                  </a:lnTo>
                  <a:lnTo>
                    <a:pt x="10532" y="778"/>
                  </a:lnTo>
                  <a:lnTo>
                    <a:pt x="10693" y="827"/>
                  </a:lnTo>
                  <a:lnTo>
                    <a:pt x="10879" y="894"/>
                  </a:lnTo>
                  <a:lnTo>
                    <a:pt x="11030" y="996"/>
                  </a:lnTo>
                  <a:lnTo>
                    <a:pt x="11197" y="1065"/>
                  </a:lnTo>
                  <a:lnTo>
                    <a:pt x="11327" y="1165"/>
                  </a:lnTo>
                  <a:lnTo>
                    <a:pt x="11500" y="1117"/>
                  </a:lnTo>
                  <a:lnTo>
                    <a:pt x="11619" y="1092"/>
                  </a:lnTo>
                  <a:lnTo>
                    <a:pt x="11702" y="1108"/>
                  </a:lnTo>
                  <a:lnTo>
                    <a:pt x="11840" y="1014"/>
                  </a:lnTo>
                  <a:lnTo>
                    <a:pt x="11928" y="914"/>
                  </a:lnTo>
                  <a:lnTo>
                    <a:pt x="12061" y="863"/>
                  </a:lnTo>
                  <a:lnTo>
                    <a:pt x="12143" y="762"/>
                  </a:lnTo>
                  <a:lnTo>
                    <a:pt x="12224" y="613"/>
                  </a:lnTo>
                  <a:lnTo>
                    <a:pt x="12378" y="528"/>
                  </a:lnTo>
                  <a:lnTo>
                    <a:pt x="12621" y="473"/>
                  </a:lnTo>
                  <a:lnTo>
                    <a:pt x="12680" y="357"/>
                  </a:lnTo>
                  <a:lnTo>
                    <a:pt x="12755" y="252"/>
                  </a:lnTo>
                  <a:lnTo>
                    <a:pt x="12902" y="225"/>
                  </a:lnTo>
                  <a:lnTo>
                    <a:pt x="13121" y="223"/>
                  </a:lnTo>
                  <a:lnTo>
                    <a:pt x="13227" y="412"/>
                  </a:lnTo>
                  <a:lnTo>
                    <a:pt x="13351" y="568"/>
                  </a:lnTo>
                  <a:lnTo>
                    <a:pt x="13371" y="673"/>
                  </a:lnTo>
                  <a:lnTo>
                    <a:pt x="13485" y="718"/>
                  </a:lnTo>
                  <a:lnTo>
                    <a:pt x="13525" y="865"/>
                  </a:lnTo>
                  <a:lnTo>
                    <a:pt x="13602" y="980"/>
                  </a:lnTo>
                  <a:lnTo>
                    <a:pt x="13646" y="1077"/>
                  </a:lnTo>
                  <a:lnTo>
                    <a:pt x="13736" y="1482"/>
                  </a:lnTo>
                  <a:lnTo>
                    <a:pt x="13781" y="1631"/>
                  </a:lnTo>
                  <a:lnTo>
                    <a:pt x="13817" y="1888"/>
                  </a:lnTo>
                  <a:lnTo>
                    <a:pt x="13812" y="2019"/>
                  </a:lnTo>
                  <a:lnTo>
                    <a:pt x="13871" y="2102"/>
                  </a:lnTo>
                  <a:lnTo>
                    <a:pt x="14089" y="2106"/>
                  </a:lnTo>
                  <a:lnTo>
                    <a:pt x="14209" y="2171"/>
                  </a:lnTo>
                  <a:lnTo>
                    <a:pt x="14326" y="2291"/>
                  </a:lnTo>
                  <a:lnTo>
                    <a:pt x="14359" y="2360"/>
                  </a:lnTo>
                  <a:lnTo>
                    <a:pt x="14387" y="2500"/>
                  </a:lnTo>
                  <a:lnTo>
                    <a:pt x="14343" y="2628"/>
                  </a:lnTo>
                  <a:lnTo>
                    <a:pt x="14343" y="2752"/>
                  </a:lnTo>
                  <a:lnTo>
                    <a:pt x="14290" y="2893"/>
                  </a:lnTo>
                  <a:lnTo>
                    <a:pt x="14313" y="2984"/>
                  </a:lnTo>
                  <a:lnTo>
                    <a:pt x="14370" y="3096"/>
                  </a:lnTo>
                  <a:lnTo>
                    <a:pt x="14343" y="3247"/>
                  </a:lnTo>
                  <a:lnTo>
                    <a:pt x="14189" y="3388"/>
                  </a:lnTo>
                  <a:lnTo>
                    <a:pt x="14087" y="3450"/>
                  </a:lnTo>
                  <a:lnTo>
                    <a:pt x="14012" y="3519"/>
                  </a:lnTo>
                  <a:lnTo>
                    <a:pt x="13856" y="3633"/>
                  </a:lnTo>
                  <a:lnTo>
                    <a:pt x="13735" y="3631"/>
                  </a:lnTo>
                  <a:lnTo>
                    <a:pt x="13623" y="3579"/>
                  </a:lnTo>
                  <a:lnTo>
                    <a:pt x="13510" y="3757"/>
                  </a:lnTo>
                  <a:lnTo>
                    <a:pt x="13452" y="3885"/>
                  </a:lnTo>
                  <a:lnTo>
                    <a:pt x="13437" y="3985"/>
                  </a:lnTo>
                  <a:lnTo>
                    <a:pt x="13287" y="4113"/>
                  </a:lnTo>
                  <a:lnTo>
                    <a:pt x="13362" y="4161"/>
                  </a:lnTo>
                  <a:lnTo>
                    <a:pt x="13317" y="4321"/>
                  </a:lnTo>
                  <a:lnTo>
                    <a:pt x="13308" y="4425"/>
                  </a:lnTo>
                  <a:lnTo>
                    <a:pt x="13146" y="4608"/>
                  </a:lnTo>
                  <a:lnTo>
                    <a:pt x="13104" y="4756"/>
                  </a:lnTo>
                  <a:lnTo>
                    <a:pt x="13139" y="4887"/>
                  </a:lnTo>
                  <a:lnTo>
                    <a:pt x="13146" y="5052"/>
                  </a:lnTo>
                  <a:lnTo>
                    <a:pt x="13076" y="5127"/>
                  </a:lnTo>
                  <a:lnTo>
                    <a:pt x="12999" y="5311"/>
                  </a:lnTo>
                  <a:lnTo>
                    <a:pt x="12885" y="5403"/>
                  </a:lnTo>
                  <a:lnTo>
                    <a:pt x="12810" y="5484"/>
                  </a:lnTo>
                  <a:lnTo>
                    <a:pt x="12797" y="5607"/>
                  </a:lnTo>
                  <a:lnTo>
                    <a:pt x="12755" y="5747"/>
                  </a:lnTo>
                  <a:lnTo>
                    <a:pt x="12807" y="5857"/>
                  </a:lnTo>
                  <a:lnTo>
                    <a:pt x="12807" y="5997"/>
                  </a:lnTo>
                  <a:lnTo>
                    <a:pt x="12819" y="6076"/>
                  </a:lnTo>
                  <a:lnTo>
                    <a:pt x="12756" y="6181"/>
                  </a:lnTo>
                  <a:lnTo>
                    <a:pt x="12627" y="6193"/>
                  </a:lnTo>
                  <a:lnTo>
                    <a:pt x="12507" y="6219"/>
                  </a:lnTo>
                  <a:lnTo>
                    <a:pt x="12420" y="6297"/>
                  </a:lnTo>
                  <a:lnTo>
                    <a:pt x="12363" y="6444"/>
                  </a:lnTo>
                  <a:lnTo>
                    <a:pt x="12365" y="6585"/>
                  </a:lnTo>
                  <a:lnTo>
                    <a:pt x="12323" y="6789"/>
                  </a:lnTo>
                  <a:lnTo>
                    <a:pt x="12323" y="6931"/>
                  </a:lnTo>
                  <a:lnTo>
                    <a:pt x="12299" y="7071"/>
                  </a:lnTo>
                  <a:lnTo>
                    <a:pt x="12153" y="7335"/>
                  </a:lnTo>
                  <a:lnTo>
                    <a:pt x="12098" y="7371"/>
                  </a:lnTo>
                  <a:lnTo>
                    <a:pt x="12018" y="7378"/>
                  </a:lnTo>
                  <a:lnTo>
                    <a:pt x="11879" y="7480"/>
                  </a:lnTo>
                  <a:lnTo>
                    <a:pt x="11750" y="7585"/>
                  </a:lnTo>
                  <a:lnTo>
                    <a:pt x="11630" y="7627"/>
                  </a:lnTo>
                  <a:lnTo>
                    <a:pt x="11541" y="7777"/>
                  </a:lnTo>
                  <a:lnTo>
                    <a:pt x="11529" y="7917"/>
                  </a:lnTo>
                  <a:lnTo>
                    <a:pt x="11472" y="8095"/>
                  </a:lnTo>
                  <a:lnTo>
                    <a:pt x="11429" y="8245"/>
                  </a:lnTo>
                  <a:lnTo>
                    <a:pt x="11414" y="8362"/>
                  </a:lnTo>
                  <a:lnTo>
                    <a:pt x="11411" y="8467"/>
                  </a:lnTo>
                  <a:lnTo>
                    <a:pt x="11357" y="8575"/>
                  </a:lnTo>
                  <a:lnTo>
                    <a:pt x="11363" y="8709"/>
                  </a:lnTo>
                  <a:lnTo>
                    <a:pt x="11357" y="8824"/>
                  </a:lnTo>
                  <a:lnTo>
                    <a:pt x="11249" y="8865"/>
                  </a:lnTo>
                  <a:lnTo>
                    <a:pt x="11155" y="8947"/>
                  </a:lnTo>
                  <a:lnTo>
                    <a:pt x="10984" y="8990"/>
                  </a:lnTo>
                  <a:lnTo>
                    <a:pt x="10984" y="9132"/>
                  </a:lnTo>
                  <a:lnTo>
                    <a:pt x="10974" y="9253"/>
                  </a:lnTo>
                  <a:lnTo>
                    <a:pt x="10944" y="9391"/>
                  </a:lnTo>
                  <a:lnTo>
                    <a:pt x="10989" y="9532"/>
                  </a:lnTo>
                  <a:lnTo>
                    <a:pt x="10986" y="9595"/>
                  </a:lnTo>
                  <a:lnTo>
                    <a:pt x="10896" y="9788"/>
                  </a:lnTo>
                  <a:lnTo>
                    <a:pt x="10725" y="9983"/>
                  </a:lnTo>
                  <a:lnTo>
                    <a:pt x="10680" y="10078"/>
                  </a:lnTo>
                  <a:lnTo>
                    <a:pt x="10681" y="10128"/>
                  </a:lnTo>
                  <a:lnTo>
                    <a:pt x="10593" y="10226"/>
                  </a:lnTo>
                  <a:lnTo>
                    <a:pt x="10555" y="10324"/>
                  </a:lnTo>
                  <a:lnTo>
                    <a:pt x="10450" y="10430"/>
                  </a:lnTo>
                  <a:lnTo>
                    <a:pt x="10340" y="10475"/>
                  </a:lnTo>
                  <a:lnTo>
                    <a:pt x="10259" y="10452"/>
                  </a:lnTo>
                  <a:lnTo>
                    <a:pt x="10201" y="10419"/>
                  </a:lnTo>
                  <a:lnTo>
                    <a:pt x="10119" y="10176"/>
                  </a:lnTo>
                  <a:lnTo>
                    <a:pt x="9987" y="10016"/>
                  </a:lnTo>
                  <a:lnTo>
                    <a:pt x="9819" y="9787"/>
                  </a:lnTo>
                  <a:lnTo>
                    <a:pt x="9601" y="9618"/>
                  </a:lnTo>
                  <a:lnTo>
                    <a:pt x="9502" y="9627"/>
                  </a:lnTo>
                  <a:lnTo>
                    <a:pt x="9357" y="9744"/>
                  </a:lnTo>
                  <a:lnTo>
                    <a:pt x="9305" y="9833"/>
                  </a:lnTo>
                  <a:lnTo>
                    <a:pt x="9211" y="9883"/>
                  </a:lnTo>
                  <a:lnTo>
                    <a:pt x="9043" y="9869"/>
                  </a:lnTo>
                  <a:lnTo>
                    <a:pt x="8982" y="9834"/>
                  </a:lnTo>
                  <a:lnTo>
                    <a:pt x="8897" y="9834"/>
                  </a:lnTo>
                  <a:lnTo>
                    <a:pt x="8796" y="9891"/>
                  </a:lnTo>
                  <a:lnTo>
                    <a:pt x="8740" y="9967"/>
                  </a:lnTo>
                  <a:lnTo>
                    <a:pt x="8653" y="10030"/>
                  </a:lnTo>
                  <a:lnTo>
                    <a:pt x="8569" y="10131"/>
                  </a:lnTo>
                  <a:lnTo>
                    <a:pt x="8429" y="10141"/>
                  </a:lnTo>
                  <a:lnTo>
                    <a:pt x="8325" y="10337"/>
                  </a:lnTo>
                  <a:lnTo>
                    <a:pt x="8187" y="10571"/>
                  </a:lnTo>
                  <a:lnTo>
                    <a:pt x="8117" y="10571"/>
                  </a:lnTo>
                  <a:lnTo>
                    <a:pt x="8004" y="10610"/>
                  </a:lnTo>
                  <a:lnTo>
                    <a:pt x="7929" y="10721"/>
                  </a:lnTo>
                  <a:lnTo>
                    <a:pt x="7908" y="10901"/>
                  </a:lnTo>
                  <a:lnTo>
                    <a:pt x="7720" y="11112"/>
                  </a:lnTo>
                  <a:lnTo>
                    <a:pt x="7624" y="11205"/>
                  </a:lnTo>
                  <a:lnTo>
                    <a:pt x="7519" y="11196"/>
                  </a:lnTo>
                  <a:lnTo>
                    <a:pt x="7439" y="11221"/>
                  </a:lnTo>
                  <a:lnTo>
                    <a:pt x="7434" y="11289"/>
                  </a:lnTo>
                  <a:lnTo>
                    <a:pt x="7389" y="11490"/>
                  </a:lnTo>
                  <a:lnTo>
                    <a:pt x="7334" y="11562"/>
                  </a:lnTo>
                  <a:lnTo>
                    <a:pt x="7304" y="11641"/>
                  </a:lnTo>
                  <a:lnTo>
                    <a:pt x="7473" y="11842"/>
                  </a:lnTo>
                  <a:lnTo>
                    <a:pt x="7414" y="11917"/>
                  </a:lnTo>
                  <a:lnTo>
                    <a:pt x="7345" y="11988"/>
                  </a:lnTo>
                  <a:lnTo>
                    <a:pt x="7334" y="12075"/>
                  </a:lnTo>
                  <a:lnTo>
                    <a:pt x="7387" y="12211"/>
                  </a:lnTo>
                  <a:lnTo>
                    <a:pt x="7384" y="12321"/>
                  </a:lnTo>
                  <a:lnTo>
                    <a:pt x="7318" y="12473"/>
                  </a:lnTo>
                  <a:lnTo>
                    <a:pt x="7261" y="12581"/>
                  </a:lnTo>
                  <a:lnTo>
                    <a:pt x="7130" y="12682"/>
                  </a:lnTo>
                  <a:lnTo>
                    <a:pt x="7136" y="12785"/>
                  </a:lnTo>
                  <a:lnTo>
                    <a:pt x="7087" y="12878"/>
                  </a:lnTo>
                  <a:lnTo>
                    <a:pt x="7043" y="12989"/>
                  </a:lnTo>
                  <a:lnTo>
                    <a:pt x="7086" y="13093"/>
                  </a:lnTo>
                  <a:lnTo>
                    <a:pt x="7130" y="13218"/>
                  </a:lnTo>
                  <a:lnTo>
                    <a:pt x="7131" y="13321"/>
                  </a:lnTo>
                  <a:lnTo>
                    <a:pt x="7039" y="13363"/>
                  </a:lnTo>
                  <a:lnTo>
                    <a:pt x="6911" y="13143"/>
                  </a:lnTo>
                  <a:lnTo>
                    <a:pt x="6880" y="13039"/>
                  </a:lnTo>
                  <a:lnTo>
                    <a:pt x="6842" y="12954"/>
                  </a:lnTo>
                  <a:lnTo>
                    <a:pt x="6797" y="12878"/>
                  </a:lnTo>
                  <a:lnTo>
                    <a:pt x="6740" y="12830"/>
                  </a:lnTo>
                  <a:lnTo>
                    <a:pt x="6712" y="12773"/>
                  </a:lnTo>
                  <a:lnTo>
                    <a:pt x="6654" y="12729"/>
                  </a:lnTo>
                  <a:lnTo>
                    <a:pt x="6599" y="12625"/>
                  </a:lnTo>
                  <a:lnTo>
                    <a:pt x="6483" y="12579"/>
                  </a:lnTo>
                  <a:lnTo>
                    <a:pt x="6507" y="12664"/>
                  </a:lnTo>
                  <a:lnTo>
                    <a:pt x="6577" y="12829"/>
                  </a:lnTo>
                  <a:lnTo>
                    <a:pt x="6646" y="13026"/>
                  </a:lnTo>
                  <a:lnTo>
                    <a:pt x="6615" y="13148"/>
                  </a:lnTo>
                  <a:lnTo>
                    <a:pt x="6463" y="13222"/>
                  </a:lnTo>
                  <a:lnTo>
                    <a:pt x="6243" y="13222"/>
                  </a:lnTo>
                  <a:lnTo>
                    <a:pt x="6154" y="13273"/>
                  </a:lnTo>
                  <a:lnTo>
                    <a:pt x="6072" y="13370"/>
                  </a:lnTo>
                  <a:lnTo>
                    <a:pt x="5852" y="13371"/>
                  </a:lnTo>
                  <a:lnTo>
                    <a:pt x="5716" y="13281"/>
                  </a:lnTo>
                  <a:lnTo>
                    <a:pt x="5629" y="13330"/>
                  </a:lnTo>
                  <a:lnTo>
                    <a:pt x="5535" y="13389"/>
                  </a:lnTo>
                  <a:lnTo>
                    <a:pt x="5480" y="13521"/>
                  </a:lnTo>
                  <a:lnTo>
                    <a:pt x="5422" y="13605"/>
                  </a:lnTo>
                  <a:lnTo>
                    <a:pt x="5317" y="13575"/>
                  </a:lnTo>
                  <a:lnTo>
                    <a:pt x="5253" y="13510"/>
                  </a:lnTo>
                  <a:lnTo>
                    <a:pt x="5163" y="13457"/>
                  </a:lnTo>
                  <a:lnTo>
                    <a:pt x="5079" y="13433"/>
                  </a:lnTo>
                  <a:lnTo>
                    <a:pt x="5020" y="13460"/>
                  </a:lnTo>
                  <a:lnTo>
                    <a:pt x="4918" y="13499"/>
                  </a:lnTo>
                  <a:lnTo>
                    <a:pt x="4834" y="13515"/>
                  </a:lnTo>
                  <a:lnTo>
                    <a:pt x="4771" y="13507"/>
                  </a:lnTo>
                  <a:lnTo>
                    <a:pt x="4647" y="13556"/>
                  </a:lnTo>
                  <a:lnTo>
                    <a:pt x="4609" y="13543"/>
                  </a:lnTo>
                  <a:lnTo>
                    <a:pt x="4536" y="13447"/>
                  </a:lnTo>
                  <a:lnTo>
                    <a:pt x="4437" y="13515"/>
                  </a:lnTo>
                  <a:lnTo>
                    <a:pt x="4281" y="13578"/>
                  </a:lnTo>
                  <a:lnTo>
                    <a:pt x="4211" y="13637"/>
                  </a:lnTo>
                  <a:lnTo>
                    <a:pt x="4107" y="13630"/>
                  </a:lnTo>
                  <a:lnTo>
                    <a:pt x="4004" y="13562"/>
                  </a:lnTo>
                  <a:lnTo>
                    <a:pt x="3880" y="13564"/>
                  </a:lnTo>
                  <a:lnTo>
                    <a:pt x="3806" y="13496"/>
                  </a:lnTo>
                  <a:lnTo>
                    <a:pt x="3751" y="13365"/>
                  </a:lnTo>
                  <a:lnTo>
                    <a:pt x="3665" y="13414"/>
                  </a:lnTo>
                  <a:lnTo>
                    <a:pt x="3577" y="13368"/>
                  </a:lnTo>
                  <a:lnTo>
                    <a:pt x="3548" y="13308"/>
                  </a:lnTo>
                  <a:lnTo>
                    <a:pt x="3542" y="13192"/>
                  </a:lnTo>
                  <a:lnTo>
                    <a:pt x="3505" y="13067"/>
                  </a:lnTo>
                  <a:lnTo>
                    <a:pt x="3506" y="12968"/>
                  </a:lnTo>
                  <a:lnTo>
                    <a:pt x="3432" y="12710"/>
                  </a:lnTo>
                  <a:lnTo>
                    <a:pt x="3300" y="12451"/>
                  </a:lnTo>
                  <a:lnTo>
                    <a:pt x="3250" y="12402"/>
                  </a:lnTo>
                  <a:lnTo>
                    <a:pt x="3155" y="12249"/>
                  </a:lnTo>
                  <a:lnTo>
                    <a:pt x="3115" y="12141"/>
                  </a:lnTo>
                  <a:lnTo>
                    <a:pt x="3051" y="12035"/>
                  </a:lnTo>
                  <a:lnTo>
                    <a:pt x="3045" y="11939"/>
                  </a:lnTo>
                  <a:lnTo>
                    <a:pt x="2988" y="11804"/>
                  </a:lnTo>
                  <a:lnTo>
                    <a:pt x="2922" y="11692"/>
                  </a:lnTo>
                  <a:lnTo>
                    <a:pt x="2883" y="11545"/>
                  </a:lnTo>
                  <a:lnTo>
                    <a:pt x="2824" y="11482"/>
                  </a:lnTo>
                  <a:lnTo>
                    <a:pt x="2778" y="11392"/>
                  </a:lnTo>
                  <a:lnTo>
                    <a:pt x="2780" y="11302"/>
                  </a:lnTo>
                  <a:lnTo>
                    <a:pt x="2735" y="11290"/>
                  </a:lnTo>
                  <a:lnTo>
                    <a:pt x="2684" y="11216"/>
                  </a:lnTo>
                  <a:lnTo>
                    <a:pt x="2630" y="11136"/>
                  </a:lnTo>
                  <a:lnTo>
                    <a:pt x="2594" y="11063"/>
                  </a:lnTo>
                  <a:lnTo>
                    <a:pt x="2403" y="10864"/>
                  </a:lnTo>
                  <a:lnTo>
                    <a:pt x="2337" y="10769"/>
                  </a:lnTo>
                  <a:lnTo>
                    <a:pt x="2226" y="10656"/>
                  </a:lnTo>
                  <a:lnTo>
                    <a:pt x="2088" y="10588"/>
                  </a:lnTo>
                  <a:lnTo>
                    <a:pt x="1929" y="10569"/>
                  </a:lnTo>
                  <a:lnTo>
                    <a:pt x="1808" y="10516"/>
                  </a:lnTo>
                  <a:lnTo>
                    <a:pt x="1767" y="10467"/>
                  </a:lnTo>
                  <a:lnTo>
                    <a:pt x="1579" y="10444"/>
                  </a:lnTo>
                  <a:lnTo>
                    <a:pt x="1322" y="10444"/>
                  </a:lnTo>
                  <a:lnTo>
                    <a:pt x="1246" y="10388"/>
                  </a:lnTo>
                  <a:lnTo>
                    <a:pt x="1152" y="10394"/>
                  </a:lnTo>
                  <a:lnTo>
                    <a:pt x="890" y="10343"/>
                  </a:lnTo>
                  <a:lnTo>
                    <a:pt x="769" y="10395"/>
                  </a:lnTo>
                  <a:lnTo>
                    <a:pt x="659" y="10386"/>
                  </a:lnTo>
                  <a:close/>
                </a:path>
              </a:pathLst>
            </a:custGeom>
            <a:solidFill>
              <a:srgbClr val="B2D4EF"/>
            </a:solidFill>
            <a:ln w="19050" cmpd="sng">
              <a:noFill/>
              <a:prstDash val="solid"/>
              <a:round/>
              <a:headEnd/>
              <a:tailEnd/>
            </a:ln>
            <a:effectLst/>
          </p:spPr>
          <p:txBody>
            <a:bodyPr/>
            <a:lstStyle/>
            <a:p>
              <a:endParaRPr lang="zh-CN" altLang="en-US" kern="0">
                <a:solidFill>
                  <a:sysClr val="windowText" lastClr="000000"/>
                </a:solidFill>
              </a:endParaRPr>
            </a:p>
          </p:txBody>
        </p:sp>
        <p:grpSp>
          <p:nvGrpSpPr>
            <p:cNvPr id="441" name="Group 440"/>
            <p:cNvGrpSpPr/>
            <p:nvPr/>
          </p:nvGrpSpPr>
          <p:grpSpPr>
            <a:xfrm>
              <a:off x="3595082" y="5149682"/>
              <a:ext cx="1220199" cy="995340"/>
              <a:chOff x="473869" y="1392238"/>
              <a:chExt cx="8196263" cy="4073524"/>
            </a:xfrm>
            <a:solidFill>
              <a:srgbClr val="B2D4EF"/>
            </a:solidFill>
          </p:grpSpPr>
          <p:sp>
            <p:nvSpPr>
              <p:cNvPr id="445" name="Freeform 191"/>
              <p:cNvSpPr>
                <a:spLocks/>
              </p:cNvSpPr>
              <p:nvPr/>
            </p:nvSpPr>
            <p:spPr bwMode="auto">
              <a:xfrm>
                <a:off x="5295107" y="4305300"/>
                <a:ext cx="169863" cy="319087"/>
              </a:xfrm>
              <a:custGeom>
                <a:avLst/>
                <a:gdLst/>
                <a:ahLst/>
                <a:cxnLst>
                  <a:cxn ang="0">
                    <a:pos x="11" y="129"/>
                  </a:cxn>
                  <a:cxn ang="0">
                    <a:pos x="11" y="125"/>
                  </a:cxn>
                  <a:cxn ang="0">
                    <a:pos x="16" y="117"/>
                  </a:cxn>
                  <a:cxn ang="0">
                    <a:pos x="18" y="108"/>
                  </a:cxn>
                  <a:cxn ang="0">
                    <a:pos x="21" y="107"/>
                  </a:cxn>
                  <a:cxn ang="0">
                    <a:pos x="19" y="100"/>
                  </a:cxn>
                  <a:cxn ang="0">
                    <a:pos x="18" y="93"/>
                  </a:cxn>
                  <a:cxn ang="0">
                    <a:pos x="14" y="86"/>
                  </a:cxn>
                  <a:cxn ang="0">
                    <a:pos x="14" y="81"/>
                  </a:cxn>
                  <a:cxn ang="0">
                    <a:pos x="14" y="70"/>
                  </a:cxn>
                  <a:cxn ang="0">
                    <a:pos x="16" y="65"/>
                  </a:cxn>
                  <a:cxn ang="0">
                    <a:pos x="19" y="60"/>
                  </a:cxn>
                  <a:cxn ang="0">
                    <a:pos x="25" y="57"/>
                  </a:cxn>
                  <a:cxn ang="0">
                    <a:pos x="33" y="51"/>
                  </a:cxn>
                  <a:cxn ang="0">
                    <a:pos x="47" y="48"/>
                  </a:cxn>
                  <a:cxn ang="0">
                    <a:pos x="55" y="39"/>
                  </a:cxn>
                  <a:cxn ang="0">
                    <a:pos x="66" y="31"/>
                  </a:cxn>
                  <a:cxn ang="0">
                    <a:pos x="74" y="21"/>
                  </a:cxn>
                  <a:cxn ang="0">
                    <a:pos x="83" y="14"/>
                  </a:cxn>
                  <a:cxn ang="0">
                    <a:pos x="83" y="7"/>
                  </a:cxn>
                  <a:cxn ang="0">
                    <a:pos x="85" y="0"/>
                  </a:cxn>
                  <a:cxn ang="0">
                    <a:pos x="93" y="5"/>
                  </a:cxn>
                  <a:cxn ang="0">
                    <a:pos x="100" y="19"/>
                  </a:cxn>
                  <a:cxn ang="0">
                    <a:pos x="102" y="34"/>
                  </a:cxn>
                  <a:cxn ang="0">
                    <a:pos x="107" y="48"/>
                  </a:cxn>
                  <a:cxn ang="0">
                    <a:pos x="107" y="55"/>
                  </a:cxn>
                  <a:cxn ang="0">
                    <a:pos x="100" y="53"/>
                  </a:cxn>
                  <a:cxn ang="0">
                    <a:pos x="98" y="53"/>
                  </a:cxn>
                  <a:cxn ang="0">
                    <a:pos x="97" y="65"/>
                  </a:cxn>
                  <a:cxn ang="0">
                    <a:pos x="95" y="77"/>
                  </a:cxn>
                  <a:cxn ang="0">
                    <a:pos x="92" y="89"/>
                  </a:cxn>
                  <a:cxn ang="0">
                    <a:pos x="90" y="101"/>
                  </a:cxn>
                  <a:cxn ang="0">
                    <a:pos x="85" y="112"/>
                  </a:cxn>
                  <a:cxn ang="0">
                    <a:pos x="81" y="122"/>
                  </a:cxn>
                  <a:cxn ang="0">
                    <a:pos x="78" y="132"/>
                  </a:cxn>
                  <a:cxn ang="0">
                    <a:pos x="74" y="144"/>
                  </a:cxn>
                  <a:cxn ang="0">
                    <a:pos x="69" y="151"/>
                  </a:cxn>
                  <a:cxn ang="0">
                    <a:pos x="66" y="162"/>
                  </a:cxn>
                  <a:cxn ang="0">
                    <a:pos x="62" y="170"/>
                  </a:cxn>
                  <a:cxn ang="0">
                    <a:pos x="59" y="180"/>
                  </a:cxn>
                  <a:cxn ang="0">
                    <a:pos x="52" y="187"/>
                  </a:cxn>
                  <a:cxn ang="0">
                    <a:pos x="47" y="194"/>
                  </a:cxn>
                  <a:cxn ang="0">
                    <a:pos x="38" y="198"/>
                  </a:cxn>
                  <a:cxn ang="0">
                    <a:pos x="30" y="201"/>
                  </a:cxn>
                  <a:cxn ang="0">
                    <a:pos x="19" y="198"/>
                  </a:cxn>
                  <a:cxn ang="0">
                    <a:pos x="12" y="191"/>
                  </a:cxn>
                  <a:cxn ang="0">
                    <a:pos x="6" y="180"/>
                  </a:cxn>
                  <a:cxn ang="0">
                    <a:pos x="6" y="172"/>
                  </a:cxn>
                  <a:cxn ang="0">
                    <a:pos x="6" y="165"/>
                  </a:cxn>
                  <a:cxn ang="0">
                    <a:pos x="7" y="160"/>
                  </a:cxn>
                  <a:cxn ang="0">
                    <a:pos x="0" y="150"/>
                  </a:cxn>
                  <a:cxn ang="0">
                    <a:pos x="0" y="139"/>
                  </a:cxn>
                  <a:cxn ang="0">
                    <a:pos x="6" y="132"/>
                  </a:cxn>
                  <a:cxn ang="0">
                    <a:pos x="11" y="129"/>
                  </a:cxn>
                </a:cxnLst>
                <a:rect l="0" t="0" r="r" b="b"/>
                <a:pathLst>
                  <a:path w="107" h="201">
                    <a:moveTo>
                      <a:pt x="11" y="129"/>
                    </a:moveTo>
                    <a:lnTo>
                      <a:pt x="11" y="125"/>
                    </a:lnTo>
                    <a:lnTo>
                      <a:pt x="16" y="117"/>
                    </a:lnTo>
                    <a:lnTo>
                      <a:pt x="18" y="108"/>
                    </a:lnTo>
                    <a:lnTo>
                      <a:pt x="21" y="107"/>
                    </a:lnTo>
                    <a:lnTo>
                      <a:pt x="19" y="100"/>
                    </a:lnTo>
                    <a:lnTo>
                      <a:pt x="18" y="93"/>
                    </a:lnTo>
                    <a:lnTo>
                      <a:pt x="14" y="86"/>
                    </a:lnTo>
                    <a:lnTo>
                      <a:pt x="14" y="81"/>
                    </a:lnTo>
                    <a:lnTo>
                      <a:pt x="14" y="70"/>
                    </a:lnTo>
                    <a:lnTo>
                      <a:pt x="16" y="65"/>
                    </a:lnTo>
                    <a:lnTo>
                      <a:pt x="19" y="60"/>
                    </a:lnTo>
                    <a:lnTo>
                      <a:pt x="25" y="57"/>
                    </a:lnTo>
                    <a:lnTo>
                      <a:pt x="33" y="51"/>
                    </a:lnTo>
                    <a:lnTo>
                      <a:pt x="47" y="48"/>
                    </a:lnTo>
                    <a:lnTo>
                      <a:pt x="55" y="39"/>
                    </a:lnTo>
                    <a:lnTo>
                      <a:pt x="66" y="31"/>
                    </a:lnTo>
                    <a:lnTo>
                      <a:pt x="74" y="21"/>
                    </a:lnTo>
                    <a:lnTo>
                      <a:pt x="83" y="14"/>
                    </a:lnTo>
                    <a:lnTo>
                      <a:pt x="83" y="7"/>
                    </a:lnTo>
                    <a:lnTo>
                      <a:pt x="85" y="0"/>
                    </a:lnTo>
                    <a:lnTo>
                      <a:pt x="93" y="5"/>
                    </a:lnTo>
                    <a:lnTo>
                      <a:pt x="100" y="19"/>
                    </a:lnTo>
                    <a:lnTo>
                      <a:pt x="102" y="34"/>
                    </a:lnTo>
                    <a:lnTo>
                      <a:pt x="107" y="48"/>
                    </a:lnTo>
                    <a:lnTo>
                      <a:pt x="107" y="55"/>
                    </a:lnTo>
                    <a:lnTo>
                      <a:pt x="100" y="53"/>
                    </a:lnTo>
                    <a:lnTo>
                      <a:pt x="98" y="53"/>
                    </a:lnTo>
                    <a:lnTo>
                      <a:pt x="97" y="65"/>
                    </a:lnTo>
                    <a:lnTo>
                      <a:pt x="95" y="77"/>
                    </a:lnTo>
                    <a:lnTo>
                      <a:pt x="92" y="89"/>
                    </a:lnTo>
                    <a:lnTo>
                      <a:pt x="90" y="101"/>
                    </a:lnTo>
                    <a:lnTo>
                      <a:pt x="85" y="112"/>
                    </a:lnTo>
                    <a:lnTo>
                      <a:pt x="81" y="122"/>
                    </a:lnTo>
                    <a:lnTo>
                      <a:pt x="78" y="132"/>
                    </a:lnTo>
                    <a:lnTo>
                      <a:pt x="74" y="144"/>
                    </a:lnTo>
                    <a:lnTo>
                      <a:pt x="69" y="151"/>
                    </a:lnTo>
                    <a:lnTo>
                      <a:pt x="66" y="162"/>
                    </a:lnTo>
                    <a:lnTo>
                      <a:pt x="62" y="170"/>
                    </a:lnTo>
                    <a:lnTo>
                      <a:pt x="59" y="180"/>
                    </a:lnTo>
                    <a:lnTo>
                      <a:pt x="52" y="187"/>
                    </a:lnTo>
                    <a:lnTo>
                      <a:pt x="47" y="194"/>
                    </a:lnTo>
                    <a:lnTo>
                      <a:pt x="38" y="198"/>
                    </a:lnTo>
                    <a:lnTo>
                      <a:pt x="30" y="201"/>
                    </a:lnTo>
                    <a:lnTo>
                      <a:pt x="19" y="198"/>
                    </a:lnTo>
                    <a:lnTo>
                      <a:pt x="12" y="191"/>
                    </a:lnTo>
                    <a:lnTo>
                      <a:pt x="6" y="180"/>
                    </a:lnTo>
                    <a:lnTo>
                      <a:pt x="6" y="172"/>
                    </a:lnTo>
                    <a:lnTo>
                      <a:pt x="6" y="165"/>
                    </a:lnTo>
                    <a:lnTo>
                      <a:pt x="7" y="160"/>
                    </a:lnTo>
                    <a:lnTo>
                      <a:pt x="0" y="150"/>
                    </a:lnTo>
                    <a:lnTo>
                      <a:pt x="0" y="139"/>
                    </a:lnTo>
                    <a:lnTo>
                      <a:pt x="6" y="132"/>
                    </a:lnTo>
                    <a:lnTo>
                      <a:pt x="11" y="1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6" name="Freeform 192"/>
              <p:cNvSpPr>
                <a:spLocks/>
              </p:cNvSpPr>
              <p:nvPr/>
            </p:nvSpPr>
            <p:spPr bwMode="auto">
              <a:xfrm>
                <a:off x="3920332" y="3114675"/>
                <a:ext cx="1563688" cy="1747837"/>
              </a:xfrm>
              <a:custGeom>
                <a:avLst/>
                <a:gdLst/>
                <a:ahLst/>
                <a:cxnLst>
                  <a:cxn ang="0">
                    <a:pos x="607" y="93"/>
                  </a:cxn>
                  <a:cxn ang="0">
                    <a:pos x="681" y="102"/>
                  </a:cxn>
                  <a:cxn ang="0">
                    <a:pos x="741" y="102"/>
                  </a:cxn>
                  <a:cxn ang="0">
                    <a:pos x="741" y="157"/>
                  </a:cxn>
                  <a:cxn ang="0">
                    <a:pos x="762" y="217"/>
                  </a:cxn>
                  <a:cxn ang="0">
                    <a:pos x="784" y="289"/>
                  </a:cxn>
                  <a:cxn ang="0">
                    <a:pos x="811" y="332"/>
                  </a:cxn>
                  <a:cxn ang="0">
                    <a:pos x="856" y="380"/>
                  </a:cxn>
                  <a:cxn ang="0">
                    <a:pos x="884" y="418"/>
                  </a:cxn>
                  <a:cxn ang="0">
                    <a:pos x="939" y="408"/>
                  </a:cxn>
                  <a:cxn ang="0">
                    <a:pos x="983" y="415"/>
                  </a:cxn>
                  <a:cxn ang="0">
                    <a:pos x="954" y="480"/>
                  </a:cxn>
                  <a:cxn ang="0">
                    <a:pos x="896" y="549"/>
                  </a:cxn>
                  <a:cxn ang="0">
                    <a:pos x="830" y="604"/>
                  </a:cxn>
                  <a:cxn ang="0">
                    <a:pos x="810" y="660"/>
                  </a:cxn>
                  <a:cxn ang="0">
                    <a:pos x="829" y="716"/>
                  </a:cxn>
                  <a:cxn ang="0">
                    <a:pos x="827" y="759"/>
                  </a:cxn>
                  <a:cxn ang="0">
                    <a:pos x="820" y="808"/>
                  </a:cxn>
                  <a:cxn ang="0">
                    <a:pos x="760" y="857"/>
                  </a:cxn>
                  <a:cxn ang="0">
                    <a:pos x="758" y="905"/>
                  </a:cxn>
                  <a:cxn ang="0">
                    <a:pos x="739" y="937"/>
                  </a:cxn>
                  <a:cxn ang="0">
                    <a:pos x="712" y="991"/>
                  </a:cxn>
                  <a:cxn ang="0">
                    <a:pos x="663" y="1058"/>
                  </a:cxn>
                  <a:cxn ang="0">
                    <a:pos x="603" y="1090"/>
                  </a:cxn>
                  <a:cxn ang="0">
                    <a:pos x="536" y="1101"/>
                  </a:cxn>
                  <a:cxn ang="0">
                    <a:pos x="505" y="1066"/>
                  </a:cxn>
                  <a:cxn ang="0">
                    <a:pos x="495" y="1025"/>
                  </a:cxn>
                  <a:cxn ang="0">
                    <a:pos x="457" y="949"/>
                  </a:cxn>
                  <a:cxn ang="0">
                    <a:pos x="443" y="889"/>
                  </a:cxn>
                  <a:cxn ang="0">
                    <a:pos x="414" y="814"/>
                  </a:cxn>
                  <a:cxn ang="0">
                    <a:pos x="447" y="743"/>
                  </a:cxn>
                  <a:cxn ang="0">
                    <a:pos x="433" y="688"/>
                  </a:cxn>
                  <a:cxn ang="0">
                    <a:pos x="392" y="614"/>
                  </a:cxn>
                  <a:cxn ang="0">
                    <a:pos x="388" y="562"/>
                  </a:cxn>
                  <a:cxn ang="0">
                    <a:pos x="393" y="530"/>
                  </a:cxn>
                  <a:cxn ang="0">
                    <a:pos x="340" y="507"/>
                  </a:cxn>
                  <a:cxn ang="0">
                    <a:pos x="282" y="478"/>
                  </a:cxn>
                  <a:cxn ang="0">
                    <a:pos x="218" y="506"/>
                  </a:cxn>
                  <a:cxn ang="0">
                    <a:pos x="141" y="507"/>
                  </a:cxn>
                  <a:cxn ang="0">
                    <a:pos x="70" y="459"/>
                  </a:cxn>
                  <a:cxn ang="0">
                    <a:pos x="29" y="408"/>
                  </a:cxn>
                  <a:cxn ang="0">
                    <a:pos x="8" y="378"/>
                  </a:cxn>
                  <a:cxn ang="0">
                    <a:pos x="17" y="320"/>
                  </a:cxn>
                  <a:cxn ang="0">
                    <a:pos x="17" y="239"/>
                  </a:cxn>
                  <a:cxn ang="0">
                    <a:pos x="72" y="155"/>
                  </a:cxn>
                  <a:cxn ang="0">
                    <a:pos x="113" y="96"/>
                  </a:cxn>
                  <a:cxn ang="0">
                    <a:pos x="161" y="40"/>
                  </a:cxn>
                  <a:cxn ang="0">
                    <a:pos x="215" y="40"/>
                  </a:cxn>
                  <a:cxn ang="0">
                    <a:pos x="273" y="14"/>
                  </a:cxn>
                  <a:cxn ang="0">
                    <a:pos x="332" y="12"/>
                  </a:cxn>
                  <a:cxn ang="0">
                    <a:pos x="388" y="0"/>
                  </a:cxn>
                  <a:cxn ang="0">
                    <a:pos x="404" y="19"/>
                  </a:cxn>
                  <a:cxn ang="0">
                    <a:pos x="411" y="66"/>
                  </a:cxn>
                  <a:cxn ang="0">
                    <a:pos x="462" y="79"/>
                  </a:cxn>
                  <a:cxn ang="0">
                    <a:pos x="522" y="114"/>
                  </a:cxn>
                  <a:cxn ang="0">
                    <a:pos x="540" y="79"/>
                  </a:cxn>
                </a:cxnLst>
                <a:rect l="0" t="0" r="r" b="b"/>
                <a:pathLst>
                  <a:path w="985" h="1101">
                    <a:moveTo>
                      <a:pt x="562" y="76"/>
                    </a:moveTo>
                    <a:lnTo>
                      <a:pt x="574" y="76"/>
                    </a:lnTo>
                    <a:lnTo>
                      <a:pt x="576" y="83"/>
                    </a:lnTo>
                    <a:lnTo>
                      <a:pt x="581" y="88"/>
                    </a:lnTo>
                    <a:lnTo>
                      <a:pt x="591" y="90"/>
                    </a:lnTo>
                    <a:lnTo>
                      <a:pt x="607" y="93"/>
                    </a:lnTo>
                    <a:lnTo>
                      <a:pt x="619" y="96"/>
                    </a:lnTo>
                    <a:lnTo>
                      <a:pt x="633" y="102"/>
                    </a:lnTo>
                    <a:lnTo>
                      <a:pt x="648" y="103"/>
                    </a:lnTo>
                    <a:lnTo>
                      <a:pt x="663" y="107"/>
                    </a:lnTo>
                    <a:lnTo>
                      <a:pt x="672" y="103"/>
                    </a:lnTo>
                    <a:lnTo>
                      <a:pt x="681" y="102"/>
                    </a:lnTo>
                    <a:lnTo>
                      <a:pt x="688" y="98"/>
                    </a:lnTo>
                    <a:lnTo>
                      <a:pt x="700" y="98"/>
                    </a:lnTo>
                    <a:lnTo>
                      <a:pt x="712" y="102"/>
                    </a:lnTo>
                    <a:lnTo>
                      <a:pt x="727" y="105"/>
                    </a:lnTo>
                    <a:lnTo>
                      <a:pt x="734" y="103"/>
                    </a:lnTo>
                    <a:lnTo>
                      <a:pt x="741" y="102"/>
                    </a:lnTo>
                    <a:lnTo>
                      <a:pt x="746" y="114"/>
                    </a:lnTo>
                    <a:lnTo>
                      <a:pt x="751" y="126"/>
                    </a:lnTo>
                    <a:lnTo>
                      <a:pt x="748" y="131"/>
                    </a:lnTo>
                    <a:lnTo>
                      <a:pt x="746" y="139"/>
                    </a:lnTo>
                    <a:lnTo>
                      <a:pt x="743" y="148"/>
                    </a:lnTo>
                    <a:lnTo>
                      <a:pt x="741" y="157"/>
                    </a:lnTo>
                    <a:lnTo>
                      <a:pt x="732" y="152"/>
                    </a:lnTo>
                    <a:lnTo>
                      <a:pt x="725" y="141"/>
                    </a:lnTo>
                    <a:lnTo>
                      <a:pt x="719" y="131"/>
                    </a:lnTo>
                    <a:lnTo>
                      <a:pt x="713" y="122"/>
                    </a:lnTo>
                    <a:lnTo>
                      <a:pt x="713" y="133"/>
                    </a:lnTo>
                    <a:lnTo>
                      <a:pt x="762" y="217"/>
                    </a:lnTo>
                    <a:lnTo>
                      <a:pt x="762" y="225"/>
                    </a:lnTo>
                    <a:lnTo>
                      <a:pt x="767" y="237"/>
                    </a:lnTo>
                    <a:lnTo>
                      <a:pt x="774" y="248"/>
                    </a:lnTo>
                    <a:lnTo>
                      <a:pt x="780" y="256"/>
                    </a:lnTo>
                    <a:lnTo>
                      <a:pt x="780" y="282"/>
                    </a:lnTo>
                    <a:lnTo>
                      <a:pt x="784" y="289"/>
                    </a:lnTo>
                    <a:lnTo>
                      <a:pt x="791" y="294"/>
                    </a:lnTo>
                    <a:lnTo>
                      <a:pt x="796" y="299"/>
                    </a:lnTo>
                    <a:lnTo>
                      <a:pt x="805" y="306"/>
                    </a:lnTo>
                    <a:lnTo>
                      <a:pt x="808" y="315"/>
                    </a:lnTo>
                    <a:lnTo>
                      <a:pt x="810" y="323"/>
                    </a:lnTo>
                    <a:lnTo>
                      <a:pt x="811" y="332"/>
                    </a:lnTo>
                    <a:lnTo>
                      <a:pt x="817" y="341"/>
                    </a:lnTo>
                    <a:lnTo>
                      <a:pt x="827" y="348"/>
                    </a:lnTo>
                    <a:lnTo>
                      <a:pt x="839" y="356"/>
                    </a:lnTo>
                    <a:lnTo>
                      <a:pt x="844" y="363"/>
                    </a:lnTo>
                    <a:lnTo>
                      <a:pt x="851" y="372"/>
                    </a:lnTo>
                    <a:lnTo>
                      <a:pt x="856" y="380"/>
                    </a:lnTo>
                    <a:lnTo>
                      <a:pt x="868" y="384"/>
                    </a:lnTo>
                    <a:lnTo>
                      <a:pt x="870" y="392"/>
                    </a:lnTo>
                    <a:lnTo>
                      <a:pt x="868" y="399"/>
                    </a:lnTo>
                    <a:lnTo>
                      <a:pt x="873" y="403"/>
                    </a:lnTo>
                    <a:lnTo>
                      <a:pt x="878" y="411"/>
                    </a:lnTo>
                    <a:lnTo>
                      <a:pt x="884" y="418"/>
                    </a:lnTo>
                    <a:lnTo>
                      <a:pt x="891" y="421"/>
                    </a:lnTo>
                    <a:lnTo>
                      <a:pt x="897" y="416"/>
                    </a:lnTo>
                    <a:lnTo>
                      <a:pt x="906" y="411"/>
                    </a:lnTo>
                    <a:lnTo>
                      <a:pt x="915" y="411"/>
                    </a:lnTo>
                    <a:lnTo>
                      <a:pt x="925" y="411"/>
                    </a:lnTo>
                    <a:lnTo>
                      <a:pt x="939" y="408"/>
                    </a:lnTo>
                    <a:lnTo>
                      <a:pt x="952" y="404"/>
                    </a:lnTo>
                    <a:lnTo>
                      <a:pt x="966" y="399"/>
                    </a:lnTo>
                    <a:lnTo>
                      <a:pt x="982" y="397"/>
                    </a:lnTo>
                    <a:lnTo>
                      <a:pt x="983" y="401"/>
                    </a:lnTo>
                    <a:lnTo>
                      <a:pt x="985" y="404"/>
                    </a:lnTo>
                    <a:lnTo>
                      <a:pt x="983" y="415"/>
                    </a:lnTo>
                    <a:lnTo>
                      <a:pt x="980" y="427"/>
                    </a:lnTo>
                    <a:lnTo>
                      <a:pt x="975" y="437"/>
                    </a:lnTo>
                    <a:lnTo>
                      <a:pt x="971" y="451"/>
                    </a:lnTo>
                    <a:lnTo>
                      <a:pt x="964" y="461"/>
                    </a:lnTo>
                    <a:lnTo>
                      <a:pt x="959" y="471"/>
                    </a:lnTo>
                    <a:lnTo>
                      <a:pt x="954" y="480"/>
                    </a:lnTo>
                    <a:lnTo>
                      <a:pt x="949" y="489"/>
                    </a:lnTo>
                    <a:lnTo>
                      <a:pt x="937" y="502"/>
                    </a:lnTo>
                    <a:lnTo>
                      <a:pt x="930" y="516"/>
                    </a:lnTo>
                    <a:lnTo>
                      <a:pt x="920" y="528"/>
                    </a:lnTo>
                    <a:lnTo>
                      <a:pt x="909" y="542"/>
                    </a:lnTo>
                    <a:lnTo>
                      <a:pt x="896" y="549"/>
                    </a:lnTo>
                    <a:lnTo>
                      <a:pt x="882" y="557"/>
                    </a:lnTo>
                    <a:lnTo>
                      <a:pt x="870" y="564"/>
                    </a:lnTo>
                    <a:lnTo>
                      <a:pt x="860" y="573"/>
                    </a:lnTo>
                    <a:lnTo>
                      <a:pt x="848" y="581"/>
                    </a:lnTo>
                    <a:lnTo>
                      <a:pt x="839" y="592"/>
                    </a:lnTo>
                    <a:lnTo>
                      <a:pt x="830" y="604"/>
                    </a:lnTo>
                    <a:lnTo>
                      <a:pt x="827" y="621"/>
                    </a:lnTo>
                    <a:lnTo>
                      <a:pt x="822" y="628"/>
                    </a:lnTo>
                    <a:lnTo>
                      <a:pt x="817" y="635"/>
                    </a:lnTo>
                    <a:lnTo>
                      <a:pt x="811" y="640"/>
                    </a:lnTo>
                    <a:lnTo>
                      <a:pt x="810" y="652"/>
                    </a:lnTo>
                    <a:lnTo>
                      <a:pt x="810" y="660"/>
                    </a:lnTo>
                    <a:lnTo>
                      <a:pt x="811" y="671"/>
                    </a:lnTo>
                    <a:lnTo>
                      <a:pt x="811" y="678"/>
                    </a:lnTo>
                    <a:lnTo>
                      <a:pt x="813" y="690"/>
                    </a:lnTo>
                    <a:lnTo>
                      <a:pt x="815" y="700"/>
                    </a:lnTo>
                    <a:lnTo>
                      <a:pt x="822" y="709"/>
                    </a:lnTo>
                    <a:lnTo>
                      <a:pt x="829" y="716"/>
                    </a:lnTo>
                    <a:lnTo>
                      <a:pt x="832" y="724"/>
                    </a:lnTo>
                    <a:lnTo>
                      <a:pt x="830" y="728"/>
                    </a:lnTo>
                    <a:lnTo>
                      <a:pt x="829" y="733"/>
                    </a:lnTo>
                    <a:lnTo>
                      <a:pt x="829" y="745"/>
                    </a:lnTo>
                    <a:lnTo>
                      <a:pt x="827" y="750"/>
                    </a:lnTo>
                    <a:lnTo>
                      <a:pt x="827" y="759"/>
                    </a:lnTo>
                    <a:lnTo>
                      <a:pt x="827" y="767"/>
                    </a:lnTo>
                    <a:lnTo>
                      <a:pt x="827" y="777"/>
                    </a:lnTo>
                    <a:lnTo>
                      <a:pt x="830" y="781"/>
                    </a:lnTo>
                    <a:lnTo>
                      <a:pt x="832" y="788"/>
                    </a:lnTo>
                    <a:lnTo>
                      <a:pt x="829" y="798"/>
                    </a:lnTo>
                    <a:lnTo>
                      <a:pt x="820" y="808"/>
                    </a:lnTo>
                    <a:lnTo>
                      <a:pt x="810" y="815"/>
                    </a:lnTo>
                    <a:lnTo>
                      <a:pt x="798" y="824"/>
                    </a:lnTo>
                    <a:lnTo>
                      <a:pt x="784" y="829"/>
                    </a:lnTo>
                    <a:lnTo>
                      <a:pt x="772" y="836"/>
                    </a:lnTo>
                    <a:lnTo>
                      <a:pt x="763" y="844"/>
                    </a:lnTo>
                    <a:lnTo>
                      <a:pt x="760" y="857"/>
                    </a:lnTo>
                    <a:lnTo>
                      <a:pt x="748" y="860"/>
                    </a:lnTo>
                    <a:lnTo>
                      <a:pt x="744" y="870"/>
                    </a:lnTo>
                    <a:lnTo>
                      <a:pt x="746" y="877"/>
                    </a:lnTo>
                    <a:lnTo>
                      <a:pt x="751" y="886"/>
                    </a:lnTo>
                    <a:lnTo>
                      <a:pt x="755" y="893"/>
                    </a:lnTo>
                    <a:lnTo>
                      <a:pt x="758" y="905"/>
                    </a:lnTo>
                    <a:lnTo>
                      <a:pt x="756" y="912"/>
                    </a:lnTo>
                    <a:lnTo>
                      <a:pt x="756" y="920"/>
                    </a:lnTo>
                    <a:lnTo>
                      <a:pt x="755" y="929"/>
                    </a:lnTo>
                    <a:lnTo>
                      <a:pt x="755" y="934"/>
                    </a:lnTo>
                    <a:lnTo>
                      <a:pt x="746" y="936"/>
                    </a:lnTo>
                    <a:lnTo>
                      <a:pt x="739" y="937"/>
                    </a:lnTo>
                    <a:lnTo>
                      <a:pt x="724" y="946"/>
                    </a:lnTo>
                    <a:lnTo>
                      <a:pt x="713" y="961"/>
                    </a:lnTo>
                    <a:lnTo>
                      <a:pt x="719" y="967"/>
                    </a:lnTo>
                    <a:lnTo>
                      <a:pt x="720" y="972"/>
                    </a:lnTo>
                    <a:lnTo>
                      <a:pt x="717" y="980"/>
                    </a:lnTo>
                    <a:lnTo>
                      <a:pt x="712" y="991"/>
                    </a:lnTo>
                    <a:lnTo>
                      <a:pt x="705" y="998"/>
                    </a:lnTo>
                    <a:lnTo>
                      <a:pt x="701" y="1004"/>
                    </a:lnTo>
                    <a:lnTo>
                      <a:pt x="689" y="1020"/>
                    </a:lnTo>
                    <a:lnTo>
                      <a:pt x="681" y="1037"/>
                    </a:lnTo>
                    <a:lnTo>
                      <a:pt x="670" y="1047"/>
                    </a:lnTo>
                    <a:lnTo>
                      <a:pt x="663" y="1058"/>
                    </a:lnTo>
                    <a:lnTo>
                      <a:pt x="653" y="1066"/>
                    </a:lnTo>
                    <a:lnTo>
                      <a:pt x="641" y="1077"/>
                    </a:lnTo>
                    <a:lnTo>
                      <a:pt x="627" y="1078"/>
                    </a:lnTo>
                    <a:lnTo>
                      <a:pt x="619" y="1087"/>
                    </a:lnTo>
                    <a:lnTo>
                      <a:pt x="610" y="1089"/>
                    </a:lnTo>
                    <a:lnTo>
                      <a:pt x="603" y="1090"/>
                    </a:lnTo>
                    <a:lnTo>
                      <a:pt x="596" y="1087"/>
                    </a:lnTo>
                    <a:lnTo>
                      <a:pt x="590" y="1085"/>
                    </a:lnTo>
                    <a:lnTo>
                      <a:pt x="572" y="1087"/>
                    </a:lnTo>
                    <a:lnTo>
                      <a:pt x="560" y="1092"/>
                    </a:lnTo>
                    <a:lnTo>
                      <a:pt x="548" y="1097"/>
                    </a:lnTo>
                    <a:lnTo>
                      <a:pt x="536" y="1101"/>
                    </a:lnTo>
                    <a:lnTo>
                      <a:pt x="524" y="1097"/>
                    </a:lnTo>
                    <a:lnTo>
                      <a:pt x="519" y="1090"/>
                    </a:lnTo>
                    <a:lnTo>
                      <a:pt x="516" y="1090"/>
                    </a:lnTo>
                    <a:lnTo>
                      <a:pt x="514" y="1092"/>
                    </a:lnTo>
                    <a:lnTo>
                      <a:pt x="510" y="1077"/>
                    </a:lnTo>
                    <a:lnTo>
                      <a:pt x="505" y="1066"/>
                    </a:lnTo>
                    <a:lnTo>
                      <a:pt x="509" y="1059"/>
                    </a:lnTo>
                    <a:lnTo>
                      <a:pt x="512" y="1053"/>
                    </a:lnTo>
                    <a:lnTo>
                      <a:pt x="509" y="1044"/>
                    </a:lnTo>
                    <a:lnTo>
                      <a:pt x="504" y="1037"/>
                    </a:lnTo>
                    <a:lnTo>
                      <a:pt x="498" y="1028"/>
                    </a:lnTo>
                    <a:lnTo>
                      <a:pt x="495" y="1025"/>
                    </a:lnTo>
                    <a:lnTo>
                      <a:pt x="486" y="1013"/>
                    </a:lnTo>
                    <a:lnTo>
                      <a:pt x="481" y="1001"/>
                    </a:lnTo>
                    <a:lnTo>
                      <a:pt x="473" y="989"/>
                    </a:lnTo>
                    <a:lnTo>
                      <a:pt x="467" y="977"/>
                    </a:lnTo>
                    <a:lnTo>
                      <a:pt x="461" y="963"/>
                    </a:lnTo>
                    <a:lnTo>
                      <a:pt x="457" y="949"/>
                    </a:lnTo>
                    <a:lnTo>
                      <a:pt x="454" y="934"/>
                    </a:lnTo>
                    <a:lnTo>
                      <a:pt x="454" y="920"/>
                    </a:lnTo>
                    <a:lnTo>
                      <a:pt x="454" y="910"/>
                    </a:lnTo>
                    <a:lnTo>
                      <a:pt x="454" y="906"/>
                    </a:lnTo>
                    <a:lnTo>
                      <a:pt x="448" y="898"/>
                    </a:lnTo>
                    <a:lnTo>
                      <a:pt x="443" y="889"/>
                    </a:lnTo>
                    <a:lnTo>
                      <a:pt x="431" y="870"/>
                    </a:lnTo>
                    <a:lnTo>
                      <a:pt x="423" y="853"/>
                    </a:lnTo>
                    <a:lnTo>
                      <a:pt x="418" y="843"/>
                    </a:lnTo>
                    <a:lnTo>
                      <a:pt x="416" y="834"/>
                    </a:lnTo>
                    <a:lnTo>
                      <a:pt x="414" y="824"/>
                    </a:lnTo>
                    <a:lnTo>
                      <a:pt x="414" y="814"/>
                    </a:lnTo>
                    <a:lnTo>
                      <a:pt x="414" y="800"/>
                    </a:lnTo>
                    <a:lnTo>
                      <a:pt x="418" y="789"/>
                    </a:lnTo>
                    <a:lnTo>
                      <a:pt x="423" y="781"/>
                    </a:lnTo>
                    <a:lnTo>
                      <a:pt x="430" y="774"/>
                    </a:lnTo>
                    <a:lnTo>
                      <a:pt x="440" y="759"/>
                    </a:lnTo>
                    <a:lnTo>
                      <a:pt x="447" y="743"/>
                    </a:lnTo>
                    <a:lnTo>
                      <a:pt x="445" y="733"/>
                    </a:lnTo>
                    <a:lnTo>
                      <a:pt x="443" y="726"/>
                    </a:lnTo>
                    <a:lnTo>
                      <a:pt x="440" y="719"/>
                    </a:lnTo>
                    <a:lnTo>
                      <a:pt x="440" y="714"/>
                    </a:lnTo>
                    <a:lnTo>
                      <a:pt x="436" y="698"/>
                    </a:lnTo>
                    <a:lnTo>
                      <a:pt x="433" y="688"/>
                    </a:lnTo>
                    <a:lnTo>
                      <a:pt x="430" y="679"/>
                    </a:lnTo>
                    <a:lnTo>
                      <a:pt x="426" y="671"/>
                    </a:lnTo>
                    <a:lnTo>
                      <a:pt x="423" y="655"/>
                    </a:lnTo>
                    <a:lnTo>
                      <a:pt x="418" y="642"/>
                    </a:lnTo>
                    <a:lnTo>
                      <a:pt x="404" y="628"/>
                    </a:lnTo>
                    <a:lnTo>
                      <a:pt x="392" y="614"/>
                    </a:lnTo>
                    <a:lnTo>
                      <a:pt x="380" y="599"/>
                    </a:lnTo>
                    <a:lnTo>
                      <a:pt x="376" y="583"/>
                    </a:lnTo>
                    <a:lnTo>
                      <a:pt x="376" y="576"/>
                    </a:lnTo>
                    <a:lnTo>
                      <a:pt x="380" y="571"/>
                    </a:lnTo>
                    <a:lnTo>
                      <a:pt x="383" y="564"/>
                    </a:lnTo>
                    <a:lnTo>
                      <a:pt x="388" y="562"/>
                    </a:lnTo>
                    <a:lnTo>
                      <a:pt x="387" y="557"/>
                    </a:lnTo>
                    <a:lnTo>
                      <a:pt x="388" y="556"/>
                    </a:lnTo>
                    <a:lnTo>
                      <a:pt x="388" y="547"/>
                    </a:lnTo>
                    <a:lnTo>
                      <a:pt x="388" y="540"/>
                    </a:lnTo>
                    <a:lnTo>
                      <a:pt x="388" y="533"/>
                    </a:lnTo>
                    <a:lnTo>
                      <a:pt x="393" y="530"/>
                    </a:lnTo>
                    <a:lnTo>
                      <a:pt x="387" y="519"/>
                    </a:lnTo>
                    <a:lnTo>
                      <a:pt x="380" y="513"/>
                    </a:lnTo>
                    <a:lnTo>
                      <a:pt x="371" y="507"/>
                    </a:lnTo>
                    <a:lnTo>
                      <a:pt x="361" y="507"/>
                    </a:lnTo>
                    <a:lnTo>
                      <a:pt x="347" y="507"/>
                    </a:lnTo>
                    <a:lnTo>
                      <a:pt x="340" y="507"/>
                    </a:lnTo>
                    <a:lnTo>
                      <a:pt x="328" y="502"/>
                    </a:lnTo>
                    <a:lnTo>
                      <a:pt x="321" y="492"/>
                    </a:lnTo>
                    <a:lnTo>
                      <a:pt x="313" y="482"/>
                    </a:lnTo>
                    <a:lnTo>
                      <a:pt x="301" y="478"/>
                    </a:lnTo>
                    <a:lnTo>
                      <a:pt x="290" y="478"/>
                    </a:lnTo>
                    <a:lnTo>
                      <a:pt x="282" y="478"/>
                    </a:lnTo>
                    <a:lnTo>
                      <a:pt x="273" y="480"/>
                    </a:lnTo>
                    <a:lnTo>
                      <a:pt x="266" y="485"/>
                    </a:lnTo>
                    <a:lnTo>
                      <a:pt x="251" y="490"/>
                    </a:lnTo>
                    <a:lnTo>
                      <a:pt x="237" y="497"/>
                    </a:lnTo>
                    <a:lnTo>
                      <a:pt x="227" y="501"/>
                    </a:lnTo>
                    <a:lnTo>
                      <a:pt x="218" y="506"/>
                    </a:lnTo>
                    <a:lnTo>
                      <a:pt x="204" y="502"/>
                    </a:lnTo>
                    <a:lnTo>
                      <a:pt x="189" y="499"/>
                    </a:lnTo>
                    <a:lnTo>
                      <a:pt x="173" y="499"/>
                    </a:lnTo>
                    <a:lnTo>
                      <a:pt x="163" y="502"/>
                    </a:lnTo>
                    <a:lnTo>
                      <a:pt x="151" y="504"/>
                    </a:lnTo>
                    <a:lnTo>
                      <a:pt x="141" y="507"/>
                    </a:lnTo>
                    <a:lnTo>
                      <a:pt x="130" y="506"/>
                    </a:lnTo>
                    <a:lnTo>
                      <a:pt x="125" y="504"/>
                    </a:lnTo>
                    <a:lnTo>
                      <a:pt x="111" y="494"/>
                    </a:lnTo>
                    <a:lnTo>
                      <a:pt x="96" y="483"/>
                    </a:lnTo>
                    <a:lnTo>
                      <a:pt x="80" y="471"/>
                    </a:lnTo>
                    <a:lnTo>
                      <a:pt x="70" y="459"/>
                    </a:lnTo>
                    <a:lnTo>
                      <a:pt x="63" y="449"/>
                    </a:lnTo>
                    <a:lnTo>
                      <a:pt x="58" y="439"/>
                    </a:lnTo>
                    <a:lnTo>
                      <a:pt x="51" y="430"/>
                    </a:lnTo>
                    <a:lnTo>
                      <a:pt x="46" y="423"/>
                    </a:lnTo>
                    <a:lnTo>
                      <a:pt x="39" y="416"/>
                    </a:lnTo>
                    <a:lnTo>
                      <a:pt x="29" y="408"/>
                    </a:lnTo>
                    <a:lnTo>
                      <a:pt x="19" y="399"/>
                    </a:lnTo>
                    <a:lnTo>
                      <a:pt x="15" y="394"/>
                    </a:lnTo>
                    <a:lnTo>
                      <a:pt x="12" y="391"/>
                    </a:lnTo>
                    <a:lnTo>
                      <a:pt x="8" y="387"/>
                    </a:lnTo>
                    <a:lnTo>
                      <a:pt x="10" y="387"/>
                    </a:lnTo>
                    <a:lnTo>
                      <a:pt x="8" y="378"/>
                    </a:lnTo>
                    <a:lnTo>
                      <a:pt x="6" y="372"/>
                    </a:lnTo>
                    <a:lnTo>
                      <a:pt x="3" y="363"/>
                    </a:lnTo>
                    <a:lnTo>
                      <a:pt x="0" y="354"/>
                    </a:lnTo>
                    <a:lnTo>
                      <a:pt x="6" y="346"/>
                    </a:lnTo>
                    <a:lnTo>
                      <a:pt x="13" y="334"/>
                    </a:lnTo>
                    <a:lnTo>
                      <a:pt x="17" y="320"/>
                    </a:lnTo>
                    <a:lnTo>
                      <a:pt x="20" y="310"/>
                    </a:lnTo>
                    <a:lnTo>
                      <a:pt x="17" y="293"/>
                    </a:lnTo>
                    <a:lnTo>
                      <a:pt x="15" y="280"/>
                    </a:lnTo>
                    <a:lnTo>
                      <a:pt x="12" y="267"/>
                    </a:lnTo>
                    <a:lnTo>
                      <a:pt x="12" y="253"/>
                    </a:lnTo>
                    <a:lnTo>
                      <a:pt x="17" y="239"/>
                    </a:lnTo>
                    <a:lnTo>
                      <a:pt x="25" y="229"/>
                    </a:lnTo>
                    <a:lnTo>
                      <a:pt x="31" y="212"/>
                    </a:lnTo>
                    <a:lnTo>
                      <a:pt x="39" y="195"/>
                    </a:lnTo>
                    <a:lnTo>
                      <a:pt x="49" y="177"/>
                    </a:lnTo>
                    <a:lnTo>
                      <a:pt x="60" y="165"/>
                    </a:lnTo>
                    <a:lnTo>
                      <a:pt x="72" y="155"/>
                    </a:lnTo>
                    <a:lnTo>
                      <a:pt x="89" y="152"/>
                    </a:lnTo>
                    <a:lnTo>
                      <a:pt x="101" y="139"/>
                    </a:lnTo>
                    <a:lnTo>
                      <a:pt x="111" y="127"/>
                    </a:lnTo>
                    <a:lnTo>
                      <a:pt x="111" y="114"/>
                    </a:lnTo>
                    <a:lnTo>
                      <a:pt x="113" y="105"/>
                    </a:lnTo>
                    <a:lnTo>
                      <a:pt x="113" y="96"/>
                    </a:lnTo>
                    <a:lnTo>
                      <a:pt x="120" y="88"/>
                    </a:lnTo>
                    <a:lnTo>
                      <a:pt x="130" y="76"/>
                    </a:lnTo>
                    <a:lnTo>
                      <a:pt x="141" y="64"/>
                    </a:lnTo>
                    <a:lnTo>
                      <a:pt x="151" y="52"/>
                    </a:lnTo>
                    <a:lnTo>
                      <a:pt x="163" y="40"/>
                    </a:lnTo>
                    <a:lnTo>
                      <a:pt x="161" y="40"/>
                    </a:lnTo>
                    <a:lnTo>
                      <a:pt x="166" y="33"/>
                    </a:lnTo>
                    <a:lnTo>
                      <a:pt x="172" y="26"/>
                    </a:lnTo>
                    <a:lnTo>
                      <a:pt x="180" y="31"/>
                    </a:lnTo>
                    <a:lnTo>
                      <a:pt x="191" y="36"/>
                    </a:lnTo>
                    <a:lnTo>
                      <a:pt x="201" y="38"/>
                    </a:lnTo>
                    <a:lnTo>
                      <a:pt x="215" y="40"/>
                    </a:lnTo>
                    <a:lnTo>
                      <a:pt x="227" y="35"/>
                    </a:lnTo>
                    <a:lnTo>
                      <a:pt x="234" y="29"/>
                    </a:lnTo>
                    <a:lnTo>
                      <a:pt x="240" y="24"/>
                    </a:lnTo>
                    <a:lnTo>
                      <a:pt x="251" y="21"/>
                    </a:lnTo>
                    <a:lnTo>
                      <a:pt x="261" y="17"/>
                    </a:lnTo>
                    <a:lnTo>
                      <a:pt x="273" y="14"/>
                    </a:lnTo>
                    <a:lnTo>
                      <a:pt x="283" y="11"/>
                    </a:lnTo>
                    <a:lnTo>
                      <a:pt x="294" y="9"/>
                    </a:lnTo>
                    <a:lnTo>
                      <a:pt x="304" y="7"/>
                    </a:lnTo>
                    <a:lnTo>
                      <a:pt x="314" y="7"/>
                    </a:lnTo>
                    <a:lnTo>
                      <a:pt x="323" y="9"/>
                    </a:lnTo>
                    <a:lnTo>
                      <a:pt x="332" y="12"/>
                    </a:lnTo>
                    <a:lnTo>
                      <a:pt x="340" y="7"/>
                    </a:lnTo>
                    <a:lnTo>
                      <a:pt x="354" y="4"/>
                    </a:lnTo>
                    <a:lnTo>
                      <a:pt x="361" y="5"/>
                    </a:lnTo>
                    <a:lnTo>
                      <a:pt x="368" y="7"/>
                    </a:lnTo>
                    <a:lnTo>
                      <a:pt x="378" y="4"/>
                    </a:lnTo>
                    <a:lnTo>
                      <a:pt x="388" y="0"/>
                    </a:lnTo>
                    <a:lnTo>
                      <a:pt x="395" y="4"/>
                    </a:lnTo>
                    <a:lnTo>
                      <a:pt x="404" y="9"/>
                    </a:lnTo>
                    <a:lnTo>
                      <a:pt x="407" y="7"/>
                    </a:lnTo>
                    <a:lnTo>
                      <a:pt x="412" y="5"/>
                    </a:lnTo>
                    <a:lnTo>
                      <a:pt x="407" y="12"/>
                    </a:lnTo>
                    <a:lnTo>
                      <a:pt x="404" y="19"/>
                    </a:lnTo>
                    <a:lnTo>
                      <a:pt x="407" y="24"/>
                    </a:lnTo>
                    <a:lnTo>
                      <a:pt x="411" y="29"/>
                    </a:lnTo>
                    <a:lnTo>
                      <a:pt x="407" y="40"/>
                    </a:lnTo>
                    <a:lnTo>
                      <a:pt x="404" y="50"/>
                    </a:lnTo>
                    <a:lnTo>
                      <a:pt x="406" y="57"/>
                    </a:lnTo>
                    <a:lnTo>
                      <a:pt x="411" y="66"/>
                    </a:lnTo>
                    <a:lnTo>
                      <a:pt x="418" y="71"/>
                    </a:lnTo>
                    <a:lnTo>
                      <a:pt x="426" y="74"/>
                    </a:lnTo>
                    <a:lnTo>
                      <a:pt x="433" y="74"/>
                    </a:lnTo>
                    <a:lnTo>
                      <a:pt x="442" y="74"/>
                    </a:lnTo>
                    <a:lnTo>
                      <a:pt x="452" y="74"/>
                    </a:lnTo>
                    <a:lnTo>
                      <a:pt x="462" y="79"/>
                    </a:lnTo>
                    <a:lnTo>
                      <a:pt x="471" y="84"/>
                    </a:lnTo>
                    <a:lnTo>
                      <a:pt x="479" y="93"/>
                    </a:lnTo>
                    <a:lnTo>
                      <a:pt x="488" y="100"/>
                    </a:lnTo>
                    <a:lnTo>
                      <a:pt x="498" y="107"/>
                    </a:lnTo>
                    <a:lnTo>
                      <a:pt x="509" y="110"/>
                    </a:lnTo>
                    <a:lnTo>
                      <a:pt x="522" y="114"/>
                    </a:lnTo>
                    <a:lnTo>
                      <a:pt x="529" y="110"/>
                    </a:lnTo>
                    <a:lnTo>
                      <a:pt x="533" y="107"/>
                    </a:lnTo>
                    <a:lnTo>
                      <a:pt x="533" y="102"/>
                    </a:lnTo>
                    <a:lnTo>
                      <a:pt x="533" y="96"/>
                    </a:lnTo>
                    <a:lnTo>
                      <a:pt x="533" y="84"/>
                    </a:lnTo>
                    <a:lnTo>
                      <a:pt x="540" y="79"/>
                    </a:lnTo>
                    <a:lnTo>
                      <a:pt x="548" y="76"/>
                    </a:lnTo>
                    <a:lnTo>
                      <a:pt x="562" y="74"/>
                    </a:lnTo>
                    <a:lnTo>
                      <a:pt x="562" y="7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7" name="Freeform 193"/>
              <p:cNvSpPr>
                <a:spLocks/>
              </p:cNvSpPr>
              <p:nvPr/>
            </p:nvSpPr>
            <p:spPr bwMode="auto">
              <a:xfrm>
                <a:off x="4907757" y="2989263"/>
                <a:ext cx="852488" cy="739775"/>
              </a:xfrm>
              <a:custGeom>
                <a:avLst/>
                <a:gdLst/>
                <a:ahLst/>
                <a:cxnLst>
                  <a:cxn ang="0">
                    <a:pos x="126" y="157"/>
                  </a:cxn>
                  <a:cxn ang="0">
                    <a:pos x="140" y="98"/>
                  </a:cxn>
                  <a:cxn ang="0">
                    <a:pos x="134" y="93"/>
                  </a:cxn>
                  <a:cxn ang="0">
                    <a:pos x="107" y="100"/>
                  </a:cxn>
                  <a:cxn ang="0">
                    <a:pos x="55" y="102"/>
                  </a:cxn>
                  <a:cxn ang="0">
                    <a:pos x="26" y="91"/>
                  </a:cxn>
                  <a:cxn ang="0">
                    <a:pos x="16" y="76"/>
                  </a:cxn>
                  <a:cxn ang="0">
                    <a:pos x="11" y="50"/>
                  </a:cxn>
                  <a:cxn ang="0">
                    <a:pos x="7" y="31"/>
                  </a:cxn>
                  <a:cxn ang="0">
                    <a:pos x="43" y="17"/>
                  </a:cxn>
                  <a:cxn ang="0">
                    <a:pos x="81" y="10"/>
                  </a:cxn>
                  <a:cxn ang="0">
                    <a:pos x="122" y="0"/>
                  </a:cxn>
                  <a:cxn ang="0">
                    <a:pos x="148" y="10"/>
                  </a:cxn>
                  <a:cxn ang="0">
                    <a:pos x="189" y="17"/>
                  </a:cxn>
                  <a:cxn ang="0">
                    <a:pos x="224" y="5"/>
                  </a:cxn>
                  <a:cxn ang="0">
                    <a:pos x="256" y="24"/>
                  </a:cxn>
                  <a:cxn ang="0">
                    <a:pos x="284" y="48"/>
                  </a:cxn>
                  <a:cxn ang="0">
                    <a:pos x="320" y="38"/>
                  </a:cxn>
                  <a:cxn ang="0">
                    <a:pos x="325" y="53"/>
                  </a:cxn>
                  <a:cxn ang="0">
                    <a:pos x="346" y="79"/>
                  </a:cxn>
                  <a:cxn ang="0">
                    <a:pos x="391" y="90"/>
                  </a:cxn>
                  <a:cxn ang="0">
                    <a:pos x="413" y="72"/>
                  </a:cxn>
                  <a:cxn ang="0">
                    <a:pos x="459" y="64"/>
                  </a:cxn>
                  <a:cxn ang="0">
                    <a:pos x="506" y="84"/>
                  </a:cxn>
                  <a:cxn ang="0">
                    <a:pos x="506" y="114"/>
                  </a:cxn>
                  <a:cxn ang="0">
                    <a:pos x="499" y="138"/>
                  </a:cxn>
                  <a:cxn ang="0">
                    <a:pos x="504" y="170"/>
                  </a:cxn>
                  <a:cxn ang="0">
                    <a:pos x="508" y="201"/>
                  </a:cxn>
                  <a:cxn ang="0">
                    <a:pos x="537" y="248"/>
                  </a:cxn>
                  <a:cxn ang="0">
                    <a:pos x="516" y="272"/>
                  </a:cxn>
                  <a:cxn ang="0">
                    <a:pos x="494" y="274"/>
                  </a:cxn>
                  <a:cxn ang="0">
                    <a:pos x="453" y="265"/>
                  </a:cxn>
                  <a:cxn ang="0">
                    <a:pos x="435" y="246"/>
                  </a:cxn>
                  <a:cxn ang="0">
                    <a:pos x="382" y="239"/>
                  </a:cxn>
                  <a:cxn ang="0">
                    <a:pos x="353" y="212"/>
                  </a:cxn>
                  <a:cxn ang="0">
                    <a:pos x="320" y="210"/>
                  </a:cxn>
                  <a:cxn ang="0">
                    <a:pos x="339" y="253"/>
                  </a:cxn>
                  <a:cxn ang="0">
                    <a:pos x="363" y="261"/>
                  </a:cxn>
                  <a:cxn ang="0">
                    <a:pos x="361" y="286"/>
                  </a:cxn>
                  <a:cxn ang="0">
                    <a:pos x="399" y="291"/>
                  </a:cxn>
                  <a:cxn ang="0">
                    <a:pos x="435" y="277"/>
                  </a:cxn>
                  <a:cxn ang="0">
                    <a:pos x="471" y="304"/>
                  </a:cxn>
                  <a:cxn ang="0">
                    <a:pos x="484" y="325"/>
                  </a:cxn>
                  <a:cxn ang="0">
                    <a:pos x="458" y="356"/>
                  </a:cxn>
                  <a:cxn ang="0">
                    <a:pos x="437" y="382"/>
                  </a:cxn>
                  <a:cxn ang="0">
                    <a:pos x="392" y="406"/>
                  </a:cxn>
                  <a:cxn ang="0">
                    <a:pos x="367" y="425"/>
                  </a:cxn>
                  <a:cxn ang="0">
                    <a:pos x="320" y="444"/>
                  </a:cxn>
                  <a:cxn ang="0">
                    <a:pos x="269" y="464"/>
                  </a:cxn>
                  <a:cxn ang="0">
                    <a:pos x="250" y="454"/>
                  </a:cxn>
                  <a:cxn ang="0">
                    <a:pos x="236" y="399"/>
                  </a:cxn>
                  <a:cxn ang="0">
                    <a:pos x="208" y="356"/>
                  </a:cxn>
                  <a:cxn ang="0">
                    <a:pos x="181" y="310"/>
                  </a:cxn>
                  <a:cxn ang="0">
                    <a:pos x="160" y="289"/>
                  </a:cxn>
                  <a:cxn ang="0">
                    <a:pos x="141" y="249"/>
                  </a:cxn>
                  <a:cxn ang="0">
                    <a:pos x="129" y="201"/>
                  </a:cxn>
                </a:cxnLst>
                <a:rect l="0" t="0" r="r" b="b"/>
                <a:pathLst>
                  <a:path w="537" h="466">
                    <a:moveTo>
                      <a:pt x="129" y="205"/>
                    </a:moveTo>
                    <a:lnTo>
                      <a:pt x="117" y="177"/>
                    </a:lnTo>
                    <a:lnTo>
                      <a:pt x="119" y="174"/>
                    </a:lnTo>
                    <a:lnTo>
                      <a:pt x="122" y="172"/>
                    </a:lnTo>
                    <a:lnTo>
                      <a:pt x="126" y="157"/>
                    </a:lnTo>
                    <a:lnTo>
                      <a:pt x="129" y="145"/>
                    </a:lnTo>
                    <a:lnTo>
                      <a:pt x="136" y="133"/>
                    </a:lnTo>
                    <a:lnTo>
                      <a:pt x="143" y="120"/>
                    </a:lnTo>
                    <a:lnTo>
                      <a:pt x="141" y="108"/>
                    </a:lnTo>
                    <a:lnTo>
                      <a:pt x="140" y="98"/>
                    </a:lnTo>
                    <a:lnTo>
                      <a:pt x="141" y="95"/>
                    </a:lnTo>
                    <a:lnTo>
                      <a:pt x="143" y="93"/>
                    </a:lnTo>
                    <a:lnTo>
                      <a:pt x="143" y="88"/>
                    </a:lnTo>
                    <a:lnTo>
                      <a:pt x="138" y="90"/>
                    </a:lnTo>
                    <a:lnTo>
                      <a:pt x="134" y="93"/>
                    </a:lnTo>
                    <a:lnTo>
                      <a:pt x="127" y="91"/>
                    </a:lnTo>
                    <a:lnTo>
                      <a:pt x="124" y="90"/>
                    </a:lnTo>
                    <a:lnTo>
                      <a:pt x="117" y="93"/>
                    </a:lnTo>
                    <a:lnTo>
                      <a:pt x="114" y="96"/>
                    </a:lnTo>
                    <a:lnTo>
                      <a:pt x="107" y="100"/>
                    </a:lnTo>
                    <a:lnTo>
                      <a:pt x="98" y="102"/>
                    </a:lnTo>
                    <a:lnTo>
                      <a:pt x="86" y="95"/>
                    </a:lnTo>
                    <a:lnTo>
                      <a:pt x="74" y="90"/>
                    </a:lnTo>
                    <a:lnTo>
                      <a:pt x="62" y="95"/>
                    </a:lnTo>
                    <a:lnTo>
                      <a:pt x="55" y="102"/>
                    </a:lnTo>
                    <a:lnTo>
                      <a:pt x="48" y="98"/>
                    </a:lnTo>
                    <a:lnTo>
                      <a:pt x="43" y="95"/>
                    </a:lnTo>
                    <a:lnTo>
                      <a:pt x="36" y="90"/>
                    </a:lnTo>
                    <a:lnTo>
                      <a:pt x="31" y="91"/>
                    </a:lnTo>
                    <a:lnTo>
                      <a:pt x="26" y="91"/>
                    </a:lnTo>
                    <a:lnTo>
                      <a:pt x="28" y="90"/>
                    </a:lnTo>
                    <a:lnTo>
                      <a:pt x="29" y="88"/>
                    </a:lnTo>
                    <a:lnTo>
                      <a:pt x="24" y="84"/>
                    </a:lnTo>
                    <a:lnTo>
                      <a:pt x="19" y="81"/>
                    </a:lnTo>
                    <a:lnTo>
                      <a:pt x="16" y="76"/>
                    </a:lnTo>
                    <a:lnTo>
                      <a:pt x="17" y="72"/>
                    </a:lnTo>
                    <a:lnTo>
                      <a:pt x="9" y="65"/>
                    </a:lnTo>
                    <a:lnTo>
                      <a:pt x="0" y="64"/>
                    </a:lnTo>
                    <a:lnTo>
                      <a:pt x="7" y="57"/>
                    </a:lnTo>
                    <a:lnTo>
                      <a:pt x="11" y="50"/>
                    </a:lnTo>
                    <a:lnTo>
                      <a:pt x="9" y="47"/>
                    </a:lnTo>
                    <a:lnTo>
                      <a:pt x="11" y="43"/>
                    </a:lnTo>
                    <a:lnTo>
                      <a:pt x="4" y="41"/>
                    </a:lnTo>
                    <a:lnTo>
                      <a:pt x="2" y="41"/>
                    </a:lnTo>
                    <a:lnTo>
                      <a:pt x="7" y="31"/>
                    </a:lnTo>
                    <a:lnTo>
                      <a:pt x="21" y="28"/>
                    </a:lnTo>
                    <a:lnTo>
                      <a:pt x="35" y="26"/>
                    </a:lnTo>
                    <a:lnTo>
                      <a:pt x="47" y="24"/>
                    </a:lnTo>
                    <a:lnTo>
                      <a:pt x="45" y="19"/>
                    </a:lnTo>
                    <a:lnTo>
                      <a:pt x="43" y="17"/>
                    </a:lnTo>
                    <a:lnTo>
                      <a:pt x="48" y="14"/>
                    </a:lnTo>
                    <a:lnTo>
                      <a:pt x="55" y="16"/>
                    </a:lnTo>
                    <a:lnTo>
                      <a:pt x="66" y="16"/>
                    </a:lnTo>
                    <a:lnTo>
                      <a:pt x="71" y="16"/>
                    </a:lnTo>
                    <a:lnTo>
                      <a:pt x="81" y="10"/>
                    </a:lnTo>
                    <a:lnTo>
                      <a:pt x="91" y="5"/>
                    </a:lnTo>
                    <a:lnTo>
                      <a:pt x="97" y="0"/>
                    </a:lnTo>
                    <a:lnTo>
                      <a:pt x="105" y="0"/>
                    </a:lnTo>
                    <a:lnTo>
                      <a:pt x="114" y="0"/>
                    </a:lnTo>
                    <a:lnTo>
                      <a:pt x="122" y="0"/>
                    </a:lnTo>
                    <a:lnTo>
                      <a:pt x="129" y="0"/>
                    </a:lnTo>
                    <a:lnTo>
                      <a:pt x="134" y="4"/>
                    </a:lnTo>
                    <a:lnTo>
                      <a:pt x="138" y="5"/>
                    </a:lnTo>
                    <a:lnTo>
                      <a:pt x="146" y="9"/>
                    </a:lnTo>
                    <a:lnTo>
                      <a:pt x="148" y="10"/>
                    </a:lnTo>
                    <a:lnTo>
                      <a:pt x="157" y="14"/>
                    </a:lnTo>
                    <a:lnTo>
                      <a:pt x="164" y="16"/>
                    </a:lnTo>
                    <a:lnTo>
                      <a:pt x="172" y="17"/>
                    </a:lnTo>
                    <a:lnTo>
                      <a:pt x="181" y="17"/>
                    </a:lnTo>
                    <a:lnTo>
                      <a:pt x="189" y="17"/>
                    </a:lnTo>
                    <a:lnTo>
                      <a:pt x="195" y="17"/>
                    </a:lnTo>
                    <a:lnTo>
                      <a:pt x="201" y="17"/>
                    </a:lnTo>
                    <a:lnTo>
                      <a:pt x="208" y="14"/>
                    </a:lnTo>
                    <a:lnTo>
                      <a:pt x="217" y="10"/>
                    </a:lnTo>
                    <a:lnTo>
                      <a:pt x="224" y="5"/>
                    </a:lnTo>
                    <a:lnTo>
                      <a:pt x="236" y="4"/>
                    </a:lnTo>
                    <a:lnTo>
                      <a:pt x="244" y="4"/>
                    </a:lnTo>
                    <a:lnTo>
                      <a:pt x="250" y="9"/>
                    </a:lnTo>
                    <a:lnTo>
                      <a:pt x="253" y="16"/>
                    </a:lnTo>
                    <a:lnTo>
                      <a:pt x="256" y="24"/>
                    </a:lnTo>
                    <a:lnTo>
                      <a:pt x="262" y="28"/>
                    </a:lnTo>
                    <a:lnTo>
                      <a:pt x="269" y="33"/>
                    </a:lnTo>
                    <a:lnTo>
                      <a:pt x="274" y="36"/>
                    </a:lnTo>
                    <a:lnTo>
                      <a:pt x="279" y="43"/>
                    </a:lnTo>
                    <a:lnTo>
                      <a:pt x="284" y="48"/>
                    </a:lnTo>
                    <a:lnTo>
                      <a:pt x="294" y="52"/>
                    </a:lnTo>
                    <a:lnTo>
                      <a:pt x="303" y="45"/>
                    </a:lnTo>
                    <a:lnTo>
                      <a:pt x="312" y="40"/>
                    </a:lnTo>
                    <a:lnTo>
                      <a:pt x="315" y="38"/>
                    </a:lnTo>
                    <a:lnTo>
                      <a:pt x="320" y="38"/>
                    </a:lnTo>
                    <a:lnTo>
                      <a:pt x="320" y="41"/>
                    </a:lnTo>
                    <a:lnTo>
                      <a:pt x="324" y="47"/>
                    </a:lnTo>
                    <a:lnTo>
                      <a:pt x="322" y="48"/>
                    </a:lnTo>
                    <a:lnTo>
                      <a:pt x="324" y="50"/>
                    </a:lnTo>
                    <a:lnTo>
                      <a:pt x="325" y="53"/>
                    </a:lnTo>
                    <a:lnTo>
                      <a:pt x="329" y="59"/>
                    </a:lnTo>
                    <a:lnTo>
                      <a:pt x="330" y="65"/>
                    </a:lnTo>
                    <a:lnTo>
                      <a:pt x="332" y="74"/>
                    </a:lnTo>
                    <a:lnTo>
                      <a:pt x="337" y="77"/>
                    </a:lnTo>
                    <a:lnTo>
                      <a:pt x="346" y="79"/>
                    </a:lnTo>
                    <a:lnTo>
                      <a:pt x="351" y="81"/>
                    </a:lnTo>
                    <a:lnTo>
                      <a:pt x="355" y="88"/>
                    </a:lnTo>
                    <a:lnTo>
                      <a:pt x="365" y="90"/>
                    </a:lnTo>
                    <a:lnTo>
                      <a:pt x="379" y="91"/>
                    </a:lnTo>
                    <a:lnTo>
                      <a:pt x="391" y="90"/>
                    </a:lnTo>
                    <a:lnTo>
                      <a:pt x="403" y="88"/>
                    </a:lnTo>
                    <a:lnTo>
                      <a:pt x="403" y="83"/>
                    </a:lnTo>
                    <a:lnTo>
                      <a:pt x="403" y="79"/>
                    </a:lnTo>
                    <a:lnTo>
                      <a:pt x="404" y="74"/>
                    </a:lnTo>
                    <a:lnTo>
                      <a:pt x="413" y="72"/>
                    </a:lnTo>
                    <a:lnTo>
                      <a:pt x="418" y="69"/>
                    </a:lnTo>
                    <a:lnTo>
                      <a:pt x="423" y="65"/>
                    </a:lnTo>
                    <a:lnTo>
                      <a:pt x="434" y="62"/>
                    </a:lnTo>
                    <a:lnTo>
                      <a:pt x="446" y="59"/>
                    </a:lnTo>
                    <a:lnTo>
                      <a:pt x="459" y="64"/>
                    </a:lnTo>
                    <a:lnTo>
                      <a:pt x="475" y="71"/>
                    </a:lnTo>
                    <a:lnTo>
                      <a:pt x="482" y="74"/>
                    </a:lnTo>
                    <a:lnTo>
                      <a:pt x="489" y="77"/>
                    </a:lnTo>
                    <a:lnTo>
                      <a:pt x="494" y="81"/>
                    </a:lnTo>
                    <a:lnTo>
                      <a:pt x="506" y="84"/>
                    </a:lnTo>
                    <a:lnTo>
                      <a:pt x="508" y="88"/>
                    </a:lnTo>
                    <a:lnTo>
                      <a:pt x="509" y="91"/>
                    </a:lnTo>
                    <a:lnTo>
                      <a:pt x="509" y="102"/>
                    </a:lnTo>
                    <a:lnTo>
                      <a:pt x="511" y="110"/>
                    </a:lnTo>
                    <a:lnTo>
                      <a:pt x="506" y="114"/>
                    </a:lnTo>
                    <a:lnTo>
                      <a:pt x="502" y="120"/>
                    </a:lnTo>
                    <a:lnTo>
                      <a:pt x="499" y="127"/>
                    </a:lnTo>
                    <a:lnTo>
                      <a:pt x="499" y="133"/>
                    </a:lnTo>
                    <a:lnTo>
                      <a:pt x="499" y="134"/>
                    </a:lnTo>
                    <a:lnTo>
                      <a:pt x="499" y="138"/>
                    </a:lnTo>
                    <a:lnTo>
                      <a:pt x="501" y="139"/>
                    </a:lnTo>
                    <a:lnTo>
                      <a:pt x="502" y="143"/>
                    </a:lnTo>
                    <a:lnTo>
                      <a:pt x="502" y="158"/>
                    </a:lnTo>
                    <a:lnTo>
                      <a:pt x="502" y="163"/>
                    </a:lnTo>
                    <a:lnTo>
                      <a:pt x="504" y="170"/>
                    </a:lnTo>
                    <a:lnTo>
                      <a:pt x="509" y="172"/>
                    </a:lnTo>
                    <a:lnTo>
                      <a:pt x="516" y="181"/>
                    </a:lnTo>
                    <a:lnTo>
                      <a:pt x="511" y="189"/>
                    </a:lnTo>
                    <a:lnTo>
                      <a:pt x="506" y="198"/>
                    </a:lnTo>
                    <a:lnTo>
                      <a:pt x="508" y="201"/>
                    </a:lnTo>
                    <a:lnTo>
                      <a:pt x="511" y="206"/>
                    </a:lnTo>
                    <a:lnTo>
                      <a:pt x="518" y="215"/>
                    </a:lnTo>
                    <a:lnTo>
                      <a:pt x="527" y="224"/>
                    </a:lnTo>
                    <a:lnTo>
                      <a:pt x="533" y="232"/>
                    </a:lnTo>
                    <a:lnTo>
                      <a:pt x="537" y="248"/>
                    </a:lnTo>
                    <a:lnTo>
                      <a:pt x="527" y="249"/>
                    </a:lnTo>
                    <a:lnTo>
                      <a:pt x="521" y="253"/>
                    </a:lnTo>
                    <a:lnTo>
                      <a:pt x="516" y="256"/>
                    </a:lnTo>
                    <a:lnTo>
                      <a:pt x="516" y="267"/>
                    </a:lnTo>
                    <a:lnTo>
                      <a:pt x="516" y="272"/>
                    </a:lnTo>
                    <a:lnTo>
                      <a:pt x="518" y="277"/>
                    </a:lnTo>
                    <a:lnTo>
                      <a:pt x="516" y="277"/>
                    </a:lnTo>
                    <a:lnTo>
                      <a:pt x="514" y="277"/>
                    </a:lnTo>
                    <a:lnTo>
                      <a:pt x="504" y="275"/>
                    </a:lnTo>
                    <a:lnTo>
                      <a:pt x="494" y="274"/>
                    </a:lnTo>
                    <a:lnTo>
                      <a:pt x="480" y="270"/>
                    </a:lnTo>
                    <a:lnTo>
                      <a:pt x="470" y="270"/>
                    </a:lnTo>
                    <a:lnTo>
                      <a:pt x="465" y="268"/>
                    </a:lnTo>
                    <a:lnTo>
                      <a:pt x="459" y="267"/>
                    </a:lnTo>
                    <a:lnTo>
                      <a:pt x="453" y="265"/>
                    </a:lnTo>
                    <a:lnTo>
                      <a:pt x="451" y="265"/>
                    </a:lnTo>
                    <a:lnTo>
                      <a:pt x="447" y="258"/>
                    </a:lnTo>
                    <a:lnTo>
                      <a:pt x="446" y="253"/>
                    </a:lnTo>
                    <a:lnTo>
                      <a:pt x="441" y="248"/>
                    </a:lnTo>
                    <a:lnTo>
                      <a:pt x="435" y="246"/>
                    </a:lnTo>
                    <a:lnTo>
                      <a:pt x="428" y="248"/>
                    </a:lnTo>
                    <a:lnTo>
                      <a:pt x="425" y="253"/>
                    </a:lnTo>
                    <a:lnTo>
                      <a:pt x="399" y="253"/>
                    </a:lnTo>
                    <a:lnTo>
                      <a:pt x="389" y="246"/>
                    </a:lnTo>
                    <a:lnTo>
                      <a:pt x="382" y="239"/>
                    </a:lnTo>
                    <a:lnTo>
                      <a:pt x="372" y="234"/>
                    </a:lnTo>
                    <a:lnTo>
                      <a:pt x="363" y="231"/>
                    </a:lnTo>
                    <a:lnTo>
                      <a:pt x="360" y="225"/>
                    </a:lnTo>
                    <a:lnTo>
                      <a:pt x="360" y="220"/>
                    </a:lnTo>
                    <a:lnTo>
                      <a:pt x="353" y="212"/>
                    </a:lnTo>
                    <a:lnTo>
                      <a:pt x="348" y="203"/>
                    </a:lnTo>
                    <a:lnTo>
                      <a:pt x="337" y="196"/>
                    </a:lnTo>
                    <a:lnTo>
                      <a:pt x="329" y="194"/>
                    </a:lnTo>
                    <a:lnTo>
                      <a:pt x="322" y="200"/>
                    </a:lnTo>
                    <a:lnTo>
                      <a:pt x="320" y="210"/>
                    </a:lnTo>
                    <a:lnTo>
                      <a:pt x="320" y="215"/>
                    </a:lnTo>
                    <a:lnTo>
                      <a:pt x="320" y="222"/>
                    </a:lnTo>
                    <a:lnTo>
                      <a:pt x="324" y="231"/>
                    </a:lnTo>
                    <a:lnTo>
                      <a:pt x="330" y="243"/>
                    </a:lnTo>
                    <a:lnTo>
                      <a:pt x="339" y="253"/>
                    </a:lnTo>
                    <a:lnTo>
                      <a:pt x="349" y="258"/>
                    </a:lnTo>
                    <a:lnTo>
                      <a:pt x="351" y="263"/>
                    </a:lnTo>
                    <a:lnTo>
                      <a:pt x="353" y="270"/>
                    </a:lnTo>
                    <a:lnTo>
                      <a:pt x="358" y="265"/>
                    </a:lnTo>
                    <a:lnTo>
                      <a:pt x="363" y="261"/>
                    </a:lnTo>
                    <a:lnTo>
                      <a:pt x="363" y="263"/>
                    </a:lnTo>
                    <a:lnTo>
                      <a:pt x="363" y="267"/>
                    </a:lnTo>
                    <a:lnTo>
                      <a:pt x="361" y="274"/>
                    </a:lnTo>
                    <a:lnTo>
                      <a:pt x="360" y="282"/>
                    </a:lnTo>
                    <a:lnTo>
                      <a:pt x="361" y="286"/>
                    </a:lnTo>
                    <a:lnTo>
                      <a:pt x="367" y="291"/>
                    </a:lnTo>
                    <a:lnTo>
                      <a:pt x="373" y="292"/>
                    </a:lnTo>
                    <a:lnTo>
                      <a:pt x="380" y="294"/>
                    </a:lnTo>
                    <a:lnTo>
                      <a:pt x="391" y="292"/>
                    </a:lnTo>
                    <a:lnTo>
                      <a:pt x="399" y="291"/>
                    </a:lnTo>
                    <a:lnTo>
                      <a:pt x="406" y="286"/>
                    </a:lnTo>
                    <a:lnTo>
                      <a:pt x="413" y="282"/>
                    </a:lnTo>
                    <a:lnTo>
                      <a:pt x="422" y="270"/>
                    </a:lnTo>
                    <a:lnTo>
                      <a:pt x="435" y="260"/>
                    </a:lnTo>
                    <a:lnTo>
                      <a:pt x="435" y="277"/>
                    </a:lnTo>
                    <a:lnTo>
                      <a:pt x="441" y="286"/>
                    </a:lnTo>
                    <a:lnTo>
                      <a:pt x="447" y="291"/>
                    </a:lnTo>
                    <a:lnTo>
                      <a:pt x="456" y="294"/>
                    </a:lnTo>
                    <a:lnTo>
                      <a:pt x="466" y="299"/>
                    </a:lnTo>
                    <a:lnTo>
                      <a:pt x="471" y="304"/>
                    </a:lnTo>
                    <a:lnTo>
                      <a:pt x="477" y="311"/>
                    </a:lnTo>
                    <a:lnTo>
                      <a:pt x="477" y="311"/>
                    </a:lnTo>
                    <a:lnTo>
                      <a:pt x="482" y="315"/>
                    </a:lnTo>
                    <a:lnTo>
                      <a:pt x="487" y="320"/>
                    </a:lnTo>
                    <a:lnTo>
                      <a:pt x="484" y="325"/>
                    </a:lnTo>
                    <a:lnTo>
                      <a:pt x="478" y="332"/>
                    </a:lnTo>
                    <a:lnTo>
                      <a:pt x="473" y="339"/>
                    </a:lnTo>
                    <a:lnTo>
                      <a:pt x="471" y="347"/>
                    </a:lnTo>
                    <a:lnTo>
                      <a:pt x="461" y="349"/>
                    </a:lnTo>
                    <a:lnTo>
                      <a:pt x="458" y="356"/>
                    </a:lnTo>
                    <a:lnTo>
                      <a:pt x="454" y="365"/>
                    </a:lnTo>
                    <a:lnTo>
                      <a:pt x="449" y="370"/>
                    </a:lnTo>
                    <a:lnTo>
                      <a:pt x="444" y="372"/>
                    </a:lnTo>
                    <a:lnTo>
                      <a:pt x="441" y="377"/>
                    </a:lnTo>
                    <a:lnTo>
                      <a:pt x="437" y="382"/>
                    </a:lnTo>
                    <a:lnTo>
                      <a:pt x="434" y="385"/>
                    </a:lnTo>
                    <a:lnTo>
                      <a:pt x="425" y="389"/>
                    </a:lnTo>
                    <a:lnTo>
                      <a:pt x="420" y="399"/>
                    </a:lnTo>
                    <a:lnTo>
                      <a:pt x="406" y="401"/>
                    </a:lnTo>
                    <a:lnTo>
                      <a:pt x="392" y="406"/>
                    </a:lnTo>
                    <a:lnTo>
                      <a:pt x="379" y="409"/>
                    </a:lnTo>
                    <a:lnTo>
                      <a:pt x="375" y="418"/>
                    </a:lnTo>
                    <a:lnTo>
                      <a:pt x="375" y="420"/>
                    </a:lnTo>
                    <a:lnTo>
                      <a:pt x="377" y="423"/>
                    </a:lnTo>
                    <a:lnTo>
                      <a:pt x="367" y="425"/>
                    </a:lnTo>
                    <a:lnTo>
                      <a:pt x="358" y="428"/>
                    </a:lnTo>
                    <a:lnTo>
                      <a:pt x="348" y="432"/>
                    </a:lnTo>
                    <a:lnTo>
                      <a:pt x="337" y="435"/>
                    </a:lnTo>
                    <a:lnTo>
                      <a:pt x="329" y="437"/>
                    </a:lnTo>
                    <a:lnTo>
                      <a:pt x="320" y="444"/>
                    </a:lnTo>
                    <a:lnTo>
                      <a:pt x="312" y="449"/>
                    </a:lnTo>
                    <a:lnTo>
                      <a:pt x="305" y="454"/>
                    </a:lnTo>
                    <a:lnTo>
                      <a:pt x="289" y="454"/>
                    </a:lnTo>
                    <a:lnTo>
                      <a:pt x="279" y="461"/>
                    </a:lnTo>
                    <a:lnTo>
                      <a:pt x="269" y="464"/>
                    </a:lnTo>
                    <a:lnTo>
                      <a:pt x="265" y="466"/>
                    </a:lnTo>
                    <a:lnTo>
                      <a:pt x="256" y="463"/>
                    </a:lnTo>
                    <a:lnTo>
                      <a:pt x="250" y="459"/>
                    </a:lnTo>
                    <a:lnTo>
                      <a:pt x="250" y="457"/>
                    </a:lnTo>
                    <a:lnTo>
                      <a:pt x="250" y="454"/>
                    </a:lnTo>
                    <a:lnTo>
                      <a:pt x="241" y="440"/>
                    </a:lnTo>
                    <a:lnTo>
                      <a:pt x="239" y="428"/>
                    </a:lnTo>
                    <a:lnTo>
                      <a:pt x="236" y="421"/>
                    </a:lnTo>
                    <a:lnTo>
                      <a:pt x="239" y="413"/>
                    </a:lnTo>
                    <a:lnTo>
                      <a:pt x="236" y="399"/>
                    </a:lnTo>
                    <a:lnTo>
                      <a:pt x="227" y="392"/>
                    </a:lnTo>
                    <a:lnTo>
                      <a:pt x="220" y="384"/>
                    </a:lnTo>
                    <a:lnTo>
                      <a:pt x="215" y="375"/>
                    </a:lnTo>
                    <a:lnTo>
                      <a:pt x="210" y="365"/>
                    </a:lnTo>
                    <a:lnTo>
                      <a:pt x="208" y="356"/>
                    </a:lnTo>
                    <a:lnTo>
                      <a:pt x="196" y="351"/>
                    </a:lnTo>
                    <a:lnTo>
                      <a:pt x="189" y="344"/>
                    </a:lnTo>
                    <a:lnTo>
                      <a:pt x="186" y="334"/>
                    </a:lnTo>
                    <a:lnTo>
                      <a:pt x="186" y="322"/>
                    </a:lnTo>
                    <a:lnTo>
                      <a:pt x="181" y="310"/>
                    </a:lnTo>
                    <a:lnTo>
                      <a:pt x="177" y="298"/>
                    </a:lnTo>
                    <a:lnTo>
                      <a:pt x="172" y="294"/>
                    </a:lnTo>
                    <a:lnTo>
                      <a:pt x="170" y="292"/>
                    </a:lnTo>
                    <a:lnTo>
                      <a:pt x="165" y="291"/>
                    </a:lnTo>
                    <a:lnTo>
                      <a:pt x="160" y="289"/>
                    </a:lnTo>
                    <a:lnTo>
                      <a:pt x="157" y="282"/>
                    </a:lnTo>
                    <a:lnTo>
                      <a:pt x="157" y="275"/>
                    </a:lnTo>
                    <a:lnTo>
                      <a:pt x="153" y="268"/>
                    </a:lnTo>
                    <a:lnTo>
                      <a:pt x="150" y="263"/>
                    </a:lnTo>
                    <a:lnTo>
                      <a:pt x="141" y="249"/>
                    </a:lnTo>
                    <a:lnTo>
                      <a:pt x="134" y="237"/>
                    </a:lnTo>
                    <a:lnTo>
                      <a:pt x="129" y="231"/>
                    </a:lnTo>
                    <a:lnTo>
                      <a:pt x="126" y="225"/>
                    </a:lnTo>
                    <a:lnTo>
                      <a:pt x="127" y="213"/>
                    </a:lnTo>
                    <a:lnTo>
                      <a:pt x="129" y="201"/>
                    </a:lnTo>
                    <a:lnTo>
                      <a:pt x="129" y="20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8" name="Freeform 194"/>
              <p:cNvSpPr>
                <a:spLocks/>
              </p:cNvSpPr>
              <p:nvPr/>
            </p:nvSpPr>
            <p:spPr bwMode="auto">
              <a:xfrm>
                <a:off x="6136482" y="3794125"/>
                <a:ext cx="44450" cy="87312"/>
              </a:xfrm>
              <a:custGeom>
                <a:avLst/>
                <a:gdLst/>
                <a:ahLst/>
                <a:cxnLst>
                  <a:cxn ang="0">
                    <a:pos x="28" y="35"/>
                  </a:cxn>
                  <a:cxn ang="0">
                    <a:pos x="23" y="47"/>
                  </a:cxn>
                  <a:cxn ang="0">
                    <a:pos x="12" y="55"/>
                  </a:cxn>
                  <a:cxn ang="0">
                    <a:pos x="4" y="50"/>
                  </a:cxn>
                  <a:cxn ang="0">
                    <a:pos x="0" y="42"/>
                  </a:cxn>
                  <a:cxn ang="0">
                    <a:pos x="0" y="30"/>
                  </a:cxn>
                  <a:cxn ang="0">
                    <a:pos x="4" y="19"/>
                  </a:cxn>
                  <a:cxn ang="0">
                    <a:pos x="5" y="9"/>
                  </a:cxn>
                  <a:cxn ang="0">
                    <a:pos x="7" y="0"/>
                  </a:cxn>
                  <a:cxn ang="0">
                    <a:pos x="12" y="7"/>
                  </a:cxn>
                  <a:cxn ang="0">
                    <a:pos x="19" y="14"/>
                  </a:cxn>
                  <a:cxn ang="0">
                    <a:pos x="24" y="23"/>
                  </a:cxn>
                  <a:cxn ang="0">
                    <a:pos x="28" y="35"/>
                  </a:cxn>
                </a:cxnLst>
                <a:rect l="0" t="0" r="r" b="b"/>
                <a:pathLst>
                  <a:path w="28" h="55">
                    <a:moveTo>
                      <a:pt x="28" y="35"/>
                    </a:moveTo>
                    <a:lnTo>
                      <a:pt x="23" y="47"/>
                    </a:lnTo>
                    <a:lnTo>
                      <a:pt x="12" y="55"/>
                    </a:lnTo>
                    <a:lnTo>
                      <a:pt x="4" y="50"/>
                    </a:lnTo>
                    <a:lnTo>
                      <a:pt x="0" y="42"/>
                    </a:lnTo>
                    <a:lnTo>
                      <a:pt x="0" y="30"/>
                    </a:lnTo>
                    <a:lnTo>
                      <a:pt x="4" y="19"/>
                    </a:lnTo>
                    <a:lnTo>
                      <a:pt x="5" y="9"/>
                    </a:lnTo>
                    <a:lnTo>
                      <a:pt x="7" y="0"/>
                    </a:lnTo>
                    <a:lnTo>
                      <a:pt x="12" y="7"/>
                    </a:lnTo>
                    <a:lnTo>
                      <a:pt x="19" y="14"/>
                    </a:lnTo>
                    <a:lnTo>
                      <a:pt x="24" y="23"/>
                    </a:lnTo>
                    <a:lnTo>
                      <a:pt x="28" y="3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6" name="Freeform 195"/>
              <p:cNvSpPr>
                <a:spLocks/>
              </p:cNvSpPr>
              <p:nvPr/>
            </p:nvSpPr>
            <p:spPr bwMode="auto">
              <a:xfrm>
                <a:off x="5699919" y="3082925"/>
                <a:ext cx="930275" cy="747712"/>
              </a:xfrm>
              <a:custGeom>
                <a:avLst/>
                <a:gdLst/>
                <a:ahLst/>
                <a:cxnLst>
                  <a:cxn ang="0">
                    <a:pos x="174" y="325"/>
                  </a:cxn>
                  <a:cxn ang="0">
                    <a:pos x="196" y="374"/>
                  </a:cxn>
                  <a:cxn ang="0">
                    <a:pos x="212" y="417"/>
                  </a:cxn>
                  <a:cxn ang="0">
                    <a:pos x="236" y="466"/>
                  </a:cxn>
                  <a:cxn ang="0">
                    <a:pos x="253" y="457"/>
                  </a:cxn>
                  <a:cxn ang="0">
                    <a:pos x="270" y="438"/>
                  </a:cxn>
                  <a:cxn ang="0">
                    <a:pos x="277" y="407"/>
                  </a:cxn>
                  <a:cxn ang="0">
                    <a:pos x="298" y="354"/>
                  </a:cxn>
                  <a:cxn ang="0">
                    <a:pos x="344" y="306"/>
                  </a:cxn>
                  <a:cxn ang="0">
                    <a:pos x="377" y="276"/>
                  </a:cxn>
                  <a:cxn ang="0">
                    <a:pos x="413" y="266"/>
                  </a:cxn>
                  <a:cxn ang="0">
                    <a:pos x="451" y="263"/>
                  </a:cxn>
                  <a:cxn ang="0">
                    <a:pos x="480" y="309"/>
                  </a:cxn>
                  <a:cxn ang="0">
                    <a:pos x="487" y="347"/>
                  </a:cxn>
                  <a:cxn ang="0">
                    <a:pos x="516" y="342"/>
                  </a:cxn>
                  <a:cxn ang="0">
                    <a:pos x="533" y="347"/>
                  </a:cxn>
                  <a:cxn ang="0">
                    <a:pos x="537" y="380"/>
                  </a:cxn>
                  <a:cxn ang="0">
                    <a:pos x="549" y="441"/>
                  </a:cxn>
                  <a:cxn ang="0">
                    <a:pos x="562" y="404"/>
                  </a:cxn>
                  <a:cxn ang="0">
                    <a:pos x="543" y="368"/>
                  </a:cxn>
                  <a:cxn ang="0">
                    <a:pos x="549" y="354"/>
                  </a:cxn>
                  <a:cxn ang="0">
                    <a:pos x="537" y="304"/>
                  </a:cxn>
                  <a:cxn ang="0">
                    <a:pos x="571" y="280"/>
                  </a:cxn>
                  <a:cxn ang="0">
                    <a:pos x="566" y="257"/>
                  </a:cxn>
                  <a:cxn ang="0">
                    <a:pos x="552" y="230"/>
                  </a:cxn>
                  <a:cxn ang="0">
                    <a:pos x="540" y="213"/>
                  </a:cxn>
                  <a:cxn ang="0">
                    <a:pos x="540" y="165"/>
                  </a:cxn>
                  <a:cxn ang="0">
                    <a:pos x="509" y="144"/>
                  </a:cxn>
                  <a:cxn ang="0">
                    <a:pos x="483" y="156"/>
                  </a:cxn>
                  <a:cxn ang="0">
                    <a:pos x="444" y="168"/>
                  </a:cxn>
                  <a:cxn ang="0">
                    <a:pos x="404" y="166"/>
                  </a:cxn>
                  <a:cxn ang="0">
                    <a:pos x="358" y="165"/>
                  </a:cxn>
                  <a:cxn ang="0">
                    <a:pos x="335" y="146"/>
                  </a:cxn>
                  <a:cxn ang="0">
                    <a:pos x="282" y="127"/>
                  </a:cxn>
                  <a:cxn ang="0">
                    <a:pos x="261" y="103"/>
                  </a:cxn>
                  <a:cxn ang="0">
                    <a:pos x="265" y="79"/>
                  </a:cxn>
                  <a:cxn ang="0">
                    <a:pos x="277" y="44"/>
                  </a:cxn>
                  <a:cxn ang="0">
                    <a:pos x="224" y="39"/>
                  </a:cxn>
                  <a:cxn ang="0">
                    <a:pos x="198" y="17"/>
                  </a:cxn>
                  <a:cxn ang="0">
                    <a:pos x="157" y="12"/>
                  </a:cxn>
                  <a:cxn ang="0">
                    <a:pos x="132" y="12"/>
                  </a:cxn>
                  <a:cxn ang="0">
                    <a:pos x="91" y="20"/>
                  </a:cxn>
                  <a:cxn ang="0">
                    <a:pos x="62" y="22"/>
                  </a:cxn>
                  <a:cxn ang="0">
                    <a:pos x="34" y="49"/>
                  </a:cxn>
                  <a:cxn ang="0">
                    <a:pos x="12" y="51"/>
                  </a:cxn>
                  <a:cxn ang="0">
                    <a:pos x="0" y="75"/>
                  </a:cxn>
                  <a:cxn ang="0">
                    <a:pos x="3" y="104"/>
                  </a:cxn>
                  <a:cxn ang="0">
                    <a:pos x="7" y="139"/>
                  </a:cxn>
                  <a:cxn ang="0">
                    <a:pos x="34" y="173"/>
                  </a:cxn>
                  <a:cxn ang="0">
                    <a:pos x="17" y="208"/>
                  </a:cxn>
                  <a:cxn ang="0">
                    <a:pos x="41" y="213"/>
                  </a:cxn>
                  <a:cxn ang="0">
                    <a:pos x="83" y="213"/>
                  </a:cxn>
                  <a:cxn ang="0">
                    <a:pos x="115" y="247"/>
                  </a:cxn>
                  <a:cxn ang="0">
                    <a:pos x="131" y="259"/>
                  </a:cxn>
                  <a:cxn ang="0">
                    <a:pos x="136" y="282"/>
                  </a:cxn>
                  <a:cxn ang="0">
                    <a:pos x="167" y="261"/>
                  </a:cxn>
                  <a:cxn ang="0">
                    <a:pos x="174" y="288"/>
                  </a:cxn>
                </a:cxnLst>
                <a:rect l="0" t="0" r="r" b="b"/>
                <a:pathLst>
                  <a:path w="586" h="471">
                    <a:moveTo>
                      <a:pt x="174" y="304"/>
                    </a:moveTo>
                    <a:lnTo>
                      <a:pt x="170" y="302"/>
                    </a:lnTo>
                    <a:lnTo>
                      <a:pt x="170" y="306"/>
                    </a:lnTo>
                    <a:lnTo>
                      <a:pt x="172" y="311"/>
                    </a:lnTo>
                    <a:lnTo>
                      <a:pt x="174" y="325"/>
                    </a:lnTo>
                    <a:lnTo>
                      <a:pt x="181" y="338"/>
                    </a:lnTo>
                    <a:lnTo>
                      <a:pt x="182" y="347"/>
                    </a:lnTo>
                    <a:lnTo>
                      <a:pt x="187" y="357"/>
                    </a:lnTo>
                    <a:lnTo>
                      <a:pt x="191" y="366"/>
                    </a:lnTo>
                    <a:lnTo>
                      <a:pt x="196" y="374"/>
                    </a:lnTo>
                    <a:lnTo>
                      <a:pt x="198" y="383"/>
                    </a:lnTo>
                    <a:lnTo>
                      <a:pt x="201" y="392"/>
                    </a:lnTo>
                    <a:lnTo>
                      <a:pt x="203" y="400"/>
                    </a:lnTo>
                    <a:lnTo>
                      <a:pt x="206" y="412"/>
                    </a:lnTo>
                    <a:lnTo>
                      <a:pt x="212" y="417"/>
                    </a:lnTo>
                    <a:lnTo>
                      <a:pt x="218" y="428"/>
                    </a:lnTo>
                    <a:lnTo>
                      <a:pt x="224" y="443"/>
                    </a:lnTo>
                    <a:lnTo>
                      <a:pt x="232" y="460"/>
                    </a:lnTo>
                    <a:lnTo>
                      <a:pt x="232" y="462"/>
                    </a:lnTo>
                    <a:lnTo>
                      <a:pt x="236" y="466"/>
                    </a:lnTo>
                    <a:lnTo>
                      <a:pt x="237" y="469"/>
                    </a:lnTo>
                    <a:lnTo>
                      <a:pt x="244" y="471"/>
                    </a:lnTo>
                    <a:lnTo>
                      <a:pt x="246" y="467"/>
                    </a:lnTo>
                    <a:lnTo>
                      <a:pt x="249" y="460"/>
                    </a:lnTo>
                    <a:lnTo>
                      <a:pt x="253" y="457"/>
                    </a:lnTo>
                    <a:lnTo>
                      <a:pt x="260" y="455"/>
                    </a:lnTo>
                    <a:lnTo>
                      <a:pt x="261" y="450"/>
                    </a:lnTo>
                    <a:lnTo>
                      <a:pt x="263" y="447"/>
                    </a:lnTo>
                    <a:lnTo>
                      <a:pt x="265" y="440"/>
                    </a:lnTo>
                    <a:lnTo>
                      <a:pt x="270" y="438"/>
                    </a:lnTo>
                    <a:lnTo>
                      <a:pt x="272" y="436"/>
                    </a:lnTo>
                    <a:lnTo>
                      <a:pt x="275" y="436"/>
                    </a:lnTo>
                    <a:lnTo>
                      <a:pt x="277" y="435"/>
                    </a:lnTo>
                    <a:lnTo>
                      <a:pt x="275" y="423"/>
                    </a:lnTo>
                    <a:lnTo>
                      <a:pt x="277" y="407"/>
                    </a:lnTo>
                    <a:lnTo>
                      <a:pt x="280" y="392"/>
                    </a:lnTo>
                    <a:lnTo>
                      <a:pt x="279" y="380"/>
                    </a:lnTo>
                    <a:lnTo>
                      <a:pt x="277" y="369"/>
                    </a:lnTo>
                    <a:lnTo>
                      <a:pt x="282" y="359"/>
                    </a:lnTo>
                    <a:lnTo>
                      <a:pt x="298" y="354"/>
                    </a:lnTo>
                    <a:lnTo>
                      <a:pt x="303" y="349"/>
                    </a:lnTo>
                    <a:lnTo>
                      <a:pt x="310" y="343"/>
                    </a:lnTo>
                    <a:lnTo>
                      <a:pt x="323" y="328"/>
                    </a:lnTo>
                    <a:lnTo>
                      <a:pt x="339" y="313"/>
                    </a:lnTo>
                    <a:lnTo>
                      <a:pt x="344" y="306"/>
                    </a:lnTo>
                    <a:lnTo>
                      <a:pt x="354" y="302"/>
                    </a:lnTo>
                    <a:lnTo>
                      <a:pt x="363" y="297"/>
                    </a:lnTo>
                    <a:lnTo>
                      <a:pt x="371" y="294"/>
                    </a:lnTo>
                    <a:lnTo>
                      <a:pt x="373" y="285"/>
                    </a:lnTo>
                    <a:lnTo>
                      <a:pt x="377" y="276"/>
                    </a:lnTo>
                    <a:lnTo>
                      <a:pt x="384" y="270"/>
                    </a:lnTo>
                    <a:lnTo>
                      <a:pt x="392" y="263"/>
                    </a:lnTo>
                    <a:lnTo>
                      <a:pt x="397" y="266"/>
                    </a:lnTo>
                    <a:lnTo>
                      <a:pt x="404" y="268"/>
                    </a:lnTo>
                    <a:lnTo>
                      <a:pt x="413" y="266"/>
                    </a:lnTo>
                    <a:lnTo>
                      <a:pt x="423" y="264"/>
                    </a:lnTo>
                    <a:lnTo>
                      <a:pt x="428" y="259"/>
                    </a:lnTo>
                    <a:lnTo>
                      <a:pt x="432" y="251"/>
                    </a:lnTo>
                    <a:lnTo>
                      <a:pt x="444" y="254"/>
                    </a:lnTo>
                    <a:lnTo>
                      <a:pt x="451" y="263"/>
                    </a:lnTo>
                    <a:lnTo>
                      <a:pt x="452" y="271"/>
                    </a:lnTo>
                    <a:lnTo>
                      <a:pt x="456" y="282"/>
                    </a:lnTo>
                    <a:lnTo>
                      <a:pt x="463" y="290"/>
                    </a:lnTo>
                    <a:lnTo>
                      <a:pt x="473" y="299"/>
                    </a:lnTo>
                    <a:lnTo>
                      <a:pt x="480" y="309"/>
                    </a:lnTo>
                    <a:lnTo>
                      <a:pt x="487" y="325"/>
                    </a:lnTo>
                    <a:lnTo>
                      <a:pt x="488" y="328"/>
                    </a:lnTo>
                    <a:lnTo>
                      <a:pt x="490" y="331"/>
                    </a:lnTo>
                    <a:lnTo>
                      <a:pt x="488" y="338"/>
                    </a:lnTo>
                    <a:lnTo>
                      <a:pt x="487" y="347"/>
                    </a:lnTo>
                    <a:lnTo>
                      <a:pt x="488" y="356"/>
                    </a:lnTo>
                    <a:lnTo>
                      <a:pt x="495" y="359"/>
                    </a:lnTo>
                    <a:lnTo>
                      <a:pt x="502" y="356"/>
                    </a:lnTo>
                    <a:lnTo>
                      <a:pt x="511" y="350"/>
                    </a:lnTo>
                    <a:lnTo>
                      <a:pt x="516" y="342"/>
                    </a:lnTo>
                    <a:lnTo>
                      <a:pt x="521" y="337"/>
                    </a:lnTo>
                    <a:lnTo>
                      <a:pt x="523" y="340"/>
                    </a:lnTo>
                    <a:lnTo>
                      <a:pt x="526" y="345"/>
                    </a:lnTo>
                    <a:lnTo>
                      <a:pt x="530" y="345"/>
                    </a:lnTo>
                    <a:lnTo>
                      <a:pt x="533" y="347"/>
                    </a:lnTo>
                    <a:lnTo>
                      <a:pt x="533" y="352"/>
                    </a:lnTo>
                    <a:lnTo>
                      <a:pt x="533" y="361"/>
                    </a:lnTo>
                    <a:lnTo>
                      <a:pt x="533" y="366"/>
                    </a:lnTo>
                    <a:lnTo>
                      <a:pt x="537" y="369"/>
                    </a:lnTo>
                    <a:lnTo>
                      <a:pt x="537" y="380"/>
                    </a:lnTo>
                    <a:lnTo>
                      <a:pt x="542" y="392"/>
                    </a:lnTo>
                    <a:lnTo>
                      <a:pt x="545" y="404"/>
                    </a:lnTo>
                    <a:lnTo>
                      <a:pt x="549" y="421"/>
                    </a:lnTo>
                    <a:lnTo>
                      <a:pt x="547" y="431"/>
                    </a:lnTo>
                    <a:lnTo>
                      <a:pt x="549" y="441"/>
                    </a:lnTo>
                    <a:lnTo>
                      <a:pt x="554" y="428"/>
                    </a:lnTo>
                    <a:lnTo>
                      <a:pt x="559" y="417"/>
                    </a:lnTo>
                    <a:lnTo>
                      <a:pt x="561" y="414"/>
                    </a:lnTo>
                    <a:lnTo>
                      <a:pt x="564" y="411"/>
                    </a:lnTo>
                    <a:lnTo>
                      <a:pt x="562" y="404"/>
                    </a:lnTo>
                    <a:lnTo>
                      <a:pt x="559" y="395"/>
                    </a:lnTo>
                    <a:lnTo>
                      <a:pt x="556" y="385"/>
                    </a:lnTo>
                    <a:lnTo>
                      <a:pt x="554" y="380"/>
                    </a:lnTo>
                    <a:lnTo>
                      <a:pt x="545" y="374"/>
                    </a:lnTo>
                    <a:lnTo>
                      <a:pt x="543" y="368"/>
                    </a:lnTo>
                    <a:lnTo>
                      <a:pt x="543" y="366"/>
                    </a:lnTo>
                    <a:lnTo>
                      <a:pt x="545" y="364"/>
                    </a:lnTo>
                    <a:lnTo>
                      <a:pt x="545" y="364"/>
                    </a:lnTo>
                    <a:lnTo>
                      <a:pt x="547" y="359"/>
                    </a:lnTo>
                    <a:lnTo>
                      <a:pt x="549" y="354"/>
                    </a:lnTo>
                    <a:lnTo>
                      <a:pt x="547" y="342"/>
                    </a:lnTo>
                    <a:lnTo>
                      <a:pt x="545" y="331"/>
                    </a:lnTo>
                    <a:lnTo>
                      <a:pt x="538" y="325"/>
                    </a:lnTo>
                    <a:lnTo>
                      <a:pt x="535" y="318"/>
                    </a:lnTo>
                    <a:lnTo>
                      <a:pt x="537" y="304"/>
                    </a:lnTo>
                    <a:lnTo>
                      <a:pt x="543" y="297"/>
                    </a:lnTo>
                    <a:lnTo>
                      <a:pt x="549" y="294"/>
                    </a:lnTo>
                    <a:lnTo>
                      <a:pt x="557" y="292"/>
                    </a:lnTo>
                    <a:lnTo>
                      <a:pt x="564" y="285"/>
                    </a:lnTo>
                    <a:lnTo>
                      <a:pt x="571" y="280"/>
                    </a:lnTo>
                    <a:lnTo>
                      <a:pt x="578" y="273"/>
                    </a:lnTo>
                    <a:lnTo>
                      <a:pt x="586" y="264"/>
                    </a:lnTo>
                    <a:lnTo>
                      <a:pt x="581" y="264"/>
                    </a:lnTo>
                    <a:lnTo>
                      <a:pt x="578" y="266"/>
                    </a:lnTo>
                    <a:lnTo>
                      <a:pt x="566" y="257"/>
                    </a:lnTo>
                    <a:lnTo>
                      <a:pt x="562" y="244"/>
                    </a:lnTo>
                    <a:lnTo>
                      <a:pt x="557" y="240"/>
                    </a:lnTo>
                    <a:lnTo>
                      <a:pt x="556" y="237"/>
                    </a:lnTo>
                    <a:lnTo>
                      <a:pt x="554" y="232"/>
                    </a:lnTo>
                    <a:lnTo>
                      <a:pt x="552" y="230"/>
                    </a:lnTo>
                    <a:lnTo>
                      <a:pt x="545" y="230"/>
                    </a:lnTo>
                    <a:lnTo>
                      <a:pt x="540" y="232"/>
                    </a:lnTo>
                    <a:lnTo>
                      <a:pt x="538" y="228"/>
                    </a:lnTo>
                    <a:lnTo>
                      <a:pt x="538" y="227"/>
                    </a:lnTo>
                    <a:lnTo>
                      <a:pt x="540" y="213"/>
                    </a:lnTo>
                    <a:lnTo>
                      <a:pt x="545" y="206"/>
                    </a:lnTo>
                    <a:lnTo>
                      <a:pt x="549" y="199"/>
                    </a:lnTo>
                    <a:lnTo>
                      <a:pt x="552" y="187"/>
                    </a:lnTo>
                    <a:lnTo>
                      <a:pt x="547" y="175"/>
                    </a:lnTo>
                    <a:lnTo>
                      <a:pt x="540" y="165"/>
                    </a:lnTo>
                    <a:lnTo>
                      <a:pt x="530" y="159"/>
                    </a:lnTo>
                    <a:lnTo>
                      <a:pt x="523" y="158"/>
                    </a:lnTo>
                    <a:lnTo>
                      <a:pt x="516" y="151"/>
                    </a:lnTo>
                    <a:lnTo>
                      <a:pt x="513" y="144"/>
                    </a:lnTo>
                    <a:lnTo>
                      <a:pt x="509" y="144"/>
                    </a:lnTo>
                    <a:lnTo>
                      <a:pt x="506" y="149"/>
                    </a:lnTo>
                    <a:lnTo>
                      <a:pt x="495" y="147"/>
                    </a:lnTo>
                    <a:lnTo>
                      <a:pt x="488" y="149"/>
                    </a:lnTo>
                    <a:lnTo>
                      <a:pt x="485" y="151"/>
                    </a:lnTo>
                    <a:lnTo>
                      <a:pt x="483" y="156"/>
                    </a:lnTo>
                    <a:lnTo>
                      <a:pt x="476" y="158"/>
                    </a:lnTo>
                    <a:lnTo>
                      <a:pt x="470" y="163"/>
                    </a:lnTo>
                    <a:lnTo>
                      <a:pt x="461" y="168"/>
                    </a:lnTo>
                    <a:lnTo>
                      <a:pt x="456" y="172"/>
                    </a:lnTo>
                    <a:lnTo>
                      <a:pt x="444" y="168"/>
                    </a:lnTo>
                    <a:lnTo>
                      <a:pt x="430" y="165"/>
                    </a:lnTo>
                    <a:lnTo>
                      <a:pt x="416" y="170"/>
                    </a:lnTo>
                    <a:lnTo>
                      <a:pt x="408" y="178"/>
                    </a:lnTo>
                    <a:lnTo>
                      <a:pt x="406" y="170"/>
                    </a:lnTo>
                    <a:lnTo>
                      <a:pt x="404" y="166"/>
                    </a:lnTo>
                    <a:lnTo>
                      <a:pt x="399" y="168"/>
                    </a:lnTo>
                    <a:lnTo>
                      <a:pt x="394" y="170"/>
                    </a:lnTo>
                    <a:lnTo>
                      <a:pt x="384" y="170"/>
                    </a:lnTo>
                    <a:lnTo>
                      <a:pt x="373" y="170"/>
                    </a:lnTo>
                    <a:lnTo>
                      <a:pt x="358" y="165"/>
                    </a:lnTo>
                    <a:lnTo>
                      <a:pt x="349" y="156"/>
                    </a:lnTo>
                    <a:lnTo>
                      <a:pt x="344" y="156"/>
                    </a:lnTo>
                    <a:lnTo>
                      <a:pt x="341" y="156"/>
                    </a:lnTo>
                    <a:lnTo>
                      <a:pt x="337" y="149"/>
                    </a:lnTo>
                    <a:lnTo>
                      <a:pt x="335" y="146"/>
                    </a:lnTo>
                    <a:lnTo>
                      <a:pt x="323" y="142"/>
                    </a:lnTo>
                    <a:lnTo>
                      <a:pt x="316" y="139"/>
                    </a:lnTo>
                    <a:lnTo>
                      <a:pt x="306" y="134"/>
                    </a:lnTo>
                    <a:lnTo>
                      <a:pt x="294" y="134"/>
                    </a:lnTo>
                    <a:lnTo>
                      <a:pt x="282" y="127"/>
                    </a:lnTo>
                    <a:lnTo>
                      <a:pt x="272" y="122"/>
                    </a:lnTo>
                    <a:lnTo>
                      <a:pt x="267" y="120"/>
                    </a:lnTo>
                    <a:lnTo>
                      <a:pt x="265" y="118"/>
                    </a:lnTo>
                    <a:lnTo>
                      <a:pt x="263" y="110"/>
                    </a:lnTo>
                    <a:lnTo>
                      <a:pt x="261" y="103"/>
                    </a:lnTo>
                    <a:lnTo>
                      <a:pt x="261" y="98"/>
                    </a:lnTo>
                    <a:lnTo>
                      <a:pt x="268" y="96"/>
                    </a:lnTo>
                    <a:lnTo>
                      <a:pt x="273" y="92"/>
                    </a:lnTo>
                    <a:lnTo>
                      <a:pt x="268" y="86"/>
                    </a:lnTo>
                    <a:lnTo>
                      <a:pt x="265" y="79"/>
                    </a:lnTo>
                    <a:lnTo>
                      <a:pt x="267" y="70"/>
                    </a:lnTo>
                    <a:lnTo>
                      <a:pt x="273" y="67"/>
                    </a:lnTo>
                    <a:lnTo>
                      <a:pt x="280" y="61"/>
                    </a:lnTo>
                    <a:lnTo>
                      <a:pt x="284" y="55"/>
                    </a:lnTo>
                    <a:lnTo>
                      <a:pt x="277" y="44"/>
                    </a:lnTo>
                    <a:lnTo>
                      <a:pt x="268" y="41"/>
                    </a:lnTo>
                    <a:lnTo>
                      <a:pt x="258" y="44"/>
                    </a:lnTo>
                    <a:lnTo>
                      <a:pt x="248" y="49"/>
                    </a:lnTo>
                    <a:lnTo>
                      <a:pt x="234" y="44"/>
                    </a:lnTo>
                    <a:lnTo>
                      <a:pt x="224" y="39"/>
                    </a:lnTo>
                    <a:lnTo>
                      <a:pt x="222" y="32"/>
                    </a:lnTo>
                    <a:lnTo>
                      <a:pt x="218" y="27"/>
                    </a:lnTo>
                    <a:lnTo>
                      <a:pt x="208" y="25"/>
                    </a:lnTo>
                    <a:lnTo>
                      <a:pt x="206" y="18"/>
                    </a:lnTo>
                    <a:lnTo>
                      <a:pt x="198" y="17"/>
                    </a:lnTo>
                    <a:lnTo>
                      <a:pt x="189" y="17"/>
                    </a:lnTo>
                    <a:lnTo>
                      <a:pt x="175" y="20"/>
                    </a:lnTo>
                    <a:lnTo>
                      <a:pt x="163" y="25"/>
                    </a:lnTo>
                    <a:lnTo>
                      <a:pt x="157" y="20"/>
                    </a:lnTo>
                    <a:lnTo>
                      <a:pt x="157" y="12"/>
                    </a:lnTo>
                    <a:lnTo>
                      <a:pt x="155" y="3"/>
                    </a:lnTo>
                    <a:lnTo>
                      <a:pt x="151" y="0"/>
                    </a:lnTo>
                    <a:lnTo>
                      <a:pt x="139" y="5"/>
                    </a:lnTo>
                    <a:lnTo>
                      <a:pt x="134" y="12"/>
                    </a:lnTo>
                    <a:lnTo>
                      <a:pt x="132" y="12"/>
                    </a:lnTo>
                    <a:lnTo>
                      <a:pt x="122" y="20"/>
                    </a:lnTo>
                    <a:lnTo>
                      <a:pt x="110" y="24"/>
                    </a:lnTo>
                    <a:lnTo>
                      <a:pt x="105" y="20"/>
                    </a:lnTo>
                    <a:lnTo>
                      <a:pt x="100" y="18"/>
                    </a:lnTo>
                    <a:lnTo>
                      <a:pt x="91" y="20"/>
                    </a:lnTo>
                    <a:lnTo>
                      <a:pt x="84" y="17"/>
                    </a:lnTo>
                    <a:lnTo>
                      <a:pt x="79" y="15"/>
                    </a:lnTo>
                    <a:lnTo>
                      <a:pt x="76" y="15"/>
                    </a:lnTo>
                    <a:lnTo>
                      <a:pt x="67" y="17"/>
                    </a:lnTo>
                    <a:lnTo>
                      <a:pt x="62" y="22"/>
                    </a:lnTo>
                    <a:lnTo>
                      <a:pt x="57" y="29"/>
                    </a:lnTo>
                    <a:lnTo>
                      <a:pt x="53" y="37"/>
                    </a:lnTo>
                    <a:lnTo>
                      <a:pt x="46" y="41"/>
                    </a:lnTo>
                    <a:lnTo>
                      <a:pt x="40" y="44"/>
                    </a:lnTo>
                    <a:lnTo>
                      <a:pt x="34" y="49"/>
                    </a:lnTo>
                    <a:lnTo>
                      <a:pt x="28" y="53"/>
                    </a:lnTo>
                    <a:lnTo>
                      <a:pt x="21" y="51"/>
                    </a:lnTo>
                    <a:lnTo>
                      <a:pt x="15" y="49"/>
                    </a:lnTo>
                    <a:lnTo>
                      <a:pt x="14" y="49"/>
                    </a:lnTo>
                    <a:lnTo>
                      <a:pt x="12" y="51"/>
                    </a:lnTo>
                    <a:lnTo>
                      <a:pt x="7" y="55"/>
                    </a:lnTo>
                    <a:lnTo>
                      <a:pt x="3" y="61"/>
                    </a:lnTo>
                    <a:lnTo>
                      <a:pt x="0" y="68"/>
                    </a:lnTo>
                    <a:lnTo>
                      <a:pt x="0" y="74"/>
                    </a:lnTo>
                    <a:lnTo>
                      <a:pt x="0" y="75"/>
                    </a:lnTo>
                    <a:lnTo>
                      <a:pt x="0" y="79"/>
                    </a:lnTo>
                    <a:lnTo>
                      <a:pt x="2" y="80"/>
                    </a:lnTo>
                    <a:lnTo>
                      <a:pt x="3" y="84"/>
                    </a:lnTo>
                    <a:lnTo>
                      <a:pt x="3" y="99"/>
                    </a:lnTo>
                    <a:lnTo>
                      <a:pt x="3" y="104"/>
                    </a:lnTo>
                    <a:lnTo>
                      <a:pt x="5" y="111"/>
                    </a:lnTo>
                    <a:lnTo>
                      <a:pt x="10" y="113"/>
                    </a:lnTo>
                    <a:lnTo>
                      <a:pt x="17" y="122"/>
                    </a:lnTo>
                    <a:lnTo>
                      <a:pt x="12" y="130"/>
                    </a:lnTo>
                    <a:lnTo>
                      <a:pt x="7" y="139"/>
                    </a:lnTo>
                    <a:lnTo>
                      <a:pt x="9" y="142"/>
                    </a:lnTo>
                    <a:lnTo>
                      <a:pt x="12" y="147"/>
                    </a:lnTo>
                    <a:lnTo>
                      <a:pt x="19" y="156"/>
                    </a:lnTo>
                    <a:lnTo>
                      <a:pt x="28" y="165"/>
                    </a:lnTo>
                    <a:lnTo>
                      <a:pt x="34" y="173"/>
                    </a:lnTo>
                    <a:lnTo>
                      <a:pt x="38" y="189"/>
                    </a:lnTo>
                    <a:lnTo>
                      <a:pt x="28" y="190"/>
                    </a:lnTo>
                    <a:lnTo>
                      <a:pt x="22" y="194"/>
                    </a:lnTo>
                    <a:lnTo>
                      <a:pt x="17" y="197"/>
                    </a:lnTo>
                    <a:lnTo>
                      <a:pt x="17" y="208"/>
                    </a:lnTo>
                    <a:lnTo>
                      <a:pt x="17" y="213"/>
                    </a:lnTo>
                    <a:lnTo>
                      <a:pt x="19" y="218"/>
                    </a:lnTo>
                    <a:lnTo>
                      <a:pt x="36" y="216"/>
                    </a:lnTo>
                    <a:lnTo>
                      <a:pt x="38" y="215"/>
                    </a:lnTo>
                    <a:lnTo>
                      <a:pt x="41" y="213"/>
                    </a:lnTo>
                    <a:lnTo>
                      <a:pt x="55" y="216"/>
                    </a:lnTo>
                    <a:lnTo>
                      <a:pt x="58" y="215"/>
                    </a:lnTo>
                    <a:lnTo>
                      <a:pt x="67" y="213"/>
                    </a:lnTo>
                    <a:lnTo>
                      <a:pt x="74" y="211"/>
                    </a:lnTo>
                    <a:lnTo>
                      <a:pt x="83" y="213"/>
                    </a:lnTo>
                    <a:lnTo>
                      <a:pt x="88" y="220"/>
                    </a:lnTo>
                    <a:lnTo>
                      <a:pt x="95" y="233"/>
                    </a:lnTo>
                    <a:lnTo>
                      <a:pt x="98" y="239"/>
                    </a:lnTo>
                    <a:lnTo>
                      <a:pt x="107" y="244"/>
                    </a:lnTo>
                    <a:lnTo>
                      <a:pt x="115" y="247"/>
                    </a:lnTo>
                    <a:lnTo>
                      <a:pt x="126" y="251"/>
                    </a:lnTo>
                    <a:lnTo>
                      <a:pt x="131" y="251"/>
                    </a:lnTo>
                    <a:lnTo>
                      <a:pt x="138" y="252"/>
                    </a:lnTo>
                    <a:lnTo>
                      <a:pt x="134" y="256"/>
                    </a:lnTo>
                    <a:lnTo>
                      <a:pt x="131" y="259"/>
                    </a:lnTo>
                    <a:lnTo>
                      <a:pt x="124" y="259"/>
                    </a:lnTo>
                    <a:lnTo>
                      <a:pt x="117" y="261"/>
                    </a:lnTo>
                    <a:lnTo>
                      <a:pt x="122" y="268"/>
                    </a:lnTo>
                    <a:lnTo>
                      <a:pt x="129" y="275"/>
                    </a:lnTo>
                    <a:lnTo>
                      <a:pt x="136" y="282"/>
                    </a:lnTo>
                    <a:lnTo>
                      <a:pt x="148" y="285"/>
                    </a:lnTo>
                    <a:lnTo>
                      <a:pt x="153" y="282"/>
                    </a:lnTo>
                    <a:lnTo>
                      <a:pt x="158" y="275"/>
                    </a:lnTo>
                    <a:lnTo>
                      <a:pt x="162" y="266"/>
                    </a:lnTo>
                    <a:lnTo>
                      <a:pt x="167" y="261"/>
                    </a:lnTo>
                    <a:lnTo>
                      <a:pt x="172" y="261"/>
                    </a:lnTo>
                    <a:lnTo>
                      <a:pt x="170" y="264"/>
                    </a:lnTo>
                    <a:lnTo>
                      <a:pt x="169" y="268"/>
                    </a:lnTo>
                    <a:lnTo>
                      <a:pt x="170" y="276"/>
                    </a:lnTo>
                    <a:lnTo>
                      <a:pt x="174" y="288"/>
                    </a:lnTo>
                    <a:lnTo>
                      <a:pt x="172" y="295"/>
                    </a:lnTo>
                    <a:lnTo>
                      <a:pt x="170" y="304"/>
                    </a:lnTo>
                    <a:lnTo>
                      <a:pt x="174" y="3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7" name="Freeform 196"/>
              <p:cNvSpPr>
                <a:spLocks/>
              </p:cNvSpPr>
              <p:nvPr/>
            </p:nvSpPr>
            <p:spPr bwMode="auto">
              <a:xfrm>
                <a:off x="6493669" y="3887788"/>
                <a:ext cx="244475" cy="261937"/>
              </a:xfrm>
              <a:custGeom>
                <a:avLst/>
                <a:gdLst/>
                <a:ahLst/>
                <a:cxnLst>
                  <a:cxn ang="0">
                    <a:pos x="69" y="86"/>
                  </a:cxn>
                  <a:cxn ang="0">
                    <a:pos x="68" y="82"/>
                  </a:cxn>
                  <a:cxn ang="0">
                    <a:pos x="68" y="81"/>
                  </a:cxn>
                  <a:cxn ang="0">
                    <a:pos x="62" y="79"/>
                  </a:cxn>
                  <a:cxn ang="0">
                    <a:pos x="59" y="79"/>
                  </a:cxn>
                  <a:cxn ang="0">
                    <a:pos x="56" y="70"/>
                  </a:cxn>
                  <a:cxn ang="0">
                    <a:pos x="52" y="60"/>
                  </a:cxn>
                  <a:cxn ang="0">
                    <a:pos x="42" y="50"/>
                  </a:cxn>
                  <a:cxn ang="0">
                    <a:pos x="33" y="45"/>
                  </a:cxn>
                  <a:cxn ang="0">
                    <a:pos x="28" y="36"/>
                  </a:cxn>
                  <a:cxn ang="0">
                    <a:pos x="26" y="29"/>
                  </a:cxn>
                  <a:cxn ang="0">
                    <a:pos x="19" y="24"/>
                  </a:cxn>
                  <a:cxn ang="0">
                    <a:pos x="14" y="24"/>
                  </a:cxn>
                  <a:cxn ang="0">
                    <a:pos x="9" y="19"/>
                  </a:cxn>
                  <a:cxn ang="0">
                    <a:pos x="6" y="14"/>
                  </a:cxn>
                  <a:cxn ang="0">
                    <a:pos x="0" y="7"/>
                  </a:cxn>
                  <a:cxn ang="0">
                    <a:pos x="0" y="3"/>
                  </a:cxn>
                  <a:cxn ang="0">
                    <a:pos x="0" y="0"/>
                  </a:cxn>
                  <a:cxn ang="0">
                    <a:pos x="4" y="0"/>
                  </a:cxn>
                  <a:cxn ang="0">
                    <a:pos x="9" y="0"/>
                  </a:cxn>
                  <a:cxn ang="0">
                    <a:pos x="14" y="3"/>
                  </a:cxn>
                  <a:cxn ang="0">
                    <a:pos x="30" y="3"/>
                  </a:cxn>
                  <a:cxn ang="0">
                    <a:pos x="42" y="12"/>
                  </a:cxn>
                  <a:cxn ang="0">
                    <a:pos x="49" y="24"/>
                  </a:cxn>
                  <a:cxn ang="0">
                    <a:pos x="50" y="24"/>
                  </a:cxn>
                  <a:cxn ang="0">
                    <a:pos x="54" y="26"/>
                  </a:cxn>
                  <a:cxn ang="0">
                    <a:pos x="62" y="31"/>
                  </a:cxn>
                  <a:cxn ang="0">
                    <a:pos x="71" y="39"/>
                  </a:cxn>
                  <a:cxn ang="0">
                    <a:pos x="76" y="45"/>
                  </a:cxn>
                  <a:cxn ang="0">
                    <a:pos x="83" y="51"/>
                  </a:cxn>
                  <a:cxn ang="0">
                    <a:pos x="90" y="55"/>
                  </a:cxn>
                  <a:cxn ang="0">
                    <a:pos x="100" y="60"/>
                  </a:cxn>
                  <a:cxn ang="0">
                    <a:pos x="111" y="63"/>
                  </a:cxn>
                  <a:cxn ang="0">
                    <a:pos x="116" y="74"/>
                  </a:cxn>
                  <a:cxn ang="0">
                    <a:pos x="116" y="75"/>
                  </a:cxn>
                  <a:cxn ang="0">
                    <a:pos x="117" y="75"/>
                  </a:cxn>
                  <a:cxn ang="0">
                    <a:pos x="119" y="75"/>
                  </a:cxn>
                  <a:cxn ang="0">
                    <a:pos x="121" y="77"/>
                  </a:cxn>
                  <a:cxn ang="0">
                    <a:pos x="124" y="81"/>
                  </a:cxn>
                  <a:cxn ang="0">
                    <a:pos x="123" y="86"/>
                  </a:cxn>
                  <a:cxn ang="0">
                    <a:pos x="124" y="91"/>
                  </a:cxn>
                  <a:cxn ang="0">
                    <a:pos x="131" y="93"/>
                  </a:cxn>
                  <a:cxn ang="0">
                    <a:pos x="135" y="105"/>
                  </a:cxn>
                  <a:cxn ang="0">
                    <a:pos x="143" y="113"/>
                  </a:cxn>
                  <a:cxn ang="0">
                    <a:pos x="148" y="115"/>
                  </a:cxn>
                  <a:cxn ang="0">
                    <a:pos x="154" y="122"/>
                  </a:cxn>
                  <a:cxn ang="0">
                    <a:pos x="154" y="131"/>
                  </a:cxn>
                  <a:cxn ang="0">
                    <a:pos x="154" y="144"/>
                  </a:cxn>
                  <a:cxn ang="0">
                    <a:pos x="148" y="149"/>
                  </a:cxn>
                  <a:cxn ang="0">
                    <a:pos x="150" y="158"/>
                  </a:cxn>
                  <a:cxn ang="0">
                    <a:pos x="145" y="163"/>
                  </a:cxn>
                  <a:cxn ang="0">
                    <a:pos x="136" y="165"/>
                  </a:cxn>
                  <a:cxn ang="0">
                    <a:pos x="129" y="158"/>
                  </a:cxn>
                  <a:cxn ang="0">
                    <a:pos x="124" y="151"/>
                  </a:cxn>
                  <a:cxn ang="0">
                    <a:pos x="111" y="139"/>
                  </a:cxn>
                  <a:cxn ang="0">
                    <a:pos x="97" y="129"/>
                  </a:cxn>
                  <a:cxn ang="0">
                    <a:pos x="85" y="113"/>
                  </a:cxn>
                  <a:cxn ang="0">
                    <a:pos x="78" y="98"/>
                  </a:cxn>
                  <a:cxn ang="0">
                    <a:pos x="73" y="91"/>
                  </a:cxn>
                  <a:cxn ang="0">
                    <a:pos x="69" y="86"/>
                  </a:cxn>
                </a:cxnLst>
                <a:rect l="0" t="0" r="r" b="b"/>
                <a:pathLst>
                  <a:path w="154" h="165">
                    <a:moveTo>
                      <a:pt x="69" y="86"/>
                    </a:moveTo>
                    <a:lnTo>
                      <a:pt x="68" y="82"/>
                    </a:lnTo>
                    <a:lnTo>
                      <a:pt x="68" y="81"/>
                    </a:lnTo>
                    <a:lnTo>
                      <a:pt x="62" y="79"/>
                    </a:lnTo>
                    <a:lnTo>
                      <a:pt x="59" y="79"/>
                    </a:lnTo>
                    <a:lnTo>
                      <a:pt x="56" y="70"/>
                    </a:lnTo>
                    <a:lnTo>
                      <a:pt x="52" y="60"/>
                    </a:lnTo>
                    <a:lnTo>
                      <a:pt x="42" y="50"/>
                    </a:lnTo>
                    <a:lnTo>
                      <a:pt x="33" y="45"/>
                    </a:lnTo>
                    <a:lnTo>
                      <a:pt x="28" y="36"/>
                    </a:lnTo>
                    <a:lnTo>
                      <a:pt x="26" y="29"/>
                    </a:lnTo>
                    <a:lnTo>
                      <a:pt x="19" y="24"/>
                    </a:lnTo>
                    <a:lnTo>
                      <a:pt x="14" y="24"/>
                    </a:lnTo>
                    <a:lnTo>
                      <a:pt x="9" y="19"/>
                    </a:lnTo>
                    <a:lnTo>
                      <a:pt x="6" y="14"/>
                    </a:lnTo>
                    <a:lnTo>
                      <a:pt x="0" y="7"/>
                    </a:lnTo>
                    <a:lnTo>
                      <a:pt x="0" y="3"/>
                    </a:lnTo>
                    <a:lnTo>
                      <a:pt x="0" y="0"/>
                    </a:lnTo>
                    <a:lnTo>
                      <a:pt x="4" y="0"/>
                    </a:lnTo>
                    <a:lnTo>
                      <a:pt x="9" y="0"/>
                    </a:lnTo>
                    <a:lnTo>
                      <a:pt x="14" y="3"/>
                    </a:lnTo>
                    <a:lnTo>
                      <a:pt x="30" y="3"/>
                    </a:lnTo>
                    <a:lnTo>
                      <a:pt x="42" y="12"/>
                    </a:lnTo>
                    <a:lnTo>
                      <a:pt x="49" y="24"/>
                    </a:lnTo>
                    <a:lnTo>
                      <a:pt x="50" y="24"/>
                    </a:lnTo>
                    <a:lnTo>
                      <a:pt x="54" y="26"/>
                    </a:lnTo>
                    <a:lnTo>
                      <a:pt x="62" y="31"/>
                    </a:lnTo>
                    <a:lnTo>
                      <a:pt x="71" y="39"/>
                    </a:lnTo>
                    <a:lnTo>
                      <a:pt x="76" y="45"/>
                    </a:lnTo>
                    <a:lnTo>
                      <a:pt x="83" y="51"/>
                    </a:lnTo>
                    <a:lnTo>
                      <a:pt x="90" y="55"/>
                    </a:lnTo>
                    <a:lnTo>
                      <a:pt x="100" y="60"/>
                    </a:lnTo>
                    <a:lnTo>
                      <a:pt x="111" y="63"/>
                    </a:lnTo>
                    <a:lnTo>
                      <a:pt x="116" y="74"/>
                    </a:lnTo>
                    <a:lnTo>
                      <a:pt x="116" y="75"/>
                    </a:lnTo>
                    <a:lnTo>
                      <a:pt x="117" y="75"/>
                    </a:lnTo>
                    <a:lnTo>
                      <a:pt x="119" y="75"/>
                    </a:lnTo>
                    <a:lnTo>
                      <a:pt x="121" y="77"/>
                    </a:lnTo>
                    <a:lnTo>
                      <a:pt x="124" y="81"/>
                    </a:lnTo>
                    <a:lnTo>
                      <a:pt x="123" y="86"/>
                    </a:lnTo>
                    <a:lnTo>
                      <a:pt x="124" y="91"/>
                    </a:lnTo>
                    <a:lnTo>
                      <a:pt x="131" y="93"/>
                    </a:lnTo>
                    <a:lnTo>
                      <a:pt x="135" y="105"/>
                    </a:lnTo>
                    <a:lnTo>
                      <a:pt x="143" y="113"/>
                    </a:lnTo>
                    <a:lnTo>
                      <a:pt x="148" y="115"/>
                    </a:lnTo>
                    <a:lnTo>
                      <a:pt x="154" y="122"/>
                    </a:lnTo>
                    <a:lnTo>
                      <a:pt x="154" y="131"/>
                    </a:lnTo>
                    <a:lnTo>
                      <a:pt x="154" y="144"/>
                    </a:lnTo>
                    <a:lnTo>
                      <a:pt x="148" y="149"/>
                    </a:lnTo>
                    <a:lnTo>
                      <a:pt x="150" y="158"/>
                    </a:lnTo>
                    <a:lnTo>
                      <a:pt x="145" y="163"/>
                    </a:lnTo>
                    <a:lnTo>
                      <a:pt x="136" y="165"/>
                    </a:lnTo>
                    <a:lnTo>
                      <a:pt x="129" y="158"/>
                    </a:lnTo>
                    <a:lnTo>
                      <a:pt x="124" y="151"/>
                    </a:lnTo>
                    <a:lnTo>
                      <a:pt x="111" y="139"/>
                    </a:lnTo>
                    <a:lnTo>
                      <a:pt x="97" y="129"/>
                    </a:lnTo>
                    <a:lnTo>
                      <a:pt x="85" y="113"/>
                    </a:lnTo>
                    <a:lnTo>
                      <a:pt x="78" y="98"/>
                    </a:lnTo>
                    <a:lnTo>
                      <a:pt x="73" y="91"/>
                    </a:lnTo>
                    <a:lnTo>
                      <a:pt x="69" y="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8" name="Freeform 197"/>
              <p:cNvSpPr>
                <a:spLocks/>
              </p:cNvSpPr>
              <p:nvPr/>
            </p:nvSpPr>
            <p:spPr bwMode="auto">
              <a:xfrm>
                <a:off x="6807994" y="3854450"/>
                <a:ext cx="231775" cy="257175"/>
              </a:xfrm>
              <a:custGeom>
                <a:avLst/>
                <a:gdLst/>
                <a:ahLst/>
                <a:cxnLst>
                  <a:cxn ang="0">
                    <a:pos x="42" y="146"/>
                  </a:cxn>
                  <a:cxn ang="0">
                    <a:pos x="36" y="143"/>
                  </a:cxn>
                  <a:cxn ang="0">
                    <a:pos x="21" y="141"/>
                  </a:cxn>
                  <a:cxn ang="0">
                    <a:pos x="16" y="126"/>
                  </a:cxn>
                  <a:cxn ang="0">
                    <a:pos x="14" y="115"/>
                  </a:cxn>
                  <a:cxn ang="0">
                    <a:pos x="11" y="112"/>
                  </a:cxn>
                  <a:cxn ang="0">
                    <a:pos x="4" y="107"/>
                  </a:cxn>
                  <a:cxn ang="0">
                    <a:pos x="0" y="93"/>
                  </a:cxn>
                  <a:cxn ang="0">
                    <a:pos x="5" y="83"/>
                  </a:cxn>
                  <a:cxn ang="0">
                    <a:pos x="24" y="81"/>
                  </a:cxn>
                  <a:cxn ang="0">
                    <a:pos x="33" y="67"/>
                  </a:cxn>
                  <a:cxn ang="0">
                    <a:pos x="43" y="59"/>
                  </a:cxn>
                  <a:cxn ang="0">
                    <a:pos x="59" y="52"/>
                  </a:cxn>
                  <a:cxn ang="0">
                    <a:pos x="64" y="43"/>
                  </a:cxn>
                  <a:cxn ang="0">
                    <a:pos x="69" y="38"/>
                  </a:cxn>
                  <a:cxn ang="0">
                    <a:pos x="74" y="35"/>
                  </a:cxn>
                  <a:cxn ang="0">
                    <a:pos x="86" y="29"/>
                  </a:cxn>
                  <a:cxn ang="0">
                    <a:pos x="98" y="19"/>
                  </a:cxn>
                  <a:cxn ang="0">
                    <a:pos x="110" y="2"/>
                  </a:cxn>
                  <a:cxn ang="0">
                    <a:pos x="124" y="4"/>
                  </a:cxn>
                  <a:cxn ang="0">
                    <a:pos x="128" y="16"/>
                  </a:cxn>
                  <a:cxn ang="0">
                    <a:pos x="143" y="21"/>
                  </a:cxn>
                  <a:cxn ang="0">
                    <a:pos x="141" y="29"/>
                  </a:cxn>
                  <a:cxn ang="0">
                    <a:pos x="136" y="35"/>
                  </a:cxn>
                  <a:cxn ang="0">
                    <a:pos x="133" y="36"/>
                  </a:cxn>
                  <a:cxn ang="0">
                    <a:pos x="124" y="41"/>
                  </a:cxn>
                  <a:cxn ang="0">
                    <a:pos x="122" y="45"/>
                  </a:cxn>
                  <a:cxn ang="0">
                    <a:pos x="122" y="48"/>
                  </a:cxn>
                  <a:cxn ang="0">
                    <a:pos x="122" y="59"/>
                  </a:cxn>
                  <a:cxn ang="0">
                    <a:pos x="136" y="79"/>
                  </a:cxn>
                  <a:cxn ang="0">
                    <a:pos x="140" y="90"/>
                  </a:cxn>
                  <a:cxn ang="0">
                    <a:pos x="129" y="90"/>
                  </a:cxn>
                  <a:cxn ang="0">
                    <a:pos x="126" y="95"/>
                  </a:cxn>
                  <a:cxn ang="0">
                    <a:pos x="119" y="117"/>
                  </a:cxn>
                  <a:cxn ang="0">
                    <a:pos x="107" y="129"/>
                  </a:cxn>
                  <a:cxn ang="0">
                    <a:pos x="110" y="136"/>
                  </a:cxn>
                  <a:cxn ang="0">
                    <a:pos x="103" y="153"/>
                  </a:cxn>
                  <a:cxn ang="0">
                    <a:pos x="88" y="162"/>
                  </a:cxn>
                  <a:cxn ang="0">
                    <a:pos x="81" y="155"/>
                  </a:cxn>
                  <a:cxn ang="0">
                    <a:pos x="59" y="146"/>
                  </a:cxn>
                  <a:cxn ang="0">
                    <a:pos x="47" y="152"/>
                  </a:cxn>
                  <a:cxn ang="0">
                    <a:pos x="43" y="150"/>
                  </a:cxn>
                </a:cxnLst>
                <a:rect l="0" t="0" r="r" b="b"/>
                <a:pathLst>
                  <a:path w="146" h="162">
                    <a:moveTo>
                      <a:pt x="43" y="150"/>
                    </a:moveTo>
                    <a:lnTo>
                      <a:pt x="42" y="146"/>
                    </a:lnTo>
                    <a:lnTo>
                      <a:pt x="42" y="143"/>
                    </a:lnTo>
                    <a:lnTo>
                      <a:pt x="36" y="143"/>
                    </a:lnTo>
                    <a:lnTo>
                      <a:pt x="31" y="145"/>
                    </a:lnTo>
                    <a:lnTo>
                      <a:pt x="21" y="141"/>
                    </a:lnTo>
                    <a:lnTo>
                      <a:pt x="17" y="134"/>
                    </a:lnTo>
                    <a:lnTo>
                      <a:pt x="16" y="126"/>
                    </a:lnTo>
                    <a:lnTo>
                      <a:pt x="14" y="117"/>
                    </a:lnTo>
                    <a:lnTo>
                      <a:pt x="14" y="115"/>
                    </a:lnTo>
                    <a:lnTo>
                      <a:pt x="14" y="114"/>
                    </a:lnTo>
                    <a:lnTo>
                      <a:pt x="11" y="112"/>
                    </a:lnTo>
                    <a:lnTo>
                      <a:pt x="7" y="112"/>
                    </a:lnTo>
                    <a:lnTo>
                      <a:pt x="4" y="107"/>
                    </a:lnTo>
                    <a:lnTo>
                      <a:pt x="2" y="100"/>
                    </a:lnTo>
                    <a:lnTo>
                      <a:pt x="0" y="93"/>
                    </a:lnTo>
                    <a:lnTo>
                      <a:pt x="0" y="90"/>
                    </a:lnTo>
                    <a:lnTo>
                      <a:pt x="5" y="83"/>
                    </a:lnTo>
                    <a:lnTo>
                      <a:pt x="17" y="84"/>
                    </a:lnTo>
                    <a:lnTo>
                      <a:pt x="24" y="81"/>
                    </a:lnTo>
                    <a:lnTo>
                      <a:pt x="30" y="76"/>
                    </a:lnTo>
                    <a:lnTo>
                      <a:pt x="33" y="67"/>
                    </a:lnTo>
                    <a:lnTo>
                      <a:pt x="38" y="62"/>
                    </a:lnTo>
                    <a:lnTo>
                      <a:pt x="43" y="59"/>
                    </a:lnTo>
                    <a:lnTo>
                      <a:pt x="52" y="57"/>
                    </a:lnTo>
                    <a:lnTo>
                      <a:pt x="59" y="52"/>
                    </a:lnTo>
                    <a:lnTo>
                      <a:pt x="64" y="47"/>
                    </a:lnTo>
                    <a:lnTo>
                      <a:pt x="64" y="43"/>
                    </a:lnTo>
                    <a:lnTo>
                      <a:pt x="67" y="41"/>
                    </a:lnTo>
                    <a:lnTo>
                      <a:pt x="69" y="38"/>
                    </a:lnTo>
                    <a:lnTo>
                      <a:pt x="73" y="38"/>
                    </a:lnTo>
                    <a:lnTo>
                      <a:pt x="74" y="35"/>
                    </a:lnTo>
                    <a:lnTo>
                      <a:pt x="76" y="33"/>
                    </a:lnTo>
                    <a:lnTo>
                      <a:pt x="86" y="29"/>
                    </a:lnTo>
                    <a:lnTo>
                      <a:pt x="95" y="28"/>
                    </a:lnTo>
                    <a:lnTo>
                      <a:pt x="98" y="19"/>
                    </a:lnTo>
                    <a:lnTo>
                      <a:pt x="103" y="11"/>
                    </a:lnTo>
                    <a:lnTo>
                      <a:pt x="110" y="2"/>
                    </a:lnTo>
                    <a:lnTo>
                      <a:pt x="117" y="0"/>
                    </a:lnTo>
                    <a:lnTo>
                      <a:pt x="124" y="4"/>
                    </a:lnTo>
                    <a:lnTo>
                      <a:pt x="126" y="12"/>
                    </a:lnTo>
                    <a:lnTo>
                      <a:pt x="128" y="16"/>
                    </a:lnTo>
                    <a:lnTo>
                      <a:pt x="136" y="19"/>
                    </a:lnTo>
                    <a:lnTo>
                      <a:pt x="143" y="21"/>
                    </a:lnTo>
                    <a:lnTo>
                      <a:pt x="146" y="28"/>
                    </a:lnTo>
                    <a:lnTo>
                      <a:pt x="141" y="29"/>
                    </a:lnTo>
                    <a:lnTo>
                      <a:pt x="136" y="33"/>
                    </a:lnTo>
                    <a:lnTo>
                      <a:pt x="136" y="35"/>
                    </a:lnTo>
                    <a:lnTo>
                      <a:pt x="138" y="36"/>
                    </a:lnTo>
                    <a:lnTo>
                      <a:pt x="133" y="36"/>
                    </a:lnTo>
                    <a:lnTo>
                      <a:pt x="129" y="40"/>
                    </a:lnTo>
                    <a:lnTo>
                      <a:pt x="124" y="41"/>
                    </a:lnTo>
                    <a:lnTo>
                      <a:pt x="122" y="43"/>
                    </a:lnTo>
                    <a:lnTo>
                      <a:pt x="122" y="45"/>
                    </a:lnTo>
                    <a:lnTo>
                      <a:pt x="124" y="48"/>
                    </a:lnTo>
                    <a:lnTo>
                      <a:pt x="122" y="48"/>
                    </a:lnTo>
                    <a:lnTo>
                      <a:pt x="121" y="52"/>
                    </a:lnTo>
                    <a:lnTo>
                      <a:pt x="122" y="59"/>
                    </a:lnTo>
                    <a:lnTo>
                      <a:pt x="128" y="71"/>
                    </a:lnTo>
                    <a:lnTo>
                      <a:pt x="136" y="79"/>
                    </a:lnTo>
                    <a:lnTo>
                      <a:pt x="145" y="84"/>
                    </a:lnTo>
                    <a:lnTo>
                      <a:pt x="140" y="90"/>
                    </a:lnTo>
                    <a:lnTo>
                      <a:pt x="133" y="90"/>
                    </a:lnTo>
                    <a:lnTo>
                      <a:pt x="129" y="90"/>
                    </a:lnTo>
                    <a:lnTo>
                      <a:pt x="128" y="90"/>
                    </a:lnTo>
                    <a:lnTo>
                      <a:pt x="126" y="95"/>
                    </a:lnTo>
                    <a:lnTo>
                      <a:pt x="121" y="107"/>
                    </a:lnTo>
                    <a:lnTo>
                      <a:pt x="119" y="117"/>
                    </a:lnTo>
                    <a:lnTo>
                      <a:pt x="110" y="122"/>
                    </a:lnTo>
                    <a:lnTo>
                      <a:pt x="107" y="129"/>
                    </a:lnTo>
                    <a:lnTo>
                      <a:pt x="109" y="133"/>
                    </a:lnTo>
                    <a:lnTo>
                      <a:pt x="110" y="136"/>
                    </a:lnTo>
                    <a:lnTo>
                      <a:pt x="107" y="145"/>
                    </a:lnTo>
                    <a:lnTo>
                      <a:pt x="103" y="153"/>
                    </a:lnTo>
                    <a:lnTo>
                      <a:pt x="95" y="158"/>
                    </a:lnTo>
                    <a:lnTo>
                      <a:pt x="88" y="162"/>
                    </a:lnTo>
                    <a:lnTo>
                      <a:pt x="81" y="158"/>
                    </a:lnTo>
                    <a:lnTo>
                      <a:pt x="81" y="155"/>
                    </a:lnTo>
                    <a:lnTo>
                      <a:pt x="69" y="150"/>
                    </a:lnTo>
                    <a:lnTo>
                      <a:pt x="59" y="146"/>
                    </a:lnTo>
                    <a:lnTo>
                      <a:pt x="52" y="148"/>
                    </a:lnTo>
                    <a:lnTo>
                      <a:pt x="47" y="152"/>
                    </a:lnTo>
                    <a:lnTo>
                      <a:pt x="45" y="150"/>
                    </a:lnTo>
                    <a:lnTo>
                      <a:pt x="43" y="15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9" name="Freeform 198"/>
              <p:cNvSpPr>
                <a:spLocks/>
              </p:cNvSpPr>
              <p:nvPr/>
            </p:nvSpPr>
            <p:spPr bwMode="auto">
              <a:xfrm>
                <a:off x="7031832" y="3978275"/>
                <a:ext cx="147638" cy="168275"/>
              </a:xfrm>
              <a:custGeom>
                <a:avLst/>
                <a:gdLst/>
                <a:ahLst/>
                <a:cxnLst>
                  <a:cxn ang="0">
                    <a:pos x="33" y="41"/>
                  </a:cxn>
                  <a:cxn ang="0">
                    <a:pos x="23" y="36"/>
                  </a:cxn>
                  <a:cxn ang="0">
                    <a:pos x="26" y="18"/>
                  </a:cxn>
                  <a:cxn ang="0">
                    <a:pos x="47" y="17"/>
                  </a:cxn>
                  <a:cxn ang="0">
                    <a:pos x="66" y="18"/>
                  </a:cxn>
                  <a:cxn ang="0">
                    <a:pos x="85" y="13"/>
                  </a:cxn>
                  <a:cxn ang="0">
                    <a:pos x="91" y="1"/>
                  </a:cxn>
                  <a:cxn ang="0">
                    <a:pos x="90" y="0"/>
                  </a:cxn>
                  <a:cxn ang="0">
                    <a:pos x="73" y="12"/>
                  </a:cxn>
                  <a:cxn ang="0">
                    <a:pos x="33" y="5"/>
                  </a:cxn>
                  <a:cxn ang="0">
                    <a:pos x="18" y="13"/>
                  </a:cxn>
                  <a:cxn ang="0">
                    <a:pos x="14" y="34"/>
                  </a:cxn>
                  <a:cxn ang="0">
                    <a:pos x="11" y="41"/>
                  </a:cxn>
                  <a:cxn ang="0">
                    <a:pos x="0" y="68"/>
                  </a:cxn>
                  <a:cxn ang="0">
                    <a:pos x="11" y="75"/>
                  </a:cxn>
                  <a:cxn ang="0">
                    <a:pos x="11" y="99"/>
                  </a:cxn>
                  <a:cxn ang="0">
                    <a:pos x="19" y="106"/>
                  </a:cxn>
                  <a:cxn ang="0">
                    <a:pos x="24" y="96"/>
                  </a:cxn>
                  <a:cxn ang="0">
                    <a:pos x="26" y="86"/>
                  </a:cxn>
                  <a:cxn ang="0">
                    <a:pos x="23" y="70"/>
                  </a:cxn>
                  <a:cxn ang="0">
                    <a:pos x="30" y="63"/>
                  </a:cxn>
                  <a:cxn ang="0">
                    <a:pos x="33" y="63"/>
                  </a:cxn>
                  <a:cxn ang="0">
                    <a:pos x="35" y="80"/>
                  </a:cxn>
                  <a:cxn ang="0">
                    <a:pos x="40" y="91"/>
                  </a:cxn>
                  <a:cxn ang="0">
                    <a:pos x="47" y="94"/>
                  </a:cxn>
                  <a:cxn ang="0">
                    <a:pos x="57" y="84"/>
                  </a:cxn>
                  <a:cxn ang="0">
                    <a:pos x="50" y="74"/>
                  </a:cxn>
                  <a:cxn ang="0">
                    <a:pos x="52" y="72"/>
                  </a:cxn>
                  <a:cxn ang="0">
                    <a:pos x="43" y="60"/>
                  </a:cxn>
                  <a:cxn ang="0">
                    <a:pos x="40" y="49"/>
                  </a:cxn>
                  <a:cxn ang="0">
                    <a:pos x="54" y="43"/>
                  </a:cxn>
                  <a:cxn ang="0">
                    <a:pos x="67" y="36"/>
                  </a:cxn>
                  <a:cxn ang="0">
                    <a:pos x="61" y="31"/>
                  </a:cxn>
                  <a:cxn ang="0">
                    <a:pos x="40" y="37"/>
                  </a:cxn>
                  <a:cxn ang="0">
                    <a:pos x="36" y="39"/>
                  </a:cxn>
                </a:cxnLst>
                <a:rect l="0" t="0" r="r" b="b"/>
                <a:pathLst>
                  <a:path w="93" h="106">
                    <a:moveTo>
                      <a:pt x="36" y="39"/>
                    </a:moveTo>
                    <a:lnTo>
                      <a:pt x="33" y="41"/>
                    </a:lnTo>
                    <a:lnTo>
                      <a:pt x="31" y="43"/>
                    </a:lnTo>
                    <a:lnTo>
                      <a:pt x="23" y="36"/>
                    </a:lnTo>
                    <a:lnTo>
                      <a:pt x="21" y="25"/>
                    </a:lnTo>
                    <a:lnTo>
                      <a:pt x="26" y="18"/>
                    </a:lnTo>
                    <a:lnTo>
                      <a:pt x="38" y="18"/>
                    </a:lnTo>
                    <a:lnTo>
                      <a:pt x="47" y="17"/>
                    </a:lnTo>
                    <a:lnTo>
                      <a:pt x="57" y="17"/>
                    </a:lnTo>
                    <a:lnTo>
                      <a:pt x="66" y="18"/>
                    </a:lnTo>
                    <a:lnTo>
                      <a:pt x="74" y="20"/>
                    </a:lnTo>
                    <a:lnTo>
                      <a:pt x="85" y="13"/>
                    </a:lnTo>
                    <a:lnTo>
                      <a:pt x="90" y="3"/>
                    </a:lnTo>
                    <a:lnTo>
                      <a:pt x="91" y="1"/>
                    </a:lnTo>
                    <a:lnTo>
                      <a:pt x="93" y="0"/>
                    </a:lnTo>
                    <a:lnTo>
                      <a:pt x="90" y="0"/>
                    </a:lnTo>
                    <a:lnTo>
                      <a:pt x="79" y="5"/>
                    </a:lnTo>
                    <a:lnTo>
                      <a:pt x="73" y="12"/>
                    </a:lnTo>
                    <a:lnTo>
                      <a:pt x="69" y="12"/>
                    </a:lnTo>
                    <a:lnTo>
                      <a:pt x="33" y="5"/>
                    </a:lnTo>
                    <a:lnTo>
                      <a:pt x="23" y="6"/>
                    </a:lnTo>
                    <a:lnTo>
                      <a:pt x="18" y="13"/>
                    </a:lnTo>
                    <a:lnTo>
                      <a:pt x="14" y="24"/>
                    </a:lnTo>
                    <a:lnTo>
                      <a:pt x="14" y="34"/>
                    </a:lnTo>
                    <a:lnTo>
                      <a:pt x="12" y="37"/>
                    </a:lnTo>
                    <a:lnTo>
                      <a:pt x="11" y="41"/>
                    </a:lnTo>
                    <a:lnTo>
                      <a:pt x="2" y="55"/>
                    </a:lnTo>
                    <a:lnTo>
                      <a:pt x="0" y="68"/>
                    </a:lnTo>
                    <a:lnTo>
                      <a:pt x="4" y="74"/>
                    </a:lnTo>
                    <a:lnTo>
                      <a:pt x="11" y="75"/>
                    </a:lnTo>
                    <a:lnTo>
                      <a:pt x="11" y="87"/>
                    </a:lnTo>
                    <a:lnTo>
                      <a:pt x="11" y="99"/>
                    </a:lnTo>
                    <a:lnTo>
                      <a:pt x="12" y="103"/>
                    </a:lnTo>
                    <a:lnTo>
                      <a:pt x="19" y="106"/>
                    </a:lnTo>
                    <a:lnTo>
                      <a:pt x="21" y="103"/>
                    </a:lnTo>
                    <a:lnTo>
                      <a:pt x="24" y="96"/>
                    </a:lnTo>
                    <a:lnTo>
                      <a:pt x="24" y="89"/>
                    </a:lnTo>
                    <a:lnTo>
                      <a:pt x="26" y="86"/>
                    </a:lnTo>
                    <a:lnTo>
                      <a:pt x="24" y="77"/>
                    </a:lnTo>
                    <a:lnTo>
                      <a:pt x="23" y="70"/>
                    </a:lnTo>
                    <a:lnTo>
                      <a:pt x="24" y="65"/>
                    </a:lnTo>
                    <a:lnTo>
                      <a:pt x="30" y="63"/>
                    </a:lnTo>
                    <a:lnTo>
                      <a:pt x="31" y="63"/>
                    </a:lnTo>
                    <a:lnTo>
                      <a:pt x="33" y="63"/>
                    </a:lnTo>
                    <a:lnTo>
                      <a:pt x="31" y="74"/>
                    </a:lnTo>
                    <a:lnTo>
                      <a:pt x="35" y="80"/>
                    </a:lnTo>
                    <a:lnTo>
                      <a:pt x="40" y="89"/>
                    </a:lnTo>
                    <a:lnTo>
                      <a:pt x="40" y="91"/>
                    </a:lnTo>
                    <a:lnTo>
                      <a:pt x="40" y="94"/>
                    </a:lnTo>
                    <a:lnTo>
                      <a:pt x="47" y="94"/>
                    </a:lnTo>
                    <a:lnTo>
                      <a:pt x="52" y="89"/>
                    </a:lnTo>
                    <a:lnTo>
                      <a:pt x="57" y="84"/>
                    </a:lnTo>
                    <a:lnTo>
                      <a:pt x="52" y="79"/>
                    </a:lnTo>
                    <a:lnTo>
                      <a:pt x="50" y="74"/>
                    </a:lnTo>
                    <a:lnTo>
                      <a:pt x="50" y="72"/>
                    </a:lnTo>
                    <a:lnTo>
                      <a:pt x="52" y="72"/>
                    </a:lnTo>
                    <a:lnTo>
                      <a:pt x="47" y="67"/>
                    </a:lnTo>
                    <a:lnTo>
                      <a:pt x="43" y="60"/>
                    </a:lnTo>
                    <a:lnTo>
                      <a:pt x="40" y="51"/>
                    </a:lnTo>
                    <a:lnTo>
                      <a:pt x="40" y="49"/>
                    </a:lnTo>
                    <a:lnTo>
                      <a:pt x="47" y="46"/>
                    </a:lnTo>
                    <a:lnTo>
                      <a:pt x="54" y="43"/>
                    </a:lnTo>
                    <a:lnTo>
                      <a:pt x="59" y="39"/>
                    </a:lnTo>
                    <a:lnTo>
                      <a:pt x="67" y="36"/>
                    </a:lnTo>
                    <a:lnTo>
                      <a:pt x="67" y="31"/>
                    </a:lnTo>
                    <a:lnTo>
                      <a:pt x="61" y="31"/>
                    </a:lnTo>
                    <a:lnTo>
                      <a:pt x="50" y="34"/>
                    </a:lnTo>
                    <a:lnTo>
                      <a:pt x="40" y="37"/>
                    </a:lnTo>
                    <a:lnTo>
                      <a:pt x="36" y="41"/>
                    </a:lnTo>
                    <a:lnTo>
                      <a:pt x="36" y="3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0" name="Freeform 199"/>
              <p:cNvSpPr>
                <a:spLocks/>
              </p:cNvSpPr>
              <p:nvPr/>
            </p:nvSpPr>
            <p:spPr bwMode="auto">
              <a:xfrm>
                <a:off x="6728619" y="4149725"/>
                <a:ext cx="233363" cy="68262"/>
              </a:xfrm>
              <a:custGeom>
                <a:avLst/>
                <a:gdLst/>
                <a:ahLst/>
                <a:cxnLst>
                  <a:cxn ang="0">
                    <a:pos x="141" y="41"/>
                  </a:cxn>
                  <a:cxn ang="0">
                    <a:pos x="136" y="39"/>
                  </a:cxn>
                  <a:cxn ang="0">
                    <a:pos x="131" y="38"/>
                  </a:cxn>
                  <a:cxn ang="0">
                    <a:pos x="129" y="39"/>
                  </a:cxn>
                  <a:cxn ang="0">
                    <a:pos x="131" y="43"/>
                  </a:cxn>
                  <a:cxn ang="0">
                    <a:pos x="117" y="38"/>
                  </a:cxn>
                  <a:cxn ang="0">
                    <a:pos x="104" y="36"/>
                  </a:cxn>
                  <a:cxn ang="0">
                    <a:pos x="90" y="36"/>
                  </a:cxn>
                  <a:cxn ang="0">
                    <a:pos x="78" y="36"/>
                  </a:cxn>
                  <a:cxn ang="0">
                    <a:pos x="69" y="33"/>
                  </a:cxn>
                  <a:cxn ang="0">
                    <a:pos x="64" y="29"/>
                  </a:cxn>
                  <a:cxn ang="0">
                    <a:pos x="50" y="27"/>
                  </a:cxn>
                  <a:cxn ang="0">
                    <a:pos x="37" y="26"/>
                  </a:cxn>
                  <a:cxn ang="0">
                    <a:pos x="24" y="24"/>
                  </a:cxn>
                  <a:cxn ang="0">
                    <a:pos x="16" y="24"/>
                  </a:cxn>
                  <a:cxn ang="0">
                    <a:pos x="7" y="15"/>
                  </a:cxn>
                  <a:cxn ang="0">
                    <a:pos x="0" y="12"/>
                  </a:cxn>
                  <a:cxn ang="0">
                    <a:pos x="4" y="5"/>
                  </a:cxn>
                  <a:cxn ang="0">
                    <a:pos x="12" y="2"/>
                  </a:cxn>
                  <a:cxn ang="0">
                    <a:pos x="14" y="2"/>
                  </a:cxn>
                  <a:cxn ang="0">
                    <a:pos x="16" y="3"/>
                  </a:cxn>
                  <a:cxn ang="0">
                    <a:pos x="19" y="2"/>
                  </a:cxn>
                  <a:cxn ang="0">
                    <a:pos x="24" y="0"/>
                  </a:cxn>
                  <a:cxn ang="0">
                    <a:pos x="33" y="2"/>
                  </a:cxn>
                  <a:cxn ang="0">
                    <a:pos x="43" y="8"/>
                  </a:cxn>
                  <a:cxn ang="0">
                    <a:pos x="52" y="14"/>
                  </a:cxn>
                  <a:cxn ang="0">
                    <a:pos x="64" y="17"/>
                  </a:cxn>
                  <a:cxn ang="0">
                    <a:pos x="71" y="12"/>
                  </a:cxn>
                  <a:cxn ang="0">
                    <a:pos x="78" y="8"/>
                  </a:cxn>
                  <a:cxn ang="0">
                    <a:pos x="90" y="14"/>
                  </a:cxn>
                  <a:cxn ang="0">
                    <a:pos x="102" y="19"/>
                  </a:cxn>
                  <a:cxn ang="0">
                    <a:pos x="116" y="15"/>
                  </a:cxn>
                  <a:cxn ang="0">
                    <a:pos x="121" y="15"/>
                  </a:cxn>
                  <a:cxn ang="0">
                    <a:pos x="117" y="17"/>
                  </a:cxn>
                  <a:cxn ang="0">
                    <a:pos x="110" y="19"/>
                  </a:cxn>
                  <a:cxn ang="0">
                    <a:pos x="104" y="19"/>
                  </a:cxn>
                  <a:cxn ang="0">
                    <a:pos x="102" y="19"/>
                  </a:cxn>
                  <a:cxn ang="0">
                    <a:pos x="110" y="24"/>
                  </a:cxn>
                  <a:cxn ang="0">
                    <a:pos x="123" y="26"/>
                  </a:cxn>
                  <a:cxn ang="0">
                    <a:pos x="124" y="27"/>
                  </a:cxn>
                  <a:cxn ang="0">
                    <a:pos x="128" y="31"/>
                  </a:cxn>
                  <a:cxn ang="0">
                    <a:pos x="133" y="31"/>
                  </a:cxn>
                  <a:cxn ang="0">
                    <a:pos x="140" y="33"/>
                  </a:cxn>
                  <a:cxn ang="0">
                    <a:pos x="143" y="33"/>
                  </a:cxn>
                  <a:cxn ang="0">
                    <a:pos x="147" y="36"/>
                  </a:cxn>
                  <a:cxn ang="0">
                    <a:pos x="143" y="38"/>
                  </a:cxn>
                  <a:cxn ang="0">
                    <a:pos x="141" y="41"/>
                  </a:cxn>
                </a:cxnLst>
                <a:rect l="0" t="0" r="r" b="b"/>
                <a:pathLst>
                  <a:path w="147" h="43">
                    <a:moveTo>
                      <a:pt x="141" y="41"/>
                    </a:moveTo>
                    <a:lnTo>
                      <a:pt x="136" y="39"/>
                    </a:lnTo>
                    <a:lnTo>
                      <a:pt x="131" y="38"/>
                    </a:lnTo>
                    <a:lnTo>
                      <a:pt x="129" y="39"/>
                    </a:lnTo>
                    <a:lnTo>
                      <a:pt x="131" y="43"/>
                    </a:lnTo>
                    <a:lnTo>
                      <a:pt x="117" y="38"/>
                    </a:lnTo>
                    <a:lnTo>
                      <a:pt x="104" y="36"/>
                    </a:lnTo>
                    <a:lnTo>
                      <a:pt x="90" y="36"/>
                    </a:lnTo>
                    <a:lnTo>
                      <a:pt x="78" y="36"/>
                    </a:lnTo>
                    <a:lnTo>
                      <a:pt x="69" y="33"/>
                    </a:lnTo>
                    <a:lnTo>
                      <a:pt x="64" y="29"/>
                    </a:lnTo>
                    <a:lnTo>
                      <a:pt x="50" y="27"/>
                    </a:lnTo>
                    <a:lnTo>
                      <a:pt x="37" y="26"/>
                    </a:lnTo>
                    <a:lnTo>
                      <a:pt x="24" y="24"/>
                    </a:lnTo>
                    <a:lnTo>
                      <a:pt x="16" y="24"/>
                    </a:lnTo>
                    <a:lnTo>
                      <a:pt x="7" y="15"/>
                    </a:lnTo>
                    <a:lnTo>
                      <a:pt x="0" y="12"/>
                    </a:lnTo>
                    <a:lnTo>
                      <a:pt x="4" y="5"/>
                    </a:lnTo>
                    <a:lnTo>
                      <a:pt x="12" y="2"/>
                    </a:lnTo>
                    <a:lnTo>
                      <a:pt x="14" y="2"/>
                    </a:lnTo>
                    <a:lnTo>
                      <a:pt x="16" y="3"/>
                    </a:lnTo>
                    <a:lnTo>
                      <a:pt x="19" y="2"/>
                    </a:lnTo>
                    <a:lnTo>
                      <a:pt x="24" y="0"/>
                    </a:lnTo>
                    <a:lnTo>
                      <a:pt x="33" y="2"/>
                    </a:lnTo>
                    <a:lnTo>
                      <a:pt x="43" y="8"/>
                    </a:lnTo>
                    <a:lnTo>
                      <a:pt x="52" y="14"/>
                    </a:lnTo>
                    <a:lnTo>
                      <a:pt x="64" y="17"/>
                    </a:lnTo>
                    <a:lnTo>
                      <a:pt x="71" y="12"/>
                    </a:lnTo>
                    <a:lnTo>
                      <a:pt x="78" y="8"/>
                    </a:lnTo>
                    <a:lnTo>
                      <a:pt x="90" y="14"/>
                    </a:lnTo>
                    <a:lnTo>
                      <a:pt x="102" y="19"/>
                    </a:lnTo>
                    <a:lnTo>
                      <a:pt x="116" y="15"/>
                    </a:lnTo>
                    <a:lnTo>
                      <a:pt x="121" y="15"/>
                    </a:lnTo>
                    <a:lnTo>
                      <a:pt x="117" y="17"/>
                    </a:lnTo>
                    <a:lnTo>
                      <a:pt x="110" y="19"/>
                    </a:lnTo>
                    <a:lnTo>
                      <a:pt x="104" y="19"/>
                    </a:lnTo>
                    <a:lnTo>
                      <a:pt x="102" y="19"/>
                    </a:lnTo>
                    <a:lnTo>
                      <a:pt x="110" y="24"/>
                    </a:lnTo>
                    <a:lnTo>
                      <a:pt x="123" y="26"/>
                    </a:lnTo>
                    <a:lnTo>
                      <a:pt x="124" y="27"/>
                    </a:lnTo>
                    <a:lnTo>
                      <a:pt x="128" y="31"/>
                    </a:lnTo>
                    <a:lnTo>
                      <a:pt x="133" y="31"/>
                    </a:lnTo>
                    <a:lnTo>
                      <a:pt x="140" y="33"/>
                    </a:lnTo>
                    <a:lnTo>
                      <a:pt x="143" y="33"/>
                    </a:lnTo>
                    <a:lnTo>
                      <a:pt x="147" y="36"/>
                    </a:lnTo>
                    <a:lnTo>
                      <a:pt x="143" y="38"/>
                    </a:lnTo>
                    <a:lnTo>
                      <a:pt x="141"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1" name="Freeform 200"/>
              <p:cNvSpPr>
                <a:spLocks/>
              </p:cNvSpPr>
              <p:nvPr/>
            </p:nvSpPr>
            <p:spPr bwMode="auto">
              <a:xfrm>
                <a:off x="7060407" y="4203700"/>
                <a:ext cx="69850" cy="17462"/>
              </a:xfrm>
              <a:custGeom>
                <a:avLst/>
                <a:gdLst/>
                <a:ahLst/>
                <a:cxnLst>
                  <a:cxn ang="0">
                    <a:pos x="29" y="11"/>
                  </a:cxn>
                  <a:cxn ang="0">
                    <a:pos x="18" y="11"/>
                  </a:cxn>
                  <a:cxn ang="0">
                    <a:pos x="10" y="11"/>
                  </a:cxn>
                  <a:cxn ang="0">
                    <a:pos x="3" y="9"/>
                  </a:cxn>
                  <a:cxn ang="0">
                    <a:pos x="0" y="5"/>
                  </a:cxn>
                  <a:cxn ang="0">
                    <a:pos x="1" y="2"/>
                  </a:cxn>
                  <a:cxn ang="0">
                    <a:pos x="8" y="2"/>
                  </a:cxn>
                  <a:cxn ang="0">
                    <a:pos x="18" y="4"/>
                  </a:cxn>
                  <a:cxn ang="0">
                    <a:pos x="29" y="5"/>
                  </a:cxn>
                  <a:cxn ang="0">
                    <a:pos x="36" y="4"/>
                  </a:cxn>
                  <a:cxn ang="0">
                    <a:pos x="44" y="0"/>
                  </a:cxn>
                  <a:cxn ang="0">
                    <a:pos x="37" y="7"/>
                  </a:cxn>
                  <a:cxn ang="0">
                    <a:pos x="29" y="11"/>
                  </a:cxn>
                </a:cxnLst>
                <a:rect l="0" t="0" r="r" b="b"/>
                <a:pathLst>
                  <a:path w="44" h="11">
                    <a:moveTo>
                      <a:pt x="29" y="11"/>
                    </a:moveTo>
                    <a:lnTo>
                      <a:pt x="18" y="11"/>
                    </a:lnTo>
                    <a:lnTo>
                      <a:pt x="10" y="11"/>
                    </a:lnTo>
                    <a:lnTo>
                      <a:pt x="3" y="9"/>
                    </a:lnTo>
                    <a:lnTo>
                      <a:pt x="0" y="5"/>
                    </a:lnTo>
                    <a:lnTo>
                      <a:pt x="1" y="2"/>
                    </a:lnTo>
                    <a:lnTo>
                      <a:pt x="8" y="2"/>
                    </a:lnTo>
                    <a:lnTo>
                      <a:pt x="18" y="4"/>
                    </a:lnTo>
                    <a:lnTo>
                      <a:pt x="29" y="5"/>
                    </a:lnTo>
                    <a:lnTo>
                      <a:pt x="36" y="4"/>
                    </a:lnTo>
                    <a:lnTo>
                      <a:pt x="44" y="0"/>
                    </a:lnTo>
                    <a:lnTo>
                      <a:pt x="37" y="7"/>
                    </a:lnTo>
                    <a:lnTo>
                      <a:pt x="29"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2" name="Freeform 201"/>
              <p:cNvSpPr>
                <a:spLocks/>
              </p:cNvSpPr>
              <p:nvPr/>
            </p:nvSpPr>
            <p:spPr bwMode="auto">
              <a:xfrm>
                <a:off x="6988969" y="4210050"/>
                <a:ext cx="49213" cy="15875"/>
              </a:xfrm>
              <a:custGeom>
                <a:avLst/>
                <a:gdLst/>
                <a:ahLst/>
                <a:cxnLst>
                  <a:cxn ang="0">
                    <a:pos x="31" y="7"/>
                  </a:cxn>
                  <a:cxn ang="0">
                    <a:pos x="27" y="7"/>
                  </a:cxn>
                  <a:cxn ang="0">
                    <a:pos x="22" y="5"/>
                  </a:cxn>
                  <a:cxn ang="0">
                    <a:pos x="15" y="7"/>
                  </a:cxn>
                  <a:cxn ang="0">
                    <a:pos x="10" y="10"/>
                  </a:cxn>
                  <a:cxn ang="0">
                    <a:pos x="3" y="8"/>
                  </a:cxn>
                  <a:cxn ang="0">
                    <a:pos x="0" y="7"/>
                  </a:cxn>
                  <a:cxn ang="0">
                    <a:pos x="2" y="1"/>
                  </a:cxn>
                  <a:cxn ang="0">
                    <a:pos x="8" y="1"/>
                  </a:cxn>
                  <a:cxn ang="0">
                    <a:pos x="14" y="1"/>
                  </a:cxn>
                  <a:cxn ang="0">
                    <a:pos x="19" y="3"/>
                  </a:cxn>
                  <a:cxn ang="0">
                    <a:pos x="19" y="0"/>
                  </a:cxn>
                  <a:cxn ang="0">
                    <a:pos x="31" y="0"/>
                  </a:cxn>
                  <a:cxn ang="0">
                    <a:pos x="31" y="3"/>
                  </a:cxn>
                  <a:cxn ang="0">
                    <a:pos x="31" y="7"/>
                  </a:cxn>
                </a:cxnLst>
                <a:rect l="0" t="0" r="r" b="b"/>
                <a:pathLst>
                  <a:path w="31" h="10">
                    <a:moveTo>
                      <a:pt x="31" y="7"/>
                    </a:moveTo>
                    <a:lnTo>
                      <a:pt x="27" y="7"/>
                    </a:lnTo>
                    <a:lnTo>
                      <a:pt x="22" y="5"/>
                    </a:lnTo>
                    <a:lnTo>
                      <a:pt x="15" y="7"/>
                    </a:lnTo>
                    <a:lnTo>
                      <a:pt x="10" y="10"/>
                    </a:lnTo>
                    <a:lnTo>
                      <a:pt x="3" y="8"/>
                    </a:lnTo>
                    <a:lnTo>
                      <a:pt x="0" y="7"/>
                    </a:lnTo>
                    <a:lnTo>
                      <a:pt x="2" y="1"/>
                    </a:lnTo>
                    <a:lnTo>
                      <a:pt x="8" y="1"/>
                    </a:lnTo>
                    <a:lnTo>
                      <a:pt x="14" y="1"/>
                    </a:lnTo>
                    <a:lnTo>
                      <a:pt x="19" y="3"/>
                    </a:lnTo>
                    <a:lnTo>
                      <a:pt x="19" y="0"/>
                    </a:lnTo>
                    <a:lnTo>
                      <a:pt x="31" y="0"/>
                    </a:lnTo>
                    <a:lnTo>
                      <a:pt x="31" y="3"/>
                    </a:lnTo>
                    <a:lnTo>
                      <a:pt x="31"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3" name="Freeform 202"/>
              <p:cNvSpPr>
                <a:spLocks/>
              </p:cNvSpPr>
              <p:nvPr/>
            </p:nvSpPr>
            <p:spPr bwMode="auto">
              <a:xfrm>
                <a:off x="7039769" y="4229100"/>
                <a:ext cx="36513" cy="26987"/>
              </a:xfrm>
              <a:custGeom>
                <a:avLst/>
                <a:gdLst/>
                <a:ahLst/>
                <a:cxnLst>
                  <a:cxn ang="0">
                    <a:pos x="18" y="17"/>
                  </a:cxn>
                  <a:cxn ang="0">
                    <a:pos x="14" y="14"/>
                  </a:cxn>
                  <a:cxn ang="0">
                    <a:pos x="14" y="10"/>
                  </a:cxn>
                  <a:cxn ang="0">
                    <a:pos x="4" y="8"/>
                  </a:cxn>
                  <a:cxn ang="0">
                    <a:pos x="0" y="5"/>
                  </a:cxn>
                  <a:cxn ang="0">
                    <a:pos x="4" y="0"/>
                  </a:cxn>
                  <a:cxn ang="0">
                    <a:pos x="11" y="1"/>
                  </a:cxn>
                  <a:cxn ang="0">
                    <a:pos x="13" y="1"/>
                  </a:cxn>
                  <a:cxn ang="0">
                    <a:pos x="16" y="1"/>
                  </a:cxn>
                  <a:cxn ang="0">
                    <a:pos x="19" y="7"/>
                  </a:cxn>
                  <a:cxn ang="0">
                    <a:pos x="23" y="14"/>
                  </a:cxn>
                  <a:cxn ang="0">
                    <a:pos x="21" y="15"/>
                  </a:cxn>
                  <a:cxn ang="0">
                    <a:pos x="19" y="17"/>
                  </a:cxn>
                  <a:cxn ang="0">
                    <a:pos x="18" y="17"/>
                  </a:cxn>
                </a:cxnLst>
                <a:rect l="0" t="0" r="r" b="b"/>
                <a:pathLst>
                  <a:path w="23" h="17">
                    <a:moveTo>
                      <a:pt x="18" y="17"/>
                    </a:moveTo>
                    <a:lnTo>
                      <a:pt x="14" y="14"/>
                    </a:lnTo>
                    <a:lnTo>
                      <a:pt x="14" y="10"/>
                    </a:lnTo>
                    <a:lnTo>
                      <a:pt x="4" y="8"/>
                    </a:lnTo>
                    <a:lnTo>
                      <a:pt x="0" y="5"/>
                    </a:lnTo>
                    <a:lnTo>
                      <a:pt x="4" y="0"/>
                    </a:lnTo>
                    <a:lnTo>
                      <a:pt x="11" y="1"/>
                    </a:lnTo>
                    <a:lnTo>
                      <a:pt x="13" y="1"/>
                    </a:lnTo>
                    <a:lnTo>
                      <a:pt x="16" y="1"/>
                    </a:lnTo>
                    <a:lnTo>
                      <a:pt x="19" y="7"/>
                    </a:lnTo>
                    <a:lnTo>
                      <a:pt x="23" y="14"/>
                    </a:lnTo>
                    <a:lnTo>
                      <a:pt x="21" y="15"/>
                    </a:lnTo>
                    <a:lnTo>
                      <a:pt x="19" y="17"/>
                    </a:lnTo>
                    <a:lnTo>
                      <a:pt x="18"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4" name="Freeform 203"/>
              <p:cNvSpPr>
                <a:spLocks/>
              </p:cNvSpPr>
              <p:nvPr/>
            </p:nvSpPr>
            <p:spPr bwMode="auto">
              <a:xfrm>
                <a:off x="6971507" y="4206875"/>
                <a:ext cx="14288" cy="14287"/>
              </a:xfrm>
              <a:custGeom>
                <a:avLst/>
                <a:gdLst/>
                <a:ahLst/>
                <a:cxnLst>
                  <a:cxn ang="0">
                    <a:pos x="0" y="0"/>
                  </a:cxn>
                  <a:cxn ang="0">
                    <a:pos x="4" y="0"/>
                  </a:cxn>
                  <a:cxn ang="0">
                    <a:pos x="6" y="2"/>
                  </a:cxn>
                  <a:cxn ang="0">
                    <a:pos x="9" y="3"/>
                  </a:cxn>
                  <a:cxn ang="0">
                    <a:pos x="6" y="7"/>
                  </a:cxn>
                  <a:cxn ang="0">
                    <a:pos x="4" y="9"/>
                  </a:cxn>
                  <a:cxn ang="0">
                    <a:pos x="0" y="7"/>
                  </a:cxn>
                  <a:cxn ang="0">
                    <a:pos x="0" y="5"/>
                  </a:cxn>
                  <a:cxn ang="0">
                    <a:pos x="0" y="2"/>
                  </a:cxn>
                  <a:cxn ang="0">
                    <a:pos x="0" y="0"/>
                  </a:cxn>
                </a:cxnLst>
                <a:rect l="0" t="0" r="r" b="b"/>
                <a:pathLst>
                  <a:path w="9" h="9">
                    <a:moveTo>
                      <a:pt x="0" y="0"/>
                    </a:moveTo>
                    <a:lnTo>
                      <a:pt x="4" y="0"/>
                    </a:lnTo>
                    <a:lnTo>
                      <a:pt x="6" y="2"/>
                    </a:lnTo>
                    <a:lnTo>
                      <a:pt x="9" y="3"/>
                    </a:lnTo>
                    <a:lnTo>
                      <a:pt x="6" y="7"/>
                    </a:lnTo>
                    <a:lnTo>
                      <a:pt x="4" y="9"/>
                    </a:lnTo>
                    <a:lnTo>
                      <a:pt x="0" y="7"/>
                    </a:lnTo>
                    <a:lnTo>
                      <a:pt x="0" y="5"/>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5" name="Freeform 204"/>
              <p:cNvSpPr>
                <a:spLocks/>
              </p:cNvSpPr>
              <p:nvPr/>
            </p:nvSpPr>
            <p:spPr bwMode="auto">
              <a:xfrm>
                <a:off x="7141369" y="4210050"/>
                <a:ext cx="82550" cy="46037"/>
              </a:xfrm>
              <a:custGeom>
                <a:avLst/>
                <a:gdLst/>
                <a:ahLst/>
                <a:cxnLst>
                  <a:cxn ang="0">
                    <a:pos x="22" y="13"/>
                  </a:cxn>
                  <a:cxn ang="0">
                    <a:pos x="21" y="15"/>
                  </a:cxn>
                  <a:cxn ang="0">
                    <a:pos x="21" y="20"/>
                  </a:cxn>
                  <a:cxn ang="0">
                    <a:pos x="14" y="26"/>
                  </a:cxn>
                  <a:cxn ang="0">
                    <a:pos x="4" y="29"/>
                  </a:cxn>
                  <a:cxn ang="0">
                    <a:pos x="0" y="27"/>
                  </a:cxn>
                  <a:cxn ang="0">
                    <a:pos x="0" y="26"/>
                  </a:cxn>
                  <a:cxn ang="0">
                    <a:pos x="5" y="13"/>
                  </a:cxn>
                  <a:cxn ang="0">
                    <a:pos x="17" y="12"/>
                  </a:cxn>
                  <a:cxn ang="0">
                    <a:pos x="19" y="8"/>
                  </a:cxn>
                  <a:cxn ang="0">
                    <a:pos x="21" y="7"/>
                  </a:cxn>
                  <a:cxn ang="0">
                    <a:pos x="26" y="1"/>
                  </a:cxn>
                  <a:cxn ang="0">
                    <a:pos x="36" y="1"/>
                  </a:cxn>
                  <a:cxn ang="0">
                    <a:pos x="45" y="0"/>
                  </a:cxn>
                  <a:cxn ang="0">
                    <a:pos x="52" y="3"/>
                  </a:cxn>
                  <a:cxn ang="0">
                    <a:pos x="45" y="7"/>
                  </a:cxn>
                  <a:cxn ang="0">
                    <a:pos x="38" y="10"/>
                  </a:cxn>
                  <a:cxn ang="0">
                    <a:pos x="29" y="12"/>
                  </a:cxn>
                  <a:cxn ang="0">
                    <a:pos x="22" y="13"/>
                  </a:cxn>
                </a:cxnLst>
                <a:rect l="0" t="0" r="r" b="b"/>
                <a:pathLst>
                  <a:path w="52" h="29">
                    <a:moveTo>
                      <a:pt x="22" y="13"/>
                    </a:moveTo>
                    <a:lnTo>
                      <a:pt x="21" y="15"/>
                    </a:lnTo>
                    <a:lnTo>
                      <a:pt x="21" y="20"/>
                    </a:lnTo>
                    <a:lnTo>
                      <a:pt x="14" y="26"/>
                    </a:lnTo>
                    <a:lnTo>
                      <a:pt x="4" y="29"/>
                    </a:lnTo>
                    <a:lnTo>
                      <a:pt x="0" y="27"/>
                    </a:lnTo>
                    <a:lnTo>
                      <a:pt x="0" y="26"/>
                    </a:lnTo>
                    <a:lnTo>
                      <a:pt x="5" y="13"/>
                    </a:lnTo>
                    <a:lnTo>
                      <a:pt x="17" y="12"/>
                    </a:lnTo>
                    <a:lnTo>
                      <a:pt x="19" y="8"/>
                    </a:lnTo>
                    <a:lnTo>
                      <a:pt x="21" y="7"/>
                    </a:lnTo>
                    <a:lnTo>
                      <a:pt x="26" y="1"/>
                    </a:lnTo>
                    <a:lnTo>
                      <a:pt x="36" y="1"/>
                    </a:lnTo>
                    <a:lnTo>
                      <a:pt x="45" y="0"/>
                    </a:lnTo>
                    <a:lnTo>
                      <a:pt x="52" y="3"/>
                    </a:lnTo>
                    <a:lnTo>
                      <a:pt x="45" y="7"/>
                    </a:lnTo>
                    <a:lnTo>
                      <a:pt x="38" y="10"/>
                    </a:lnTo>
                    <a:lnTo>
                      <a:pt x="29" y="12"/>
                    </a:lnTo>
                    <a:lnTo>
                      <a:pt x="22"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6" name="Freeform 205"/>
              <p:cNvSpPr>
                <a:spLocks/>
              </p:cNvSpPr>
              <p:nvPr/>
            </p:nvSpPr>
            <p:spPr bwMode="auto">
              <a:xfrm>
                <a:off x="7384257" y="4143375"/>
                <a:ext cx="14288" cy="33337"/>
              </a:xfrm>
              <a:custGeom>
                <a:avLst/>
                <a:gdLst/>
                <a:ahLst/>
                <a:cxnLst>
                  <a:cxn ang="0">
                    <a:pos x="7" y="0"/>
                  </a:cxn>
                  <a:cxn ang="0">
                    <a:pos x="7" y="2"/>
                  </a:cxn>
                  <a:cxn ang="0">
                    <a:pos x="9" y="6"/>
                  </a:cxn>
                  <a:cxn ang="0">
                    <a:pos x="7" y="9"/>
                  </a:cxn>
                  <a:cxn ang="0">
                    <a:pos x="5" y="11"/>
                  </a:cxn>
                  <a:cxn ang="0">
                    <a:pos x="5" y="18"/>
                  </a:cxn>
                  <a:cxn ang="0">
                    <a:pos x="2" y="21"/>
                  </a:cxn>
                  <a:cxn ang="0">
                    <a:pos x="0" y="19"/>
                  </a:cxn>
                  <a:cxn ang="0">
                    <a:pos x="0" y="18"/>
                  </a:cxn>
                  <a:cxn ang="0">
                    <a:pos x="2" y="11"/>
                  </a:cxn>
                  <a:cxn ang="0">
                    <a:pos x="4" y="9"/>
                  </a:cxn>
                  <a:cxn ang="0">
                    <a:pos x="4" y="2"/>
                  </a:cxn>
                  <a:cxn ang="0">
                    <a:pos x="7" y="0"/>
                  </a:cxn>
                </a:cxnLst>
                <a:rect l="0" t="0" r="r" b="b"/>
                <a:pathLst>
                  <a:path w="9" h="21">
                    <a:moveTo>
                      <a:pt x="7" y="0"/>
                    </a:moveTo>
                    <a:lnTo>
                      <a:pt x="7" y="2"/>
                    </a:lnTo>
                    <a:lnTo>
                      <a:pt x="9" y="6"/>
                    </a:lnTo>
                    <a:lnTo>
                      <a:pt x="7" y="9"/>
                    </a:lnTo>
                    <a:lnTo>
                      <a:pt x="5" y="11"/>
                    </a:lnTo>
                    <a:lnTo>
                      <a:pt x="5" y="18"/>
                    </a:lnTo>
                    <a:lnTo>
                      <a:pt x="2" y="21"/>
                    </a:lnTo>
                    <a:lnTo>
                      <a:pt x="0" y="19"/>
                    </a:lnTo>
                    <a:lnTo>
                      <a:pt x="0" y="18"/>
                    </a:lnTo>
                    <a:lnTo>
                      <a:pt x="2" y="11"/>
                    </a:lnTo>
                    <a:lnTo>
                      <a:pt x="4" y="9"/>
                    </a:lnTo>
                    <a:lnTo>
                      <a:pt x="4" y="2"/>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7" name="Freeform 206"/>
              <p:cNvSpPr>
                <a:spLocks/>
              </p:cNvSpPr>
              <p:nvPr/>
            </p:nvSpPr>
            <p:spPr bwMode="auto">
              <a:xfrm>
                <a:off x="7201694" y="4084638"/>
                <a:ext cx="22225" cy="20637"/>
              </a:xfrm>
              <a:custGeom>
                <a:avLst/>
                <a:gdLst/>
                <a:ahLst/>
                <a:cxnLst>
                  <a:cxn ang="0">
                    <a:pos x="14" y="7"/>
                  </a:cxn>
                  <a:cxn ang="0">
                    <a:pos x="10" y="10"/>
                  </a:cxn>
                  <a:cxn ang="0">
                    <a:pos x="9" y="13"/>
                  </a:cxn>
                  <a:cxn ang="0">
                    <a:pos x="2" y="10"/>
                  </a:cxn>
                  <a:cxn ang="0">
                    <a:pos x="0" y="3"/>
                  </a:cxn>
                  <a:cxn ang="0">
                    <a:pos x="2" y="0"/>
                  </a:cxn>
                  <a:cxn ang="0">
                    <a:pos x="7" y="0"/>
                  </a:cxn>
                  <a:cxn ang="0">
                    <a:pos x="10" y="1"/>
                  </a:cxn>
                  <a:cxn ang="0">
                    <a:pos x="14" y="7"/>
                  </a:cxn>
                </a:cxnLst>
                <a:rect l="0" t="0" r="r" b="b"/>
                <a:pathLst>
                  <a:path w="14" h="13">
                    <a:moveTo>
                      <a:pt x="14" y="7"/>
                    </a:moveTo>
                    <a:lnTo>
                      <a:pt x="10" y="10"/>
                    </a:lnTo>
                    <a:lnTo>
                      <a:pt x="9" y="13"/>
                    </a:lnTo>
                    <a:lnTo>
                      <a:pt x="2" y="10"/>
                    </a:lnTo>
                    <a:lnTo>
                      <a:pt x="0" y="3"/>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8" name="Freeform 207"/>
              <p:cNvSpPr>
                <a:spLocks/>
              </p:cNvSpPr>
              <p:nvPr/>
            </p:nvSpPr>
            <p:spPr bwMode="auto">
              <a:xfrm>
                <a:off x="7242969" y="4084638"/>
                <a:ext cx="65088" cy="19050"/>
              </a:xfrm>
              <a:custGeom>
                <a:avLst/>
                <a:gdLst/>
                <a:ahLst/>
                <a:cxnLst>
                  <a:cxn ang="0">
                    <a:pos x="36" y="1"/>
                  </a:cxn>
                  <a:cxn ang="0">
                    <a:pos x="38" y="5"/>
                  </a:cxn>
                  <a:cxn ang="0">
                    <a:pos x="41" y="10"/>
                  </a:cxn>
                  <a:cxn ang="0">
                    <a:pos x="39" y="10"/>
                  </a:cxn>
                  <a:cxn ang="0">
                    <a:pos x="38" y="12"/>
                  </a:cxn>
                  <a:cxn ang="0">
                    <a:pos x="29" y="8"/>
                  </a:cxn>
                  <a:cxn ang="0">
                    <a:pos x="20" y="7"/>
                  </a:cxn>
                  <a:cxn ang="0">
                    <a:pos x="14" y="7"/>
                  </a:cxn>
                  <a:cxn ang="0">
                    <a:pos x="8" y="7"/>
                  </a:cxn>
                  <a:cxn ang="0">
                    <a:pos x="3" y="5"/>
                  </a:cxn>
                  <a:cxn ang="0">
                    <a:pos x="0" y="3"/>
                  </a:cxn>
                  <a:cxn ang="0">
                    <a:pos x="0" y="0"/>
                  </a:cxn>
                  <a:cxn ang="0">
                    <a:pos x="3" y="0"/>
                  </a:cxn>
                  <a:cxn ang="0">
                    <a:pos x="26" y="0"/>
                  </a:cxn>
                  <a:cxn ang="0">
                    <a:pos x="29" y="1"/>
                  </a:cxn>
                  <a:cxn ang="0">
                    <a:pos x="34" y="1"/>
                  </a:cxn>
                  <a:cxn ang="0">
                    <a:pos x="36" y="1"/>
                  </a:cxn>
                </a:cxnLst>
                <a:rect l="0" t="0" r="r" b="b"/>
                <a:pathLst>
                  <a:path w="41" h="12">
                    <a:moveTo>
                      <a:pt x="36" y="1"/>
                    </a:moveTo>
                    <a:lnTo>
                      <a:pt x="38" y="5"/>
                    </a:lnTo>
                    <a:lnTo>
                      <a:pt x="41" y="10"/>
                    </a:lnTo>
                    <a:lnTo>
                      <a:pt x="39" y="10"/>
                    </a:lnTo>
                    <a:lnTo>
                      <a:pt x="38" y="12"/>
                    </a:lnTo>
                    <a:lnTo>
                      <a:pt x="29" y="8"/>
                    </a:lnTo>
                    <a:lnTo>
                      <a:pt x="20" y="7"/>
                    </a:lnTo>
                    <a:lnTo>
                      <a:pt x="14" y="7"/>
                    </a:lnTo>
                    <a:lnTo>
                      <a:pt x="8" y="7"/>
                    </a:lnTo>
                    <a:lnTo>
                      <a:pt x="3" y="5"/>
                    </a:lnTo>
                    <a:lnTo>
                      <a:pt x="0" y="3"/>
                    </a:lnTo>
                    <a:lnTo>
                      <a:pt x="0" y="0"/>
                    </a:lnTo>
                    <a:lnTo>
                      <a:pt x="3" y="0"/>
                    </a:lnTo>
                    <a:lnTo>
                      <a:pt x="26" y="0"/>
                    </a:lnTo>
                    <a:lnTo>
                      <a:pt x="29" y="1"/>
                    </a:lnTo>
                    <a:lnTo>
                      <a:pt x="34" y="1"/>
                    </a:lnTo>
                    <a:lnTo>
                      <a:pt x="36"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9" name="Freeform 208"/>
              <p:cNvSpPr>
                <a:spLocks/>
              </p:cNvSpPr>
              <p:nvPr/>
            </p:nvSpPr>
            <p:spPr bwMode="auto">
              <a:xfrm>
                <a:off x="7231857" y="3963988"/>
                <a:ext cx="26988" cy="63500"/>
              </a:xfrm>
              <a:custGeom>
                <a:avLst/>
                <a:gdLst/>
                <a:ahLst/>
                <a:cxnLst>
                  <a:cxn ang="0">
                    <a:pos x="5" y="31"/>
                  </a:cxn>
                  <a:cxn ang="0">
                    <a:pos x="5" y="27"/>
                  </a:cxn>
                  <a:cxn ang="0">
                    <a:pos x="10" y="27"/>
                  </a:cxn>
                  <a:cxn ang="0">
                    <a:pos x="17" y="27"/>
                  </a:cxn>
                  <a:cxn ang="0">
                    <a:pos x="14" y="22"/>
                  </a:cxn>
                  <a:cxn ang="0">
                    <a:pos x="12" y="19"/>
                  </a:cxn>
                  <a:cxn ang="0">
                    <a:pos x="14" y="15"/>
                  </a:cxn>
                  <a:cxn ang="0">
                    <a:pos x="17" y="12"/>
                  </a:cxn>
                  <a:cxn ang="0">
                    <a:pos x="7" y="7"/>
                  </a:cxn>
                  <a:cxn ang="0">
                    <a:pos x="5" y="0"/>
                  </a:cxn>
                  <a:cxn ang="0">
                    <a:pos x="0" y="3"/>
                  </a:cxn>
                  <a:cxn ang="0">
                    <a:pos x="0" y="10"/>
                  </a:cxn>
                  <a:cxn ang="0">
                    <a:pos x="2" y="15"/>
                  </a:cxn>
                  <a:cxn ang="0">
                    <a:pos x="3" y="24"/>
                  </a:cxn>
                  <a:cxn ang="0">
                    <a:pos x="3" y="27"/>
                  </a:cxn>
                  <a:cxn ang="0">
                    <a:pos x="3" y="31"/>
                  </a:cxn>
                  <a:cxn ang="0">
                    <a:pos x="3" y="34"/>
                  </a:cxn>
                  <a:cxn ang="0">
                    <a:pos x="10" y="40"/>
                  </a:cxn>
                  <a:cxn ang="0">
                    <a:pos x="7" y="34"/>
                  </a:cxn>
                  <a:cxn ang="0">
                    <a:pos x="5" y="31"/>
                  </a:cxn>
                </a:cxnLst>
                <a:rect l="0" t="0" r="r" b="b"/>
                <a:pathLst>
                  <a:path w="17" h="40">
                    <a:moveTo>
                      <a:pt x="5" y="31"/>
                    </a:moveTo>
                    <a:lnTo>
                      <a:pt x="5" y="27"/>
                    </a:lnTo>
                    <a:lnTo>
                      <a:pt x="10" y="27"/>
                    </a:lnTo>
                    <a:lnTo>
                      <a:pt x="17" y="27"/>
                    </a:lnTo>
                    <a:lnTo>
                      <a:pt x="14" y="22"/>
                    </a:lnTo>
                    <a:lnTo>
                      <a:pt x="12" y="19"/>
                    </a:lnTo>
                    <a:lnTo>
                      <a:pt x="14" y="15"/>
                    </a:lnTo>
                    <a:lnTo>
                      <a:pt x="17" y="12"/>
                    </a:lnTo>
                    <a:lnTo>
                      <a:pt x="7" y="7"/>
                    </a:lnTo>
                    <a:lnTo>
                      <a:pt x="5" y="0"/>
                    </a:lnTo>
                    <a:lnTo>
                      <a:pt x="0" y="3"/>
                    </a:lnTo>
                    <a:lnTo>
                      <a:pt x="0" y="10"/>
                    </a:lnTo>
                    <a:lnTo>
                      <a:pt x="2" y="15"/>
                    </a:lnTo>
                    <a:lnTo>
                      <a:pt x="3" y="24"/>
                    </a:lnTo>
                    <a:lnTo>
                      <a:pt x="3" y="27"/>
                    </a:lnTo>
                    <a:lnTo>
                      <a:pt x="3" y="31"/>
                    </a:lnTo>
                    <a:lnTo>
                      <a:pt x="3" y="34"/>
                    </a:lnTo>
                    <a:lnTo>
                      <a:pt x="10" y="40"/>
                    </a:lnTo>
                    <a:lnTo>
                      <a:pt x="7" y="34"/>
                    </a:lnTo>
                    <a:lnTo>
                      <a:pt x="5"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0" name="Freeform 209"/>
              <p:cNvSpPr>
                <a:spLocks/>
              </p:cNvSpPr>
              <p:nvPr/>
            </p:nvSpPr>
            <p:spPr bwMode="auto">
              <a:xfrm>
                <a:off x="7717632" y="4111625"/>
                <a:ext cx="90488" cy="50800"/>
              </a:xfrm>
              <a:custGeom>
                <a:avLst/>
                <a:gdLst/>
                <a:ahLst/>
                <a:cxnLst>
                  <a:cxn ang="0">
                    <a:pos x="16" y="31"/>
                  </a:cxn>
                  <a:cxn ang="0">
                    <a:pos x="5" y="26"/>
                  </a:cxn>
                  <a:cxn ang="0">
                    <a:pos x="0" y="20"/>
                  </a:cxn>
                  <a:cxn ang="0">
                    <a:pos x="16" y="20"/>
                  </a:cxn>
                  <a:cxn ang="0">
                    <a:pos x="17" y="19"/>
                  </a:cxn>
                  <a:cxn ang="0">
                    <a:pos x="21" y="19"/>
                  </a:cxn>
                  <a:cxn ang="0">
                    <a:pos x="31" y="15"/>
                  </a:cxn>
                  <a:cxn ang="0">
                    <a:pos x="41" y="14"/>
                  </a:cxn>
                  <a:cxn ang="0">
                    <a:pos x="46" y="5"/>
                  </a:cxn>
                  <a:cxn ang="0">
                    <a:pos x="52" y="0"/>
                  </a:cxn>
                  <a:cxn ang="0">
                    <a:pos x="55" y="2"/>
                  </a:cxn>
                  <a:cxn ang="0">
                    <a:pos x="57" y="7"/>
                  </a:cxn>
                  <a:cxn ang="0">
                    <a:pos x="52" y="15"/>
                  </a:cxn>
                  <a:cxn ang="0">
                    <a:pos x="46" y="26"/>
                  </a:cxn>
                  <a:cxn ang="0">
                    <a:pos x="34" y="29"/>
                  </a:cxn>
                  <a:cxn ang="0">
                    <a:pos x="22" y="32"/>
                  </a:cxn>
                  <a:cxn ang="0">
                    <a:pos x="16" y="29"/>
                  </a:cxn>
                  <a:cxn ang="0">
                    <a:pos x="12" y="27"/>
                  </a:cxn>
                  <a:cxn ang="0">
                    <a:pos x="16" y="31"/>
                  </a:cxn>
                </a:cxnLst>
                <a:rect l="0" t="0" r="r" b="b"/>
                <a:pathLst>
                  <a:path w="57" h="32">
                    <a:moveTo>
                      <a:pt x="16" y="31"/>
                    </a:moveTo>
                    <a:lnTo>
                      <a:pt x="5" y="26"/>
                    </a:lnTo>
                    <a:lnTo>
                      <a:pt x="0" y="20"/>
                    </a:lnTo>
                    <a:lnTo>
                      <a:pt x="16" y="20"/>
                    </a:lnTo>
                    <a:lnTo>
                      <a:pt x="17" y="19"/>
                    </a:lnTo>
                    <a:lnTo>
                      <a:pt x="21" y="19"/>
                    </a:lnTo>
                    <a:lnTo>
                      <a:pt x="31" y="15"/>
                    </a:lnTo>
                    <a:lnTo>
                      <a:pt x="41" y="14"/>
                    </a:lnTo>
                    <a:lnTo>
                      <a:pt x="46" y="5"/>
                    </a:lnTo>
                    <a:lnTo>
                      <a:pt x="52" y="0"/>
                    </a:lnTo>
                    <a:lnTo>
                      <a:pt x="55" y="2"/>
                    </a:lnTo>
                    <a:lnTo>
                      <a:pt x="57" y="7"/>
                    </a:lnTo>
                    <a:lnTo>
                      <a:pt x="52" y="15"/>
                    </a:lnTo>
                    <a:lnTo>
                      <a:pt x="46" y="26"/>
                    </a:lnTo>
                    <a:lnTo>
                      <a:pt x="34" y="29"/>
                    </a:lnTo>
                    <a:lnTo>
                      <a:pt x="22" y="32"/>
                    </a:lnTo>
                    <a:lnTo>
                      <a:pt x="16" y="29"/>
                    </a:lnTo>
                    <a:lnTo>
                      <a:pt x="12" y="27"/>
                    </a:lnTo>
                    <a:lnTo>
                      <a:pt x="1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1" name="Freeform 210"/>
              <p:cNvSpPr>
                <a:spLocks/>
              </p:cNvSpPr>
              <p:nvPr/>
            </p:nvSpPr>
            <p:spPr bwMode="auto">
              <a:xfrm>
                <a:off x="7308057" y="4021138"/>
                <a:ext cx="466725" cy="242887"/>
              </a:xfrm>
              <a:custGeom>
                <a:avLst/>
                <a:gdLst/>
                <a:ahLst/>
                <a:cxnLst>
                  <a:cxn ang="0">
                    <a:pos x="162" y="40"/>
                  </a:cxn>
                  <a:cxn ang="0">
                    <a:pos x="191" y="48"/>
                  </a:cxn>
                  <a:cxn ang="0">
                    <a:pos x="205" y="57"/>
                  </a:cxn>
                  <a:cxn ang="0">
                    <a:pos x="225" y="74"/>
                  </a:cxn>
                  <a:cxn ang="0">
                    <a:pos x="249" y="89"/>
                  </a:cxn>
                  <a:cxn ang="0">
                    <a:pos x="243" y="103"/>
                  </a:cxn>
                  <a:cxn ang="0">
                    <a:pos x="256" y="124"/>
                  </a:cxn>
                  <a:cxn ang="0">
                    <a:pos x="270" y="131"/>
                  </a:cxn>
                  <a:cxn ang="0">
                    <a:pos x="279" y="136"/>
                  </a:cxn>
                  <a:cxn ang="0">
                    <a:pos x="287" y="143"/>
                  </a:cxn>
                  <a:cxn ang="0">
                    <a:pos x="287" y="153"/>
                  </a:cxn>
                  <a:cxn ang="0">
                    <a:pos x="279" y="150"/>
                  </a:cxn>
                  <a:cxn ang="0">
                    <a:pos x="248" y="141"/>
                  </a:cxn>
                  <a:cxn ang="0">
                    <a:pos x="237" y="129"/>
                  </a:cxn>
                  <a:cxn ang="0">
                    <a:pos x="210" y="107"/>
                  </a:cxn>
                  <a:cxn ang="0">
                    <a:pos x="189" y="108"/>
                  </a:cxn>
                  <a:cxn ang="0">
                    <a:pos x="181" y="124"/>
                  </a:cxn>
                  <a:cxn ang="0">
                    <a:pos x="160" y="131"/>
                  </a:cxn>
                  <a:cxn ang="0">
                    <a:pos x="138" y="115"/>
                  </a:cxn>
                  <a:cxn ang="0">
                    <a:pos x="122" y="117"/>
                  </a:cxn>
                  <a:cxn ang="0">
                    <a:pos x="103" y="114"/>
                  </a:cxn>
                  <a:cxn ang="0">
                    <a:pos x="110" y="91"/>
                  </a:cxn>
                  <a:cxn ang="0">
                    <a:pos x="100" y="72"/>
                  </a:cxn>
                  <a:cxn ang="0">
                    <a:pos x="81" y="64"/>
                  </a:cxn>
                  <a:cxn ang="0">
                    <a:pos x="62" y="62"/>
                  </a:cxn>
                  <a:cxn ang="0">
                    <a:pos x="46" y="50"/>
                  </a:cxn>
                  <a:cxn ang="0">
                    <a:pos x="38" y="53"/>
                  </a:cxn>
                  <a:cxn ang="0">
                    <a:pos x="29" y="55"/>
                  </a:cxn>
                  <a:cxn ang="0">
                    <a:pos x="21" y="40"/>
                  </a:cxn>
                  <a:cxn ang="0">
                    <a:pos x="31" y="33"/>
                  </a:cxn>
                  <a:cxn ang="0">
                    <a:pos x="40" y="29"/>
                  </a:cxn>
                  <a:cxn ang="0">
                    <a:pos x="21" y="29"/>
                  </a:cxn>
                  <a:cxn ang="0">
                    <a:pos x="16" y="24"/>
                  </a:cxn>
                  <a:cxn ang="0">
                    <a:pos x="2" y="9"/>
                  </a:cxn>
                  <a:cxn ang="0">
                    <a:pos x="26" y="0"/>
                  </a:cxn>
                  <a:cxn ang="0">
                    <a:pos x="50" y="19"/>
                  </a:cxn>
                  <a:cxn ang="0">
                    <a:pos x="57" y="33"/>
                  </a:cxn>
                  <a:cxn ang="0">
                    <a:pos x="72" y="38"/>
                  </a:cxn>
                  <a:cxn ang="0">
                    <a:pos x="89" y="28"/>
                  </a:cxn>
                  <a:cxn ang="0">
                    <a:pos x="108" y="17"/>
                  </a:cxn>
                  <a:cxn ang="0">
                    <a:pos x="126" y="29"/>
                  </a:cxn>
                  <a:cxn ang="0">
                    <a:pos x="148" y="33"/>
                  </a:cxn>
                </a:cxnLst>
                <a:rect l="0" t="0" r="r" b="b"/>
                <a:pathLst>
                  <a:path w="294" h="153">
                    <a:moveTo>
                      <a:pt x="146" y="31"/>
                    </a:moveTo>
                    <a:lnTo>
                      <a:pt x="151" y="34"/>
                    </a:lnTo>
                    <a:lnTo>
                      <a:pt x="162" y="40"/>
                    </a:lnTo>
                    <a:lnTo>
                      <a:pt x="172" y="43"/>
                    </a:lnTo>
                    <a:lnTo>
                      <a:pt x="184" y="45"/>
                    </a:lnTo>
                    <a:lnTo>
                      <a:pt x="191" y="48"/>
                    </a:lnTo>
                    <a:lnTo>
                      <a:pt x="198" y="52"/>
                    </a:lnTo>
                    <a:lnTo>
                      <a:pt x="200" y="55"/>
                    </a:lnTo>
                    <a:lnTo>
                      <a:pt x="205" y="57"/>
                    </a:lnTo>
                    <a:lnTo>
                      <a:pt x="213" y="60"/>
                    </a:lnTo>
                    <a:lnTo>
                      <a:pt x="220" y="69"/>
                    </a:lnTo>
                    <a:lnTo>
                      <a:pt x="225" y="74"/>
                    </a:lnTo>
                    <a:lnTo>
                      <a:pt x="234" y="81"/>
                    </a:lnTo>
                    <a:lnTo>
                      <a:pt x="243" y="81"/>
                    </a:lnTo>
                    <a:lnTo>
                      <a:pt x="249" y="89"/>
                    </a:lnTo>
                    <a:lnTo>
                      <a:pt x="244" y="93"/>
                    </a:lnTo>
                    <a:lnTo>
                      <a:pt x="239" y="98"/>
                    </a:lnTo>
                    <a:lnTo>
                      <a:pt x="243" y="103"/>
                    </a:lnTo>
                    <a:lnTo>
                      <a:pt x="249" y="110"/>
                    </a:lnTo>
                    <a:lnTo>
                      <a:pt x="253" y="117"/>
                    </a:lnTo>
                    <a:lnTo>
                      <a:pt x="256" y="124"/>
                    </a:lnTo>
                    <a:lnTo>
                      <a:pt x="261" y="127"/>
                    </a:lnTo>
                    <a:lnTo>
                      <a:pt x="268" y="129"/>
                    </a:lnTo>
                    <a:lnTo>
                      <a:pt x="270" y="131"/>
                    </a:lnTo>
                    <a:lnTo>
                      <a:pt x="272" y="136"/>
                    </a:lnTo>
                    <a:lnTo>
                      <a:pt x="275" y="136"/>
                    </a:lnTo>
                    <a:lnTo>
                      <a:pt x="279" y="136"/>
                    </a:lnTo>
                    <a:lnTo>
                      <a:pt x="280" y="138"/>
                    </a:lnTo>
                    <a:lnTo>
                      <a:pt x="284" y="143"/>
                    </a:lnTo>
                    <a:lnTo>
                      <a:pt x="287" y="143"/>
                    </a:lnTo>
                    <a:lnTo>
                      <a:pt x="294" y="145"/>
                    </a:lnTo>
                    <a:lnTo>
                      <a:pt x="289" y="146"/>
                    </a:lnTo>
                    <a:lnTo>
                      <a:pt x="287" y="153"/>
                    </a:lnTo>
                    <a:lnTo>
                      <a:pt x="286" y="153"/>
                    </a:lnTo>
                    <a:lnTo>
                      <a:pt x="284" y="153"/>
                    </a:lnTo>
                    <a:lnTo>
                      <a:pt x="279" y="150"/>
                    </a:lnTo>
                    <a:lnTo>
                      <a:pt x="274" y="146"/>
                    </a:lnTo>
                    <a:lnTo>
                      <a:pt x="261" y="146"/>
                    </a:lnTo>
                    <a:lnTo>
                      <a:pt x="248" y="141"/>
                    </a:lnTo>
                    <a:lnTo>
                      <a:pt x="241" y="134"/>
                    </a:lnTo>
                    <a:lnTo>
                      <a:pt x="239" y="131"/>
                    </a:lnTo>
                    <a:lnTo>
                      <a:pt x="237" y="129"/>
                    </a:lnTo>
                    <a:lnTo>
                      <a:pt x="229" y="120"/>
                    </a:lnTo>
                    <a:lnTo>
                      <a:pt x="220" y="112"/>
                    </a:lnTo>
                    <a:lnTo>
                      <a:pt x="210" y="107"/>
                    </a:lnTo>
                    <a:lnTo>
                      <a:pt x="201" y="105"/>
                    </a:lnTo>
                    <a:lnTo>
                      <a:pt x="193" y="105"/>
                    </a:lnTo>
                    <a:lnTo>
                      <a:pt x="189" y="108"/>
                    </a:lnTo>
                    <a:lnTo>
                      <a:pt x="186" y="114"/>
                    </a:lnTo>
                    <a:lnTo>
                      <a:pt x="182" y="119"/>
                    </a:lnTo>
                    <a:lnTo>
                      <a:pt x="181" y="124"/>
                    </a:lnTo>
                    <a:lnTo>
                      <a:pt x="179" y="131"/>
                    </a:lnTo>
                    <a:lnTo>
                      <a:pt x="167" y="131"/>
                    </a:lnTo>
                    <a:lnTo>
                      <a:pt x="160" y="131"/>
                    </a:lnTo>
                    <a:lnTo>
                      <a:pt x="150" y="127"/>
                    </a:lnTo>
                    <a:lnTo>
                      <a:pt x="145" y="122"/>
                    </a:lnTo>
                    <a:lnTo>
                      <a:pt x="138" y="115"/>
                    </a:lnTo>
                    <a:lnTo>
                      <a:pt x="131" y="114"/>
                    </a:lnTo>
                    <a:lnTo>
                      <a:pt x="124" y="114"/>
                    </a:lnTo>
                    <a:lnTo>
                      <a:pt x="122" y="117"/>
                    </a:lnTo>
                    <a:lnTo>
                      <a:pt x="112" y="117"/>
                    </a:lnTo>
                    <a:lnTo>
                      <a:pt x="105" y="115"/>
                    </a:lnTo>
                    <a:lnTo>
                      <a:pt x="103" y="114"/>
                    </a:lnTo>
                    <a:lnTo>
                      <a:pt x="108" y="105"/>
                    </a:lnTo>
                    <a:lnTo>
                      <a:pt x="117" y="103"/>
                    </a:lnTo>
                    <a:lnTo>
                      <a:pt x="110" y="91"/>
                    </a:lnTo>
                    <a:lnTo>
                      <a:pt x="110" y="81"/>
                    </a:lnTo>
                    <a:lnTo>
                      <a:pt x="105" y="76"/>
                    </a:lnTo>
                    <a:lnTo>
                      <a:pt x="100" y="72"/>
                    </a:lnTo>
                    <a:lnTo>
                      <a:pt x="91" y="69"/>
                    </a:lnTo>
                    <a:lnTo>
                      <a:pt x="88" y="67"/>
                    </a:lnTo>
                    <a:lnTo>
                      <a:pt x="81" y="64"/>
                    </a:lnTo>
                    <a:lnTo>
                      <a:pt x="74" y="64"/>
                    </a:lnTo>
                    <a:lnTo>
                      <a:pt x="67" y="62"/>
                    </a:lnTo>
                    <a:lnTo>
                      <a:pt x="62" y="62"/>
                    </a:lnTo>
                    <a:lnTo>
                      <a:pt x="55" y="59"/>
                    </a:lnTo>
                    <a:lnTo>
                      <a:pt x="52" y="55"/>
                    </a:lnTo>
                    <a:lnTo>
                      <a:pt x="46" y="50"/>
                    </a:lnTo>
                    <a:lnTo>
                      <a:pt x="43" y="52"/>
                    </a:lnTo>
                    <a:lnTo>
                      <a:pt x="43" y="47"/>
                    </a:lnTo>
                    <a:lnTo>
                      <a:pt x="38" y="53"/>
                    </a:lnTo>
                    <a:lnTo>
                      <a:pt x="34" y="57"/>
                    </a:lnTo>
                    <a:lnTo>
                      <a:pt x="31" y="55"/>
                    </a:lnTo>
                    <a:lnTo>
                      <a:pt x="29" y="55"/>
                    </a:lnTo>
                    <a:lnTo>
                      <a:pt x="28" y="48"/>
                    </a:lnTo>
                    <a:lnTo>
                      <a:pt x="28" y="43"/>
                    </a:lnTo>
                    <a:lnTo>
                      <a:pt x="21" y="40"/>
                    </a:lnTo>
                    <a:lnTo>
                      <a:pt x="17" y="38"/>
                    </a:lnTo>
                    <a:lnTo>
                      <a:pt x="22" y="34"/>
                    </a:lnTo>
                    <a:lnTo>
                      <a:pt x="31" y="33"/>
                    </a:lnTo>
                    <a:lnTo>
                      <a:pt x="38" y="31"/>
                    </a:lnTo>
                    <a:lnTo>
                      <a:pt x="43" y="29"/>
                    </a:lnTo>
                    <a:lnTo>
                      <a:pt x="40" y="29"/>
                    </a:lnTo>
                    <a:lnTo>
                      <a:pt x="33" y="29"/>
                    </a:lnTo>
                    <a:lnTo>
                      <a:pt x="26" y="31"/>
                    </a:lnTo>
                    <a:lnTo>
                      <a:pt x="21" y="29"/>
                    </a:lnTo>
                    <a:lnTo>
                      <a:pt x="19" y="29"/>
                    </a:lnTo>
                    <a:lnTo>
                      <a:pt x="16" y="26"/>
                    </a:lnTo>
                    <a:lnTo>
                      <a:pt x="16" y="24"/>
                    </a:lnTo>
                    <a:lnTo>
                      <a:pt x="5" y="19"/>
                    </a:lnTo>
                    <a:lnTo>
                      <a:pt x="0" y="14"/>
                    </a:lnTo>
                    <a:lnTo>
                      <a:pt x="2" y="9"/>
                    </a:lnTo>
                    <a:lnTo>
                      <a:pt x="7" y="9"/>
                    </a:lnTo>
                    <a:lnTo>
                      <a:pt x="14" y="4"/>
                    </a:lnTo>
                    <a:lnTo>
                      <a:pt x="26" y="0"/>
                    </a:lnTo>
                    <a:lnTo>
                      <a:pt x="38" y="4"/>
                    </a:lnTo>
                    <a:lnTo>
                      <a:pt x="50" y="10"/>
                    </a:lnTo>
                    <a:lnTo>
                      <a:pt x="50" y="19"/>
                    </a:lnTo>
                    <a:lnTo>
                      <a:pt x="50" y="29"/>
                    </a:lnTo>
                    <a:lnTo>
                      <a:pt x="52" y="31"/>
                    </a:lnTo>
                    <a:lnTo>
                      <a:pt x="57" y="33"/>
                    </a:lnTo>
                    <a:lnTo>
                      <a:pt x="60" y="38"/>
                    </a:lnTo>
                    <a:lnTo>
                      <a:pt x="67" y="43"/>
                    </a:lnTo>
                    <a:lnTo>
                      <a:pt x="72" y="38"/>
                    </a:lnTo>
                    <a:lnTo>
                      <a:pt x="77" y="34"/>
                    </a:lnTo>
                    <a:lnTo>
                      <a:pt x="81" y="29"/>
                    </a:lnTo>
                    <a:lnTo>
                      <a:pt x="89" y="28"/>
                    </a:lnTo>
                    <a:lnTo>
                      <a:pt x="96" y="21"/>
                    </a:lnTo>
                    <a:lnTo>
                      <a:pt x="105" y="16"/>
                    </a:lnTo>
                    <a:lnTo>
                      <a:pt x="108" y="17"/>
                    </a:lnTo>
                    <a:lnTo>
                      <a:pt x="112" y="19"/>
                    </a:lnTo>
                    <a:lnTo>
                      <a:pt x="119" y="24"/>
                    </a:lnTo>
                    <a:lnTo>
                      <a:pt x="126" y="29"/>
                    </a:lnTo>
                    <a:lnTo>
                      <a:pt x="139" y="29"/>
                    </a:lnTo>
                    <a:lnTo>
                      <a:pt x="143" y="31"/>
                    </a:lnTo>
                    <a:lnTo>
                      <a:pt x="148" y="33"/>
                    </a:lnTo>
                    <a:lnTo>
                      <a:pt x="148" y="34"/>
                    </a:lnTo>
                    <a:lnTo>
                      <a:pt x="14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2" name="Freeform 211"/>
              <p:cNvSpPr>
                <a:spLocks/>
              </p:cNvSpPr>
              <p:nvPr/>
            </p:nvSpPr>
            <p:spPr bwMode="auto">
              <a:xfrm>
                <a:off x="7781132" y="4075113"/>
                <a:ext cx="46038" cy="44450"/>
              </a:xfrm>
              <a:custGeom>
                <a:avLst/>
                <a:gdLst/>
                <a:ahLst/>
                <a:cxnLst>
                  <a:cxn ang="0">
                    <a:pos x="27" y="28"/>
                  </a:cxn>
                  <a:cxn ang="0">
                    <a:pos x="20" y="23"/>
                  </a:cxn>
                  <a:cxn ang="0">
                    <a:pos x="22" y="18"/>
                  </a:cxn>
                  <a:cxn ang="0">
                    <a:pos x="15" y="11"/>
                  </a:cxn>
                  <a:cxn ang="0">
                    <a:pos x="10" y="6"/>
                  </a:cxn>
                  <a:cxn ang="0">
                    <a:pos x="3" y="2"/>
                  </a:cxn>
                  <a:cxn ang="0">
                    <a:pos x="0" y="0"/>
                  </a:cxn>
                  <a:cxn ang="0">
                    <a:pos x="12" y="6"/>
                  </a:cxn>
                  <a:cxn ang="0">
                    <a:pos x="20" y="14"/>
                  </a:cxn>
                  <a:cxn ang="0">
                    <a:pos x="25" y="18"/>
                  </a:cxn>
                  <a:cxn ang="0">
                    <a:pos x="29" y="25"/>
                  </a:cxn>
                  <a:cxn ang="0">
                    <a:pos x="29" y="26"/>
                  </a:cxn>
                  <a:cxn ang="0">
                    <a:pos x="29" y="28"/>
                  </a:cxn>
                  <a:cxn ang="0">
                    <a:pos x="27" y="28"/>
                  </a:cxn>
                </a:cxnLst>
                <a:rect l="0" t="0" r="r" b="b"/>
                <a:pathLst>
                  <a:path w="29" h="28">
                    <a:moveTo>
                      <a:pt x="27" y="28"/>
                    </a:moveTo>
                    <a:lnTo>
                      <a:pt x="20" y="23"/>
                    </a:lnTo>
                    <a:lnTo>
                      <a:pt x="22" y="18"/>
                    </a:lnTo>
                    <a:lnTo>
                      <a:pt x="15" y="11"/>
                    </a:lnTo>
                    <a:lnTo>
                      <a:pt x="10" y="6"/>
                    </a:lnTo>
                    <a:lnTo>
                      <a:pt x="3" y="2"/>
                    </a:lnTo>
                    <a:lnTo>
                      <a:pt x="0" y="0"/>
                    </a:lnTo>
                    <a:lnTo>
                      <a:pt x="12" y="6"/>
                    </a:lnTo>
                    <a:lnTo>
                      <a:pt x="20" y="14"/>
                    </a:lnTo>
                    <a:lnTo>
                      <a:pt x="25" y="18"/>
                    </a:lnTo>
                    <a:lnTo>
                      <a:pt x="29" y="25"/>
                    </a:lnTo>
                    <a:lnTo>
                      <a:pt x="29" y="26"/>
                    </a:lnTo>
                    <a:lnTo>
                      <a:pt x="29" y="28"/>
                    </a:lnTo>
                    <a:lnTo>
                      <a:pt x="27"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3" name="Freeform 212"/>
              <p:cNvSpPr>
                <a:spLocks/>
              </p:cNvSpPr>
              <p:nvPr/>
            </p:nvSpPr>
            <p:spPr bwMode="auto">
              <a:xfrm>
                <a:off x="7865269" y="4141788"/>
                <a:ext cx="22225" cy="30162"/>
              </a:xfrm>
              <a:custGeom>
                <a:avLst/>
                <a:gdLst/>
                <a:ahLst/>
                <a:cxnLst>
                  <a:cxn ang="0">
                    <a:pos x="7" y="10"/>
                  </a:cxn>
                  <a:cxn ang="0">
                    <a:pos x="0" y="7"/>
                  </a:cxn>
                  <a:cxn ang="0">
                    <a:pos x="0" y="0"/>
                  </a:cxn>
                  <a:cxn ang="0">
                    <a:pos x="7" y="7"/>
                  </a:cxn>
                  <a:cxn ang="0">
                    <a:pos x="14" y="13"/>
                  </a:cxn>
                  <a:cxn ang="0">
                    <a:pos x="12" y="15"/>
                  </a:cxn>
                  <a:cxn ang="0">
                    <a:pos x="10" y="19"/>
                  </a:cxn>
                  <a:cxn ang="0">
                    <a:pos x="7" y="17"/>
                  </a:cxn>
                  <a:cxn ang="0">
                    <a:pos x="7" y="15"/>
                  </a:cxn>
                  <a:cxn ang="0">
                    <a:pos x="7" y="12"/>
                  </a:cxn>
                  <a:cxn ang="0">
                    <a:pos x="7" y="10"/>
                  </a:cxn>
                </a:cxnLst>
                <a:rect l="0" t="0" r="r" b="b"/>
                <a:pathLst>
                  <a:path w="14" h="19">
                    <a:moveTo>
                      <a:pt x="7" y="10"/>
                    </a:moveTo>
                    <a:lnTo>
                      <a:pt x="0" y="7"/>
                    </a:lnTo>
                    <a:lnTo>
                      <a:pt x="0" y="0"/>
                    </a:lnTo>
                    <a:lnTo>
                      <a:pt x="7" y="7"/>
                    </a:lnTo>
                    <a:lnTo>
                      <a:pt x="14" y="13"/>
                    </a:lnTo>
                    <a:lnTo>
                      <a:pt x="12" y="15"/>
                    </a:lnTo>
                    <a:lnTo>
                      <a:pt x="10" y="19"/>
                    </a:lnTo>
                    <a:lnTo>
                      <a:pt x="7" y="17"/>
                    </a:lnTo>
                    <a:lnTo>
                      <a:pt x="7" y="15"/>
                    </a:lnTo>
                    <a:lnTo>
                      <a:pt x="7" y="12"/>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4" name="Freeform 213"/>
              <p:cNvSpPr>
                <a:spLocks/>
              </p:cNvSpPr>
              <p:nvPr/>
            </p:nvSpPr>
            <p:spPr bwMode="auto">
              <a:xfrm>
                <a:off x="8020844" y="4248150"/>
                <a:ext cx="14288" cy="15875"/>
              </a:xfrm>
              <a:custGeom>
                <a:avLst/>
                <a:gdLst/>
                <a:ahLst/>
                <a:cxnLst>
                  <a:cxn ang="0">
                    <a:pos x="9" y="8"/>
                  </a:cxn>
                  <a:cxn ang="0">
                    <a:pos x="7" y="8"/>
                  </a:cxn>
                  <a:cxn ang="0">
                    <a:pos x="9" y="10"/>
                  </a:cxn>
                  <a:cxn ang="0">
                    <a:pos x="2" y="5"/>
                  </a:cxn>
                  <a:cxn ang="0">
                    <a:pos x="0" y="0"/>
                  </a:cxn>
                  <a:cxn ang="0">
                    <a:pos x="5" y="3"/>
                  </a:cxn>
                  <a:cxn ang="0">
                    <a:pos x="9" y="8"/>
                  </a:cxn>
                </a:cxnLst>
                <a:rect l="0" t="0" r="r" b="b"/>
                <a:pathLst>
                  <a:path w="9" h="10">
                    <a:moveTo>
                      <a:pt x="9" y="8"/>
                    </a:moveTo>
                    <a:lnTo>
                      <a:pt x="7" y="8"/>
                    </a:lnTo>
                    <a:lnTo>
                      <a:pt x="9" y="10"/>
                    </a:lnTo>
                    <a:lnTo>
                      <a:pt x="2" y="5"/>
                    </a:lnTo>
                    <a:lnTo>
                      <a:pt x="0" y="0"/>
                    </a:lnTo>
                    <a:lnTo>
                      <a:pt x="5" y="3"/>
                    </a:lnTo>
                    <a:lnTo>
                      <a:pt x="9" y="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5" name="Freeform 214"/>
              <p:cNvSpPr>
                <a:spLocks/>
              </p:cNvSpPr>
              <p:nvPr/>
            </p:nvSpPr>
            <p:spPr bwMode="auto">
              <a:xfrm>
                <a:off x="7985919" y="4237038"/>
                <a:ext cx="26988" cy="11112"/>
              </a:xfrm>
              <a:custGeom>
                <a:avLst/>
                <a:gdLst/>
                <a:ahLst/>
                <a:cxnLst>
                  <a:cxn ang="0">
                    <a:pos x="17" y="7"/>
                  </a:cxn>
                  <a:cxn ang="0">
                    <a:pos x="13" y="7"/>
                  </a:cxn>
                  <a:cxn ang="0">
                    <a:pos x="3" y="5"/>
                  </a:cxn>
                  <a:cxn ang="0">
                    <a:pos x="0" y="0"/>
                  </a:cxn>
                  <a:cxn ang="0">
                    <a:pos x="10" y="0"/>
                  </a:cxn>
                  <a:cxn ang="0">
                    <a:pos x="17" y="7"/>
                  </a:cxn>
                </a:cxnLst>
                <a:rect l="0" t="0" r="r" b="b"/>
                <a:pathLst>
                  <a:path w="17" h="7">
                    <a:moveTo>
                      <a:pt x="17" y="7"/>
                    </a:moveTo>
                    <a:lnTo>
                      <a:pt x="13" y="7"/>
                    </a:lnTo>
                    <a:lnTo>
                      <a:pt x="3" y="5"/>
                    </a:lnTo>
                    <a:lnTo>
                      <a:pt x="0" y="0"/>
                    </a:lnTo>
                    <a:lnTo>
                      <a:pt x="10" y="0"/>
                    </a:lnTo>
                    <a:lnTo>
                      <a:pt x="1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6" name="Freeform 215"/>
              <p:cNvSpPr>
                <a:spLocks/>
              </p:cNvSpPr>
              <p:nvPr/>
            </p:nvSpPr>
            <p:spPr bwMode="auto">
              <a:xfrm>
                <a:off x="7987507" y="4203700"/>
                <a:ext cx="25400" cy="25400"/>
              </a:xfrm>
              <a:custGeom>
                <a:avLst/>
                <a:gdLst/>
                <a:ahLst/>
                <a:cxnLst>
                  <a:cxn ang="0">
                    <a:pos x="16" y="16"/>
                  </a:cxn>
                  <a:cxn ang="0">
                    <a:pos x="5" y="9"/>
                  </a:cxn>
                  <a:cxn ang="0">
                    <a:pos x="0" y="0"/>
                  </a:cxn>
                  <a:cxn ang="0">
                    <a:pos x="9" y="5"/>
                  </a:cxn>
                  <a:cxn ang="0">
                    <a:pos x="16" y="16"/>
                  </a:cxn>
                </a:cxnLst>
                <a:rect l="0" t="0" r="r" b="b"/>
                <a:pathLst>
                  <a:path w="16" h="16">
                    <a:moveTo>
                      <a:pt x="16" y="16"/>
                    </a:moveTo>
                    <a:lnTo>
                      <a:pt x="5" y="9"/>
                    </a:lnTo>
                    <a:lnTo>
                      <a:pt x="0" y="0"/>
                    </a:lnTo>
                    <a:lnTo>
                      <a:pt x="9" y="5"/>
                    </a:lnTo>
                    <a:lnTo>
                      <a:pt x="16"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7" name="Freeform 216"/>
              <p:cNvSpPr>
                <a:spLocks/>
              </p:cNvSpPr>
              <p:nvPr/>
            </p:nvSpPr>
            <p:spPr bwMode="auto">
              <a:xfrm>
                <a:off x="7938294" y="4184650"/>
                <a:ext cx="33338" cy="17462"/>
              </a:xfrm>
              <a:custGeom>
                <a:avLst/>
                <a:gdLst/>
                <a:ahLst/>
                <a:cxnLst>
                  <a:cxn ang="0">
                    <a:pos x="4" y="0"/>
                  </a:cxn>
                  <a:cxn ang="0">
                    <a:pos x="12" y="4"/>
                  </a:cxn>
                  <a:cxn ang="0">
                    <a:pos x="21" y="11"/>
                  </a:cxn>
                  <a:cxn ang="0">
                    <a:pos x="18" y="11"/>
                  </a:cxn>
                  <a:cxn ang="0">
                    <a:pos x="5" y="7"/>
                  </a:cxn>
                  <a:cxn ang="0">
                    <a:pos x="0" y="2"/>
                  </a:cxn>
                  <a:cxn ang="0">
                    <a:pos x="2" y="2"/>
                  </a:cxn>
                  <a:cxn ang="0">
                    <a:pos x="4" y="0"/>
                  </a:cxn>
                </a:cxnLst>
                <a:rect l="0" t="0" r="r" b="b"/>
                <a:pathLst>
                  <a:path w="21" h="11">
                    <a:moveTo>
                      <a:pt x="4" y="0"/>
                    </a:moveTo>
                    <a:lnTo>
                      <a:pt x="12" y="4"/>
                    </a:lnTo>
                    <a:lnTo>
                      <a:pt x="21" y="11"/>
                    </a:lnTo>
                    <a:lnTo>
                      <a:pt x="18" y="11"/>
                    </a:lnTo>
                    <a:lnTo>
                      <a:pt x="5" y="7"/>
                    </a:lnTo>
                    <a:lnTo>
                      <a:pt x="0" y="2"/>
                    </a:lnTo>
                    <a:lnTo>
                      <a:pt x="2"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8" name="Freeform 217"/>
              <p:cNvSpPr>
                <a:spLocks/>
              </p:cNvSpPr>
              <p:nvPr/>
            </p:nvSpPr>
            <p:spPr bwMode="auto">
              <a:xfrm>
                <a:off x="7903369" y="4165600"/>
                <a:ext cx="19050" cy="11112"/>
              </a:xfrm>
              <a:custGeom>
                <a:avLst/>
                <a:gdLst/>
                <a:ahLst/>
                <a:cxnLst>
                  <a:cxn ang="0">
                    <a:pos x="0" y="0"/>
                  </a:cxn>
                  <a:cxn ang="0">
                    <a:pos x="5" y="2"/>
                  </a:cxn>
                  <a:cxn ang="0">
                    <a:pos x="12" y="7"/>
                  </a:cxn>
                  <a:cxn ang="0">
                    <a:pos x="9" y="7"/>
                  </a:cxn>
                  <a:cxn ang="0">
                    <a:pos x="0" y="2"/>
                  </a:cxn>
                  <a:cxn ang="0">
                    <a:pos x="2" y="0"/>
                  </a:cxn>
                  <a:cxn ang="0">
                    <a:pos x="3" y="0"/>
                  </a:cxn>
                  <a:cxn ang="0">
                    <a:pos x="0" y="0"/>
                  </a:cxn>
                </a:cxnLst>
                <a:rect l="0" t="0" r="r" b="b"/>
                <a:pathLst>
                  <a:path w="12" h="7">
                    <a:moveTo>
                      <a:pt x="0" y="0"/>
                    </a:moveTo>
                    <a:lnTo>
                      <a:pt x="5" y="2"/>
                    </a:lnTo>
                    <a:lnTo>
                      <a:pt x="12" y="7"/>
                    </a:lnTo>
                    <a:lnTo>
                      <a:pt x="9" y="7"/>
                    </a:lnTo>
                    <a:lnTo>
                      <a:pt x="0" y="2"/>
                    </a:lnTo>
                    <a:lnTo>
                      <a:pt x="2" y="0"/>
                    </a:lnTo>
                    <a:lnTo>
                      <a:pt x="3"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9" name="Freeform 218"/>
              <p:cNvSpPr>
                <a:spLocks/>
              </p:cNvSpPr>
              <p:nvPr/>
            </p:nvSpPr>
            <p:spPr bwMode="auto">
              <a:xfrm>
                <a:off x="7627144" y="5006975"/>
                <a:ext cx="87313" cy="84137"/>
              </a:xfrm>
              <a:custGeom>
                <a:avLst/>
                <a:gdLst/>
                <a:ahLst/>
                <a:cxnLst>
                  <a:cxn ang="0">
                    <a:pos x="28" y="5"/>
                  </a:cxn>
                  <a:cxn ang="0">
                    <a:pos x="38" y="2"/>
                  </a:cxn>
                  <a:cxn ang="0">
                    <a:pos x="50" y="0"/>
                  </a:cxn>
                  <a:cxn ang="0">
                    <a:pos x="52" y="7"/>
                  </a:cxn>
                  <a:cxn ang="0">
                    <a:pos x="55" y="15"/>
                  </a:cxn>
                  <a:cxn ang="0">
                    <a:pos x="52" y="24"/>
                  </a:cxn>
                  <a:cxn ang="0">
                    <a:pos x="47" y="38"/>
                  </a:cxn>
                  <a:cxn ang="0">
                    <a:pos x="38" y="48"/>
                  </a:cxn>
                  <a:cxn ang="0">
                    <a:pos x="31" y="53"/>
                  </a:cxn>
                  <a:cxn ang="0">
                    <a:pos x="19" y="46"/>
                  </a:cxn>
                  <a:cxn ang="0">
                    <a:pos x="9" y="32"/>
                  </a:cxn>
                  <a:cxn ang="0">
                    <a:pos x="2" y="15"/>
                  </a:cxn>
                  <a:cxn ang="0">
                    <a:pos x="0" y="5"/>
                  </a:cxn>
                  <a:cxn ang="0">
                    <a:pos x="4" y="0"/>
                  </a:cxn>
                  <a:cxn ang="0">
                    <a:pos x="12" y="2"/>
                  </a:cxn>
                  <a:cxn ang="0">
                    <a:pos x="21" y="3"/>
                  </a:cxn>
                  <a:cxn ang="0">
                    <a:pos x="28" y="5"/>
                  </a:cxn>
                </a:cxnLst>
                <a:rect l="0" t="0" r="r" b="b"/>
                <a:pathLst>
                  <a:path w="55" h="53">
                    <a:moveTo>
                      <a:pt x="28" y="5"/>
                    </a:moveTo>
                    <a:lnTo>
                      <a:pt x="38" y="2"/>
                    </a:lnTo>
                    <a:lnTo>
                      <a:pt x="50" y="0"/>
                    </a:lnTo>
                    <a:lnTo>
                      <a:pt x="52" y="7"/>
                    </a:lnTo>
                    <a:lnTo>
                      <a:pt x="55" y="15"/>
                    </a:lnTo>
                    <a:lnTo>
                      <a:pt x="52" y="24"/>
                    </a:lnTo>
                    <a:lnTo>
                      <a:pt x="47" y="38"/>
                    </a:lnTo>
                    <a:lnTo>
                      <a:pt x="38" y="48"/>
                    </a:lnTo>
                    <a:lnTo>
                      <a:pt x="31" y="53"/>
                    </a:lnTo>
                    <a:lnTo>
                      <a:pt x="19" y="46"/>
                    </a:lnTo>
                    <a:lnTo>
                      <a:pt x="9" y="32"/>
                    </a:lnTo>
                    <a:lnTo>
                      <a:pt x="2" y="15"/>
                    </a:lnTo>
                    <a:lnTo>
                      <a:pt x="0" y="5"/>
                    </a:lnTo>
                    <a:lnTo>
                      <a:pt x="4" y="0"/>
                    </a:lnTo>
                    <a:lnTo>
                      <a:pt x="12" y="2"/>
                    </a:lnTo>
                    <a:lnTo>
                      <a:pt x="21" y="3"/>
                    </a:lnTo>
                    <a:lnTo>
                      <a:pt x="2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0" name="Freeform 219"/>
              <p:cNvSpPr>
                <a:spLocks/>
              </p:cNvSpPr>
              <p:nvPr/>
            </p:nvSpPr>
            <p:spPr bwMode="auto">
              <a:xfrm>
                <a:off x="7703344" y="4984750"/>
                <a:ext cx="9525" cy="14287"/>
              </a:xfrm>
              <a:custGeom>
                <a:avLst/>
                <a:gdLst/>
                <a:ahLst/>
                <a:cxnLst>
                  <a:cxn ang="0">
                    <a:pos x="6" y="0"/>
                  </a:cxn>
                  <a:cxn ang="0">
                    <a:pos x="6" y="4"/>
                  </a:cxn>
                  <a:cxn ang="0">
                    <a:pos x="6" y="9"/>
                  </a:cxn>
                  <a:cxn ang="0">
                    <a:pos x="0" y="4"/>
                  </a:cxn>
                  <a:cxn ang="0">
                    <a:pos x="0" y="0"/>
                  </a:cxn>
                  <a:cxn ang="0">
                    <a:pos x="2" y="0"/>
                  </a:cxn>
                  <a:cxn ang="0">
                    <a:pos x="6" y="0"/>
                  </a:cxn>
                </a:cxnLst>
                <a:rect l="0" t="0" r="r" b="b"/>
                <a:pathLst>
                  <a:path w="6" h="9">
                    <a:moveTo>
                      <a:pt x="6" y="0"/>
                    </a:moveTo>
                    <a:lnTo>
                      <a:pt x="6" y="4"/>
                    </a:lnTo>
                    <a:lnTo>
                      <a:pt x="6" y="9"/>
                    </a:lnTo>
                    <a:lnTo>
                      <a:pt x="0" y="4"/>
                    </a:lnTo>
                    <a:lnTo>
                      <a:pt x="0" y="0"/>
                    </a:lnTo>
                    <a:lnTo>
                      <a:pt x="2" y="0"/>
                    </a:lnTo>
                    <a:lnTo>
                      <a:pt x="6"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1" name="Freeform 220"/>
              <p:cNvSpPr>
                <a:spLocks/>
              </p:cNvSpPr>
              <p:nvPr/>
            </p:nvSpPr>
            <p:spPr bwMode="auto">
              <a:xfrm>
                <a:off x="7441407" y="4873625"/>
                <a:ext cx="28575" cy="7937"/>
              </a:xfrm>
              <a:custGeom>
                <a:avLst/>
                <a:gdLst/>
                <a:ahLst/>
                <a:cxnLst>
                  <a:cxn ang="0">
                    <a:pos x="18" y="3"/>
                  </a:cxn>
                  <a:cxn ang="0">
                    <a:pos x="7" y="5"/>
                  </a:cxn>
                  <a:cxn ang="0">
                    <a:pos x="0" y="3"/>
                  </a:cxn>
                  <a:cxn ang="0">
                    <a:pos x="9" y="0"/>
                  </a:cxn>
                  <a:cxn ang="0">
                    <a:pos x="18" y="3"/>
                  </a:cxn>
                </a:cxnLst>
                <a:rect l="0" t="0" r="r" b="b"/>
                <a:pathLst>
                  <a:path w="18" h="5">
                    <a:moveTo>
                      <a:pt x="18" y="3"/>
                    </a:moveTo>
                    <a:lnTo>
                      <a:pt x="7" y="5"/>
                    </a:lnTo>
                    <a:lnTo>
                      <a:pt x="0" y="3"/>
                    </a:lnTo>
                    <a:lnTo>
                      <a:pt x="9" y="0"/>
                    </a:lnTo>
                    <a:lnTo>
                      <a:pt x="18"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2" name="Freeform 221"/>
              <p:cNvSpPr>
                <a:spLocks/>
              </p:cNvSpPr>
              <p:nvPr/>
            </p:nvSpPr>
            <p:spPr bwMode="auto">
              <a:xfrm>
                <a:off x="7292182" y="4278313"/>
                <a:ext cx="30163" cy="11112"/>
              </a:xfrm>
              <a:custGeom>
                <a:avLst/>
                <a:gdLst/>
                <a:ahLst/>
                <a:cxnLst>
                  <a:cxn ang="0">
                    <a:pos x="19" y="0"/>
                  </a:cxn>
                  <a:cxn ang="0">
                    <a:pos x="19" y="7"/>
                  </a:cxn>
                  <a:cxn ang="0">
                    <a:pos x="15" y="7"/>
                  </a:cxn>
                  <a:cxn ang="0">
                    <a:pos x="13" y="7"/>
                  </a:cxn>
                  <a:cxn ang="0">
                    <a:pos x="5" y="5"/>
                  </a:cxn>
                  <a:cxn ang="0">
                    <a:pos x="0" y="1"/>
                  </a:cxn>
                  <a:cxn ang="0">
                    <a:pos x="8" y="0"/>
                  </a:cxn>
                  <a:cxn ang="0">
                    <a:pos x="19" y="0"/>
                  </a:cxn>
                </a:cxnLst>
                <a:rect l="0" t="0" r="r" b="b"/>
                <a:pathLst>
                  <a:path w="19" h="7">
                    <a:moveTo>
                      <a:pt x="19" y="0"/>
                    </a:moveTo>
                    <a:lnTo>
                      <a:pt x="19" y="7"/>
                    </a:lnTo>
                    <a:lnTo>
                      <a:pt x="15" y="7"/>
                    </a:lnTo>
                    <a:lnTo>
                      <a:pt x="13" y="7"/>
                    </a:lnTo>
                    <a:lnTo>
                      <a:pt x="5" y="5"/>
                    </a:lnTo>
                    <a:lnTo>
                      <a:pt x="0" y="1"/>
                    </a:lnTo>
                    <a:lnTo>
                      <a:pt x="8"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3" name="Freeform 222"/>
              <p:cNvSpPr>
                <a:spLocks/>
              </p:cNvSpPr>
              <p:nvPr/>
            </p:nvSpPr>
            <p:spPr bwMode="auto">
              <a:xfrm>
                <a:off x="6909594" y="4264025"/>
                <a:ext cx="922338" cy="698500"/>
              </a:xfrm>
              <a:custGeom>
                <a:avLst/>
                <a:gdLst/>
                <a:ahLst/>
                <a:cxnLst>
                  <a:cxn ang="0">
                    <a:pos x="580" y="253"/>
                  </a:cxn>
                  <a:cxn ang="0">
                    <a:pos x="576" y="292"/>
                  </a:cxn>
                  <a:cxn ang="0">
                    <a:pos x="571" y="323"/>
                  </a:cxn>
                  <a:cxn ang="0">
                    <a:pos x="547" y="359"/>
                  </a:cxn>
                  <a:cxn ang="0">
                    <a:pos x="533" y="404"/>
                  </a:cxn>
                  <a:cxn ang="0">
                    <a:pos x="488" y="427"/>
                  </a:cxn>
                  <a:cxn ang="0">
                    <a:pos x="457" y="428"/>
                  </a:cxn>
                  <a:cxn ang="0">
                    <a:pos x="418" y="433"/>
                  </a:cxn>
                  <a:cxn ang="0">
                    <a:pos x="380" y="392"/>
                  </a:cxn>
                  <a:cxn ang="0">
                    <a:pos x="365" y="384"/>
                  </a:cxn>
                  <a:cxn ang="0">
                    <a:pos x="359" y="365"/>
                  </a:cxn>
                  <a:cxn ang="0">
                    <a:pos x="351" y="373"/>
                  </a:cxn>
                  <a:cxn ang="0">
                    <a:pos x="344" y="366"/>
                  </a:cxn>
                  <a:cxn ang="0">
                    <a:pos x="346" y="344"/>
                  </a:cxn>
                  <a:cxn ang="0">
                    <a:pos x="316" y="368"/>
                  </a:cxn>
                  <a:cxn ang="0">
                    <a:pos x="303" y="339"/>
                  </a:cxn>
                  <a:cxn ang="0">
                    <a:pos x="256" y="318"/>
                  </a:cxn>
                  <a:cxn ang="0">
                    <a:pos x="217" y="325"/>
                  </a:cxn>
                  <a:cxn ang="0">
                    <a:pos x="179" y="334"/>
                  </a:cxn>
                  <a:cxn ang="0">
                    <a:pos x="151" y="344"/>
                  </a:cxn>
                  <a:cxn ang="0">
                    <a:pos x="110" y="356"/>
                  </a:cxn>
                  <a:cxn ang="0">
                    <a:pos x="69" y="372"/>
                  </a:cxn>
                  <a:cxn ang="0">
                    <a:pos x="26" y="363"/>
                  </a:cxn>
                  <a:cxn ang="0">
                    <a:pos x="33" y="323"/>
                  </a:cxn>
                  <a:cxn ang="0">
                    <a:pos x="19" y="287"/>
                  </a:cxn>
                  <a:cxn ang="0">
                    <a:pos x="3" y="244"/>
                  </a:cxn>
                  <a:cxn ang="0">
                    <a:pos x="5" y="232"/>
                  </a:cxn>
                  <a:cxn ang="0">
                    <a:pos x="5" y="217"/>
                  </a:cxn>
                  <a:cxn ang="0">
                    <a:pos x="2" y="179"/>
                  </a:cxn>
                  <a:cxn ang="0">
                    <a:pos x="7" y="169"/>
                  </a:cxn>
                  <a:cxn ang="0">
                    <a:pos x="39" y="148"/>
                  </a:cxn>
                  <a:cxn ang="0">
                    <a:pos x="76" y="141"/>
                  </a:cxn>
                  <a:cxn ang="0">
                    <a:pos x="113" y="126"/>
                  </a:cxn>
                  <a:cxn ang="0">
                    <a:pos x="129" y="105"/>
                  </a:cxn>
                  <a:cxn ang="0">
                    <a:pos x="139" y="93"/>
                  </a:cxn>
                  <a:cxn ang="0">
                    <a:pos x="153" y="84"/>
                  </a:cxn>
                  <a:cxn ang="0">
                    <a:pos x="167" y="64"/>
                  </a:cxn>
                  <a:cxn ang="0">
                    <a:pos x="189" y="48"/>
                  </a:cxn>
                  <a:cxn ang="0">
                    <a:pos x="217" y="62"/>
                  </a:cxn>
                  <a:cxn ang="0">
                    <a:pos x="232" y="59"/>
                  </a:cxn>
                  <a:cxn ang="0">
                    <a:pos x="242" y="29"/>
                  </a:cxn>
                  <a:cxn ang="0">
                    <a:pos x="273" y="22"/>
                  </a:cxn>
                  <a:cxn ang="0">
                    <a:pos x="279" y="12"/>
                  </a:cxn>
                  <a:cxn ang="0">
                    <a:pos x="322" y="21"/>
                  </a:cxn>
                  <a:cxn ang="0">
                    <a:pos x="334" y="33"/>
                  </a:cxn>
                  <a:cxn ang="0">
                    <a:pos x="332" y="69"/>
                  </a:cxn>
                  <a:cxn ang="0">
                    <a:pos x="353" y="84"/>
                  </a:cxn>
                  <a:cxn ang="0">
                    <a:pos x="390" y="105"/>
                  </a:cxn>
                  <a:cxn ang="0">
                    <a:pos x="411" y="64"/>
                  </a:cxn>
                  <a:cxn ang="0">
                    <a:pos x="425" y="9"/>
                  </a:cxn>
                  <a:cxn ang="0">
                    <a:pos x="437" y="43"/>
                  </a:cxn>
                  <a:cxn ang="0">
                    <a:pos x="461" y="62"/>
                  </a:cxn>
                  <a:cxn ang="0">
                    <a:pos x="468" y="95"/>
                  </a:cxn>
                  <a:cxn ang="0">
                    <a:pos x="483" y="126"/>
                  </a:cxn>
                  <a:cxn ang="0">
                    <a:pos x="519" y="157"/>
                  </a:cxn>
                  <a:cxn ang="0">
                    <a:pos x="542" y="186"/>
                  </a:cxn>
                  <a:cxn ang="0">
                    <a:pos x="568" y="215"/>
                  </a:cxn>
                </a:cxnLst>
                <a:rect l="0" t="0" r="r" b="b"/>
                <a:pathLst>
                  <a:path w="581" h="440">
                    <a:moveTo>
                      <a:pt x="568" y="215"/>
                    </a:moveTo>
                    <a:lnTo>
                      <a:pt x="571" y="224"/>
                    </a:lnTo>
                    <a:lnTo>
                      <a:pt x="576" y="239"/>
                    </a:lnTo>
                    <a:lnTo>
                      <a:pt x="580" y="253"/>
                    </a:lnTo>
                    <a:lnTo>
                      <a:pt x="581" y="268"/>
                    </a:lnTo>
                    <a:lnTo>
                      <a:pt x="580" y="275"/>
                    </a:lnTo>
                    <a:lnTo>
                      <a:pt x="578" y="286"/>
                    </a:lnTo>
                    <a:lnTo>
                      <a:pt x="576" y="292"/>
                    </a:lnTo>
                    <a:lnTo>
                      <a:pt x="574" y="299"/>
                    </a:lnTo>
                    <a:lnTo>
                      <a:pt x="574" y="313"/>
                    </a:lnTo>
                    <a:lnTo>
                      <a:pt x="571" y="318"/>
                    </a:lnTo>
                    <a:lnTo>
                      <a:pt x="571" y="323"/>
                    </a:lnTo>
                    <a:lnTo>
                      <a:pt x="562" y="332"/>
                    </a:lnTo>
                    <a:lnTo>
                      <a:pt x="555" y="341"/>
                    </a:lnTo>
                    <a:lnTo>
                      <a:pt x="550" y="347"/>
                    </a:lnTo>
                    <a:lnTo>
                      <a:pt x="547" y="359"/>
                    </a:lnTo>
                    <a:lnTo>
                      <a:pt x="542" y="368"/>
                    </a:lnTo>
                    <a:lnTo>
                      <a:pt x="538" y="378"/>
                    </a:lnTo>
                    <a:lnTo>
                      <a:pt x="533" y="390"/>
                    </a:lnTo>
                    <a:lnTo>
                      <a:pt x="533" y="404"/>
                    </a:lnTo>
                    <a:lnTo>
                      <a:pt x="533" y="404"/>
                    </a:lnTo>
                    <a:lnTo>
                      <a:pt x="521" y="415"/>
                    </a:lnTo>
                    <a:lnTo>
                      <a:pt x="506" y="421"/>
                    </a:lnTo>
                    <a:lnTo>
                      <a:pt x="488" y="427"/>
                    </a:lnTo>
                    <a:lnTo>
                      <a:pt x="482" y="440"/>
                    </a:lnTo>
                    <a:lnTo>
                      <a:pt x="473" y="437"/>
                    </a:lnTo>
                    <a:lnTo>
                      <a:pt x="466" y="433"/>
                    </a:lnTo>
                    <a:lnTo>
                      <a:pt x="457" y="428"/>
                    </a:lnTo>
                    <a:lnTo>
                      <a:pt x="456" y="425"/>
                    </a:lnTo>
                    <a:lnTo>
                      <a:pt x="445" y="430"/>
                    </a:lnTo>
                    <a:lnTo>
                      <a:pt x="435" y="437"/>
                    </a:lnTo>
                    <a:lnTo>
                      <a:pt x="418" y="433"/>
                    </a:lnTo>
                    <a:lnTo>
                      <a:pt x="401" y="427"/>
                    </a:lnTo>
                    <a:lnTo>
                      <a:pt x="387" y="416"/>
                    </a:lnTo>
                    <a:lnTo>
                      <a:pt x="383" y="402"/>
                    </a:lnTo>
                    <a:lnTo>
                      <a:pt x="380" y="392"/>
                    </a:lnTo>
                    <a:lnTo>
                      <a:pt x="377" y="382"/>
                    </a:lnTo>
                    <a:lnTo>
                      <a:pt x="375" y="380"/>
                    </a:lnTo>
                    <a:lnTo>
                      <a:pt x="370" y="382"/>
                    </a:lnTo>
                    <a:lnTo>
                      <a:pt x="365" y="384"/>
                    </a:lnTo>
                    <a:lnTo>
                      <a:pt x="359" y="384"/>
                    </a:lnTo>
                    <a:lnTo>
                      <a:pt x="361" y="378"/>
                    </a:lnTo>
                    <a:lnTo>
                      <a:pt x="363" y="373"/>
                    </a:lnTo>
                    <a:lnTo>
                      <a:pt x="359" y="365"/>
                    </a:lnTo>
                    <a:lnTo>
                      <a:pt x="358" y="363"/>
                    </a:lnTo>
                    <a:lnTo>
                      <a:pt x="356" y="365"/>
                    </a:lnTo>
                    <a:lnTo>
                      <a:pt x="356" y="368"/>
                    </a:lnTo>
                    <a:lnTo>
                      <a:pt x="351" y="373"/>
                    </a:lnTo>
                    <a:lnTo>
                      <a:pt x="344" y="378"/>
                    </a:lnTo>
                    <a:lnTo>
                      <a:pt x="340" y="377"/>
                    </a:lnTo>
                    <a:lnTo>
                      <a:pt x="339" y="373"/>
                    </a:lnTo>
                    <a:lnTo>
                      <a:pt x="344" y="366"/>
                    </a:lnTo>
                    <a:lnTo>
                      <a:pt x="351" y="356"/>
                    </a:lnTo>
                    <a:lnTo>
                      <a:pt x="353" y="344"/>
                    </a:lnTo>
                    <a:lnTo>
                      <a:pt x="354" y="337"/>
                    </a:lnTo>
                    <a:lnTo>
                      <a:pt x="346" y="344"/>
                    </a:lnTo>
                    <a:lnTo>
                      <a:pt x="337" y="358"/>
                    </a:lnTo>
                    <a:lnTo>
                      <a:pt x="328" y="368"/>
                    </a:lnTo>
                    <a:lnTo>
                      <a:pt x="322" y="373"/>
                    </a:lnTo>
                    <a:lnTo>
                      <a:pt x="316" y="368"/>
                    </a:lnTo>
                    <a:lnTo>
                      <a:pt x="316" y="363"/>
                    </a:lnTo>
                    <a:lnTo>
                      <a:pt x="311" y="358"/>
                    </a:lnTo>
                    <a:lnTo>
                      <a:pt x="308" y="349"/>
                    </a:lnTo>
                    <a:lnTo>
                      <a:pt x="303" y="339"/>
                    </a:lnTo>
                    <a:lnTo>
                      <a:pt x="299" y="334"/>
                    </a:lnTo>
                    <a:lnTo>
                      <a:pt x="287" y="325"/>
                    </a:lnTo>
                    <a:lnTo>
                      <a:pt x="273" y="322"/>
                    </a:lnTo>
                    <a:lnTo>
                      <a:pt x="256" y="318"/>
                    </a:lnTo>
                    <a:lnTo>
                      <a:pt x="244" y="318"/>
                    </a:lnTo>
                    <a:lnTo>
                      <a:pt x="230" y="318"/>
                    </a:lnTo>
                    <a:lnTo>
                      <a:pt x="224" y="322"/>
                    </a:lnTo>
                    <a:lnTo>
                      <a:pt x="217" y="325"/>
                    </a:lnTo>
                    <a:lnTo>
                      <a:pt x="210" y="329"/>
                    </a:lnTo>
                    <a:lnTo>
                      <a:pt x="199" y="330"/>
                    </a:lnTo>
                    <a:lnTo>
                      <a:pt x="189" y="332"/>
                    </a:lnTo>
                    <a:lnTo>
                      <a:pt x="179" y="334"/>
                    </a:lnTo>
                    <a:lnTo>
                      <a:pt x="170" y="335"/>
                    </a:lnTo>
                    <a:lnTo>
                      <a:pt x="162" y="335"/>
                    </a:lnTo>
                    <a:lnTo>
                      <a:pt x="156" y="339"/>
                    </a:lnTo>
                    <a:lnTo>
                      <a:pt x="151" y="344"/>
                    </a:lnTo>
                    <a:lnTo>
                      <a:pt x="150" y="354"/>
                    </a:lnTo>
                    <a:lnTo>
                      <a:pt x="132" y="356"/>
                    </a:lnTo>
                    <a:lnTo>
                      <a:pt x="119" y="358"/>
                    </a:lnTo>
                    <a:lnTo>
                      <a:pt x="110" y="356"/>
                    </a:lnTo>
                    <a:lnTo>
                      <a:pt x="105" y="358"/>
                    </a:lnTo>
                    <a:lnTo>
                      <a:pt x="91" y="359"/>
                    </a:lnTo>
                    <a:lnTo>
                      <a:pt x="81" y="366"/>
                    </a:lnTo>
                    <a:lnTo>
                      <a:pt x="69" y="372"/>
                    </a:lnTo>
                    <a:lnTo>
                      <a:pt x="57" y="375"/>
                    </a:lnTo>
                    <a:lnTo>
                      <a:pt x="46" y="372"/>
                    </a:lnTo>
                    <a:lnTo>
                      <a:pt x="34" y="368"/>
                    </a:lnTo>
                    <a:lnTo>
                      <a:pt x="26" y="363"/>
                    </a:lnTo>
                    <a:lnTo>
                      <a:pt x="22" y="358"/>
                    </a:lnTo>
                    <a:lnTo>
                      <a:pt x="27" y="346"/>
                    </a:lnTo>
                    <a:lnTo>
                      <a:pt x="34" y="334"/>
                    </a:lnTo>
                    <a:lnTo>
                      <a:pt x="33" y="323"/>
                    </a:lnTo>
                    <a:lnTo>
                      <a:pt x="29" y="315"/>
                    </a:lnTo>
                    <a:lnTo>
                      <a:pt x="26" y="308"/>
                    </a:lnTo>
                    <a:lnTo>
                      <a:pt x="24" y="303"/>
                    </a:lnTo>
                    <a:lnTo>
                      <a:pt x="19" y="287"/>
                    </a:lnTo>
                    <a:lnTo>
                      <a:pt x="17" y="277"/>
                    </a:lnTo>
                    <a:lnTo>
                      <a:pt x="14" y="265"/>
                    </a:lnTo>
                    <a:lnTo>
                      <a:pt x="10" y="253"/>
                    </a:lnTo>
                    <a:lnTo>
                      <a:pt x="3" y="244"/>
                    </a:lnTo>
                    <a:lnTo>
                      <a:pt x="0" y="236"/>
                    </a:lnTo>
                    <a:lnTo>
                      <a:pt x="2" y="232"/>
                    </a:lnTo>
                    <a:lnTo>
                      <a:pt x="3" y="229"/>
                    </a:lnTo>
                    <a:lnTo>
                      <a:pt x="5" y="232"/>
                    </a:lnTo>
                    <a:lnTo>
                      <a:pt x="9" y="236"/>
                    </a:lnTo>
                    <a:lnTo>
                      <a:pt x="9" y="232"/>
                    </a:lnTo>
                    <a:lnTo>
                      <a:pt x="9" y="229"/>
                    </a:lnTo>
                    <a:lnTo>
                      <a:pt x="5" y="217"/>
                    </a:lnTo>
                    <a:lnTo>
                      <a:pt x="2" y="203"/>
                    </a:lnTo>
                    <a:lnTo>
                      <a:pt x="2" y="193"/>
                    </a:lnTo>
                    <a:lnTo>
                      <a:pt x="2" y="186"/>
                    </a:lnTo>
                    <a:lnTo>
                      <a:pt x="2" y="179"/>
                    </a:lnTo>
                    <a:lnTo>
                      <a:pt x="2" y="174"/>
                    </a:lnTo>
                    <a:lnTo>
                      <a:pt x="3" y="169"/>
                    </a:lnTo>
                    <a:lnTo>
                      <a:pt x="7" y="167"/>
                    </a:lnTo>
                    <a:lnTo>
                      <a:pt x="7" y="169"/>
                    </a:lnTo>
                    <a:lnTo>
                      <a:pt x="9" y="172"/>
                    </a:lnTo>
                    <a:lnTo>
                      <a:pt x="22" y="163"/>
                    </a:lnTo>
                    <a:lnTo>
                      <a:pt x="34" y="153"/>
                    </a:lnTo>
                    <a:lnTo>
                      <a:pt x="39" y="148"/>
                    </a:lnTo>
                    <a:lnTo>
                      <a:pt x="50" y="146"/>
                    </a:lnTo>
                    <a:lnTo>
                      <a:pt x="58" y="145"/>
                    </a:lnTo>
                    <a:lnTo>
                      <a:pt x="69" y="145"/>
                    </a:lnTo>
                    <a:lnTo>
                      <a:pt x="76" y="141"/>
                    </a:lnTo>
                    <a:lnTo>
                      <a:pt x="84" y="139"/>
                    </a:lnTo>
                    <a:lnTo>
                      <a:pt x="95" y="136"/>
                    </a:lnTo>
                    <a:lnTo>
                      <a:pt x="105" y="133"/>
                    </a:lnTo>
                    <a:lnTo>
                      <a:pt x="113" y="126"/>
                    </a:lnTo>
                    <a:lnTo>
                      <a:pt x="122" y="120"/>
                    </a:lnTo>
                    <a:lnTo>
                      <a:pt x="125" y="115"/>
                    </a:lnTo>
                    <a:lnTo>
                      <a:pt x="129" y="110"/>
                    </a:lnTo>
                    <a:lnTo>
                      <a:pt x="129" y="105"/>
                    </a:lnTo>
                    <a:lnTo>
                      <a:pt x="129" y="102"/>
                    </a:lnTo>
                    <a:lnTo>
                      <a:pt x="129" y="93"/>
                    </a:lnTo>
                    <a:lnTo>
                      <a:pt x="136" y="88"/>
                    </a:lnTo>
                    <a:lnTo>
                      <a:pt x="139" y="93"/>
                    </a:lnTo>
                    <a:lnTo>
                      <a:pt x="143" y="98"/>
                    </a:lnTo>
                    <a:lnTo>
                      <a:pt x="146" y="90"/>
                    </a:lnTo>
                    <a:lnTo>
                      <a:pt x="148" y="83"/>
                    </a:lnTo>
                    <a:lnTo>
                      <a:pt x="153" y="84"/>
                    </a:lnTo>
                    <a:lnTo>
                      <a:pt x="158" y="86"/>
                    </a:lnTo>
                    <a:lnTo>
                      <a:pt x="158" y="76"/>
                    </a:lnTo>
                    <a:lnTo>
                      <a:pt x="163" y="71"/>
                    </a:lnTo>
                    <a:lnTo>
                      <a:pt x="167" y="64"/>
                    </a:lnTo>
                    <a:lnTo>
                      <a:pt x="170" y="59"/>
                    </a:lnTo>
                    <a:lnTo>
                      <a:pt x="177" y="55"/>
                    </a:lnTo>
                    <a:lnTo>
                      <a:pt x="184" y="53"/>
                    </a:lnTo>
                    <a:lnTo>
                      <a:pt x="189" y="48"/>
                    </a:lnTo>
                    <a:lnTo>
                      <a:pt x="198" y="48"/>
                    </a:lnTo>
                    <a:lnTo>
                      <a:pt x="206" y="53"/>
                    </a:lnTo>
                    <a:lnTo>
                      <a:pt x="211" y="67"/>
                    </a:lnTo>
                    <a:lnTo>
                      <a:pt x="217" y="62"/>
                    </a:lnTo>
                    <a:lnTo>
                      <a:pt x="224" y="62"/>
                    </a:lnTo>
                    <a:lnTo>
                      <a:pt x="227" y="64"/>
                    </a:lnTo>
                    <a:lnTo>
                      <a:pt x="230" y="65"/>
                    </a:lnTo>
                    <a:lnTo>
                      <a:pt x="232" y="59"/>
                    </a:lnTo>
                    <a:lnTo>
                      <a:pt x="232" y="53"/>
                    </a:lnTo>
                    <a:lnTo>
                      <a:pt x="236" y="43"/>
                    </a:lnTo>
                    <a:lnTo>
                      <a:pt x="241" y="35"/>
                    </a:lnTo>
                    <a:lnTo>
                      <a:pt x="242" y="29"/>
                    </a:lnTo>
                    <a:lnTo>
                      <a:pt x="251" y="26"/>
                    </a:lnTo>
                    <a:lnTo>
                      <a:pt x="260" y="24"/>
                    </a:lnTo>
                    <a:lnTo>
                      <a:pt x="268" y="24"/>
                    </a:lnTo>
                    <a:lnTo>
                      <a:pt x="273" y="22"/>
                    </a:lnTo>
                    <a:lnTo>
                      <a:pt x="279" y="21"/>
                    </a:lnTo>
                    <a:lnTo>
                      <a:pt x="272" y="14"/>
                    </a:lnTo>
                    <a:lnTo>
                      <a:pt x="268" y="9"/>
                    </a:lnTo>
                    <a:lnTo>
                      <a:pt x="279" y="12"/>
                    </a:lnTo>
                    <a:lnTo>
                      <a:pt x="291" y="17"/>
                    </a:lnTo>
                    <a:lnTo>
                      <a:pt x="301" y="21"/>
                    </a:lnTo>
                    <a:lnTo>
                      <a:pt x="315" y="22"/>
                    </a:lnTo>
                    <a:lnTo>
                      <a:pt x="322" y="21"/>
                    </a:lnTo>
                    <a:lnTo>
                      <a:pt x="328" y="19"/>
                    </a:lnTo>
                    <a:lnTo>
                      <a:pt x="334" y="21"/>
                    </a:lnTo>
                    <a:lnTo>
                      <a:pt x="339" y="28"/>
                    </a:lnTo>
                    <a:lnTo>
                      <a:pt x="334" y="33"/>
                    </a:lnTo>
                    <a:lnTo>
                      <a:pt x="327" y="38"/>
                    </a:lnTo>
                    <a:lnTo>
                      <a:pt x="322" y="64"/>
                    </a:lnTo>
                    <a:lnTo>
                      <a:pt x="325" y="65"/>
                    </a:lnTo>
                    <a:lnTo>
                      <a:pt x="332" y="69"/>
                    </a:lnTo>
                    <a:lnTo>
                      <a:pt x="334" y="74"/>
                    </a:lnTo>
                    <a:lnTo>
                      <a:pt x="337" y="79"/>
                    </a:lnTo>
                    <a:lnTo>
                      <a:pt x="346" y="81"/>
                    </a:lnTo>
                    <a:lnTo>
                      <a:pt x="353" y="84"/>
                    </a:lnTo>
                    <a:lnTo>
                      <a:pt x="359" y="86"/>
                    </a:lnTo>
                    <a:lnTo>
                      <a:pt x="370" y="91"/>
                    </a:lnTo>
                    <a:lnTo>
                      <a:pt x="378" y="98"/>
                    </a:lnTo>
                    <a:lnTo>
                      <a:pt x="390" y="105"/>
                    </a:lnTo>
                    <a:lnTo>
                      <a:pt x="399" y="98"/>
                    </a:lnTo>
                    <a:lnTo>
                      <a:pt x="406" y="88"/>
                    </a:lnTo>
                    <a:lnTo>
                      <a:pt x="408" y="74"/>
                    </a:lnTo>
                    <a:lnTo>
                      <a:pt x="411" y="64"/>
                    </a:lnTo>
                    <a:lnTo>
                      <a:pt x="411" y="17"/>
                    </a:lnTo>
                    <a:lnTo>
                      <a:pt x="418" y="9"/>
                    </a:lnTo>
                    <a:lnTo>
                      <a:pt x="425" y="0"/>
                    </a:lnTo>
                    <a:lnTo>
                      <a:pt x="425" y="9"/>
                    </a:lnTo>
                    <a:lnTo>
                      <a:pt x="430" y="17"/>
                    </a:lnTo>
                    <a:lnTo>
                      <a:pt x="433" y="24"/>
                    </a:lnTo>
                    <a:lnTo>
                      <a:pt x="437" y="33"/>
                    </a:lnTo>
                    <a:lnTo>
                      <a:pt x="437" y="43"/>
                    </a:lnTo>
                    <a:lnTo>
                      <a:pt x="442" y="53"/>
                    </a:lnTo>
                    <a:lnTo>
                      <a:pt x="451" y="55"/>
                    </a:lnTo>
                    <a:lnTo>
                      <a:pt x="457" y="59"/>
                    </a:lnTo>
                    <a:lnTo>
                      <a:pt x="461" y="62"/>
                    </a:lnTo>
                    <a:lnTo>
                      <a:pt x="463" y="71"/>
                    </a:lnTo>
                    <a:lnTo>
                      <a:pt x="464" y="79"/>
                    </a:lnTo>
                    <a:lnTo>
                      <a:pt x="466" y="88"/>
                    </a:lnTo>
                    <a:lnTo>
                      <a:pt x="468" y="95"/>
                    </a:lnTo>
                    <a:lnTo>
                      <a:pt x="473" y="103"/>
                    </a:lnTo>
                    <a:lnTo>
                      <a:pt x="475" y="110"/>
                    </a:lnTo>
                    <a:lnTo>
                      <a:pt x="480" y="120"/>
                    </a:lnTo>
                    <a:lnTo>
                      <a:pt x="483" y="126"/>
                    </a:lnTo>
                    <a:lnTo>
                      <a:pt x="494" y="133"/>
                    </a:lnTo>
                    <a:lnTo>
                      <a:pt x="504" y="138"/>
                    </a:lnTo>
                    <a:lnTo>
                      <a:pt x="514" y="145"/>
                    </a:lnTo>
                    <a:lnTo>
                      <a:pt x="519" y="157"/>
                    </a:lnTo>
                    <a:lnTo>
                      <a:pt x="523" y="169"/>
                    </a:lnTo>
                    <a:lnTo>
                      <a:pt x="528" y="174"/>
                    </a:lnTo>
                    <a:lnTo>
                      <a:pt x="540" y="176"/>
                    </a:lnTo>
                    <a:lnTo>
                      <a:pt x="542" y="186"/>
                    </a:lnTo>
                    <a:lnTo>
                      <a:pt x="550" y="196"/>
                    </a:lnTo>
                    <a:lnTo>
                      <a:pt x="559" y="205"/>
                    </a:lnTo>
                    <a:lnTo>
                      <a:pt x="569" y="213"/>
                    </a:lnTo>
                    <a:lnTo>
                      <a:pt x="568" y="2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4" name="Freeform 223"/>
              <p:cNvSpPr>
                <a:spLocks/>
              </p:cNvSpPr>
              <p:nvPr/>
            </p:nvSpPr>
            <p:spPr bwMode="auto">
              <a:xfrm>
                <a:off x="8149432" y="5181600"/>
                <a:ext cx="15875" cy="12700"/>
              </a:xfrm>
              <a:custGeom>
                <a:avLst/>
                <a:gdLst/>
                <a:ahLst/>
                <a:cxnLst>
                  <a:cxn ang="0">
                    <a:pos x="10" y="0"/>
                  </a:cxn>
                  <a:cxn ang="0">
                    <a:pos x="5" y="5"/>
                  </a:cxn>
                  <a:cxn ang="0">
                    <a:pos x="0" y="8"/>
                  </a:cxn>
                  <a:cxn ang="0">
                    <a:pos x="0" y="3"/>
                  </a:cxn>
                  <a:cxn ang="0">
                    <a:pos x="0" y="0"/>
                  </a:cxn>
                  <a:cxn ang="0">
                    <a:pos x="10" y="0"/>
                  </a:cxn>
                </a:cxnLst>
                <a:rect l="0" t="0" r="r" b="b"/>
                <a:pathLst>
                  <a:path w="10" h="8">
                    <a:moveTo>
                      <a:pt x="10" y="0"/>
                    </a:moveTo>
                    <a:lnTo>
                      <a:pt x="5" y="5"/>
                    </a:lnTo>
                    <a:lnTo>
                      <a:pt x="0" y="8"/>
                    </a:lnTo>
                    <a:lnTo>
                      <a:pt x="0" y="3"/>
                    </a:lnTo>
                    <a:lnTo>
                      <a:pt x="0"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5" name="Freeform 224"/>
              <p:cNvSpPr>
                <a:spLocks/>
              </p:cNvSpPr>
              <p:nvPr/>
            </p:nvSpPr>
            <p:spPr bwMode="auto">
              <a:xfrm>
                <a:off x="8127207" y="5006975"/>
                <a:ext cx="174625" cy="171450"/>
              </a:xfrm>
              <a:custGeom>
                <a:avLst/>
                <a:gdLst/>
                <a:ahLst/>
                <a:cxnLst>
                  <a:cxn ang="0">
                    <a:pos x="67" y="29"/>
                  </a:cxn>
                  <a:cxn ang="0">
                    <a:pos x="67" y="26"/>
                  </a:cxn>
                  <a:cxn ang="0">
                    <a:pos x="67" y="24"/>
                  </a:cxn>
                  <a:cxn ang="0">
                    <a:pos x="71" y="19"/>
                  </a:cxn>
                  <a:cxn ang="0">
                    <a:pos x="77" y="19"/>
                  </a:cxn>
                  <a:cxn ang="0">
                    <a:pos x="77" y="17"/>
                  </a:cxn>
                  <a:cxn ang="0">
                    <a:pos x="77" y="15"/>
                  </a:cxn>
                  <a:cxn ang="0">
                    <a:pos x="81" y="5"/>
                  </a:cxn>
                  <a:cxn ang="0">
                    <a:pos x="89" y="0"/>
                  </a:cxn>
                  <a:cxn ang="0">
                    <a:pos x="89" y="3"/>
                  </a:cxn>
                  <a:cxn ang="0">
                    <a:pos x="93" y="5"/>
                  </a:cxn>
                  <a:cxn ang="0">
                    <a:pos x="93" y="8"/>
                  </a:cxn>
                  <a:cxn ang="0">
                    <a:pos x="96" y="12"/>
                  </a:cxn>
                  <a:cxn ang="0">
                    <a:pos x="100" y="8"/>
                  </a:cxn>
                  <a:cxn ang="0">
                    <a:pos x="105" y="7"/>
                  </a:cxn>
                  <a:cxn ang="0">
                    <a:pos x="108" y="8"/>
                  </a:cxn>
                  <a:cxn ang="0">
                    <a:pos x="108" y="14"/>
                  </a:cxn>
                  <a:cxn ang="0">
                    <a:pos x="110" y="17"/>
                  </a:cxn>
                  <a:cxn ang="0">
                    <a:pos x="107" y="22"/>
                  </a:cxn>
                  <a:cxn ang="0">
                    <a:pos x="103" y="31"/>
                  </a:cxn>
                  <a:cxn ang="0">
                    <a:pos x="96" y="39"/>
                  </a:cxn>
                  <a:cxn ang="0">
                    <a:pos x="91" y="43"/>
                  </a:cxn>
                  <a:cxn ang="0">
                    <a:pos x="89" y="50"/>
                  </a:cxn>
                  <a:cxn ang="0">
                    <a:pos x="91" y="58"/>
                  </a:cxn>
                  <a:cxn ang="0">
                    <a:pos x="81" y="58"/>
                  </a:cxn>
                  <a:cxn ang="0">
                    <a:pos x="72" y="60"/>
                  </a:cxn>
                  <a:cxn ang="0">
                    <a:pos x="67" y="67"/>
                  </a:cxn>
                  <a:cxn ang="0">
                    <a:pos x="64" y="81"/>
                  </a:cxn>
                  <a:cxn ang="0">
                    <a:pos x="58" y="91"/>
                  </a:cxn>
                  <a:cxn ang="0">
                    <a:pos x="57" y="96"/>
                  </a:cxn>
                  <a:cxn ang="0">
                    <a:pos x="46" y="103"/>
                  </a:cxn>
                  <a:cxn ang="0">
                    <a:pos x="38" y="108"/>
                  </a:cxn>
                  <a:cxn ang="0">
                    <a:pos x="31" y="106"/>
                  </a:cxn>
                  <a:cxn ang="0">
                    <a:pos x="26" y="105"/>
                  </a:cxn>
                  <a:cxn ang="0">
                    <a:pos x="19" y="103"/>
                  </a:cxn>
                  <a:cxn ang="0">
                    <a:pos x="12" y="100"/>
                  </a:cxn>
                  <a:cxn ang="0">
                    <a:pos x="5" y="96"/>
                  </a:cxn>
                  <a:cxn ang="0">
                    <a:pos x="3" y="94"/>
                  </a:cxn>
                  <a:cxn ang="0">
                    <a:pos x="0" y="93"/>
                  </a:cxn>
                  <a:cxn ang="0">
                    <a:pos x="2" y="82"/>
                  </a:cxn>
                  <a:cxn ang="0">
                    <a:pos x="7" y="75"/>
                  </a:cxn>
                  <a:cxn ang="0">
                    <a:pos x="14" y="70"/>
                  </a:cxn>
                  <a:cxn ang="0">
                    <a:pos x="21" y="65"/>
                  </a:cxn>
                  <a:cxn ang="0">
                    <a:pos x="24" y="60"/>
                  </a:cxn>
                  <a:cxn ang="0">
                    <a:pos x="29" y="58"/>
                  </a:cxn>
                  <a:cxn ang="0">
                    <a:pos x="43" y="51"/>
                  </a:cxn>
                  <a:cxn ang="0">
                    <a:pos x="57" y="43"/>
                  </a:cxn>
                  <a:cxn ang="0">
                    <a:pos x="62" y="34"/>
                  </a:cxn>
                  <a:cxn ang="0">
                    <a:pos x="67" y="29"/>
                  </a:cxn>
                </a:cxnLst>
                <a:rect l="0" t="0" r="r" b="b"/>
                <a:pathLst>
                  <a:path w="110" h="108">
                    <a:moveTo>
                      <a:pt x="67" y="29"/>
                    </a:moveTo>
                    <a:lnTo>
                      <a:pt x="67" y="26"/>
                    </a:lnTo>
                    <a:lnTo>
                      <a:pt x="67" y="24"/>
                    </a:lnTo>
                    <a:lnTo>
                      <a:pt x="71" y="19"/>
                    </a:lnTo>
                    <a:lnTo>
                      <a:pt x="77" y="19"/>
                    </a:lnTo>
                    <a:lnTo>
                      <a:pt x="77" y="17"/>
                    </a:lnTo>
                    <a:lnTo>
                      <a:pt x="77" y="15"/>
                    </a:lnTo>
                    <a:lnTo>
                      <a:pt x="81" y="5"/>
                    </a:lnTo>
                    <a:lnTo>
                      <a:pt x="89" y="0"/>
                    </a:lnTo>
                    <a:lnTo>
                      <a:pt x="89" y="3"/>
                    </a:lnTo>
                    <a:lnTo>
                      <a:pt x="93" y="5"/>
                    </a:lnTo>
                    <a:lnTo>
                      <a:pt x="93" y="8"/>
                    </a:lnTo>
                    <a:lnTo>
                      <a:pt x="96" y="12"/>
                    </a:lnTo>
                    <a:lnTo>
                      <a:pt x="100" y="8"/>
                    </a:lnTo>
                    <a:lnTo>
                      <a:pt x="105" y="7"/>
                    </a:lnTo>
                    <a:lnTo>
                      <a:pt x="108" y="8"/>
                    </a:lnTo>
                    <a:lnTo>
                      <a:pt x="108" y="14"/>
                    </a:lnTo>
                    <a:lnTo>
                      <a:pt x="110" y="17"/>
                    </a:lnTo>
                    <a:lnTo>
                      <a:pt x="107" y="22"/>
                    </a:lnTo>
                    <a:lnTo>
                      <a:pt x="103" y="31"/>
                    </a:lnTo>
                    <a:lnTo>
                      <a:pt x="96" y="39"/>
                    </a:lnTo>
                    <a:lnTo>
                      <a:pt x="91" y="43"/>
                    </a:lnTo>
                    <a:lnTo>
                      <a:pt x="89" y="50"/>
                    </a:lnTo>
                    <a:lnTo>
                      <a:pt x="91" y="58"/>
                    </a:lnTo>
                    <a:lnTo>
                      <a:pt x="81" y="58"/>
                    </a:lnTo>
                    <a:lnTo>
                      <a:pt x="72" y="60"/>
                    </a:lnTo>
                    <a:lnTo>
                      <a:pt x="67" y="67"/>
                    </a:lnTo>
                    <a:lnTo>
                      <a:pt x="64" y="81"/>
                    </a:lnTo>
                    <a:lnTo>
                      <a:pt x="58" y="91"/>
                    </a:lnTo>
                    <a:lnTo>
                      <a:pt x="57" y="96"/>
                    </a:lnTo>
                    <a:lnTo>
                      <a:pt x="46" y="103"/>
                    </a:lnTo>
                    <a:lnTo>
                      <a:pt x="38" y="108"/>
                    </a:lnTo>
                    <a:lnTo>
                      <a:pt x="31" y="106"/>
                    </a:lnTo>
                    <a:lnTo>
                      <a:pt x="26" y="105"/>
                    </a:lnTo>
                    <a:lnTo>
                      <a:pt x="19" y="103"/>
                    </a:lnTo>
                    <a:lnTo>
                      <a:pt x="12" y="100"/>
                    </a:lnTo>
                    <a:lnTo>
                      <a:pt x="5" y="96"/>
                    </a:lnTo>
                    <a:lnTo>
                      <a:pt x="3" y="94"/>
                    </a:lnTo>
                    <a:lnTo>
                      <a:pt x="0" y="93"/>
                    </a:lnTo>
                    <a:lnTo>
                      <a:pt x="2" y="82"/>
                    </a:lnTo>
                    <a:lnTo>
                      <a:pt x="7" y="75"/>
                    </a:lnTo>
                    <a:lnTo>
                      <a:pt x="14" y="70"/>
                    </a:lnTo>
                    <a:lnTo>
                      <a:pt x="21" y="65"/>
                    </a:lnTo>
                    <a:lnTo>
                      <a:pt x="24" y="60"/>
                    </a:lnTo>
                    <a:lnTo>
                      <a:pt x="29" y="58"/>
                    </a:lnTo>
                    <a:lnTo>
                      <a:pt x="43" y="51"/>
                    </a:lnTo>
                    <a:lnTo>
                      <a:pt x="57" y="43"/>
                    </a:lnTo>
                    <a:lnTo>
                      <a:pt x="62" y="34"/>
                    </a:lnTo>
                    <a:lnTo>
                      <a:pt x="67"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6" name="Freeform 225"/>
              <p:cNvSpPr>
                <a:spLocks/>
              </p:cNvSpPr>
              <p:nvPr/>
            </p:nvSpPr>
            <p:spPr bwMode="auto">
              <a:xfrm>
                <a:off x="8271669" y="4840288"/>
                <a:ext cx="131763" cy="190500"/>
              </a:xfrm>
              <a:custGeom>
                <a:avLst/>
                <a:gdLst/>
                <a:ahLst/>
                <a:cxnLst>
                  <a:cxn ang="0">
                    <a:pos x="26" y="45"/>
                  </a:cxn>
                  <a:cxn ang="0">
                    <a:pos x="21" y="39"/>
                  </a:cxn>
                  <a:cxn ang="0">
                    <a:pos x="19" y="36"/>
                  </a:cxn>
                  <a:cxn ang="0">
                    <a:pos x="19" y="33"/>
                  </a:cxn>
                  <a:cxn ang="0">
                    <a:pos x="21" y="31"/>
                  </a:cxn>
                  <a:cxn ang="0">
                    <a:pos x="12" y="26"/>
                  </a:cxn>
                  <a:cxn ang="0">
                    <a:pos x="7" y="19"/>
                  </a:cxn>
                  <a:cxn ang="0">
                    <a:pos x="2" y="9"/>
                  </a:cxn>
                  <a:cxn ang="0">
                    <a:pos x="0" y="0"/>
                  </a:cxn>
                  <a:cxn ang="0">
                    <a:pos x="9" y="7"/>
                  </a:cxn>
                  <a:cxn ang="0">
                    <a:pos x="19" y="14"/>
                  </a:cxn>
                  <a:cxn ang="0">
                    <a:pos x="21" y="17"/>
                  </a:cxn>
                  <a:cxn ang="0">
                    <a:pos x="24" y="22"/>
                  </a:cxn>
                  <a:cxn ang="0">
                    <a:pos x="23" y="24"/>
                  </a:cxn>
                  <a:cxn ang="0">
                    <a:pos x="23" y="26"/>
                  </a:cxn>
                  <a:cxn ang="0">
                    <a:pos x="26" y="33"/>
                  </a:cxn>
                  <a:cxn ang="0">
                    <a:pos x="31" y="41"/>
                  </a:cxn>
                  <a:cxn ang="0">
                    <a:pos x="35" y="41"/>
                  </a:cxn>
                  <a:cxn ang="0">
                    <a:pos x="35" y="38"/>
                  </a:cxn>
                  <a:cxn ang="0">
                    <a:pos x="40" y="38"/>
                  </a:cxn>
                  <a:cxn ang="0">
                    <a:pos x="41" y="38"/>
                  </a:cxn>
                  <a:cxn ang="0">
                    <a:pos x="45" y="52"/>
                  </a:cxn>
                  <a:cxn ang="0">
                    <a:pos x="60" y="58"/>
                  </a:cxn>
                  <a:cxn ang="0">
                    <a:pos x="69" y="55"/>
                  </a:cxn>
                  <a:cxn ang="0">
                    <a:pos x="78" y="53"/>
                  </a:cxn>
                  <a:cxn ang="0">
                    <a:pos x="79" y="53"/>
                  </a:cxn>
                  <a:cxn ang="0">
                    <a:pos x="83" y="55"/>
                  </a:cxn>
                  <a:cxn ang="0">
                    <a:pos x="76" y="67"/>
                  </a:cxn>
                  <a:cxn ang="0">
                    <a:pos x="72" y="81"/>
                  </a:cxn>
                  <a:cxn ang="0">
                    <a:pos x="71" y="79"/>
                  </a:cxn>
                  <a:cxn ang="0">
                    <a:pos x="69" y="79"/>
                  </a:cxn>
                  <a:cxn ang="0">
                    <a:pos x="60" y="81"/>
                  </a:cxn>
                  <a:cxn ang="0">
                    <a:pos x="59" y="86"/>
                  </a:cxn>
                  <a:cxn ang="0">
                    <a:pos x="59" y="88"/>
                  </a:cxn>
                  <a:cxn ang="0">
                    <a:pos x="60" y="91"/>
                  </a:cxn>
                  <a:cxn ang="0">
                    <a:pos x="57" y="96"/>
                  </a:cxn>
                  <a:cxn ang="0">
                    <a:pos x="53" y="101"/>
                  </a:cxn>
                  <a:cxn ang="0">
                    <a:pos x="45" y="113"/>
                  </a:cxn>
                  <a:cxn ang="0">
                    <a:pos x="35" y="120"/>
                  </a:cxn>
                  <a:cxn ang="0">
                    <a:pos x="28" y="117"/>
                  </a:cxn>
                  <a:cxn ang="0">
                    <a:pos x="28" y="113"/>
                  </a:cxn>
                  <a:cxn ang="0">
                    <a:pos x="29" y="105"/>
                  </a:cxn>
                  <a:cxn ang="0">
                    <a:pos x="33" y="98"/>
                  </a:cxn>
                  <a:cxn ang="0">
                    <a:pos x="29" y="91"/>
                  </a:cxn>
                  <a:cxn ang="0">
                    <a:pos x="23" y="89"/>
                  </a:cxn>
                  <a:cxn ang="0">
                    <a:pos x="16" y="86"/>
                  </a:cxn>
                  <a:cxn ang="0">
                    <a:pos x="14" y="82"/>
                  </a:cxn>
                  <a:cxn ang="0">
                    <a:pos x="16" y="77"/>
                  </a:cxn>
                  <a:cxn ang="0">
                    <a:pos x="21" y="76"/>
                  </a:cxn>
                  <a:cxn ang="0">
                    <a:pos x="26" y="65"/>
                  </a:cxn>
                  <a:cxn ang="0">
                    <a:pos x="28" y="55"/>
                  </a:cxn>
                  <a:cxn ang="0">
                    <a:pos x="26" y="48"/>
                  </a:cxn>
                  <a:cxn ang="0">
                    <a:pos x="24" y="43"/>
                  </a:cxn>
                  <a:cxn ang="0">
                    <a:pos x="26" y="43"/>
                  </a:cxn>
                  <a:cxn ang="0">
                    <a:pos x="26" y="45"/>
                  </a:cxn>
                </a:cxnLst>
                <a:rect l="0" t="0" r="r" b="b"/>
                <a:pathLst>
                  <a:path w="83" h="120">
                    <a:moveTo>
                      <a:pt x="26" y="45"/>
                    </a:moveTo>
                    <a:lnTo>
                      <a:pt x="21" y="39"/>
                    </a:lnTo>
                    <a:lnTo>
                      <a:pt x="19" y="36"/>
                    </a:lnTo>
                    <a:lnTo>
                      <a:pt x="19" y="33"/>
                    </a:lnTo>
                    <a:lnTo>
                      <a:pt x="21" y="31"/>
                    </a:lnTo>
                    <a:lnTo>
                      <a:pt x="12" y="26"/>
                    </a:lnTo>
                    <a:lnTo>
                      <a:pt x="7" y="19"/>
                    </a:lnTo>
                    <a:lnTo>
                      <a:pt x="2" y="9"/>
                    </a:lnTo>
                    <a:lnTo>
                      <a:pt x="0" y="0"/>
                    </a:lnTo>
                    <a:lnTo>
                      <a:pt x="9" y="7"/>
                    </a:lnTo>
                    <a:lnTo>
                      <a:pt x="19" y="14"/>
                    </a:lnTo>
                    <a:lnTo>
                      <a:pt x="21" y="17"/>
                    </a:lnTo>
                    <a:lnTo>
                      <a:pt x="24" y="22"/>
                    </a:lnTo>
                    <a:lnTo>
                      <a:pt x="23" y="24"/>
                    </a:lnTo>
                    <a:lnTo>
                      <a:pt x="23" y="26"/>
                    </a:lnTo>
                    <a:lnTo>
                      <a:pt x="26" y="33"/>
                    </a:lnTo>
                    <a:lnTo>
                      <a:pt x="31" y="41"/>
                    </a:lnTo>
                    <a:lnTo>
                      <a:pt x="35" y="41"/>
                    </a:lnTo>
                    <a:lnTo>
                      <a:pt x="35" y="38"/>
                    </a:lnTo>
                    <a:lnTo>
                      <a:pt x="40" y="38"/>
                    </a:lnTo>
                    <a:lnTo>
                      <a:pt x="41" y="38"/>
                    </a:lnTo>
                    <a:lnTo>
                      <a:pt x="45" y="52"/>
                    </a:lnTo>
                    <a:lnTo>
                      <a:pt x="60" y="58"/>
                    </a:lnTo>
                    <a:lnTo>
                      <a:pt x="69" y="55"/>
                    </a:lnTo>
                    <a:lnTo>
                      <a:pt x="78" y="53"/>
                    </a:lnTo>
                    <a:lnTo>
                      <a:pt x="79" y="53"/>
                    </a:lnTo>
                    <a:lnTo>
                      <a:pt x="83" y="55"/>
                    </a:lnTo>
                    <a:lnTo>
                      <a:pt x="76" y="67"/>
                    </a:lnTo>
                    <a:lnTo>
                      <a:pt x="72" y="81"/>
                    </a:lnTo>
                    <a:lnTo>
                      <a:pt x="71" y="79"/>
                    </a:lnTo>
                    <a:lnTo>
                      <a:pt x="69" y="79"/>
                    </a:lnTo>
                    <a:lnTo>
                      <a:pt x="60" y="81"/>
                    </a:lnTo>
                    <a:lnTo>
                      <a:pt x="59" y="86"/>
                    </a:lnTo>
                    <a:lnTo>
                      <a:pt x="59" y="88"/>
                    </a:lnTo>
                    <a:lnTo>
                      <a:pt x="60" y="91"/>
                    </a:lnTo>
                    <a:lnTo>
                      <a:pt x="57" y="96"/>
                    </a:lnTo>
                    <a:lnTo>
                      <a:pt x="53" y="101"/>
                    </a:lnTo>
                    <a:lnTo>
                      <a:pt x="45" y="113"/>
                    </a:lnTo>
                    <a:lnTo>
                      <a:pt x="35" y="120"/>
                    </a:lnTo>
                    <a:lnTo>
                      <a:pt x="28" y="117"/>
                    </a:lnTo>
                    <a:lnTo>
                      <a:pt x="28" y="113"/>
                    </a:lnTo>
                    <a:lnTo>
                      <a:pt x="29" y="105"/>
                    </a:lnTo>
                    <a:lnTo>
                      <a:pt x="33" y="98"/>
                    </a:lnTo>
                    <a:lnTo>
                      <a:pt x="29" y="91"/>
                    </a:lnTo>
                    <a:lnTo>
                      <a:pt x="23" y="89"/>
                    </a:lnTo>
                    <a:lnTo>
                      <a:pt x="16" y="86"/>
                    </a:lnTo>
                    <a:lnTo>
                      <a:pt x="14" y="82"/>
                    </a:lnTo>
                    <a:lnTo>
                      <a:pt x="16" y="77"/>
                    </a:lnTo>
                    <a:lnTo>
                      <a:pt x="21" y="76"/>
                    </a:lnTo>
                    <a:lnTo>
                      <a:pt x="26" y="65"/>
                    </a:lnTo>
                    <a:lnTo>
                      <a:pt x="28" y="55"/>
                    </a:lnTo>
                    <a:lnTo>
                      <a:pt x="26" y="48"/>
                    </a:lnTo>
                    <a:lnTo>
                      <a:pt x="24" y="43"/>
                    </a:lnTo>
                    <a:lnTo>
                      <a:pt x="26" y="43"/>
                    </a:lnTo>
                    <a:lnTo>
                      <a:pt x="2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7" name="Freeform 226"/>
              <p:cNvSpPr>
                <a:spLocks/>
              </p:cNvSpPr>
              <p:nvPr/>
            </p:nvSpPr>
            <p:spPr bwMode="auto">
              <a:xfrm>
                <a:off x="8370094" y="4416425"/>
                <a:ext cx="26988" cy="22225"/>
              </a:xfrm>
              <a:custGeom>
                <a:avLst/>
                <a:gdLst/>
                <a:ahLst/>
                <a:cxnLst>
                  <a:cxn ang="0">
                    <a:pos x="12" y="0"/>
                  </a:cxn>
                  <a:cxn ang="0">
                    <a:pos x="14" y="4"/>
                  </a:cxn>
                  <a:cxn ang="0">
                    <a:pos x="17" y="6"/>
                  </a:cxn>
                  <a:cxn ang="0">
                    <a:pos x="17" y="11"/>
                  </a:cxn>
                  <a:cxn ang="0">
                    <a:pos x="14" y="12"/>
                  </a:cxn>
                  <a:cxn ang="0">
                    <a:pos x="10" y="14"/>
                  </a:cxn>
                  <a:cxn ang="0">
                    <a:pos x="4" y="12"/>
                  </a:cxn>
                  <a:cxn ang="0">
                    <a:pos x="0" y="11"/>
                  </a:cxn>
                  <a:cxn ang="0">
                    <a:pos x="4" y="2"/>
                  </a:cxn>
                  <a:cxn ang="0">
                    <a:pos x="12" y="0"/>
                  </a:cxn>
                </a:cxnLst>
                <a:rect l="0" t="0" r="r" b="b"/>
                <a:pathLst>
                  <a:path w="17" h="14">
                    <a:moveTo>
                      <a:pt x="12" y="0"/>
                    </a:moveTo>
                    <a:lnTo>
                      <a:pt x="14" y="4"/>
                    </a:lnTo>
                    <a:lnTo>
                      <a:pt x="17" y="6"/>
                    </a:lnTo>
                    <a:lnTo>
                      <a:pt x="17" y="11"/>
                    </a:lnTo>
                    <a:lnTo>
                      <a:pt x="14" y="12"/>
                    </a:lnTo>
                    <a:lnTo>
                      <a:pt x="10" y="14"/>
                    </a:lnTo>
                    <a:lnTo>
                      <a:pt x="4" y="12"/>
                    </a:lnTo>
                    <a:lnTo>
                      <a:pt x="0" y="11"/>
                    </a:lnTo>
                    <a:lnTo>
                      <a:pt x="4" y="2"/>
                    </a:lnTo>
                    <a:lnTo>
                      <a:pt x="1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8" name="Freeform 227"/>
              <p:cNvSpPr>
                <a:spLocks/>
              </p:cNvSpPr>
              <p:nvPr/>
            </p:nvSpPr>
            <p:spPr bwMode="auto">
              <a:xfrm>
                <a:off x="8403432" y="4395788"/>
                <a:ext cx="23813" cy="15875"/>
              </a:xfrm>
              <a:custGeom>
                <a:avLst/>
                <a:gdLst/>
                <a:ahLst/>
                <a:cxnLst>
                  <a:cxn ang="0">
                    <a:pos x="15" y="0"/>
                  </a:cxn>
                  <a:cxn ang="0">
                    <a:pos x="15" y="3"/>
                  </a:cxn>
                  <a:cxn ang="0">
                    <a:pos x="7" y="7"/>
                  </a:cxn>
                  <a:cxn ang="0">
                    <a:pos x="1" y="10"/>
                  </a:cxn>
                  <a:cxn ang="0">
                    <a:pos x="0" y="7"/>
                  </a:cxn>
                  <a:cxn ang="0">
                    <a:pos x="0" y="5"/>
                  </a:cxn>
                  <a:cxn ang="0">
                    <a:pos x="5" y="0"/>
                  </a:cxn>
                  <a:cxn ang="0">
                    <a:pos x="15" y="0"/>
                  </a:cxn>
                </a:cxnLst>
                <a:rect l="0" t="0" r="r" b="b"/>
                <a:pathLst>
                  <a:path w="15" h="10">
                    <a:moveTo>
                      <a:pt x="15" y="0"/>
                    </a:moveTo>
                    <a:lnTo>
                      <a:pt x="15" y="3"/>
                    </a:lnTo>
                    <a:lnTo>
                      <a:pt x="7" y="7"/>
                    </a:lnTo>
                    <a:lnTo>
                      <a:pt x="1" y="10"/>
                    </a:lnTo>
                    <a:lnTo>
                      <a:pt x="0" y="7"/>
                    </a:lnTo>
                    <a:lnTo>
                      <a:pt x="0" y="5"/>
                    </a:lnTo>
                    <a:lnTo>
                      <a:pt x="5"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9" name="Freeform 228"/>
              <p:cNvSpPr>
                <a:spLocks/>
              </p:cNvSpPr>
              <p:nvPr/>
            </p:nvSpPr>
            <p:spPr bwMode="auto">
              <a:xfrm>
                <a:off x="7114382" y="3789363"/>
                <a:ext cx="101600" cy="98425"/>
              </a:xfrm>
              <a:custGeom>
                <a:avLst/>
                <a:gdLst/>
                <a:ahLst/>
                <a:cxnLst>
                  <a:cxn ang="0">
                    <a:pos x="53" y="43"/>
                  </a:cxn>
                  <a:cxn ang="0">
                    <a:pos x="52" y="41"/>
                  </a:cxn>
                  <a:cxn ang="0">
                    <a:pos x="50" y="39"/>
                  </a:cxn>
                  <a:cxn ang="0">
                    <a:pos x="46" y="43"/>
                  </a:cxn>
                  <a:cxn ang="0">
                    <a:pos x="46" y="46"/>
                  </a:cxn>
                  <a:cxn ang="0">
                    <a:pos x="48" y="48"/>
                  </a:cxn>
                  <a:cxn ang="0">
                    <a:pos x="52" y="55"/>
                  </a:cxn>
                  <a:cxn ang="0">
                    <a:pos x="50" y="58"/>
                  </a:cxn>
                  <a:cxn ang="0">
                    <a:pos x="46" y="62"/>
                  </a:cxn>
                  <a:cxn ang="0">
                    <a:pos x="43" y="60"/>
                  </a:cxn>
                  <a:cxn ang="0">
                    <a:pos x="43" y="58"/>
                  </a:cxn>
                  <a:cxn ang="0">
                    <a:pos x="41" y="58"/>
                  </a:cxn>
                  <a:cxn ang="0">
                    <a:pos x="39" y="58"/>
                  </a:cxn>
                  <a:cxn ang="0">
                    <a:pos x="31" y="53"/>
                  </a:cxn>
                  <a:cxn ang="0">
                    <a:pos x="27" y="43"/>
                  </a:cxn>
                  <a:cxn ang="0">
                    <a:pos x="27" y="38"/>
                  </a:cxn>
                  <a:cxn ang="0">
                    <a:pos x="29" y="38"/>
                  </a:cxn>
                  <a:cxn ang="0">
                    <a:pos x="27" y="34"/>
                  </a:cxn>
                  <a:cxn ang="0">
                    <a:pos x="27" y="33"/>
                  </a:cxn>
                  <a:cxn ang="0">
                    <a:pos x="21" y="33"/>
                  </a:cxn>
                  <a:cxn ang="0">
                    <a:pos x="21" y="34"/>
                  </a:cxn>
                  <a:cxn ang="0">
                    <a:pos x="21" y="36"/>
                  </a:cxn>
                  <a:cxn ang="0">
                    <a:pos x="17" y="34"/>
                  </a:cxn>
                  <a:cxn ang="0">
                    <a:pos x="15" y="34"/>
                  </a:cxn>
                  <a:cxn ang="0">
                    <a:pos x="15" y="36"/>
                  </a:cxn>
                  <a:cxn ang="0">
                    <a:pos x="12" y="34"/>
                  </a:cxn>
                  <a:cxn ang="0">
                    <a:pos x="10" y="33"/>
                  </a:cxn>
                  <a:cxn ang="0">
                    <a:pos x="7" y="36"/>
                  </a:cxn>
                  <a:cxn ang="0">
                    <a:pos x="5" y="43"/>
                  </a:cxn>
                  <a:cxn ang="0">
                    <a:pos x="3" y="48"/>
                  </a:cxn>
                  <a:cxn ang="0">
                    <a:pos x="2" y="52"/>
                  </a:cxn>
                  <a:cxn ang="0">
                    <a:pos x="0" y="46"/>
                  </a:cxn>
                  <a:cxn ang="0">
                    <a:pos x="2" y="41"/>
                  </a:cxn>
                  <a:cxn ang="0">
                    <a:pos x="0" y="38"/>
                  </a:cxn>
                  <a:cxn ang="0">
                    <a:pos x="0" y="36"/>
                  </a:cxn>
                  <a:cxn ang="0">
                    <a:pos x="0" y="31"/>
                  </a:cxn>
                  <a:cxn ang="0">
                    <a:pos x="3" y="26"/>
                  </a:cxn>
                  <a:cxn ang="0">
                    <a:pos x="10" y="21"/>
                  </a:cxn>
                  <a:cxn ang="0">
                    <a:pos x="19" y="15"/>
                  </a:cxn>
                  <a:cxn ang="0">
                    <a:pos x="24" y="19"/>
                  </a:cxn>
                  <a:cxn ang="0">
                    <a:pos x="27" y="22"/>
                  </a:cxn>
                  <a:cxn ang="0">
                    <a:pos x="31" y="22"/>
                  </a:cxn>
                  <a:cxn ang="0">
                    <a:pos x="31" y="19"/>
                  </a:cxn>
                  <a:cxn ang="0">
                    <a:pos x="34" y="17"/>
                  </a:cxn>
                  <a:cxn ang="0">
                    <a:pos x="38" y="12"/>
                  </a:cxn>
                  <a:cxn ang="0">
                    <a:pos x="45" y="10"/>
                  </a:cxn>
                  <a:cxn ang="0">
                    <a:pos x="45" y="3"/>
                  </a:cxn>
                  <a:cxn ang="0">
                    <a:pos x="46" y="0"/>
                  </a:cxn>
                  <a:cxn ang="0">
                    <a:pos x="50" y="0"/>
                  </a:cxn>
                  <a:cxn ang="0">
                    <a:pos x="53" y="3"/>
                  </a:cxn>
                  <a:cxn ang="0">
                    <a:pos x="55" y="9"/>
                  </a:cxn>
                  <a:cxn ang="0">
                    <a:pos x="58" y="21"/>
                  </a:cxn>
                  <a:cxn ang="0">
                    <a:pos x="62" y="31"/>
                  </a:cxn>
                  <a:cxn ang="0">
                    <a:pos x="64" y="38"/>
                  </a:cxn>
                  <a:cxn ang="0">
                    <a:pos x="60" y="43"/>
                  </a:cxn>
                  <a:cxn ang="0">
                    <a:pos x="58" y="53"/>
                  </a:cxn>
                  <a:cxn ang="0">
                    <a:pos x="53" y="46"/>
                  </a:cxn>
                  <a:cxn ang="0">
                    <a:pos x="52" y="41"/>
                  </a:cxn>
                  <a:cxn ang="0">
                    <a:pos x="53" y="43"/>
                  </a:cxn>
                </a:cxnLst>
                <a:rect l="0" t="0" r="r" b="b"/>
                <a:pathLst>
                  <a:path w="64" h="62">
                    <a:moveTo>
                      <a:pt x="53" y="43"/>
                    </a:moveTo>
                    <a:lnTo>
                      <a:pt x="52" y="41"/>
                    </a:lnTo>
                    <a:lnTo>
                      <a:pt x="50" y="39"/>
                    </a:lnTo>
                    <a:lnTo>
                      <a:pt x="46" y="43"/>
                    </a:lnTo>
                    <a:lnTo>
                      <a:pt x="46" y="46"/>
                    </a:lnTo>
                    <a:lnTo>
                      <a:pt x="48" y="48"/>
                    </a:lnTo>
                    <a:lnTo>
                      <a:pt x="52" y="55"/>
                    </a:lnTo>
                    <a:lnTo>
                      <a:pt x="50" y="58"/>
                    </a:lnTo>
                    <a:lnTo>
                      <a:pt x="46" y="62"/>
                    </a:lnTo>
                    <a:lnTo>
                      <a:pt x="43" y="60"/>
                    </a:lnTo>
                    <a:lnTo>
                      <a:pt x="43" y="58"/>
                    </a:lnTo>
                    <a:lnTo>
                      <a:pt x="41" y="58"/>
                    </a:lnTo>
                    <a:lnTo>
                      <a:pt x="39" y="58"/>
                    </a:lnTo>
                    <a:lnTo>
                      <a:pt x="31" y="53"/>
                    </a:lnTo>
                    <a:lnTo>
                      <a:pt x="27" y="43"/>
                    </a:lnTo>
                    <a:lnTo>
                      <a:pt x="27" y="38"/>
                    </a:lnTo>
                    <a:lnTo>
                      <a:pt x="29" y="38"/>
                    </a:lnTo>
                    <a:lnTo>
                      <a:pt x="27" y="34"/>
                    </a:lnTo>
                    <a:lnTo>
                      <a:pt x="27" y="33"/>
                    </a:lnTo>
                    <a:lnTo>
                      <a:pt x="21" y="33"/>
                    </a:lnTo>
                    <a:lnTo>
                      <a:pt x="21" y="34"/>
                    </a:lnTo>
                    <a:lnTo>
                      <a:pt x="21" y="36"/>
                    </a:lnTo>
                    <a:lnTo>
                      <a:pt x="17" y="34"/>
                    </a:lnTo>
                    <a:lnTo>
                      <a:pt x="15" y="34"/>
                    </a:lnTo>
                    <a:lnTo>
                      <a:pt x="15" y="36"/>
                    </a:lnTo>
                    <a:lnTo>
                      <a:pt x="12" y="34"/>
                    </a:lnTo>
                    <a:lnTo>
                      <a:pt x="10" y="33"/>
                    </a:lnTo>
                    <a:lnTo>
                      <a:pt x="7" y="36"/>
                    </a:lnTo>
                    <a:lnTo>
                      <a:pt x="5" y="43"/>
                    </a:lnTo>
                    <a:lnTo>
                      <a:pt x="3" y="48"/>
                    </a:lnTo>
                    <a:lnTo>
                      <a:pt x="2" y="52"/>
                    </a:lnTo>
                    <a:lnTo>
                      <a:pt x="0" y="46"/>
                    </a:lnTo>
                    <a:lnTo>
                      <a:pt x="2" y="41"/>
                    </a:lnTo>
                    <a:lnTo>
                      <a:pt x="0" y="38"/>
                    </a:lnTo>
                    <a:lnTo>
                      <a:pt x="0" y="36"/>
                    </a:lnTo>
                    <a:lnTo>
                      <a:pt x="0" y="31"/>
                    </a:lnTo>
                    <a:lnTo>
                      <a:pt x="3" y="26"/>
                    </a:lnTo>
                    <a:lnTo>
                      <a:pt x="10" y="21"/>
                    </a:lnTo>
                    <a:lnTo>
                      <a:pt x="19" y="15"/>
                    </a:lnTo>
                    <a:lnTo>
                      <a:pt x="24" y="19"/>
                    </a:lnTo>
                    <a:lnTo>
                      <a:pt x="27" y="22"/>
                    </a:lnTo>
                    <a:lnTo>
                      <a:pt x="31" y="22"/>
                    </a:lnTo>
                    <a:lnTo>
                      <a:pt x="31" y="19"/>
                    </a:lnTo>
                    <a:lnTo>
                      <a:pt x="34" y="17"/>
                    </a:lnTo>
                    <a:lnTo>
                      <a:pt x="38" y="12"/>
                    </a:lnTo>
                    <a:lnTo>
                      <a:pt x="45" y="10"/>
                    </a:lnTo>
                    <a:lnTo>
                      <a:pt x="45" y="3"/>
                    </a:lnTo>
                    <a:lnTo>
                      <a:pt x="46" y="0"/>
                    </a:lnTo>
                    <a:lnTo>
                      <a:pt x="50" y="0"/>
                    </a:lnTo>
                    <a:lnTo>
                      <a:pt x="53" y="3"/>
                    </a:lnTo>
                    <a:lnTo>
                      <a:pt x="55" y="9"/>
                    </a:lnTo>
                    <a:lnTo>
                      <a:pt x="58" y="21"/>
                    </a:lnTo>
                    <a:lnTo>
                      <a:pt x="62" y="31"/>
                    </a:lnTo>
                    <a:lnTo>
                      <a:pt x="64" y="38"/>
                    </a:lnTo>
                    <a:lnTo>
                      <a:pt x="60" y="43"/>
                    </a:lnTo>
                    <a:lnTo>
                      <a:pt x="58" y="53"/>
                    </a:lnTo>
                    <a:lnTo>
                      <a:pt x="53" y="46"/>
                    </a:lnTo>
                    <a:lnTo>
                      <a:pt x="52" y="41"/>
                    </a:lnTo>
                    <a:lnTo>
                      <a:pt x="53"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0" name="Freeform 229"/>
              <p:cNvSpPr>
                <a:spLocks/>
              </p:cNvSpPr>
              <p:nvPr/>
            </p:nvSpPr>
            <p:spPr bwMode="auto">
              <a:xfrm>
                <a:off x="7015957" y="3763963"/>
                <a:ext cx="52388" cy="52387"/>
              </a:xfrm>
              <a:custGeom>
                <a:avLst/>
                <a:gdLst/>
                <a:ahLst/>
                <a:cxnLst>
                  <a:cxn ang="0">
                    <a:pos x="3" y="33"/>
                  </a:cxn>
                  <a:cxn ang="0">
                    <a:pos x="0" y="33"/>
                  </a:cxn>
                  <a:cxn ang="0">
                    <a:pos x="3" y="23"/>
                  </a:cxn>
                  <a:cxn ang="0">
                    <a:pos x="12" y="18"/>
                  </a:cxn>
                  <a:cxn ang="0">
                    <a:pos x="19" y="11"/>
                  </a:cxn>
                  <a:cxn ang="0">
                    <a:pos x="26" y="6"/>
                  </a:cxn>
                  <a:cxn ang="0">
                    <a:pos x="26" y="2"/>
                  </a:cxn>
                  <a:cxn ang="0">
                    <a:pos x="28" y="0"/>
                  </a:cxn>
                  <a:cxn ang="0">
                    <a:pos x="29" y="4"/>
                  </a:cxn>
                  <a:cxn ang="0">
                    <a:pos x="33" y="7"/>
                  </a:cxn>
                  <a:cxn ang="0">
                    <a:pos x="29" y="7"/>
                  </a:cxn>
                  <a:cxn ang="0">
                    <a:pos x="28" y="9"/>
                  </a:cxn>
                  <a:cxn ang="0">
                    <a:pos x="22" y="12"/>
                  </a:cxn>
                  <a:cxn ang="0">
                    <a:pos x="19" y="14"/>
                  </a:cxn>
                  <a:cxn ang="0">
                    <a:pos x="12" y="26"/>
                  </a:cxn>
                  <a:cxn ang="0">
                    <a:pos x="3" y="33"/>
                  </a:cxn>
                </a:cxnLst>
                <a:rect l="0" t="0" r="r" b="b"/>
                <a:pathLst>
                  <a:path w="33" h="33">
                    <a:moveTo>
                      <a:pt x="3" y="33"/>
                    </a:moveTo>
                    <a:lnTo>
                      <a:pt x="0" y="33"/>
                    </a:lnTo>
                    <a:lnTo>
                      <a:pt x="3" y="23"/>
                    </a:lnTo>
                    <a:lnTo>
                      <a:pt x="12" y="18"/>
                    </a:lnTo>
                    <a:lnTo>
                      <a:pt x="19" y="11"/>
                    </a:lnTo>
                    <a:lnTo>
                      <a:pt x="26" y="6"/>
                    </a:lnTo>
                    <a:lnTo>
                      <a:pt x="26" y="2"/>
                    </a:lnTo>
                    <a:lnTo>
                      <a:pt x="28" y="0"/>
                    </a:lnTo>
                    <a:lnTo>
                      <a:pt x="29" y="4"/>
                    </a:lnTo>
                    <a:lnTo>
                      <a:pt x="33" y="7"/>
                    </a:lnTo>
                    <a:lnTo>
                      <a:pt x="29" y="7"/>
                    </a:lnTo>
                    <a:lnTo>
                      <a:pt x="28" y="9"/>
                    </a:lnTo>
                    <a:lnTo>
                      <a:pt x="22" y="12"/>
                    </a:lnTo>
                    <a:lnTo>
                      <a:pt x="19" y="14"/>
                    </a:lnTo>
                    <a:lnTo>
                      <a:pt x="12" y="26"/>
                    </a:lnTo>
                    <a:lnTo>
                      <a:pt x="3"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1" name="Freeform 230"/>
              <p:cNvSpPr>
                <a:spLocks/>
              </p:cNvSpPr>
              <p:nvPr/>
            </p:nvSpPr>
            <p:spPr bwMode="auto">
              <a:xfrm>
                <a:off x="7054057" y="3587750"/>
                <a:ext cx="98425" cy="138112"/>
              </a:xfrm>
              <a:custGeom>
                <a:avLst/>
                <a:gdLst/>
                <a:ahLst/>
                <a:cxnLst>
                  <a:cxn ang="0">
                    <a:pos x="4" y="36"/>
                  </a:cxn>
                  <a:cxn ang="0">
                    <a:pos x="5" y="29"/>
                  </a:cxn>
                  <a:cxn ang="0">
                    <a:pos x="7" y="24"/>
                  </a:cxn>
                  <a:cxn ang="0">
                    <a:pos x="5" y="15"/>
                  </a:cxn>
                  <a:cxn ang="0">
                    <a:pos x="5" y="8"/>
                  </a:cxn>
                  <a:cxn ang="0">
                    <a:pos x="5" y="1"/>
                  </a:cxn>
                  <a:cxn ang="0">
                    <a:pos x="10" y="0"/>
                  </a:cxn>
                  <a:cxn ang="0">
                    <a:pos x="14" y="3"/>
                  </a:cxn>
                  <a:cxn ang="0">
                    <a:pos x="17" y="8"/>
                  </a:cxn>
                  <a:cxn ang="0">
                    <a:pos x="21" y="5"/>
                  </a:cxn>
                  <a:cxn ang="0">
                    <a:pos x="24" y="3"/>
                  </a:cxn>
                  <a:cxn ang="0">
                    <a:pos x="24" y="5"/>
                  </a:cxn>
                  <a:cxn ang="0">
                    <a:pos x="26" y="7"/>
                  </a:cxn>
                  <a:cxn ang="0">
                    <a:pos x="26" y="8"/>
                  </a:cxn>
                  <a:cxn ang="0">
                    <a:pos x="28" y="19"/>
                  </a:cxn>
                  <a:cxn ang="0">
                    <a:pos x="31" y="29"/>
                  </a:cxn>
                  <a:cxn ang="0">
                    <a:pos x="26" y="38"/>
                  </a:cxn>
                  <a:cxn ang="0">
                    <a:pos x="22" y="48"/>
                  </a:cxn>
                  <a:cxn ang="0">
                    <a:pos x="26" y="60"/>
                  </a:cxn>
                  <a:cxn ang="0">
                    <a:pos x="34" y="68"/>
                  </a:cxn>
                  <a:cxn ang="0">
                    <a:pos x="34" y="67"/>
                  </a:cxn>
                  <a:cxn ang="0">
                    <a:pos x="34" y="63"/>
                  </a:cxn>
                  <a:cxn ang="0">
                    <a:pos x="40" y="63"/>
                  </a:cxn>
                  <a:cxn ang="0">
                    <a:pos x="45" y="68"/>
                  </a:cxn>
                  <a:cxn ang="0">
                    <a:pos x="48" y="74"/>
                  </a:cxn>
                  <a:cxn ang="0">
                    <a:pos x="50" y="72"/>
                  </a:cxn>
                  <a:cxn ang="0">
                    <a:pos x="53" y="70"/>
                  </a:cxn>
                  <a:cxn ang="0">
                    <a:pos x="55" y="72"/>
                  </a:cxn>
                  <a:cxn ang="0">
                    <a:pos x="53" y="74"/>
                  </a:cxn>
                  <a:cxn ang="0">
                    <a:pos x="53" y="77"/>
                  </a:cxn>
                  <a:cxn ang="0">
                    <a:pos x="57" y="77"/>
                  </a:cxn>
                  <a:cxn ang="0">
                    <a:pos x="57" y="80"/>
                  </a:cxn>
                  <a:cxn ang="0">
                    <a:pos x="62" y="82"/>
                  </a:cxn>
                  <a:cxn ang="0">
                    <a:pos x="62" y="84"/>
                  </a:cxn>
                  <a:cxn ang="0">
                    <a:pos x="62" y="86"/>
                  </a:cxn>
                  <a:cxn ang="0">
                    <a:pos x="60" y="86"/>
                  </a:cxn>
                  <a:cxn ang="0">
                    <a:pos x="60" y="87"/>
                  </a:cxn>
                  <a:cxn ang="0">
                    <a:pos x="59" y="86"/>
                  </a:cxn>
                  <a:cxn ang="0">
                    <a:pos x="59" y="84"/>
                  </a:cxn>
                  <a:cxn ang="0">
                    <a:pos x="50" y="77"/>
                  </a:cxn>
                  <a:cxn ang="0">
                    <a:pos x="41" y="72"/>
                  </a:cxn>
                  <a:cxn ang="0">
                    <a:pos x="40" y="74"/>
                  </a:cxn>
                  <a:cxn ang="0">
                    <a:pos x="41" y="79"/>
                  </a:cxn>
                  <a:cxn ang="0">
                    <a:pos x="34" y="74"/>
                  </a:cxn>
                  <a:cxn ang="0">
                    <a:pos x="29" y="70"/>
                  </a:cxn>
                  <a:cxn ang="0">
                    <a:pos x="24" y="70"/>
                  </a:cxn>
                  <a:cxn ang="0">
                    <a:pos x="21" y="72"/>
                  </a:cxn>
                  <a:cxn ang="0">
                    <a:pos x="16" y="68"/>
                  </a:cxn>
                  <a:cxn ang="0">
                    <a:pos x="14" y="65"/>
                  </a:cxn>
                  <a:cxn ang="0">
                    <a:pos x="14" y="62"/>
                  </a:cxn>
                  <a:cxn ang="0">
                    <a:pos x="17" y="62"/>
                  </a:cxn>
                  <a:cxn ang="0">
                    <a:pos x="17" y="56"/>
                  </a:cxn>
                  <a:cxn ang="0">
                    <a:pos x="14" y="56"/>
                  </a:cxn>
                  <a:cxn ang="0">
                    <a:pos x="12" y="58"/>
                  </a:cxn>
                  <a:cxn ang="0">
                    <a:pos x="10" y="60"/>
                  </a:cxn>
                  <a:cxn ang="0">
                    <a:pos x="5" y="56"/>
                  </a:cxn>
                  <a:cxn ang="0">
                    <a:pos x="2" y="51"/>
                  </a:cxn>
                  <a:cxn ang="0">
                    <a:pos x="0" y="41"/>
                  </a:cxn>
                  <a:cxn ang="0">
                    <a:pos x="4" y="36"/>
                  </a:cxn>
                </a:cxnLst>
                <a:rect l="0" t="0" r="r" b="b"/>
                <a:pathLst>
                  <a:path w="62" h="87">
                    <a:moveTo>
                      <a:pt x="4" y="36"/>
                    </a:moveTo>
                    <a:lnTo>
                      <a:pt x="5" y="29"/>
                    </a:lnTo>
                    <a:lnTo>
                      <a:pt x="7" y="24"/>
                    </a:lnTo>
                    <a:lnTo>
                      <a:pt x="5" y="15"/>
                    </a:lnTo>
                    <a:lnTo>
                      <a:pt x="5" y="8"/>
                    </a:lnTo>
                    <a:lnTo>
                      <a:pt x="5" y="1"/>
                    </a:lnTo>
                    <a:lnTo>
                      <a:pt x="10" y="0"/>
                    </a:lnTo>
                    <a:lnTo>
                      <a:pt x="14" y="3"/>
                    </a:lnTo>
                    <a:lnTo>
                      <a:pt x="17" y="8"/>
                    </a:lnTo>
                    <a:lnTo>
                      <a:pt x="21" y="5"/>
                    </a:lnTo>
                    <a:lnTo>
                      <a:pt x="24" y="3"/>
                    </a:lnTo>
                    <a:lnTo>
                      <a:pt x="24" y="5"/>
                    </a:lnTo>
                    <a:lnTo>
                      <a:pt x="26" y="7"/>
                    </a:lnTo>
                    <a:lnTo>
                      <a:pt x="26" y="8"/>
                    </a:lnTo>
                    <a:lnTo>
                      <a:pt x="28" y="19"/>
                    </a:lnTo>
                    <a:lnTo>
                      <a:pt x="31" y="29"/>
                    </a:lnTo>
                    <a:lnTo>
                      <a:pt x="26" y="38"/>
                    </a:lnTo>
                    <a:lnTo>
                      <a:pt x="22" y="48"/>
                    </a:lnTo>
                    <a:lnTo>
                      <a:pt x="26" y="60"/>
                    </a:lnTo>
                    <a:lnTo>
                      <a:pt x="34" y="68"/>
                    </a:lnTo>
                    <a:lnTo>
                      <a:pt x="34" y="67"/>
                    </a:lnTo>
                    <a:lnTo>
                      <a:pt x="34" y="63"/>
                    </a:lnTo>
                    <a:lnTo>
                      <a:pt x="40" y="63"/>
                    </a:lnTo>
                    <a:lnTo>
                      <a:pt x="45" y="68"/>
                    </a:lnTo>
                    <a:lnTo>
                      <a:pt x="48" y="74"/>
                    </a:lnTo>
                    <a:lnTo>
                      <a:pt x="50" y="72"/>
                    </a:lnTo>
                    <a:lnTo>
                      <a:pt x="53" y="70"/>
                    </a:lnTo>
                    <a:lnTo>
                      <a:pt x="55" y="72"/>
                    </a:lnTo>
                    <a:lnTo>
                      <a:pt x="53" y="74"/>
                    </a:lnTo>
                    <a:lnTo>
                      <a:pt x="53" y="77"/>
                    </a:lnTo>
                    <a:lnTo>
                      <a:pt x="57" y="77"/>
                    </a:lnTo>
                    <a:lnTo>
                      <a:pt x="57" y="80"/>
                    </a:lnTo>
                    <a:lnTo>
                      <a:pt x="62" y="82"/>
                    </a:lnTo>
                    <a:lnTo>
                      <a:pt x="62" y="84"/>
                    </a:lnTo>
                    <a:lnTo>
                      <a:pt x="62" y="86"/>
                    </a:lnTo>
                    <a:lnTo>
                      <a:pt x="60" y="86"/>
                    </a:lnTo>
                    <a:lnTo>
                      <a:pt x="60" y="87"/>
                    </a:lnTo>
                    <a:lnTo>
                      <a:pt x="59" y="86"/>
                    </a:lnTo>
                    <a:lnTo>
                      <a:pt x="59" y="84"/>
                    </a:lnTo>
                    <a:lnTo>
                      <a:pt x="50" y="77"/>
                    </a:lnTo>
                    <a:lnTo>
                      <a:pt x="41" y="72"/>
                    </a:lnTo>
                    <a:lnTo>
                      <a:pt x="40" y="74"/>
                    </a:lnTo>
                    <a:lnTo>
                      <a:pt x="41" y="79"/>
                    </a:lnTo>
                    <a:lnTo>
                      <a:pt x="34" y="74"/>
                    </a:lnTo>
                    <a:lnTo>
                      <a:pt x="29" y="70"/>
                    </a:lnTo>
                    <a:lnTo>
                      <a:pt x="24" y="70"/>
                    </a:lnTo>
                    <a:lnTo>
                      <a:pt x="21" y="72"/>
                    </a:lnTo>
                    <a:lnTo>
                      <a:pt x="16" y="68"/>
                    </a:lnTo>
                    <a:lnTo>
                      <a:pt x="14" y="65"/>
                    </a:lnTo>
                    <a:lnTo>
                      <a:pt x="14" y="62"/>
                    </a:lnTo>
                    <a:lnTo>
                      <a:pt x="17" y="62"/>
                    </a:lnTo>
                    <a:lnTo>
                      <a:pt x="17" y="56"/>
                    </a:lnTo>
                    <a:lnTo>
                      <a:pt x="14" y="56"/>
                    </a:lnTo>
                    <a:lnTo>
                      <a:pt x="12" y="58"/>
                    </a:lnTo>
                    <a:lnTo>
                      <a:pt x="10" y="60"/>
                    </a:lnTo>
                    <a:lnTo>
                      <a:pt x="5" y="56"/>
                    </a:lnTo>
                    <a:lnTo>
                      <a:pt x="2" y="51"/>
                    </a:lnTo>
                    <a:lnTo>
                      <a:pt x="0" y="41"/>
                    </a:lnTo>
                    <a:lnTo>
                      <a:pt x="4"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2" name="Freeform 231"/>
              <p:cNvSpPr>
                <a:spLocks/>
              </p:cNvSpPr>
              <p:nvPr/>
            </p:nvSpPr>
            <p:spPr bwMode="auto">
              <a:xfrm>
                <a:off x="7155657" y="3729038"/>
                <a:ext cx="31750" cy="53975"/>
              </a:xfrm>
              <a:custGeom>
                <a:avLst/>
                <a:gdLst/>
                <a:ahLst/>
                <a:cxnLst>
                  <a:cxn ang="0">
                    <a:pos x="19" y="22"/>
                  </a:cxn>
                  <a:cxn ang="0">
                    <a:pos x="12" y="22"/>
                  </a:cxn>
                  <a:cxn ang="0">
                    <a:pos x="12" y="28"/>
                  </a:cxn>
                  <a:cxn ang="0">
                    <a:pos x="15" y="33"/>
                  </a:cxn>
                  <a:cxn ang="0">
                    <a:pos x="15" y="34"/>
                  </a:cxn>
                  <a:cxn ang="0">
                    <a:pos x="13" y="34"/>
                  </a:cxn>
                  <a:cxn ang="0">
                    <a:pos x="12" y="34"/>
                  </a:cxn>
                  <a:cxn ang="0">
                    <a:pos x="8" y="31"/>
                  </a:cxn>
                  <a:cxn ang="0">
                    <a:pos x="10" y="29"/>
                  </a:cxn>
                  <a:cxn ang="0">
                    <a:pos x="10" y="26"/>
                  </a:cxn>
                  <a:cxn ang="0">
                    <a:pos x="5" y="22"/>
                  </a:cxn>
                  <a:cxn ang="0">
                    <a:pos x="3" y="21"/>
                  </a:cxn>
                  <a:cxn ang="0">
                    <a:pos x="3" y="17"/>
                  </a:cxn>
                  <a:cxn ang="0">
                    <a:pos x="5" y="17"/>
                  </a:cxn>
                  <a:cxn ang="0">
                    <a:pos x="8" y="17"/>
                  </a:cxn>
                  <a:cxn ang="0">
                    <a:pos x="10" y="16"/>
                  </a:cxn>
                  <a:cxn ang="0">
                    <a:pos x="12" y="16"/>
                  </a:cxn>
                  <a:cxn ang="0">
                    <a:pos x="5" y="7"/>
                  </a:cxn>
                  <a:cxn ang="0">
                    <a:pos x="0" y="2"/>
                  </a:cxn>
                  <a:cxn ang="0">
                    <a:pos x="1" y="0"/>
                  </a:cxn>
                  <a:cxn ang="0">
                    <a:pos x="5" y="0"/>
                  </a:cxn>
                  <a:cxn ang="0">
                    <a:pos x="10" y="0"/>
                  </a:cxn>
                  <a:cxn ang="0">
                    <a:pos x="15" y="2"/>
                  </a:cxn>
                  <a:cxn ang="0">
                    <a:pos x="15" y="4"/>
                  </a:cxn>
                  <a:cxn ang="0">
                    <a:pos x="15" y="7"/>
                  </a:cxn>
                  <a:cxn ang="0">
                    <a:pos x="17" y="7"/>
                  </a:cxn>
                  <a:cxn ang="0">
                    <a:pos x="17" y="10"/>
                  </a:cxn>
                  <a:cxn ang="0">
                    <a:pos x="17" y="14"/>
                  </a:cxn>
                  <a:cxn ang="0">
                    <a:pos x="19" y="16"/>
                  </a:cxn>
                  <a:cxn ang="0">
                    <a:pos x="20" y="17"/>
                  </a:cxn>
                  <a:cxn ang="0">
                    <a:pos x="19" y="19"/>
                  </a:cxn>
                  <a:cxn ang="0">
                    <a:pos x="19" y="22"/>
                  </a:cxn>
                </a:cxnLst>
                <a:rect l="0" t="0" r="r" b="b"/>
                <a:pathLst>
                  <a:path w="20" h="34">
                    <a:moveTo>
                      <a:pt x="19" y="22"/>
                    </a:moveTo>
                    <a:lnTo>
                      <a:pt x="12" y="22"/>
                    </a:lnTo>
                    <a:lnTo>
                      <a:pt x="12" y="28"/>
                    </a:lnTo>
                    <a:lnTo>
                      <a:pt x="15" y="33"/>
                    </a:lnTo>
                    <a:lnTo>
                      <a:pt x="15" y="34"/>
                    </a:lnTo>
                    <a:lnTo>
                      <a:pt x="13" y="34"/>
                    </a:lnTo>
                    <a:lnTo>
                      <a:pt x="12" y="34"/>
                    </a:lnTo>
                    <a:lnTo>
                      <a:pt x="8" y="31"/>
                    </a:lnTo>
                    <a:lnTo>
                      <a:pt x="10" y="29"/>
                    </a:lnTo>
                    <a:lnTo>
                      <a:pt x="10" y="26"/>
                    </a:lnTo>
                    <a:lnTo>
                      <a:pt x="5" y="22"/>
                    </a:lnTo>
                    <a:lnTo>
                      <a:pt x="3" y="21"/>
                    </a:lnTo>
                    <a:lnTo>
                      <a:pt x="3" y="17"/>
                    </a:lnTo>
                    <a:lnTo>
                      <a:pt x="5" y="17"/>
                    </a:lnTo>
                    <a:lnTo>
                      <a:pt x="8" y="17"/>
                    </a:lnTo>
                    <a:lnTo>
                      <a:pt x="10" y="16"/>
                    </a:lnTo>
                    <a:lnTo>
                      <a:pt x="12" y="16"/>
                    </a:lnTo>
                    <a:lnTo>
                      <a:pt x="5" y="7"/>
                    </a:lnTo>
                    <a:lnTo>
                      <a:pt x="0" y="2"/>
                    </a:lnTo>
                    <a:lnTo>
                      <a:pt x="1" y="0"/>
                    </a:lnTo>
                    <a:lnTo>
                      <a:pt x="5" y="0"/>
                    </a:lnTo>
                    <a:lnTo>
                      <a:pt x="10" y="0"/>
                    </a:lnTo>
                    <a:lnTo>
                      <a:pt x="15" y="2"/>
                    </a:lnTo>
                    <a:lnTo>
                      <a:pt x="15" y="4"/>
                    </a:lnTo>
                    <a:lnTo>
                      <a:pt x="15" y="7"/>
                    </a:lnTo>
                    <a:lnTo>
                      <a:pt x="17" y="7"/>
                    </a:lnTo>
                    <a:lnTo>
                      <a:pt x="17" y="10"/>
                    </a:lnTo>
                    <a:lnTo>
                      <a:pt x="17" y="14"/>
                    </a:lnTo>
                    <a:lnTo>
                      <a:pt x="19" y="16"/>
                    </a:lnTo>
                    <a:lnTo>
                      <a:pt x="20" y="17"/>
                    </a:lnTo>
                    <a:lnTo>
                      <a:pt x="19" y="19"/>
                    </a:lnTo>
                    <a:lnTo>
                      <a:pt x="19"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3" name="Freeform 232"/>
              <p:cNvSpPr>
                <a:spLocks/>
              </p:cNvSpPr>
              <p:nvPr/>
            </p:nvSpPr>
            <p:spPr bwMode="auto">
              <a:xfrm>
                <a:off x="7108032" y="3743325"/>
                <a:ext cx="25400" cy="34925"/>
              </a:xfrm>
              <a:custGeom>
                <a:avLst/>
                <a:gdLst/>
                <a:ahLst/>
                <a:cxnLst>
                  <a:cxn ang="0">
                    <a:pos x="4" y="1"/>
                  </a:cxn>
                  <a:cxn ang="0">
                    <a:pos x="9" y="3"/>
                  </a:cxn>
                  <a:cxn ang="0">
                    <a:pos x="16" y="8"/>
                  </a:cxn>
                  <a:cxn ang="0">
                    <a:pos x="9" y="17"/>
                  </a:cxn>
                  <a:cxn ang="0">
                    <a:pos x="2" y="22"/>
                  </a:cxn>
                  <a:cxn ang="0">
                    <a:pos x="0" y="10"/>
                  </a:cxn>
                  <a:cxn ang="0">
                    <a:pos x="0" y="3"/>
                  </a:cxn>
                  <a:cxn ang="0">
                    <a:pos x="0" y="0"/>
                  </a:cxn>
                  <a:cxn ang="0">
                    <a:pos x="2" y="0"/>
                  </a:cxn>
                  <a:cxn ang="0">
                    <a:pos x="4" y="0"/>
                  </a:cxn>
                  <a:cxn ang="0">
                    <a:pos x="6" y="3"/>
                  </a:cxn>
                  <a:cxn ang="0">
                    <a:pos x="4" y="1"/>
                  </a:cxn>
                </a:cxnLst>
                <a:rect l="0" t="0" r="r" b="b"/>
                <a:pathLst>
                  <a:path w="16" h="22">
                    <a:moveTo>
                      <a:pt x="4" y="1"/>
                    </a:moveTo>
                    <a:lnTo>
                      <a:pt x="9" y="3"/>
                    </a:lnTo>
                    <a:lnTo>
                      <a:pt x="16" y="8"/>
                    </a:lnTo>
                    <a:lnTo>
                      <a:pt x="9" y="17"/>
                    </a:lnTo>
                    <a:lnTo>
                      <a:pt x="2" y="22"/>
                    </a:lnTo>
                    <a:lnTo>
                      <a:pt x="0" y="10"/>
                    </a:lnTo>
                    <a:lnTo>
                      <a:pt x="0" y="3"/>
                    </a:lnTo>
                    <a:lnTo>
                      <a:pt x="0" y="0"/>
                    </a:lnTo>
                    <a:lnTo>
                      <a:pt x="2" y="0"/>
                    </a:lnTo>
                    <a:lnTo>
                      <a:pt x="4" y="0"/>
                    </a:lnTo>
                    <a:lnTo>
                      <a:pt x="6" y="3"/>
                    </a:lnTo>
                    <a:lnTo>
                      <a:pt x="4"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4" name="Freeform 233"/>
              <p:cNvSpPr>
                <a:spLocks/>
              </p:cNvSpPr>
              <p:nvPr/>
            </p:nvSpPr>
            <p:spPr bwMode="auto">
              <a:xfrm>
                <a:off x="7122319" y="3767138"/>
                <a:ext cx="26988" cy="41275"/>
              </a:xfrm>
              <a:custGeom>
                <a:avLst/>
                <a:gdLst/>
                <a:ahLst/>
                <a:cxnLst>
                  <a:cxn ang="0">
                    <a:pos x="17" y="5"/>
                  </a:cxn>
                  <a:cxn ang="0">
                    <a:pos x="14" y="12"/>
                  </a:cxn>
                  <a:cxn ang="0">
                    <a:pos x="12" y="19"/>
                  </a:cxn>
                  <a:cxn ang="0">
                    <a:pos x="12" y="21"/>
                  </a:cxn>
                  <a:cxn ang="0">
                    <a:pos x="14" y="24"/>
                  </a:cxn>
                  <a:cxn ang="0">
                    <a:pos x="12" y="24"/>
                  </a:cxn>
                  <a:cxn ang="0">
                    <a:pos x="10" y="26"/>
                  </a:cxn>
                  <a:cxn ang="0">
                    <a:pos x="4" y="21"/>
                  </a:cxn>
                  <a:cxn ang="0">
                    <a:pos x="0" y="16"/>
                  </a:cxn>
                  <a:cxn ang="0">
                    <a:pos x="2" y="12"/>
                  </a:cxn>
                  <a:cxn ang="0">
                    <a:pos x="5" y="12"/>
                  </a:cxn>
                  <a:cxn ang="0">
                    <a:pos x="5" y="5"/>
                  </a:cxn>
                  <a:cxn ang="0">
                    <a:pos x="10" y="0"/>
                  </a:cxn>
                  <a:cxn ang="0">
                    <a:pos x="14" y="0"/>
                  </a:cxn>
                  <a:cxn ang="0">
                    <a:pos x="17" y="5"/>
                  </a:cxn>
                </a:cxnLst>
                <a:rect l="0" t="0" r="r" b="b"/>
                <a:pathLst>
                  <a:path w="17" h="26">
                    <a:moveTo>
                      <a:pt x="17" y="5"/>
                    </a:moveTo>
                    <a:lnTo>
                      <a:pt x="14" y="12"/>
                    </a:lnTo>
                    <a:lnTo>
                      <a:pt x="12" y="19"/>
                    </a:lnTo>
                    <a:lnTo>
                      <a:pt x="12" y="21"/>
                    </a:lnTo>
                    <a:lnTo>
                      <a:pt x="14" y="24"/>
                    </a:lnTo>
                    <a:lnTo>
                      <a:pt x="12" y="24"/>
                    </a:lnTo>
                    <a:lnTo>
                      <a:pt x="10" y="26"/>
                    </a:lnTo>
                    <a:lnTo>
                      <a:pt x="4" y="21"/>
                    </a:lnTo>
                    <a:lnTo>
                      <a:pt x="0" y="16"/>
                    </a:lnTo>
                    <a:lnTo>
                      <a:pt x="2" y="12"/>
                    </a:lnTo>
                    <a:lnTo>
                      <a:pt x="5" y="12"/>
                    </a:lnTo>
                    <a:lnTo>
                      <a:pt x="5" y="5"/>
                    </a:lnTo>
                    <a:lnTo>
                      <a:pt x="10" y="0"/>
                    </a:lnTo>
                    <a:lnTo>
                      <a:pt x="14" y="0"/>
                    </a:lnTo>
                    <a:lnTo>
                      <a:pt x="1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5" name="Freeform 234"/>
              <p:cNvSpPr>
                <a:spLocks/>
              </p:cNvSpPr>
              <p:nvPr/>
            </p:nvSpPr>
            <p:spPr bwMode="auto">
              <a:xfrm>
                <a:off x="7144544" y="3767138"/>
                <a:ext cx="12700" cy="26987"/>
              </a:xfrm>
              <a:custGeom>
                <a:avLst/>
                <a:gdLst/>
                <a:ahLst/>
                <a:cxnLst>
                  <a:cxn ang="0">
                    <a:pos x="8" y="0"/>
                  </a:cxn>
                  <a:cxn ang="0">
                    <a:pos x="5" y="9"/>
                  </a:cxn>
                  <a:cxn ang="0">
                    <a:pos x="3" y="17"/>
                  </a:cxn>
                  <a:cxn ang="0">
                    <a:pos x="0" y="17"/>
                  </a:cxn>
                  <a:cxn ang="0">
                    <a:pos x="2" y="9"/>
                  </a:cxn>
                  <a:cxn ang="0">
                    <a:pos x="5" y="0"/>
                  </a:cxn>
                  <a:cxn ang="0">
                    <a:pos x="7" y="0"/>
                  </a:cxn>
                  <a:cxn ang="0">
                    <a:pos x="8" y="0"/>
                  </a:cxn>
                </a:cxnLst>
                <a:rect l="0" t="0" r="r" b="b"/>
                <a:pathLst>
                  <a:path w="8" h="17">
                    <a:moveTo>
                      <a:pt x="8" y="0"/>
                    </a:moveTo>
                    <a:lnTo>
                      <a:pt x="5" y="9"/>
                    </a:lnTo>
                    <a:lnTo>
                      <a:pt x="3" y="17"/>
                    </a:lnTo>
                    <a:lnTo>
                      <a:pt x="0" y="17"/>
                    </a:lnTo>
                    <a:lnTo>
                      <a:pt x="2" y="9"/>
                    </a:lnTo>
                    <a:lnTo>
                      <a:pt x="5" y="0"/>
                    </a:lnTo>
                    <a:lnTo>
                      <a:pt x="7" y="0"/>
                    </a:lnTo>
                    <a:lnTo>
                      <a:pt x="8"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6" name="Freeform 235"/>
              <p:cNvSpPr>
                <a:spLocks/>
              </p:cNvSpPr>
              <p:nvPr/>
            </p:nvSpPr>
            <p:spPr bwMode="auto">
              <a:xfrm>
                <a:off x="7152482" y="3786188"/>
                <a:ext cx="15875" cy="14287"/>
              </a:xfrm>
              <a:custGeom>
                <a:avLst/>
                <a:gdLst/>
                <a:ahLst/>
                <a:cxnLst>
                  <a:cxn ang="0">
                    <a:pos x="10" y="0"/>
                  </a:cxn>
                  <a:cxn ang="0">
                    <a:pos x="7" y="5"/>
                  </a:cxn>
                  <a:cxn ang="0">
                    <a:pos x="2" y="9"/>
                  </a:cxn>
                  <a:cxn ang="0">
                    <a:pos x="0" y="7"/>
                  </a:cxn>
                  <a:cxn ang="0">
                    <a:pos x="0" y="5"/>
                  </a:cxn>
                  <a:cxn ang="0">
                    <a:pos x="0" y="2"/>
                  </a:cxn>
                  <a:cxn ang="0">
                    <a:pos x="3" y="0"/>
                  </a:cxn>
                  <a:cxn ang="0">
                    <a:pos x="7" y="0"/>
                  </a:cxn>
                  <a:cxn ang="0">
                    <a:pos x="10" y="0"/>
                  </a:cxn>
                </a:cxnLst>
                <a:rect l="0" t="0" r="r" b="b"/>
                <a:pathLst>
                  <a:path w="10" h="9">
                    <a:moveTo>
                      <a:pt x="10" y="0"/>
                    </a:moveTo>
                    <a:lnTo>
                      <a:pt x="7" y="5"/>
                    </a:lnTo>
                    <a:lnTo>
                      <a:pt x="2" y="9"/>
                    </a:lnTo>
                    <a:lnTo>
                      <a:pt x="0" y="7"/>
                    </a:lnTo>
                    <a:lnTo>
                      <a:pt x="0" y="5"/>
                    </a:lnTo>
                    <a:lnTo>
                      <a:pt x="0" y="2"/>
                    </a:lnTo>
                    <a:lnTo>
                      <a:pt x="3" y="0"/>
                    </a:lnTo>
                    <a:lnTo>
                      <a:pt x="7"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7" name="Freeform 236"/>
              <p:cNvSpPr>
                <a:spLocks/>
              </p:cNvSpPr>
              <p:nvPr/>
            </p:nvSpPr>
            <p:spPr bwMode="auto">
              <a:xfrm>
                <a:off x="7133432" y="3729038"/>
                <a:ext cx="19050" cy="15875"/>
              </a:xfrm>
              <a:custGeom>
                <a:avLst/>
                <a:gdLst/>
                <a:ahLst/>
                <a:cxnLst>
                  <a:cxn ang="0">
                    <a:pos x="0" y="7"/>
                  </a:cxn>
                  <a:cxn ang="0">
                    <a:pos x="0" y="2"/>
                  </a:cxn>
                  <a:cxn ang="0">
                    <a:pos x="0" y="0"/>
                  </a:cxn>
                  <a:cxn ang="0">
                    <a:pos x="5" y="0"/>
                  </a:cxn>
                  <a:cxn ang="0">
                    <a:pos x="9" y="4"/>
                  </a:cxn>
                  <a:cxn ang="0">
                    <a:pos x="12" y="10"/>
                  </a:cxn>
                  <a:cxn ang="0">
                    <a:pos x="9" y="10"/>
                  </a:cxn>
                  <a:cxn ang="0">
                    <a:pos x="7" y="7"/>
                  </a:cxn>
                  <a:cxn ang="0">
                    <a:pos x="3" y="5"/>
                  </a:cxn>
                  <a:cxn ang="0">
                    <a:pos x="0" y="7"/>
                  </a:cxn>
                </a:cxnLst>
                <a:rect l="0" t="0" r="r" b="b"/>
                <a:pathLst>
                  <a:path w="12" h="10">
                    <a:moveTo>
                      <a:pt x="0" y="7"/>
                    </a:moveTo>
                    <a:lnTo>
                      <a:pt x="0" y="2"/>
                    </a:lnTo>
                    <a:lnTo>
                      <a:pt x="0" y="0"/>
                    </a:lnTo>
                    <a:lnTo>
                      <a:pt x="5" y="0"/>
                    </a:lnTo>
                    <a:lnTo>
                      <a:pt x="9" y="4"/>
                    </a:lnTo>
                    <a:lnTo>
                      <a:pt x="12" y="10"/>
                    </a:lnTo>
                    <a:lnTo>
                      <a:pt x="9" y="10"/>
                    </a:lnTo>
                    <a:lnTo>
                      <a:pt x="7" y="7"/>
                    </a:lnTo>
                    <a:lnTo>
                      <a:pt x="3" y="5"/>
                    </a:lnTo>
                    <a:lnTo>
                      <a:pt x="0"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8" name="Freeform 237"/>
              <p:cNvSpPr>
                <a:spLocks/>
              </p:cNvSpPr>
              <p:nvPr/>
            </p:nvSpPr>
            <p:spPr bwMode="auto">
              <a:xfrm>
                <a:off x="7073107" y="3706813"/>
                <a:ext cx="25400" cy="28575"/>
              </a:xfrm>
              <a:custGeom>
                <a:avLst/>
                <a:gdLst/>
                <a:ahLst/>
                <a:cxnLst>
                  <a:cxn ang="0">
                    <a:pos x="12" y="18"/>
                  </a:cxn>
                  <a:cxn ang="0">
                    <a:pos x="9" y="14"/>
                  </a:cxn>
                  <a:cxn ang="0">
                    <a:pos x="5" y="9"/>
                  </a:cxn>
                  <a:cxn ang="0">
                    <a:pos x="0" y="2"/>
                  </a:cxn>
                  <a:cxn ang="0">
                    <a:pos x="0" y="0"/>
                  </a:cxn>
                  <a:cxn ang="0">
                    <a:pos x="4" y="0"/>
                  </a:cxn>
                  <a:cxn ang="0">
                    <a:pos x="12" y="2"/>
                  </a:cxn>
                  <a:cxn ang="0">
                    <a:pos x="16" y="9"/>
                  </a:cxn>
                  <a:cxn ang="0">
                    <a:pos x="16" y="14"/>
                  </a:cxn>
                  <a:cxn ang="0">
                    <a:pos x="12" y="18"/>
                  </a:cxn>
                </a:cxnLst>
                <a:rect l="0" t="0" r="r" b="b"/>
                <a:pathLst>
                  <a:path w="16" h="18">
                    <a:moveTo>
                      <a:pt x="12" y="18"/>
                    </a:moveTo>
                    <a:lnTo>
                      <a:pt x="9" y="14"/>
                    </a:lnTo>
                    <a:lnTo>
                      <a:pt x="5" y="9"/>
                    </a:lnTo>
                    <a:lnTo>
                      <a:pt x="0" y="2"/>
                    </a:lnTo>
                    <a:lnTo>
                      <a:pt x="0" y="0"/>
                    </a:lnTo>
                    <a:lnTo>
                      <a:pt x="4" y="0"/>
                    </a:lnTo>
                    <a:lnTo>
                      <a:pt x="12" y="2"/>
                    </a:lnTo>
                    <a:lnTo>
                      <a:pt x="16" y="9"/>
                    </a:lnTo>
                    <a:lnTo>
                      <a:pt x="16" y="14"/>
                    </a:lnTo>
                    <a:lnTo>
                      <a:pt x="12" y="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9" name="Freeform 238"/>
              <p:cNvSpPr>
                <a:spLocks/>
              </p:cNvSpPr>
              <p:nvPr/>
            </p:nvSpPr>
            <p:spPr bwMode="auto">
              <a:xfrm>
                <a:off x="7100094" y="3709988"/>
                <a:ext cx="7938" cy="3175"/>
              </a:xfrm>
              <a:custGeom>
                <a:avLst/>
                <a:gdLst/>
                <a:ahLst/>
                <a:cxnLst>
                  <a:cxn ang="0">
                    <a:pos x="0" y="0"/>
                  </a:cxn>
                  <a:cxn ang="0">
                    <a:pos x="2" y="0"/>
                  </a:cxn>
                  <a:cxn ang="0">
                    <a:pos x="5" y="2"/>
                  </a:cxn>
                  <a:cxn ang="0">
                    <a:pos x="2" y="0"/>
                  </a:cxn>
                  <a:cxn ang="0">
                    <a:pos x="0" y="0"/>
                  </a:cxn>
                </a:cxnLst>
                <a:rect l="0" t="0" r="r" b="b"/>
                <a:pathLst>
                  <a:path w="5" h="2">
                    <a:moveTo>
                      <a:pt x="0" y="0"/>
                    </a:moveTo>
                    <a:lnTo>
                      <a:pt x="2" y="0"/>
                    </a:lnTo>
                    <a:lnTo>
                      <a:pt x="5" y="2"/>
                    </a:lnTo>
                    <a:lnTo>
                      <a:pt x="2"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0" name="Freeform 239"/>
              <p:cNvSpPr>
                <a:spLocks/>
              </p:cNvSpPr>
              <p:nvPr/>
            </p:nvSpPr>
            <p:spPr bwMode="auto">
              <a:xfrm>
                <a:off x="7061994" y="3421063"/>
                <a:ext cx="36513" cy="69850"/>
              </a:xfrm>
              <a:custGeom>
                <a:avLst/>
                <a:gdLst/>
                <a:ahLst/>
                <a:cxnLst>
                  <a:cxn ang="0">
                    <a:pos x="9" y="44"/>
                  </a:cxn>
                  <a:cxn ang="0">
                    <a:pos x="0" y="39"/>
                  </a:cxn>
                  <a:cxn ang="0">
                    <a:pos x="0" y="29"/>
                  </a:cxn>
                  <a:cxn ang="0">
                    <a:pos x="0" y="19"/>
                  </a:cxn>
                  <a:cxn ang="0">
                    <a:pos x="5" y="10"/>
                  </a:cxn>
                  <a:cxn ang="0">
                    <a:pos x="11" y="2"/>
                  </a:cxn>
                  <a:cxn ang="0">
                    <a:pos x="17" y="0"/>
                  </a:cxn>
                  <a:cxn ang="0">
                    <a:pos x="23" y="5"/>
                  </a:cxn>
                  <a:cxn ang="0">
                    <a:pos x="21" y="22"/>
                  </a:cxn>
                  <a:cxn ang="0">
                    <a:pos x="16" y="36"/>
                  </a:cxn>
                  <a:cxn ang="0">
                    <a:pos x="9" y="44"/>
                  </a:cxn>
                </a:cxnLst>
                <a:rect l="0" t="0" r="r" b="b"/>
                <a:pathLst>
                  <a:path w="23" h="44">
                    <a:moveTo>
                      <a:pt x="9" y="44"/>
                    </a:moveTo>
                    <a:lnTo>
                      <a:pt x="0" y="39"/>
                    </a:lnTo>
                    <a:lnTo>
                      <a:pt x="0" y="29"/>
                    </a:lnTo>
                    <a:lnTo>
                      <a:pt x="0" y="19"/>
                    </a:lnTo>
                    <a:lnTo>
                      <a:pt x="5" y="10"/>
                    </a:lnTo>
                    <a:lnTo>
                      <a:pt x="11" y="2"/>
                    </a:lnTo>
                    <a:lnTo>
                      <a:pt x="17" y="0"/>
                    </a:lnTo>
                    <a:lnTo>
                      <a:pt x="23" y="5"/>
                    </a:lnTo>
                    <a:lnTo>
                      <a:pt x="21" y="22"/>
                    </a:lnTo>
                    <a:lnTo>
                      <a:pt x="16" y="36"/>
                    </a:lnTo>
                    <a:lnTo>
                      <a:pt x="9" y="4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1" name="Freeform 240"/>
              <p:cNvSpPr>
                <a:spLocks/>
              </p:cNvSpPr>
              <p:nvPr/>
            </p:nvSpPr>
            <p:spPr bwMode="auto">
              <a:xfrm>
                <a:off x="6796882" y="3543300"/>
                <a:ext cx="55563" cy="49212"/>
              </a:xfrm>
              <a:custGeom>
                <a:avLst/>
                <a:gdLst/>
                <a:ahLst/>
                <a:cxnLst>
                  <a:cxn ang="0">
                    <a:pos x="2" y="14"/>
                  </a:cxn>
                  <a:cxn ang="0">
                    <a:pos x="6" y="10"/>
                  </a:cxn>
                  <a:cxn ang="0">
                    <a:pos x="14" y="7"/>
                  </a:cxn>
                  <a:cxn ang="0">
                    <a:pos x="21" y="2"/>
                  </a:cxn>
                  <a:cxn ang="0">
                    <a:pos x="30" y="0"/>
                  </a:cxn>
                  <a:cxn ang="0">
                    <a:pos x="31" y="2"/>
                  </a:cxn>
                  <a:cxn ang="0">
                    <a:pos x="35" y="9"/>
                  </a:cxn>
                  <a:cxn ang="0">
                    <a:pos x="31" y="14"/>
                  </a:cxn>
                  <a:cxn ang="0">
                    <a:pos x="26" y="23"/>
                  </a:cxn>
                  <a:cxn ang="0">
                    <a:pos x="18" y="28"/>
                  </a:cxn>
                  <a:cxn ang="0">
                    <a:pos x="12" y="31"/>
                  </a:cxn>
                  <a:cxn ang="0">
                    <a:pos x="4" y="28"/>
                  </a:cxn>
                  <a:cxn ang="0">
                    <a:pos x="2" y="21"/>
                  </a:cxn>
                  <a:cxn ang="0">
                    <a:pos x="0" y="16"/>
                  </a:cxn>
                  <a:cxn ang="0">
                    <a:pos x="2" y="14"/>
                  </a:cxn>
                </a:cxnLst>
                <a:rect l="0" t="0" r="r" b="b"/>
                <a:pathLst>
                  <a:path w="35" h="31">
                    <a:moveTo>
                      <a:pt x="2" y="14"/>
                    </a:moveTo>
                    <a:lnTo>
                      <a:pt x="6" y="10"/>
                    </a:lnTo>
                    <a:lnTo>
                      <a:pt x="14" y="7"/>
                    </a:lnTo>
                    <a:lnTo>
                      <a:pt x="21" y="2"/>
                    </a:lnTo>
                    <a:lnTo>
                      <a:pt x="30" y="0"/>
                    </a:lnTo>
                    <a:lnTo>
                      <a:pt x="31" y="2"/>
                    </a:lnTo>
                    <a:lnTo>
                      <a:pt x="35" y="9"/>
                    </a:lnTo>
                    <a:lnTo>
                      <a:pt x="31" y="14"/>
                    </a:lnTo>
                    <a:lnTo>
                      <a:pt x="26" y="23"/>
                    </a:lnTo>
                    <a:lnTo>
                      <a:pt x="18" y="28"/>
                    </a:lnTo>
                    <a:lnTo>
                      <a:pt x="12" y="31"/>
                    </a:lnTo>
                    <a:lnTo>
                      <a:pt x="4" y="28"/>
                    </a:lnTo>
                    <a:lnTo>
                      <a:pt x="2" y="21"/>
                    </a:lnTo>
                    <a:lnTo>
                      <a:pt x="0" y="16"/>
                    </a:lnTo>
                    <a:lnTo>
                      <a:pt x="2"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2" name="Freeform 241"/>
              <p:cNvSpPr>
                <a:spLocks/>
              </p:cNvSpPr>
              <p:nvPr/>
            </p:nvSpPr>
            <p:spPr bwMode="auto">
              <a:xfrm>
                <a:off x="6549232" y="3467100"/>
                <a:ext cx="266700" cy="515937"/>
              </a:xfrm>
              <a:custGeom>
                <a:avLst/>
                <a:gdLst/>
                <a:ahLst/>
                <a:cxnLst>
                  <a:cxn ang="0">
                    <a:pos x="24" y="175"/>
                  </a:cxn>
                  <a:cxn ang="0">
                    <a:pos x="27" y="162"/>
                  </a:cxn>
                  <a:cxn ang="0">
                    <a:pos x="19" y="138"/>
                  </a:cxn>
                  <a:cxn ang="0">
                    <a:pos x="8" y="124"/>
                  </a:cxn>
                  <a:cxn ang="0">
                    <a:pos x="12" y="117"/>
                  </a:cxn>
                  <a:cxn ang="0">
                    <a:pos x="10" y="89"/>
                  </a:cxn>
                  <a:cxn ang="0">
                    <a:pos x="2" y="62"/>
                  </a:cxn>
                  <a:cxn ang="0">
                    <a:pos x="22" y="50"/>
                  </a:cxn>
                  <a:cxn ang="0">
                    <a:pos x="43" y="31"/>
                  </a:cxn>
                  <a:cxn ang="0">
                    <a:pos x="55" y="26"/>
                  </a:cxn>
                  <a:cxn ang="0">
                    <a:pos x="60" y="24"/>
                  </a:cxn>
                  <a:cxn ang="0">
                    <a:pos x="65" y="9"/>
                  </a:cxn>
                  <a:cxn ang="0">
                    <a:pos x="100" y="3"/>
                  </a:cxn>
                  <a:cxn ang="0">
                    <a:pos x="132" y="7"/>
                  </a:cxn>
                  <a:cxn ang="0">
                    <a:pos x="139" y="34"/>
                  </a:cxn>
                  <a:cxn ang="0">
                    <a:pos x="115" y="67"/>
                  </a:cxn>
                  <a:cxn ang="0">
                    <a:pos x="125" y="83"/>
                  </a:cxn>
                  <a:cxn ang="0">
                    <a:pos x="150" y="107"/>
                  </a:cxn>
                  <a:cxn ang="0">
                    <a:pos x="167" y="141"/>
                  </a:cxn>
                  <a:cxn ang="0">
                    <a:pos x="163" y="181"/>
                  </a:cxn>
                  <a:cxn ang="0">
                    <a:pos x="139" y="191"/>
                  </a:cxn>
                  <a:cxn ang="0">
                    <a:pos x="120" y="206"/>
                  </a:cxn>
                  <a:cxn ang="0">
                    <a:pos x="119" y="206"/>
                  </a:cxn>
                  <a:cxn ang="0">
                    <a:pos x="107" y="220"/>
                  </a:cxn>
                  <a:cxn ang="0">
                    <a:pos x="103" y="205"/>
                  </a:cxn>
                  <a:cxn ang="0">
                    <a:pos x="101" y="196"/>
                  </a:cxn>
                  <a:cxn ang="0">
                    <a:pos x="76" y="181"/>
                  </a:cxn>
                  <a:cxn ang="0">
                    <a:pos x="50" y="162"/>
                  </a:cxn>
                  <a:cxn ang="0">
                    <a:pos x="41" y="150"/>
                  </a:cxn>
                  <a:cxn ang="0">
                    <a:pos x="31" y="155"/>
                  </a:cxn>
                  <a:cxn ang="0">
                    <a:pos x="29" y="172"/>
                  </a:cxn>
                  <a:cxn ang="0">
                    <a:pos x="19" y="198"/>
                  </a:cxn>
                  <a:cxn ang="0">
                    <a:pos x="33" y="213"/>
                  </a:cxn>
                  <a:cxn ang="0">
                    <a:pos x="36" y="229"/>
                  </a:cxn>
                  <a:cxn ang="0">
                    <a:pos x="67" y="253"/>
                  </a:cxn>
                  <a:cxn ang="0">
                    <a:pos x="81" y="270"/>
                  </a:cxn>
                  <a:cxn ang="0">
                    <a:pos x="82" y="289"/>
                  </a:cxn>
                  <a:cxn ang="0">
                    <a:pos x="94" y="315"/>
                  </a:cxn>
                  <a:cxn ang="0">
                    <a:pos x="89" y="323"/>
                  </a:cxn>
                  <a:cxn ang="0">
                    <a:pos x="81" y="322"/>
                  </a:cxn>
                  <a:cxn ang="0">
                    <a:pos x="55" y="304"/>
                  </a:cxn>
                  <a:cxn ang="0">
                    <a:pos x="38" y="272"/>
                  </a:cxn>
                  <a:cxn ang="0">
                    <a:pos x="31" y="246"/>
                  </a:cxn>
                  <a:cxn ang="0">
                    <a:pos x="19" y="222"/>
                  </a:cxn>
                  <a:cxn ang="0">
                    <a:pos x="10" y="220"/>
                  </a:cxn>
                  <a:cxn ang="0">
                    <a:pos x="10" y="208"/>
                  </a:cxn>
                </a:cxnLst>
                <a:rect l="0" t="0" r="r" b="b"/>
                <a:pathLst>
                  <a:path w="168" h="325">
                    <a:moveTo>
                      <a:pt x="14" y="199"/>
                    </a:moveTo>
                    <a:lnTo>
                      <a:pt x="19" y="186"/>
                    </a:lnTo>
                    <a:lnTo>
                      <a:pt x="24" y="175"/>
                    </a:lnTo>
                    <a:lnTo>
                      <a:pt x="26" y="172"/>
                    </a:lnTo>
                    <a:lnTo>
                      <a:pt x="29" y="169"/>
                    </a:lnTo>
                    <a:lnTo>
                      <a:pt x="27" y="162"/>
                    </a:lnTo>
                    <a:lnTo>
                      <a:pt x="24" y="153"/>
                    </a:lnTo>
                    <a:lnTo>
                      <a:pt x="21" y="143"/>
                    </a:lnTo>
                    <a:lnTo>
                      <a:pt x="19" y="138"/>
                    </a:lnTo>
                    <a:lnTo>
                      <a:pt x="10" y="132"/>
                    </a:lnTo>
                    <a:lnTo>
                      <a:pt x="8" y="126"/>
                    </a:lnTo>
                    <a:lnTo>
                      <a:pt x="8" y="124"/>
                    </a:lnTo>
                    <a:lnTo>
                      <a:pt x="10" y="122"/>
                    </a:lnTo>
                    <a:lnTo>
                      <a:pt x="10" y="122"/>
                    </a:lnTo>
                    <a:lnTo>
                      <a:pt x="12" y="117"/>
                    </a:lnTo>
                    <a:lnTo>
                      <a:pt x="14" y="112"/>
                    </a:lnTo>
                    <a:lnTo>
                      <a:pt x="12" y="100"/>
                    </a:lnTo>
                    <a:lnTo>
                      <a:pt x="10" y="89"/>
                    </a:lnTo>
                    <a:lnTo>
                      <a:pt x="3" y="83"/>
                    </a:lnTo>
                    <a:lnTo>
                      <a:pt x="0" y="76"/>
                    </a:lnTo>
                    <a:lnTo>
                      <a:pt x="2" y="62"/>
                    </a:lnTo>
                    <a:lnTo>
                      <a:pt x="8" y="55"/>
                    </a:lnTo>
                    <a:lnTo>
                      <a:pt x="14" y="52"/>
                    </a:lnTo>
                    <a:lnTo>
                      <a:pt x="22" y="50"/>
                    </a:lnTo>
                    <a:lnTo>
                      <a:pt x="29" y="43"/>
                    </a:lnTo>
                    <a:lnTo>
                      <a:pt x="36" y="38"/>
                    </a:lnTo>
                    <a:lnTo>
                      <a:pt x="43" y="31"/>
                    </a:lnTo>
                    <a:lnTo>
                      <a:pt x="51" y="22"/>
                    </a:lnTo>
                    <a:lnTo>
                      <a:pt x="55" y="22"/>
                    </a:lnTo>
                    <a:lnTo>
                      <a:pt x="55" y="26"/>
                    </a:lnTo>
                    <a:lnTo>
                      <a:pt x="58" y="28"/>
                    </a:lnTo>
                    <a:lnTo>
                      <a:pt x="58" y="26"/>
                    </a:lnTo>
                    <a:lnTo>
                      <a:pt x="60" y="24"/>
                    </a:lnTo>
                    <a:lnTo>
                      <a:pt x="60" y="17"/>
                    </a:lnTo>
                    <a:lnTo>
                      <a:pt x="60" y="10"/>
                    </a:lnTo>
                    <a:lnTo>
                      <a:pt x="65" y="9"/>
                    </a:lnTo>
                    <a:lnTo>
                      <a:pt x="74" y="7"/>
                    </a:lnTo>
                    <a:lnTo>
                      <a:pt x="89" y="7"/>
                    </a:lnTo>
                    <a:lnTo>
                      <a:pt x="100" y="3"/>
                    </a:lnTo>
                    <a:lnTo>
                      <a:pt x="110" y="0"/>
                    </a:lnTo>
                    <a:lnTo>
                      <a:pt x="120" y="3"/>
                    </a:lnTo>
                    <a:lnTo>
                      <a:pt x="132" y="7"/>
                    </a:lnTo>
                    <a:lnTo>
                      <a:pt x="137" y="19"/>
                    </a:lnTo>
                    <a:lnTo>
                      <a:pt x="150" y="26"/>
                    </a:lnTo>
                    <a:lnTo>
                      <a:pt x="139" y="34"/>
                    </a:lnTo>
                    <a:lnTo>
                      <a:pt x="127" y="43"/>
                    </a:lnTo>
                    <a:lnTo>
                      <a:pt x="119" y="52"/>
                    </a:lnTo>
                    <a:lnTo>
                      <a:pt x="115" y="67"/>
                    </a:lnTo>
                    <a:lnTo>
                      <a:pt x="115" y="71"/>
                    </a:lnTo>
                    <a:lnTo>
                      <a:pt x="119" y="74"/>
                    </a:lnTo>
                    <a:lnTo>
                      <a:pt x="125" y="83"/>
                    </a:lnTo>
                    <a:lnTo>
                      <a:pt x="132" y="91"/>
                    </a:lnTo>
                    <a:lnTo>
                      <a:pt x="139" y="100"/>
                    </a:lnTo>
                    <a:lnTo>
                      <a:pt x="150" y="107"/>
                    </a:lnTo>
                    <a:lnTo>
                      <a:pt x="156" y="114"/>
                    </a:lnTo>
                    <a:lnTo>
                      <a:pt x="163" y="127"/>
                    </a:lnTo>
                    <a:lnTo>
                      <a:pt x="167" y="141"/>
                    </a:lnTo>
                    <a:lnTo>
                      <a:pt x="168" y="155"/>
                    </a:lnTo>
                    <a:lnTo>
                      <a:pt x="165" y="167"/>
                    </a:lnTo>
                    <a:lnTo>
                      <a:pt x="163" y="181"/>
                    </a:lnTo>
                    <a:lnTo>
                      <a:pt x="151" y="182"/>
                    </a:lnTo>
                    <a:lnTo>
                      <a:pt x="146" y="186"/>
                    </a:lnTo>
                    <a:lnTo>
                      <a:pt x="139" y="191"/>
                    </a:lnTo>
                    <a:lnTo>
                      <a:pt x="132" y="196"/>
                    </a:lnTo>
                    <a:lnTo>
                      <a:pt x="125" y="201"/>
                    </a:lnTo>
                    <a:lnTo>
                      <a:pt x="120" y="206"/>
                    </a:lnTo>
                    <a:lnTo>
                      <a:pt x="119" y="205"/>
                    </a:lnTo>
                    <a:lnTo>
                      <a:pt x="119" y="203"/>
                    </a:lnTo>
                    <a:lnTo>
                      <a:pt x="119" y="206"/>
                    </a:lnTo>
                    <a:lnTo>
                      <a:pt x="119" y="208"/>
                    </a:lnTo>
                    <a:lnTo>
                      <a:pt x="113" y="215"/>
                    </a:lnTo>
                    <a:lnTo>
                      <a:pt x="107" y="220"/>
                    </a:lnTo>
                    <a:lnTo>
                      <a:pt x="103" y="215"/>
                    </a:lnTo>
                    <a:lnTo>
                      <a:pt x="103" y="212"/>
                    </a:lnTo>
                    <a:lnTo>
                      <a:pt x="103" y="205"/>
                    </a:lnTo>
                    <a:lnTo>
                      <a:pt x="105" y="203"/>
                    </a:lnTo>
                    <a:lnTo>
                      <a:pt x="101" y="199"/>
                    </a:lnTo>
                    <a:lnTo>
                      <a:pt x="101" y="196"/>
                    </a:lnTo>
                    <a:lnTo>
                      <a:pt x="89" y="193"/>
                    </a:lnTo>
                    <a:lnTo>
                      <a:pt x="84" y="186"/>
                    </a:lnTo>
                    <a:lnTo>
                      <a:pt x="76" y="181"/>
                    </a:lnTo>
                    <a:lnTo>
                      <a:pt x="72" y="172"/>
                    </a:lnTo>
                    <a:lnTo>
                      <a:pt x="60" y="165"/>
                    </a:lnTo>
                    <a:lnTo>
                      <a:pt x="50" y="162"/>
                    </a:lnTo>
                    <a:lnTo>
                      <a:pt x="48" y="158"/>
                    </a:lnTo>
                    <a:lnTo>
                      <a:pt x="48" y="155"/>
                    </a:lnTo>
                    <a:lnTo>
                      <a:pt x="41" y="150"/>
                    </a:lnTo>
                    <a:lnTo>
                      <a:pt x="34" y="150"/>
                    </a:lnTo>
                    <a:lnTo>
                      <a:pt x="31" y="150"/>
                    </a:lnTo>
                    <a:lnTo>
                      <a:pt x="31" y="155"/>
                    </a:lnTo>
                    <a:lnTo>
                      <a:pt x="31" y="158"/>
                    </a:lnTo>
                    <a:lnTo>
                      <a:pt x="33" y="165"/>
                    </a:lnTo>
                    <a:lnTo>
                      <a:pt x="29" y="172"/>
                    </a:lnTo>
                    <a:lnTo>
                      <a:pt x="26" y="181"/>
                    </a:lnTo>
                    <a:lnTo>
                      <a:pt x="21" y="187"/>
                    </a:lnTo>
                    <a:lnTo>
                      <a:pt x="19" y="198"/>
                    </a:lnTo>
                    <a:lnTo>
                      <a:pt x="21" y="205"/>
                    </a:lnTo>
                    <a:lnTo>
                      <a:pt x="27" y="210"/>
                    </a:lnTo>
                    <a:lnTo>
                      <a:pt x="33" y="213"/>
                    </a:lnTo>
                    <a:lnTo>
                      <a:pt x="36" y="222"/>
                    </a:lnTo>
                    <a:lnTo>
                      <a:pt x="34" y="222"/>
                    </a:lnTo>
                    <a:lnTo>
                      <a:pt x="36" y="229"/>
                    </a:lnTo>
                    <a:lnTo>
                      <a:pt x="41" y="237"/>
                    </a:lnTo>
                    <a:lnTo>
                      <a:pt x="53" y="244"/>
                    </a:lnTo>
                    <a:lnTo>
                      <a:pt x="67" y="253"/>
                    </a:lnTo>
                    <a:lnTo>
                      <a:pt x="72" y="258"/>
                    </a:lnTo>
                    <a:lnTo>
                      <a:pt x="77" y="263"/>
                    </a:lnTo>
                    <a:lnTo>
                      <a:pt x="81" y="270"/>
                    </a:lnTo>
                    <a:lnTo>
                      <a:pt x="84" y="280"/>
                    </a:lnTo>
                    <a:lnTo>
                      <a:pt x="82" y="284"/>
                    </a:lnTo>
                    <a:lnTo>
                      <a:pt x="82" y="289"/>
                    </a:lnTo>
                    <a:lnTo>
                      <a:pt x="86" y="299"/>
                    </a:lnTo>
                    <a:lnTo>
                      <a:pt x="93" y="308"/>
                    </a:lnTo>
                    <a:lnTo>
                      <a:pt x="94" y="315"/>
                    </a:lnTo>
                    <a:lnTo>
                      <a:pt x="96" y="323"/>
                    </a:lnTo>
                    <a:lnTo>
                      <a:pt x="93" y="323"/>
                    </a:lnTo>
                    <a:lnTo>
                      <a:pt x="89" y="323"/>
                    </a:lnTo>
                    <a:lnTo>
                      <a:pt x="88" y="323"/>
                    </a:lnTo>
                    <a:lnTo>
                      <a:pt x="86" y="325"/>
                    </a:lnTo>
                    <a:lnTo>
                      <a:pt x="81" y="322"/>
                    </a:lnTo>
                    <a:lnTo>
                      <a:pt x="77" y="320"/>
                    </a:lnTo>
                    <a:lnTo>
                      <a:pt x="65" y="313"/>
                    </a:lnTo>
                    <a:lnTo>
                      <a:pt x="55" y="304"/>
                    </a:lnTo>
                    <a:lnTo>
                      <a:pt x="46" y="294"/>
                    </a:lnTo>
                    <a:lnTo>
                      <a:pt x="43" y="284"/>
                    </a:lnTo>
                    <a:lnTo>
                      <a:pt x="38" y="272"/>
                    </a:lnTo>
                    <a:lnTo>
                      <a:pt x="36" y="263"/>
                    </a:lnTo>
                    <a:lnTo>
                      <a:pt x="33" y="253"/>
                    </a:lnTo>
                    <a:lnTo>
                      <a:pt x="31" y="246"/>
                    </a:lnTo>
                    <a:lnTo>
                      <a:pt x="27" y="237"/>
                    </a:lnTo>
                    <a:lnTo>
                      <a:pt x="24" y="230"/>
                    </a:lnTo>
                    <a:lnTo>
                      <a:pt x="19" y="222"/>
                    </a:lnTo>
                    <a:lnTo>
                      <a:pt x="15" y="220"/>
                    </a:lnTo>
                    <a:lnTo>
                      <a:pt x="12" y="220"/>
                    </a:lnTo>
                    <a:lnTo>
                      <a:pt x="10" y="220"/>
                    </a:lnTo>
                    <a:lnTo>
                      <a:pt x="8" y="218"/>
                    </a:lnTo>
                    <a:lnTo>
                      <a:pt x="10" y="218"/>
                    </a:lnTo>
                    <a:lnTo>
                      <a:pt x="10" y="208"/>
                    </a:lnTo>
                    <a:lnTo>
                      <a:pt x="12" y="199"/>
                    </a:lnTo>
                    <a:lnTo>
                      <a:pt x="14" y="19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3" name="Freeform 242"/>
              <p:cNvSpPr>
                <a:spLocks/>
              </p:cNvSpPr>
              <p:nvPr/>
            </p:nvSpPr>
            <p:spPr bwMode="auto">
              <a:xfrm>
                <a:off x="6723857" y="4048125"/>
                <a:ext cx="34925" cy="36512"/>
              </a:xfrm>
              <a:custGeom>
                <a:avLst/>
                <a:gdLst/>
                <a:ahLst/>
                <a:cxnLst>
                  <a:cxn ang="0">
                    <a:pos x="14" y="19"/>
                  </a:cxn>
                  <a:cxn ang="0">
                    <a:pos x="10" y="16"/>
                  </a:cxn>
                  <a:cxn ang="0">
                    <a:pos x="9" y="12"/>
                  </a:cxn>
                  <a:cxn ang="0">
                    <a:pos x="3" y="9"/>
                  </a:cxn>
                  <a:cxn ang="0">
                    <a:pos x="0" y="7"/>
                  </a:cxn>
                  <a:cxn ang="0">
                    <a:pos x="3" y="2"/>
                  </a:cxn>
                  <a:cxn ang="0">
                    <a:pos x="10" y="0"/>
                  </a:cxn>
                  <a:cxn ang="0">
                    <a:pos x="14" y="11"/>
                  </a:cxn>
                  <a:cxn ang="0">
                    <a:pos x="22" y="17"/>
                  </a:cxn>
                  <a:cxn ang="0">
                    <a:pos x="22" y="19"/>
                  </a:cxn>
                  <a:cxn ang="0">
                    <a:pos x="22" y="23"/>
                  </a:cxn>
                  <a:cxn ang="0">
                    <a:pos x="21" y="23"/>
                  </a:cxn>
                  <a:cxn ang="0">
                    <a:pos x="19" y="23"/>
                  </a:cxn>
                  <a:cxn ang="0">
                    <a:pos x="15" y="21"/>
                  </a:cxn>
                  <a:cxn ang="0">
                    <a:pos x="14" y="19"/>
                  </a:cxn>
                </a:cxnLst>
                <a:rect l="0" t="0" r="r" b="b"/>
                <a:pathLst>
                  <a:path w="22" h="23">
                    <a:moveTo>
                      <a:pt x="14" y="19"/>
                    </a:moveTo>
                    <a:lnTo>
                      <a:pt x="10" y="16"/>
                    </a:lnTo>
                    <a:lnTo>
                      <a:pt x="9" y="12"/>
                    </a:lnTo>
                    <a:lnTo>
                      <a:pt x="3" y="9"/>
                    </a:lnTo>
                    <a:lnTo>
                      <a:pt x="0" y="7"/>
                    </a:lnTo>
                    <a:lnTo>
                      <a:pt x="3" y="2"/>
                    </a:lnTo>
                    <a:lnTo>
                      <a:pt x="10" y="0"/>
                    </a:lnTo>
                    <a:lnTo>
                      <a:pt x="14" y="11"/>
                    </a:lnTo>
                    <a:lnTo>
                      <a:pt x="22" y="17"/>
                    </a:lnTo>
                    <a:lnTo>
                      <a:pt x="22" y="19"/>
                    </a:lnTo>
                    <a:lnTo>
                      <a:pt x="22" y="23"/>
                    </a:lnTo>
                    <a:lnTo>
                      <a:pt x="21" y="23"/>
                    </a:lnTo>
                    <a:lnTo>
                      <a:pt x="19" y="23"/>
                    </a:lnTo>
                    <a:lnTo>
                      <a:pt x="15" y="21"/>
                    </a:lnTo>
                    <a:lnTo>
                      <a:pt x="14"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4" name="Freeform 243"/>
              <p:cNvSpPr>
                <a:spLocks/>
              </p:cNvSpPr>
              <p:nvPr/>
            </p:nvSpPr>
            <p:spPr bwMode="auto">
              <a:xfrm>
                <a:off x="6781007" y="4075113"/>
                <a:ext cx="15875" cy="14287"/>
              </a:xfrm>
              <a:custGeom>
                <a:avLst/>
                <a:gdLst/>
                <a:ahLst/>
                <a:cxnLst>
                  <a:cxn ang="0">
                    <a:pos x="0" y="0"/>
                  </a:cxn>
                  <a:cxn ang="0">
                    <a:pos x="2" y="0"/>
                  </a:cxn>
                  <a:cxn ang="0">
                    <a:pos x="5" y="0"/>
                  </a:cxn>
                  <a:cxn ang="0">
                    <a:pos x="7" y="0"/>
                  </a:cxn>
                  <a:cxn ang="0">
                    <a:pos x="10" y="2"/>
                  </a:cxn>
                  <a:cxn ang="0">
                    <a:pos x="7" y="6"/>
                  </a:cxn>
                  <a:cxn ang="0">
                    <a:pos x="4" y="9"/>
                  </a:cxn>
                  <a:cxn ang="0">
                    <a:pos x="0" y="6"/>
                  </a:cxn>
                  <a:cxn ang="0">
                    <a:pos x="0" y="2"/>
                  </a:cxn>
                  <a:cxn ang="0">
                    <a:pos x="0" y="0"/>
                  </a:cxn>
                </a:cxnLst>
                <a:rect l="0" t="0" r="r" b="b"/>
                <a:pathLst>
                  <a:path w="10" h="9">
                    <a:moveTo>
                      <a:pt x="0" y="0"/>
                    </a:moveTo>
                    <a:lnTo>
                      <a:pt x="2" y="0"/>
                    </a:lnTo>
                    <a:lnTo>
                      <a:pt x="5" y="0"/>
                    </a:lnTo>
                    <a:lnTo>
                      <a:pt x="7" y="0"/>
                    </a:lnTo>
                    <a:lnTo>
                      <a:pt x="10" y="2"/>
                    </a:lnTo>
                    <a:lnTo>
                      <a:pt x="7" y="6"/>
                    </a:lnTo>
                    <a:lnTo>
                      <a:pt x="4" y="9"/>
                    </a:lnTo>
                    <a:lnTo>
                      <a:pt x="0" y="6"/>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5" name="Freeform 244"/>
              <p:cNvSpPr>
                <a:spLocks/>
              </p:cNvSpPr>
              <p:nvPr/>
            </p:nvSpPr>
            <p:spPr bwMode="auto">
              <a:xfrm>
                <a:off x="6576219" y="4040188"/>
                <a:ext cx="14288" cy="22225"/>
              </a:xfrm>
              <a:custGeom>
                <a:avLst/>
                <a:gdLst/>
                <a:ahLst/>
                <a:cxnLst>
                  <a:cxn ang="0">
                    <a:pos x="2" y="0"/>
                  </a:cxn>
                  <a:cxn ang="0">
                    <a:pos x="7" y="5"/>
                  </a:cxn>
                  <a:cxn ang="0">
                    <a:pos x="9" y="14"/>
                  </a:cxn>
                  <a:cxn ang="0">
                    <a:pos x="4" y="9"/>
                  </a:cxn>
                  <a:cxn ang="0">
                    <a:pos x="0" y="2"/>
                  </a:cxn>
                  <a:cxn ang="0">
                    <a:pos x="0" y="0"/>
                  </a:cxn>
                  <a:cxn ang="0">
                    <a:pos x="4" y="0"/>
                  </a:cxn>
                  <a:cxn ang="0">
                    <a:pos x="4" y="2"/>
                  </a:cxn>
                  <a:cxn ang="0">
                    <a:pos x="2" y="0"/>
                  </a:cxn>
                </a:cxnLst>
                <a:rect l="0" t="0" r="r" b="b"/>
                <a:pathLst>
                  <a:path w="9" h="14">
                    <a:moveTo>
                      <a:pt x="2" y="0"/>
                    </a:moveTo>
                    <a:lnTo>
                      <a:pt x="7" y="5"/>
                    </a:lnTo>
                    <a:lnTo>
                      <a:pt x="9" y="14"/>
                    </a:lnTo>
                    <a:lnTo>
                      <a:pt x="4" y="9"/>
                    </a:lnTo>
                    <a:lnTo>
                      <a:pt x="0" y="2"/>
                    </a:lnTo>
                    <a:lnTo>
                      <a:pt x="0" y="0"/>
                    </a:lnTo>
                    <a:lnTo>
                      <a:pt x="4" y="0"/>
                    </a:lnTo>
                    <a:lnTo>
                      <a:pt x="4" y="2"/>
                    </a:lnTo>
                    <a:lnTo>
                      <a:pt x="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6" name="Freeform 245"/>
              <p:cNvSpPr>
                <a:spLocks/>
              </p:cNvSpPr>
              <p:nvPr/>
            </p:nvSpPr>
            <p:spPr bwMode="auto">
              <a:xfrm>
                <a:off x="6546057" y="3990975"/>
                <a:ext cx="15875" cy="19050"/>
              </a:xfrm>
              <a:custGeom>
                <a:avLst/>
                <a:gdLst/>
                <a:ahLst/>
                <a:cxnLst>
                  <a:cxn ang="0">
                    <a:pos x="4" y="0"/>
                  </a:cxn>
                  <a:cxn ang="0">
                    <a:pos x="9" y="5"/>
                  </a:cxn>
                  <a:cxn ang="0">
                    <a:pos x="10" y="12"/>
                  </a:cxn>
                  <a:cxn ang="0">
                    <a:pos x="5" y="7"/>
                  </a:cxn>
                  <a:cxn ang="0">
                    <a:pos x="2" y="0"/>
                  </a:cxn>
                  <a:cxn ang="0">
                    <a:pos x="0" y="0"/>
                  </a:cxn>
                  <a:cxn ang="0">
                    <a:pos x="4" y="0"/>
                  </a:cxn>
                </a:cxnLst>
                <a:rect l="0" t="0" r="r" b="b"/>
                <a:pathLst>
                  <a:path w="10" h="12">
                    <a:moveTo>
                      <a:pt x="4" y="0"/>
                    </a:moveTo>
                    <a:lnTo>
                      <a:pt x="9" y="5"/>
                    </a:lnTo>
                    <a:lnTo>
                      <a:pt x="10" y="12"/>
                    </a:lnTo>
                    <a:lnTo>
                      <a:pt x="5" y="7"/>
                    </a:lnTo>
                    <a:lnTo>
                      <a:pt x="2" y="0"/>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7" name="Freeform 246"/>
              <p:cNvSpPr>
                <a:spLocks/>
              </p:cNvSpPr>
              <p:nvPr/>
            </p:nvSpPr>
            <p:spPr bwMode="auto">
              <a:xfrm>
                <a:off x="7284244" y="3205163"/>
                <a:ext cx="50800" cy="68262"/>
              </a:xfrm>
              <a:custGeom>
                <a:avLst/>
                <a:gdLst/>
                <a:ahLst/>
                <a:cxnLst>
                  <a:cxn ang="0">
                    <a:pos x="12" y="26"/>
                  </a:cxn>
                  <a:cxn ang="0">
                    <a:pos x="15" y="17"/>
                  </a:cxn>
                  <a:cxn ang="0">
                    <a:pos x="10" y="14"/>
                  </a:cxn>
                  <a:cxn ang="0">
                    <a:pos x="10" y="12"/>
                  </a:cxn>
                  <a:cxn ang="0">
                    <a:pos x="10" y="14"/>
                  </a:cxn>
                  <a:cxn ang="0">
                    <a:pos x="10" y="15"/>
                  </a:cxn>
                  <a:cxn ang="0">
                    <a:pos x="6" y="15"/>
                  </a:cxn>
                  <a:cxn ang="0">
                    <a:pos x="5" y="17"/>
                  </a:cxn>
                  <a:cxn ang="0">
                    <a:pos x="0" y="15"/>
                  </a:cxn>
                  <a:cxn ang="0">
                    <a:pos x="0" y="12"/>
                  </a:cxn>
                  <a:cxn ang="0">
                    <a:pos x="1" y="7"/>
                  </a:cxn>
                  <a:cxn ang="0">
                    <a:pos x="6" y="3"/>
                  </a:cxn>
                  <a:cxn ang="0">
                    <a:pos x="10" y="0"/>
                  </a:cxn>
                  <a:cxn ang="0">
                    <a:pos x="15" y="0"/>
                  </a:cxn>
                  <a:cxn ang="0">
                    <a:pos x="20" y="2"/>
                  </a:cxn>
                  <a:cxn ang="0">
                    <a:pos x="27" y="3"/>
                  </a:cxn>
                  <a:cxn ang="0">
                    <a:pos x="27" y="5"/>
                  </a:cxn>
                  <a:cxn ang="0">
                    <a:pos x="29" y="9"/>
                  </a:cxn>
                  <a:cxn ang="0">
                    <a:pos x="32" y="14"/>
                  </a:cxn>
                  <a:cxn ang="0">
                    <a:pos x="32" y="15"/>
                  </a:cxn>
                  <a:cxn ang="0">
                    <a:pos x="32" y="17"/>
                  </a:cxn>
                  <a:cxn ang="0">
                    <a:pos x="31" y="17"/>
                  </a:cxn>
                  <a:cxn ang="0">
                    <a:pos x="29" y="17"/>
                  </a:cxn>
                  <a:cxn ang="0">
                    <a:pos x="25" y="24"/>
                  </a:cxn>
                  <a:cxn ang="0">
                    <a:pos x="24" y="33"/>
                  </a:cxn>
                  <a:cxn ang="0">
                    <a:pos x="18" y="39"/>
                  </a:cxn>
                  <a:cxn ang="0">
                    <a:pos x="15" y="43"/>
                  </a:cxn>
                  <a:cxn ang="0">
                    <a:pos x="15" y="39"/>
                  </a:cxn>
                  <a:cxn ang="0">
                    <a:pos x="15" y="38"/>
                  </a:cxn>
                  <a:cxn ang="0">
                    <a:pos x="15" y="41"/>
                  </a:cxn>
                  <a:cxn ang="0">
                    <a:pos x="8" y="36"/>
                  </a:cxn>
                  <a:cxn ang="0">
                    <a:pos x="6" y="33"/>
                  </a:cxn>
                  <a:cxn ang="0">
                    <a:pos x="8" y="29"/>
                  </a:cxn>
                  <a:cxn ang="0">
                    <a:pos x="12" y="26"/>
                  </a:cxn>
                </a:cxnLst>
                <a:rect l="0" t="0" r="r" b="b"/>
                <a:pathLst>
                  <a:path w="32" h="43">
                    <a:moveTo>
                      <a:pt x="12" y="26"/>
                    </a:moveTo>
                    <a:lnTo>
                      <a:pt x="15" y="17"/>
                    </a:lnTo>
                    <a:lnTo>
                      <a:pt x="10" y="14"/>
                    </a:lnTo>
                    <a:lnTo>
                      <a:pt x="10" y="12"/>
                    </a:lnTo>
                    <a:lnTo>
                      <a:pt x="10" y="14"/>
                    </a:lnTo>
                    <a:lnTo>
                      <a:pt x="10" y="15"/>
                    </a:lnTo>
                    <a:lnTo>
                      <a:pt x="6" y="15"/>
                    </a:lnTo>
                    <a:lnTo>
                      <a:pt x="5" y="17"/>
                    </a:lnTo>
                    <a:lnTo>
                      <a:pt x="0" y="15"/>
                    </a:lnTo>
                    <a:lnTo>
                      <a:pt x="0" y="12"/>
                    </a:lnTo>
                    <a:lnTo>
                      <a:pt x="1" y="7"/>
                    </a:lnTo>
                    <a:lnTo>
                      <a:pt x="6" y="3"/>
                    </a:lnTo>
                    <a:lnTo>
                      <a:pt x="10" y="0"/>
                    </a:lnTo>
                    <a:lnTo>
                      <a:pt x="15" y="0"/>
                    </a:lnTo>
                    <a:lnTo>
                      <a:pt x="20" y="2"/>
                    </a:lnTo>
                    <a:lnTo>
                      <a:pt x="27" y="3"/>
                    </a:lnTo>
                    <a:lnTo>
                      <a:pt x="27" y="5"/>
                    </a:lnTo>
                    <a:lnTo>
                      <a:pt x="29" y="9"/>
                    </a:lnTo>
                    <a:lnTo>
                      <a:pt x="32" y="14"/>
                    </a:lnTo>
                    <a:lnTo>
                      <a:pt x="32" y="15"/>
                    </a:lnTo>
                    <a:lnTo>
                      <a:pt x="32" y="17"/>
                    </a:lnTo>
                    <a:lnTo>
                      <a:pt x="31" y="17"/>
                    </a:lnTo>
                    <a:lnTo>
                      <a:pt x="29" y="17"/>
                    </a:lnTo>
                    <a:lnTo>
                      <a:pt x="25" y="24"/>
                    </a:lnTo>
                    <a:lnTo>
                      <a:pt x="24" y="33"/>
                    </a:lnTo>
                    <a:lnTo>
                      <a:pt x="18" y="39"/>
                    </a:lnTo>
                    <a:lnTo>
                      <a:pt x="15" y="43"/>
                    </a:lnTo>
                    <a:lnTo>
                      <a:pt x="15" y="39"/>
                    </a:lnTo>
                    <a:lnTo>
                      <a:pt x="15" y="38"/>
                    </a:lnTo>
                    <a:lnTo>
                      <a:pt x="15" y="41"/>
                    </a:lnTo>
                    <a:lnTo>
                      <a:pt x="8" y="36"/>
                    </a:lnTo>
                    <a:lnTo>
                      <a:pt x="6" y="33"/>
                    </a:lnTo>
                    <a:lnTo>
                      <a:pt x="8" y="29"/>
                    </a:lnTo>
                    <a:lnTo>
                      <a:pt x="12"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8" name="Freeform 247"/>
              <p:cNvSpPr>
                <a:spLocks/>
              </p:cNvSpPr>
              <p:nvPr/>
            </p:nvSpPr>
            <p:spPr bwMode="auto">
              <a:xfrm>
                <a:off x="7346157" y="3189288"/>
                <a:ext cx="49213" cy="42862"/>
              </a:xfrm>
              <a:custGeom>
                <a:avLst/>
                <a:gdLst/>
                <a:ahLst/>
                <a:cxnLst>
                  <a:cxn ang="0">
                    <a:pos x="26" y="17"/>
                  </a:cxn>
                  <a:cxn ang="0">
                    <a:pos x="21" y="15"/>
                  </a:cxn>
                  <a:cxn ang="0">
                    <a:pos x="19" y="13"/>
                  </a:cxn>
                  <a:cxn ang="0">
                    <a:pos x="12" y="22"/>
                  </a:cxn>
                  <a:cxn ang="0">
                    <a:pos x="7" y="27"/>
                  </a:cxn>
                  <a:cxn ang="0">
                    <a:pos x="4" y="24"/>
                  </a:cxn>
                  <a:cxn ang="0">
                    <a:pos x="4" y="19"/>
                  </a:cxn>
                  <a:cxn ang="0">
                    <a:pos x="0" y="15"/>
                  </a:cxn>
                  <a:cxn ang="0">
                    <a:pos x="0" y="13"/>
                  </a:cxn>
                  <a:cxn ang="0">
                    <a:pos x="4" y="10"/>
                  </a:cxn>
                  <a:cxn ang="0">
                    <a:pos x="9" y="7"/>
                  </a:cxn>
                  <a:cxn ang="0">
                    <a:pos x="17" y="3"/>
                  </a:cxn>
                  <a:cxn ang="0">
                    <a:pos x="26" y="0"/>
                  </a:cxn>
                  <a:cxn ang="0">
                    <a:pos x="31" y="1"/>
                  </a:cxn>
                  <a:cxn ang="0">
                    <a:pos x="31" y="8"/>
                  </a:cxn>
                  <a:cxn ang="0">
                    <a:pos x="28" y="13"/>
                  </a:cxn>
                  <a:cxn ang="0">
                    <a:pos x="26" y="17"/>
                  </a:cxn>
                </a:cxnLst>
                <a:rect l="0" t="0" r="r" b="b"/>
                <a:pathLst>
                  <a:path w="31" h="27">
                    <a:moveTo>
                      <a:pt x="26" y="17"/>
                    </a:moveTo>
                    <a:lnTo>
                      <a:pt x="21" y="15"/>
                    </a:lnTo>
                    <a:lnTo>
                      <a:pt x="19" y="13"/>
                    </a:lnTo>
                    <a:lnTo>
                      <a:pt x="12" y="22"/>
                    </a:lnTo>
                    <a:lnTo>
                      <a:pt x="7" y="27"/>
                    </a:lnTo>
                    <a:lnTo>
                      <a:pt x="4" y="24"/>
                    </a:lnTo>
                    <a:lnTo>
                      <a:pt x="4" y="19"/>
                    </a:lnTo>
                    <a:lnTo>
                      <a:pt x="0" y="15"/>
                    </a:lnTo>
                    <a:lnTo>
                      <a:pt x="0" y="13"/>
                    </a:lnTo>
                    <a:lnTo>
                      <a:pt x="4" y="10"/>
                    </a:lnTo>
                    <a:lnTo>
                      <a:pt x="9" y="7"/>
                    </a:lnTo>
                    <a:lnTo>
                      <a:pt x="17" y="3"/>
                    </a:lnTo>
                    <a:lnTo>
                      <a:pt x="26" y="0"/>
                    </a:lnTo>
                    <a:lnTo>
                      <a:pt x="31" y="1"/>
                    </a:lnTo>
                    <a:lnTo>
                      <a:pt x="31" y="8"/>
                    </a:lnTo>
                    <a:lnTo>
                      <a:pt x="28" y="13"/>
                    </a:lnTo>
                    <a:lnTo>
                      <a:pt x="26"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9" name="Freeform 248"/>
              <p:cNvSpPr>
                <a:spLocks/>
              </p:cNvSpPr>
              <p:nvPr/>
            </p:nvSpPr>
            <p:spPr bwMode="auto">
              <a:xfrm>
                <a:off x="7312819" y="3003550"/>
                <a:ext cx="257175" cy="209550"/>
              </a:xfrm>
              <a:custGeom>
                <a:avLst/>
                <a:gdLst/>
                <a:ahLst/>
                <a:cxnLst>
                  <a:cxn ang="0">
                    <a:pos x="62" y="125"/>
                  </a:cxn>
                  <a:cxn ang="0">
                    <a:pos x="62" y="118"/>
                  </a:cxn>
                  <a:cxn ang="0">
                    <a:pos x="56" y="111"/>
                  </a:cxn>
                  <a:cxn ang="0">
                    <a:pos x="45" y="111"/>
                  </a:cxn>
                  <a:cxn ang="0">
                    <a:pos x="38" y="113"/>
                  </a:cxn>
                  <a:cxn ang="0">
                    <a:pos x="21" y="120"/>
                  </a:cxn>
                  <a:cxn ang="0">
                    <a:pos x="2" y="122"/>
                  </a:cxn>
                  <a:cxn ang="0">
                    <a:pos x="2" y="118"/>
                  </a:cxn>
                  <a:cxn ang="0">
                    <a:pos x="13" y="110"/>
                  </a:cxn>
                  <a:cxn ang="0">
                    <a:pos x="25" y="98"/>
                  </a:cxn>
                  <a:cxn ang="0">
                    <a:pos x="43" y="98"/>
                  </a:cxn>
                  <a:cxn ang="0">
                    <a:pos x="57" y="98"/>
                  </a:cxn>
                  <a:cxn ang="0">
                    <a:pos x="69" y="94"/>
                  </a:cxn>
                  <a:cxn ang="0">
                    <a:pos x="78" y="84"/>
                  </a:cxn>
                  <a:cxn ang="0">
                    <a:pos x="86" y="75"/>
                  </a:cxn>
                  <a:cxn ang="0">
                    <a:pos x="88" y="70"/>
                  </a:cxn>
                  <a:cxn ang="0">
                    <a:pos x="88" y="75"/>
                  </a:cxn>
                  <a:cxn ang="0">
                    <a:pos x="99" y="74"/>
                  </a:cxn>
                  <a:cxn ang="0">
                    <a:pos x="114" y="63"/>
                  </a:cxn>
                  <a:cxn ang="0">
                    <a:pos x="131" y="41"/>
                  </a:cxn>
                  <a:cxn ang="0">
                    <a:pos x="133" y="25"/>
                  </a:cxn>
                  <a:cxn ang="0">
                    <a:pos x="131" y="15"/>
                  </a:cxn>
                  <a:cxn ang="0">
                    <a:pos x="138" y="5"/>
                  </a:cxn>
                  <a:cxn ang="0">
                    <a:pos x="143" y="5"/>
                  </a:cxn>
                  <a:cxn ang="0">
                    <a:pos x="148" y="5"/>
                  </a:cxn>
                  <a:cxn ang="0">
                    <a:pos x="147" y="0"/>
                  </a:cxn>
                  <a:cxn ang="0">
                    <a:pos x="154" y="3"/>
                  </a:cxn>
                  <a:cxn ang="0">
                    <a:pos x="155" y="13"/>
                  </a:cxn>
                  <a:cxn ang="0">
                    <a:pos x="162" y="31"/>
                  </a:cxn>
                  <a:cxn ang="0">
                    <a:pos x="155" y="46"/>
                  </a:cxn>
                  <a:cxn ang="0">
                    <a:pos x="155" y="50"/>
                  </a:cxn>
                  <a:cxn ang="0">
                    <a:pos x="150" y="51"/>
                  </a:cxn>
                  <a:cxn ang="0">
                    <a:pos x="145" y="60"/>
                  </a:cxn>
                  <a:cxn ang="0">
                    <a:pos x="147" y="74"/>
                  </a:cxn>
                  <a:cxn ang="0">
                    <a:pos x="142" y="87"/>
                  </a:cxn>
                  <a:cxn ang="0">
                    <a:pos x="143" y="98"/>
                  </a:cxn>
                  <a:cxn ang="0">
                    <a:pos x="131" y="108"/>
                  </a:cxn>
                  <a:cxn ang="0">
                    <a:pos x="131" y="99"/>
                  </a:cxn>
                  <a:cxn ang="0">
                    <a:pos x="117" y="111"/>
                  </a:cxn>
                  <a:cxn ang="0">
                    <a:pos x="111" y="110"/>
                  </a:cxn>
                  <a:cxn ang="0">
                    <a:pos x="100" y="115"/>
                  </a:cxn>
                  <a:cxn ang="0">
                    <a:pos x="85" y="106"/>
                  </a:cxn>
                  <a:cxn ang="0">
                    <a:pos x="83" y="110"/>
                  </a:cxn>
                  <a:cxn ang="0">
                    <a:pos x="88" y="118"/>
                  </a:cxn>
                  <a:cxn ang="0">
                    <a:pos x="83" y="118"/>
                  </a:cxn>
                  <a:cxn ang="0">
                    <a:pos x="71" y="132"/>
                  </a:cxn>
                  <a:cxn ang="0">
                    <a:pos x="62" y="127"/>
                  </a:cxn>
                </a:cxnLst>
                <a:rect l="0" t="0" r="r" b="b"/>
                <a:pathLst>
                  <a:path w="162" h="132">
                    <a:moveTo>
                      <a:pt x="62" y="127"/>
                    </a:moveTo>
                    <a:lnTo>
                      <a:pt x="62" y="125"/>
                    </a:lnTo>
                    <a:lnTo>
                      <a:pt x="62" y="124"/>
                    </a:lnTo>
                    <a:lnTo>
                      <a:pt x="62" y="118"/>
                    </a:lnTo>
                    <a:lnTo>
                      <a:pt x="64" y="115"/>
                    </a:lnTo>
                    <a:lnTo>
                      <a:pt x="56" y="111"/>
                    </a:lnTo>
                    <a:lnTo>
                      <a:pt x="49" y="110"/>
                    </a:lnTo>
                    <a:lnTo>
                      <a:pt x="45" y="111"/>
                    </a:lnTo>
                    <a:lnTo>
                      <a:pt x="45" y="113"/>
                    </a:lnTo>
                    <a:lnTo>
                      <a:pt x="38" y="113"/>
                    </a:lnTo>
                    <a:lnTo>
                      <a:pt x="33" y="115"/>
                    </a:lnTo>
                    <a:lnTo>
                      <a:pt x="21" y="120"/>
                    </a:lnTo>
                    <a:lnTo>
                      <a:pt x="7" y="124"/>
                    </a:lnTo>
                    <a:lnTo>
                      <a:pt x="2" y="122"/>
                    </a:lnTo>
                    <a:lnTo>
                      <a:pt x="0" y="120"/>
                    </a:lnTo>
                    <a:lnTo>
                      <a:pt x="2" y="118"/>
                    </a:lnTo>
                    <a:lnTo>
                      <a:pt x="6" y="117"/>
                    </a:lnTo>
                    <a:lnTo>
                      <a:pt x="13" y="110"/>
                    </a:lnTo>
                    <a:lnTo>
                      <a:pt x="19" y="105"/>
                    </a:lnTo>
                    <a:lnTo>
                      <a:pt x="25" y="98"/>
                    </a:lnTo>
                    <a:lnTo>
                      <a:pt x="35" y="98"/>
                    </a:lnTo>
                    <a:lnTo>
                      <a:pt x="43" y="98"/>
                    </a:lnTo>
                    <a:lnTo>
                      <a:pt x="50" y="98"/>
                    </a:lnTo>
                    <a:lnTo>
                      <a:pt x="57" y="98"/>
                    </a:lnTo>
                    <a:lnTo>
                      <a:pt x="66" y="98"/>
                    </a:lnTo>
                    <a:lnTo>
                      <a:pt x="69" y="94"/>
                    </a:lnTo>
                    <a:lnTo>
                      <a:pt x="74" y="89"/>
                    </a:lnTo>
                    <a:lnTo>
                      <a:pt x="78" y="84"/>
                    </a:lnTo>
                    <a:lnTo>
                      <a:pt x="83" y="82"/>
                    </a:lnTo>
                    <a:lnTo>
                      <a:pt x="86" y="75"/>
                    </a:lnTo>
                    <a:lnTo>
                      <a:pt x="92" y="68"/>
                    </a:lnTo>
                    <a:lnTo>
                      <a:pt x="88" y="70"/>
                    </a:lnTo>
                    <a:lnTo>
                      <a:pt x="88" y="74"/>
                    </a:lnTo>
                    <a:lnTo>
                      <a:pt x="88" y="75"/>
                    </a:lnTo>
                    <a:lnTo>
                      <a:pt x="92" y="77"/>
                    </a:lnTo>
                    <a:lnTo>
                      <a:pt x="99" y="74"/>
                    </a:lnTo>
                    <a:lnTo>
                      <a:pt x="105" y="70"/>
                    </a:lnTo>
                    <a:lnTo>
                      <a:pt x="114" y="63"/>
                    </a:lnTo>
                    <a:lnTo>
                      <a:pt x="123" y="53"/>
                    </a:lnTo>
                    <a:lnTo>
                      <a:pt x="131" y="41"/>
                    </a:lnTo>
                    <a:lnTo>
                      <a:pt x="135" y="29"/>
                    </a:lnTo>
                    <a:lnTo>
                      <a:pt x="133" y="25"/>
                    </a:lnTo>
                    <a:lnTo>
                      <a:pt x="131" y="22"/>
                    </a:lnTo>
                    <a:lnTo>
                      <a:pt x="131" y="15"/>
                    </a:lnTo>
                    <a:lnTo>
                      <a:pt x="135" y="10"/>
                    </a:lnTo>
                    <a:lnTo>
                      <a:pt x="138" y="5"/>
                    </a:lnTo>
                    <a:lnTo>
                      <a:pt x="143" y="3"/>
                    </a:lnTo>
                    <a:lnTo>
                      <a:pt x="143" y="5"/>
                    </a:lnTo>
                    <a:lnTo>
                      <a:pt x="150" y="5"/>
                    </a:lnTo>
                    <a:lnTo>
                      <a:pt x="148" y="5"/>
                    </a:lnTo>
                    <a:lnTo>
                      <a:pt x="145" y="1"/>
                    </a:lnTo>
                    <a:lnTo>
                      <a:pt x="147" y="0"/>
                    </a:lnTo>
                    <a:lnTo>
                      <a:pt x="152" y="0"/>
                    </a:lnTo>
                    <a:lnTo>
                      <a:pt x="154" y="3"/>
                    </a:lnTo>
                    <a:lnTo>
                      <a:pt x="154" y="8"/>
                    </a:lnTo>
                    <a:lnTo>
                      <a:pt x="155" y="13"/>
                    </a:lnTo>
                    <a:lnTo>
                      <a:pt x="159" y="22"/>
                    </a:lnTo>
                    <a:lnTo>
                      <a:pt x="162" y="31"/>
                    </a:lnTo>
                    <a:lnTo>
                      <a:pt x="159" y="38"/>
                    </a:lnTo>
                    <a:lnTo>
                      <a:pt x="155" y="46"/>
                    </a:lnTo>
                    <a:lnTo>
                      <a:pt x="155" y="48"/>
                    </a:lnTo>
                    <a:lnTo>
                      <a:pt x="155" y="50"/>
                    </a:lnTo>
                    <a:lnTo>
                      <a:pt x="152" y="50"/>
                    </a:lnTo>
                    <a:lnTo>
                      <a:pt x="150" y="51"/>
                    </a:lnTo>
                    <a:lnTo>
                      <a:pt x="147" y="53"/>
                    </a:lnTo>
                    <a:lnTo>
                      <a:pt x="145" y="60"/>
                    </a:lnTo>
                    <a:lnTo>
                      <a:pt x="145" y="67"/>
                    </a:lnTo>
                    <a:lnTo>
                      <a:pt x="147" y="74"/>
                    </a:lnTo>
                    <a:lnTo>
                      <a:pt x="143" y="79"/>
                    </a:lnTo>
                    <a:lnTo>
                      <a:pt x="142" y="87"/>
                    </a:lnTo>
                    <a:lnTo>
                      <a:pt x="142" y="93"/>
                    </a:lnTo>
                    <a:lnTo>
                      <a:pt x="143" y="98"/>
                    </a:lnTo>
                    <a:lnTo>
                      <a:pt x="136" y="101"/>
                    </a:lnTo>
                    <a:lnTo>
                      <a:pt x="131" y="108"/>
                    </a:lnTo>
                    <a:lnTo>
                      <a:pt x="129" y="103"/>
                    </a:lnTo>
                    <a:lnTo>
                      <a:pt x="131" y="99"/>
                    </a:lnTo>
                    <a:lnTo>
                      <a:pt x="123" y="105"/>
                    </a:lnTo>
                    <a:lnTo>
                      <a:pt x="117" y="111"/>
                    </a:lnTo>
                    <a:lnTo>
                      <a:pt x="116" y="110"/>
                    </a:lnTo>
                    <a:lnTo>
                      <a:pt x="111" y="110"/>
                    </a:lnTo>
                    <a:lnTo>
                      <a:pt x="105" y="111"/>
                    </a:lnTo>
                    <a:lnTo>
                      <a:pt x="100" y="115"/>
                    </a:lnTo>
                    <a:lnTo>
                      <a:pt x="90" y="110"/>
                    </a:lnTo>
                    <a:lnTo>
                      <a:pt x="85" y="106"/>
                    </a:lnTo>
                    <a:lnTo>
                      <a:pt x="83" y="108"/>
                    </a:lnTo>
                    <a:lnTo>
                      <a:pt x="83" y="110"/>
                    </a:lnTo>
                    <a:lnTo>
                      <a:pt x="85" y="115"/>
                    </a:lnTo>
                    <a:lnTo>
                      <a:pt x="88" y="118"/>
                    </a:lnTo>
                    <a:lnTo>
                      <a:pt x="85" y="118"/>
                    </a:lnTo>
                    <a:lnTo>
                      <a:pt x="83" y="118"/>
                    </a:lnTo>
                    <a:lnTo>
                      <a:pt x="76" y="122"/>
                    </a:lnTo>
                    <a:lnTo>
                      <a:pt x="71" y="132"/>
                    </a:lnTo>
                    <a:lnTo>
                      <a:pt x="66" y="129"/>
                    </a:lnTo>
                    <a:lnTo>
                      <a:pt x="62" y="12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0" name="Freeform 249"/>
              <p:cNvSpPr>
                <a:spLocks/>
              </p:cNvSpPr>
              <p:nvPr/>
            </p:nvSpPr>
            <p:spPr bwMode="auto">
              <a:xfrm>
                <a:off x="7520782" y="2887663"/>
                <a:ext cx="131763" cy="112712"/>
              </a:xfrm>
              <a:custGeom>
                <a:avLst/>
                <a:gdLst/>
                <a:ahLst/>
                <a:cxnLst>
                  <a:cxn ang="0">
                    <a:pos x="11" y="38"/>
                  </a:cxn>
                  <a:cxn ang="0">
                    <a:pos x="12" y="38"/>
                  </a:cxn>
                  <a:cxn ang="0">
                    <a:pos x="16" y="38"/>
                  </a:cxn>
                  <a:cxn ang="0">
                    <a:pos x="19" y="35"/>
                  </a:cxn>
                  <a:cxn ang="0">
                    <a:pos x="24" y="28"/>
                  </a:cxn>
                  <a:cxn ang="0">
                    <a:pos x="26" y="18"/>
                  </a:cxn>
                  <a:cxn ang="0">
                    <a:pos x="28" y="13"/>
                  </a:cxn>
                  <a:cxn ang="0">
                    <a:pos x="26" y="9"/>
                  </a:cxn>
                  <a:cxn ang="0">
                    <a:pos x="26" y="7"/>
                  </a:cxn>
                  <a:cxn ang="0">
                    <a:pos x="26" y="2"/>
                  </a:cxn>
                  <a:cxn ang="0">
                    <a:pos x="29" y="0"/>
                  </a:cxn>
                  <a:cxn ang="0">
                    <a:pos x="38" y="7"/>
                  </a:cxn>
                  <a:cxn ang="0">
                    <a:pos x="47" y="16"/>
                  </a:cxn>
                  <a:cxn ang="0">
                    <a:pos x="55" y="23"/>
                  </a:cxn>
                  <a:cxn ang="0">
                    <a:pos x="69" y="26"/>
                  </a:cxn>
                  <a:cxn ang="0">
                    <a:pos x="74" y="25"/>
                  </a:cxn>
                  <a:cxn ang="0">
                    <a:pos x="79" y="25"/>
                  </a:cxn>
                  <a:cxn ang="0">
                    <a:pos x="76" y="28"/>
                  </a:cxn>
                  <a:cxn ang="0">
                    <a:pos x="76" y="31"/>
                  </a:cxn>
                  <a:cxn ang="0">
                    <a:pos x="78" y="35"/>
                  </a:cxn>
                  <a:cxn ang="0">
                    <a:pos x="83" y="38"/>
                  </a:cxn>
                  <a:cxn ang="0">
                    <a:pos x="74" y="40"/>
                  </a:cxn>
                  <a:cxn ang="0">
                    <a:pos x="67" y="42"/>
                  </a:cxn>
                  <a:cxn ang="0">
                    <a:pos x="54" y="49"/>
                  </a:cxn>
                  <a:cxn ang="0">
                    <a:pos x="48" y="61"/>
                  </a:cxn>
                  <a:cxn ang="0">
                    <a:pos x="36" y="54"/>
                  </a:cxn>
                  <a:cxn ang="0">
                    <a:pos x="26" y="49"/>
                  </a:cxn>
                  <a:cxn ang="0">
                    <a:pos x="23" y="49"/>
                  </a:cxn>
                  <a:cxn ang="0">
                    <a:pos x="23" y="52"/>
                  </a:cxn>
                  <a:cxn ang="0">
                    <a:pos x="12" y="50"/>
                  </a:cxn>
                  <a:cxn ang="0">
                    <a:pos x="7" y="56"/>
                  </a:cxn>
                  <a:cxn ang="0">
                    <a:pos x="11" y="59"/>
                  </a:cxn>
                  <a:cxn ang="0">
                    <a:pos x="17" y="64"/>
                  </a:cxn>
                  <a:cxn ang="0">
                    <a:pos x="11" y="68"/>
                  </a:cxn>
                  <a:cxn ang="0">
                    <a:pos x="5" y="71"/>
                  </a:cxn>
                  <a:cxn ang="0">
                    <a:pos x="2" y="71"/>
                  </a:cxn>
                  <a:cxn ang="0">
                    <a:pos x="2" y="64"/>
                  </a:cxn>
                  <a:cxn ang="0">
                    <a:pos x="2" y="59"/>
                  </a:cxn>
                  <a:cxn ang="0">
                    <a:pos x="0" y="56"/>
                  </a:cxn>
                  <a:cxn ang="0">
                    <a:pos x="0" y="54"/>
                  </a:cxn>
                  <a:cxn ang="0">
                    <a:pos x="4" y="47"/>
                  </a:cxn>
                  <a:cxn ang="0">
                    <a:pos x="9" y="42"/>
                  </a:cxn>
                  <a:cxn ang="0">
                    <a:pos x="9" y="38"/>
                  </a:cxn>
                  <a:cxn ang="0">
                    <a:pos x="11" y="38"/>
                  </a:cxn>
                  <a:cxn ang="0">
                    <a:pos x="12" y="40"/>
                  </a:cxn>
                  <a:cxn ang="0">
                    <a:pos x="11" y="38"/>
                  </a:cxn>
                </a:cxnLst>
                <a:rect l="0" t="0" r="r" b="b"/>
                <a:pathLst>
                  <a:path w="83" h="71">
                    <a:moveTo>
                      <a:pt x="11" y="38"/>
                    </a:moveTo>
                    <a:lnTo>
                      <a:pt x="12" y="38"/>
                    </a:lnTo>
                    <a:lnTo>
                      <a:pt x="16" y="38"/>
                    </a:lnTo>
                    <a:lnTo>
                      <a:pt x="19" y="35"/>
                    </a:lnTo>
                    <a:lnTo>
                      <a:pt x="24" y="28"/>
                    </a:lnTo>
                    <a:lnTo>
                      <a:pt x="26" y="18"/>
                    </a:lnTo>
                    <a:lnTo>
                      <a:pt x="28" y="13"/>
                    </a:lnTo>
                    <a:lnTo>
                      <a:pt x="26" y="9"/>
                    </a:lnTo>
                    <a:lnTo>
                      <a:pt x="26" y="7"/>
                    </a:lnTo>
                    <a:lnTo>
                      <a:pt x="26" y="2"/>
                    </a:lnTo>
                    <a:lnTo>
                      <a:pt x="29" y="0"/>
                    </a:lnTo>
                    <a:lnTo>
                      <a:pt x="38" y="7"/>
                    </a:lnTo>
                    <a:lnTo>
                      <a:pt x="47" y="16"/>
                    </a:lnTo>
                    <a:lnTo>
                      <a:pt x="55" y="23"/>
                    </a:lnTo>
                    <a:lnTo>
                      <a:pt x="69" y="26"/>
                    </a:lnTo>
                    <a:lnTo>
                      <a:pt x="74" y="25"/>
                    </a:lnTo>
                    <a:lnTo>
                      <a:pt x="79" y="25"/>
                    </a:lnTo>
                    <a:lnTo>
                      <a:pt x="76" y="28"/>
                    </a:lnTo>
                    <a:lnTo>
                      <a:pt x="76" y="31"/>
                    </a:lnTo>
                    <a:lnTo>
                      <a:pt x="78" y="35"/>
                    </a:lnTo>
                    <a:lnTo>
                      <a:pt x="83" y="38"/>
                    </a:lnTo>
                    <a:lnTo>
                      <a:pt x="74" y="40"/>
                    </a:lnTo>
                    <a:lnTo>
                      <a:pt x="67" y="42"/>
                    </a:lnTo>
                    <a:lnTo>
                      <a:pt x="54" y="49"/>
                    </a:lnTo>
                    <a:lnTo>
                      <a:pt x="48" y="61"/>
                    </a:lnTo>
                    <a:lnTo>
                      <a:pt x="36" y="54"/>
                    </a:lnTo>
                    <a:lnTo>
                      <a:pt x="26" y="49"/>
                    </a:lnTo>
                    <a:lnTo>
                      <a:pt x="23" y="49"/>
                    </a:lnTo>
                    <a:lnTo>
                      <a:pt x="23" y="52"/>
                    </a:lnTo>
                    <a:lnTo>
                      <a:pt x="12" y="50"/>
                    </a:lnTo>
                    <a:lnTo>
                      <a:pt x="7" y="56"/>
                    </a:lnTo>
                    <a:lnTo>
                      <a:pt x="11" y="59"/>
                    </a:lnTo>
                    <a:lnTo>
                      <a:pt x="17" y="64"/>
                    </a:lnTo>
                    <a:lnTo>
                      <a:pt x="11" y="68"/>
                    </a:lnTo>
                    <a:lnTo>
                      <a:pt x="5" y="71"/>
                    </a:lnTo>
                    <a:lnTo>
                      <a:pt x="2" y="71"/>
                    </a:lnTo>
                    <a:lnTo>
                      <a:pt x="2" y="64"/>
                    </a:lnTo>
                    <a:lnTo>
                      <a:pt x="2" y="59"/>
                    </a:lnTo>
                    <a:lnTo>
                      <a:pt x="0" y="56"/>
                    </a:lnTo>
                    <a:lnTo>
                      <a:pt x="0" y="54"/>
                    </a:lnTo>
                    <a:lnTo>
                      <a:pt x="4" y="47"/>
                    </a:lnTo>
                    <a:lnTo>
                      <a:pt x="9" y="42"/>
                    </a:lnTo>
                    <a:lnTo>
                      <a:pt x="9" y="38"/>
                    </a:lnTo>
                    <a:lnTo>
                      <a:pt x="11" y="38"/>
                    </a:lnTo>
                    <a:lnTo>
                      <a:pt x="12" y="40"/>
                    </a:lnTo>
                    <a:lnTo>
                      <a:pt x="11" y="3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1" name="Freeform 250"/>
              <p:cNvSpPr>
                <a:spLocks/>
              </p:cNvSpPr>
              <p:nvPr/>
            </p:nvSpPr>
            <p:spPr bwMode="auto">
              <a:xfrm>
                <a:off x="7649369" y="2916238"/>
                <a:ext cx="22225" cy="20637"/>
              </a:xfrm>
              <a:custGeom>
                <a:avLst/>
                <a:gdLst/>
                <a:ahLst/>
                <a:cxnLst>
                  <a:cxn ang="0">
                    <a:pos x="10" y="0"/>
                  </a:cxn>
                  <a:cxn ang="0">
                    <a:pos x="14" y="1"/>
                  </a:cxn>
                  <a:cxn ang="0">
                    <a:pos x="7" y="8"/>
                  </a:cxn>
                  <a:cxn ang="0">
                    <a:pos x="0" y="13"/>
                  </a:cxn>
                  <a:cxn ang="0">
                    <a:pos x="0" y="10"/>
                  </a:cxn>
                  <a:cxn ang="0">
                    <a:pos x="0" y="8"/>
                  </a:cxn>
                  <a:cxn ang="0">
                    <a:pos x="5" y="3"/>
                  </a:cxn>
                  <a:cxn ang="0">
                    <a:pos x="12" y="1"/>
                  </a:cxn>
                  <a:cxn ang="0">
                    <a:pos x="10" y="0"/>
                  </a:cxn>
                </a:cxnLst>
                <a:rect l="0" t="0" r="r" b="b"/>
                <a:pathLst>
                  <a:path w="14" h="13">
                    <a:moveTo>
                      <a:pt x="10" y="0"/>
                    </a:moveTo>
                    <a:lnTo>
                      <a:pt x="14" y="1"/>
                    </a:lnTo>
                    <a:lnTo>
                      <a:pt x="7" y="8"/>
                    </a:lnTo>
                    <a:lnTo>
                      <a:pt x="0" y="13"/>
                    </a:lnTo>
                    <a:lnTo>
                      <a:pt x="0" y="10"/>
                    </a:lnTo>
                    <a:lnTo>
                      <a:pt x="0" y="8"/>
                    </a:lnTo>
                    <a:lnTo>
                      <a:pt x="5" y="3"/>
                    </a:lnTo>
                    <a:lnTo>
                      <a:pt x="12" y="1"/>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2" name="Freeform 251"/>
              <p:cNvSpPr>
                <a:spLocks/>
              </p:cNvSpPr>
              <p:nvPr/>
            </p:nvSpPr>
            <p:spPr bwMode="auto">
              <a:xfrm>
                <a:off x="7693819" y="2887663"/>
                <a:ext cx="28575" cy="22225"/>
              </a:xfrm>
              <a:custGeom>
                <a:avLst/>
                <a:gdLst/>
                <a:ahLst/>
                <a:cxnLst>
                  <a:cxn ang="0">
                    <a:pos x="18" y="4"/>
                  </a:cxn>
                  <a:cxn ang="0">
                    <a:pos x="8" y="9"/>
                  </a:cxn>
                  <a:cxn ang="0">
                    <a:pos x="0" y="14"/>
                  </a:cxn>
                  <a:cxn ang="0">
                    <a:pos x="0" y="13"/>
                  </a:cxn>
                  <a:cxn ang="0">
                    <a:pos x="0" y="11"/>
                  </a:cxn>
                  <a:cxn ang="0">
                    <a:pos x="3" y="6"/>
                  </a:cxn>
                  <a:cxn ang="0">
                    <a:pos x="12" y="0"/>
                  </a:cxn>
                  <a:cxn ang="0">
                    <a:pos x="15" y="0"/>
                  </a:cxn>
                  <a:cxn ang="0">
                    <a:pos x="18" y="0"/>
                  </a:cxn>
                  <a:cxn ang="0">
                    <a:pos x="18" y="4"/>
                  </a:cxn>
                </a:cxnLst>
                <a:rect l="0" t="0" r="r" b="b"/>
                <a:pathLst>
                  <a:path w="18" h="14">
                    <a:moveTo>
                      <a:pt x="18" y="4"/>
                    </a:moveTo>
                    <a:lnTo>
                      <a:pt x="8" y="9"/>
                    </a:lnTo>
                    <a:lnTo>
                      <a:pt x="0" y="14"/>
                    </a:lnTo>
                    <a:lnTo>
                      <a:pt x="0" y="13"/>
                    </a:lnTo>
                    <a:lnTo>
                      <a:pt x="0" y="11"/>
                    </a:lnTo>
                    <a:lnTo>
                      <a:pt x="3" y="6"/>
                    </a:lnTo>
                    <a:lnTo>
                      <a:pt x="12" y="0"/>
                    </a:lnTo>
                    <a:lnTo>
                      <a:pt x="15" y="0"/>
                    </a:lnTo>
                    <a:lnTo>
                      <a:pt x="18" y="0"/>
                    </a:lnTo>
                    <a:lnTo>
                      <a:pt x="18"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3" name="Freeform 252"/>
              <p:cNvSpPr>
                <a:spLocks/>
              </p:cNvSpPr>
              <p:nvPr/>
            </p:nvSpPr>
            <p:spPr bwMode="auto">
              <a:xfrm>
                <a:off x="7747794" y="2863850"/>
                <a:ext cx="15875" cy="15875"/>
              </a:xfrm>
              <a:custGeom>
                <a:avLst/>
                <a:gdLst/>
                <a:ahLst/>
                <a:cxnLst>
                  <a:cxn ang="0">
                    <a:pos x="2" y="7"/>
                  </a:cxn>
                  <a:cxn ang="0">
                    <a:pos x="2" y="5"/>
                  </a:cxn>
                  <a:cxn ang="0">
                    <a:pos x="2" y="3"/>
                  </a:cxn>
                  <a:cxn ang="0">
                    <a:pos x="5" y="0"/>
                  </a:cxn>
                  <a:cxn ang="0">
                    <a:pos x="10" y="0"/>
                  </a:cxn>
                  <a:cxn ang="0">
                    <a:pos x="5" y="5"/>
                  </a:cxn>
                  <a:cxn ang="0">
                    <a:pos x="2" y="10"/>
                  </a:cxn>
                  <a:cxn ang="0">
                    <a:pos x="0" y="9"/>
                  </a:cxn>
                  <a:cxn ang="0">
                    <a:pos x="2" y="7"/>
                  </a:cxn>
                </a:cxnLst>
                <a:rect l="0" t="0" r="r" b="b"/>
                <a:pathLst>
                  <a:path w="10" h="10">
                    <a:moveTo>
                      <a:pt x="2" y="7"/>
                    </a:moveTo>
                    <a:lnTo>
                      <a:pt x="2" y="5"/>
                    </a:lnTo>
                    <a:lnTo>
                      <a:pt x="2" y="3"/>
                    </a:lnTo>
                    <a:lnTo>
                      <a:pt x="5" y="0"/>
                    </a:lnTo>
                    <a:lnTo>
                      <a:pt x="10" y="0"/>
                    </a:lnTo>
                    <a:lnTo>
                      <a:pt x="5" y="5"/>
                    </a:lnTo>
                    <a:lnTo>
                      <a:pt x="2" y="10"/>
                    </a:lnTo>
                    <a:lnTo>
                      <a:pt x="0" y="9"/>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4" name="Freeform 253"/>
              <p:cNvSpPr>
                <a:spLocks/>
              </p:cNvSpPr>
              <p:nvPr/>
            </p:nvSpPr>
            <p:spPr bwMode="auto">
              <a:xfrm>
                <a:off x="7562057" y="2617788"/>
                <a:ext cx="65088" cy="250825"/>
              </a:xfrm>
              <a:custGeom>
                <a:avLst/>
                <a:gdLst/>
                <a:ahLst/>
                <a:cxnLst>
                  <a:cxn ang="0">
                    <a:pos x="29" y="98"/>
                  </a:cxn>
                  <a:cxn ang="0">
                    <a:pos x="21" y="100"/>
                  </a:cxn>
                  <a:cxn ang="0">
                    <a:pos x="17" y="107"/>
                  </a:cxn>
                  <a:cxn ang="0">
                    <a:pos x="15" y="115"/>
                  </a:cxn>
                  <a:cxn ang="0">
                    <a:pos x="15" y="127"/>
                  </a:cxn>
                  <a:cxn ang="0">
                    <a:pos x="21" y="140"/>
                  </a:cxn>
                  <a:cxn ang="0">
                    <a:pos x="29" y="153"/>
                  </a:cxn>
                  <a:cxn ang="0">
                    <a:pos x="28" y="153"/>
                  </a:cxn>
                  <a:cxn ang="0">
                    <a:pos x="24" y="150"/>
                  </a:cxn>
                  <a:cxn ang="0">
                    <a:pos x="22" y="148"/>
                  </a:cxn>
                  <a:cxn ang="0">
                    <a:pos x="19" y="148"/>
                  </a:cxn>
                  <a:cxn ang="0">
                    <a:pos x="17" y="148"/>
                  </a:cxn>
                  <a:cxn ang="0">
                    <a:pos x="10" y="153"/>
                  </a:cxn>
                  <a:cxn ang="0">
                    <a:pos x="5" y="158"/>
                  </a:cxn>
                  <a:cxn ang="0">
                    <a:pos x="3" y="152"/>
                  </a:cxn>
                  <a:cxn ang="0">
                    <a:pos x="5" y="145"/>
                  </a:cxn>
                  <a:cxn ang="0">
                    <a:pos x="5" y="133"/>
                  </a:cxn>
                  <a:cxn ang="0">
                    <a:pos x="7" y="122"/>
                  </a:cxn>
                  <a:cxn ang="0">
                    <a:pos x="5" y="114"/>
                  </a:cxn>
                  <a:cxn ang="0">
                    <a:pos x="5" y="107"/>
                  </a:cxn>
                  <a:cxn ang="0">
                    <a:pos x="5" y="98"/>
                  </a:cxn>
                  <a:cxn ang="0">
                    <a:pos x="7" y="91"/>
                  </a:cxn>
                  <a:cxn ang="0">
                    <a:pos x="7" y="76"/>
                  </a:cxn>
                  <a:cxn ang="0">
                    <a:pos x="7" y="62"/>
                  </a:cxn>
                  <a:cxn ang="0">
                    <a:pos x="3" y="52"/>
                  </a:cxn>
                  <a:cxn ang="0">
                    <a:pos x="0" y="43"/>
                  </a:cxn>
                  <a:cxn ang="0">
                    <a:pos x="0" y="35"/>
                  </a:cxn>
                  <a:cxn ang="0">
                    <a:pos x="2" y="26"/>
                  </a:cxn>
                  <a:cxn ang="0">
                    <a:pos x="3" y="19"/>
                  </a:cxn>
                  <a:cxn ang="0">
                    <a:pos x="10" y="17"/>
                  </a:cxn>
                  <a:cxn ang="0">
                    <a:pos x="10" y="14"/>
                  </a:cxn>
                  <a:cxn ang="0">
                    <a:pos x="12" y="11"/>
                  </a:cxn>
                  <a:cxn ang="0">
                    <a:pos x="12" y="5"/>
                  </a:cxn>
                  <a:cxn ang="0">
                    <a:pos x="12" y="0"/>
                  </a:cxn>
                  <a:cxn ang="0">
                    <a:pos x="14" y="0"/>
                  </a:cxn>
                  <a:cxn ang="0">
                    <a:pos x="15" y="0"/>
                  </a:cxn>
                  <a:cxn ang="0">
                    <a:pos x="17" y="12"/>
                  </a:cxn>
                  <a:cxn ang="0">
                    <a:pos x="22" y="24"/>
                  </a:cxn>
                  <a:cxn ang="0">
                    <a:pos x="21" y="33"/>
                  </a:cxn>
                  <a:cxn ang="0">
                    <a:pos x="24" y="43"/>
                  </a:cxn>
                  <a:cxn ang="0">
                    <a:pos x="24" y="55"/>
                  </a:cxn>
                  <a:cxn ang="0">
                    <a:pos x="24" y="62"/>
                  </a:cxn>
                  <a:cxn ang="0">
                    <a:pos x="28" y="69"/>
                  </a:cxn>
                  <a:cxn ang="0">
                    <a:pos x="34" y="86"/>
                  </a:cxn>
                  <a:cxn ang="0">
                    <a:pos x="41" y="103"/>
                  </a:cxn>
                  <a:cxn ang="0">
                    <a:pos x="34" y="98"/>
                  </a:cxn>
                  <a:cxn ang="0">
                    <a:pos x="29" y="98"/>
                  </a:cxn>
                </a:cxnLst>
                <a:rect l="0" t="0" r="r" b="b"/>
                <a:pathLst>
                  <a:path w="41" h="158">
                    <a:moveTo>
                      <a:pt x="29" y="98"/>
                    </a:moveTo>
                    <a:lnTo>
                      <a:pt x="21" y="100"/>
                    </a:lnTo>
                    <a:lnTo>
                      <a:pt x="17" y="107"/>
                    </a:lnTo>
                    <a:lnTo>
                      <a:pt x="15" y="115"/>
                    </a:lnTo>
                    <a:lnTo>
                      <a:pt x="15" y="127"/>
                    </a:lnTo>
                    <a:lnTo>
                      <a:pt x="21" y="140"/>
                    </a:lnTo>
                    <a:lnTo>
                      <a:pt x="29" y="153"/>
                    </a:lnTo>
                    <a:lnTo>
                      <a:pt x="28" y="153"/>
                    </a:lnTo>
                    <a:lnTo>
                      <a:pt x="24" y="150"/>
                    </a:lnTo>
                    <a:lnTo>
                      <a:pt x="22" y="148"/>
                    </a:lnTo>
                    <a:lnTo>
                      <a:pt x="19" y="148"/>
                    </a:lnTo>
                    <a:lnTo>
                      <a:pt x="17" y="148"/>
                    </a:lnTo>
                    <a:lnTo>
                      <a:pt x="10" y="153"/>
                    </a:lnTo>
                    <a:lnTo>
                      <a:pt x="5" y="158"/>
                    </a:lnTo>
                    <a:lnTo>
                      <a:pt x="3" y="152"/>
                    </a:lnTo>
                    <a:lnTo>
                      <a:pt x="5" y="145"/>
                    </a:lnTo>
                    <a:lnTo>
                      <a:pt x="5" y="133"/>
                    </a:lnTo>
                    <a:lnTo>
                      <a:pt x="7" y="122"/>
                    </a:lnTo>
                    <a:lnTo>
                      <a:pt x="5" y="114"/>
                    </a:lnTo>
                    <a:lnTo>
                      <a:pt x="5" y="107"/>
                    </a:lnTo>
                    <a:lnTo>
                      <a:pt x="5" y="98"/>
                    </a:lnTo>
                    <a:lnTo>
                      <a:pt x="7" y="91"/>
                    </a:lnTo>
                    <a:lnTo>
                      <a:pt x="7" y="76"/>
                    </a:lnTo>
                    <a:lnTo>
                      <a:pt x="7" y="62"/>
                    </a:lnTo>
                    <a:lnTo>
                      <a:pt x="3" y="52"/>
                    </a:lnTo>
                    <a:lnTo>
                      <a:pt x="0" y="43"/>
                    </a:lnTo>
                    <a:lnTo>
                      <a:pt x="0" y="35"/>
                    </a:lnTo>
                    <a:lnTo>
                      <a:pt x="2" y="26"/>
                    </a:lnTo>
                    <a:lnTo>
                      <a:pt x="3" y="19"/>
                    </a:lnTo>
                    <a:lnTo>
                      <a:pt x="10" y="17"/>
                    </a:lnTo>
                    <a:lnTo>
                      <a:pt x="10" y="14"/>
                    </a:lnTo>
                    <a:lnTo>
                      <a:pt x="12" y="11"/>
                    </a:lnTo>
                    <a:lnTo>
                      <a:pt x="12" y="5"/>
                    </a:lnTo>
                    <a:lnTo>
                      <a:pt x="12" y="0"/>
                    </a:lnTo>
                    <a:lnTo>
                      <a:pt x="14" y="0"/>
                    </a:lnTo>
                    <a:lnTo>
                      <a:pt x="15" y="0"/>
                    </a:lnTo>
                    <a:lnTo>
                      <a:pt x="17" y="12"/>
                    </a:lnTo>
                    <a:lnTo>
                      <a:pt x="22" y="24"/>
                    </a:lnTo>
                    <a:lnTo>
                      <a:pt x="21" y="33"/>
                    </a:lnTo>
                    <a:lnTo>
                      <a:pt x="24" y="43"/>
                    </a:lnTo>
                    <a:lnTo>
                      <a:pt x="24" y="55"/>
                    </a:lnTo>
                    <a:lnTo>
                      <a:pt x="24" y="62"/>
                    </a:lnTo>
                    <a:lnTo>
                      <a:pt x="28" y="69"/>
                    </a:lnTo>
                    <a:lnTo>
                      <a:pt x="34" y="86"/>
                    </a:lnTo>
                    <a:lnTo>
                      <a:pt x="41" y="103"/>
                    </a:lnTo>
                    <a:lnTo>
                      <a:pt x="34" y="98"/>
                    </a:lnTo>
                    <a:lnTo>
                      <a:pt x="29" y="9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5" name="Freeform 254"/>
              <p:cNvSpPr>
                <a:spLocks/>
              </p:cNvSpPr>
              <p:nvPr/>
            </p:nvSpPr>
            <p:spPr bwMode="auto">
              <a:xfrm>
                <a:off x="5487194" y="1744663"/>
                <a:ext cx="403225" cy="295275"/>
              </a:xfrm>
              <a:custGeom>
                <a:avLst/>
                <a:gdLst/>
                <a:ahLst/>
                <a:cxnLst>
                  <a:cxn ang="0">
                    <a:pos x="77" y="177"/>
                  </a:cxn>
                  <a:cxn ang="0">
                    <a:pos x="60" y="162"/>
                  </a:cxn>
                  <a:cxn ang="0">
                    <a:pos x="58" y="138"/>
                  </a:cxn>
                  <a:cxn ang="0">
                    <a:pos x="69" y="113"/>
                  </a:cxn>
                  <a:cxn ang="0">
                    <a:pos x="88" y="93"/>
                  </a:cxn>
                  <a:cxn ang="0">
                    <a:pos x="108" y="81"/>
                  </a:cxn>
                  <a:cxn ang="0">
                    <a:pos x="124" y="72"/>
                  </a:cxn>
                  <a:cxn ang="0">
                    <a:pos x="134" y="64"/>
                  </a:cxn>
                  <a:cxn ang="0">
                    <a:pos x="149" y="57"/>
                  </a:cxn>
                  <a:cxn ang="0">
                    <a:pos x="167" y="46"/>
                  </a:cxn>
                  <a:cxn ang="0">
                    <a:pos x="189" y="43"/>
                  </a:cxn>
                  <a:cxn ang="0">
                    <a:pos x="206" y="36"/>
                  </a:cxn>
                  <a:cxn ang="0">
                    <a:pos x="223" y="31"/>
                  </a:cxn>
                  <a:cxn ang="0">
                    <a:pos x="248" y="22"/>
                  </a:cxn>
                  <a:cxn ang="0">
                    <a:pos x="251" y="7"/>
                  </a:cxn>
                  <a:cxn ang="0">
                    <a:pos x="239" y="0"/>
                  </a:cxn>
                  <a:cxn ang="0">
                    <a:pos x="223" y="0"/>
                  </a:cxn>
                  <a:cxn ang="0">
                    <a:pos x="205" y="9"/>
                  </a:cxn>
                  <a:cxn ang="0">
                    <a:pos x="186" y="19"/>
                  </a:cxn>
                  <a:cxn ang="0">
                    <a:pos x="167" y="26"/>
                  </a:cxn>
                  <a:cxn ang="0">
                    <a:pos x="149" y="26"/>
                  </a:cxn>
                  <a:cxn ang="0">
                    <a:pos x="132" y="26"/>
                  </a:cxn>
                  <a:cxn ang="0">
                    <a:pos x="112" y="33"/>
                  </a:cxn>
                  <a:cxn ang="0">
                    <a:pos x="89" y="48"/>
                  </a:cxn>
                  <a:cxn ang="0">
                    <a:pos x="70" y="55"/>
                  </a:cxn>
                  <a:cxn ang="0">
                    <a:pos x="55" y="58"/>
                  </a:cxn>
                  <a:cxn ang="0">
                    <a:pos x="57" y="65"/>
                  </a:cxn>
                  <a:cxn ang="0">
                    <a:pos x="53" y="79"/>
                  </a:cxn>
                  <a:cxn ang="0">
                    <a:pos x="36" y="95"/>
                  </a:cxn>
                  <a:cxn ang="0">
                    <a:pos x="36" y="105"/>
                  </a:cxn>
                  <a:cxn ang="0">
                    <a:pos x="31" y="113"/>
                  </a:cxn>
                  <a:cxn ang="0">
                    <a:pos x="17" y="120"/>
                  </a:cxn>
                  <a:cxn ang="0">
                    <a:pos x="15" y="132"/>
                  </a:cxn>
                  <a:cxn ang="0">
                    <a:pos x="12" y="139"/>
                  </a:cxn>
                  <a:cxn ang="0">
                    <a:pos x="2" y="146"/>
                  </a:cxn>
                  <a:cxn ang="0">
                    <a:pos x="5" y="162"/>
                  </a:cxn>
                  <a:cxn ang="0">
                    <a:pos x="12" y="165"/>
                  </a:cxn>
                  <a:cxn ang="0">
                    <a:pos x="20" y="165"/>
                  </a:cxn>
                  <a:cxn ang="0">
                    <a:pos x="31" y="170"/>
                  </a:cxn>
                  <a:cxn ang="0">
                    <a:pos x="38" y="182"/>
                  </a:cxn>
                  <a:cxn ang="0">
                    <a:pos x="46" y="184"/>
                  </a:cxn>
                  <a:cxn ang="0">
                    <a:pos x="88" y="186"/>
                  </a:cxn>
                  <a:cxn ang="0">
                    <a:pos x="82" y="181"/>
                  </a:cxn>
                </a:cxnLst>
                <a:rect l="0" t="0" r="r" b="b"/>
                <a:pathLst>
                  <a:path w="254" h="186">
                    <a:moveTo>
                      <a:pt x="88" y="186"/>
                    </a:moveTo>
                    <a:lnTo>
                      <a:pt x="77" y="177"/>
                    </a:lnTo>
                    <a:lnTo>
                      <a:pt x="69" y="170"/>
                    </a:lnTo>
                    <a:lnTo>
                      <a:pt x="60" y="162"/>
                    </a:lnTo>
                    <a:lnTo>
                      <a:pt x="58" y="151"/>
                    </a:lnTo>
                    <a:lnTo>
                      <a:pt x="58" y="138"/>
                    </a:lnTo>
                    <a:lnTo>
                      <a:pt x="63" y="126"/>
                    </a:lnTo>
                    <a:lnTo>
                      <a:pt x="69" y="113"/>
                    </a:lnTo>
                    <a:lnTo>
                      <a:pt x="79" y="103"/>
                    </a:lnTo>
                    <a:lnTo>
                      <a:pt x="88" y="93"/>
                    </a:lnTo>
                    <a:lnTo>
                      <a:pt x="98" y="86"/>
                    </a:lnTo>
                    <a:lnTo>
                      <a:pt x="108" y="81"/>
                    </a:lnTo>
                    <a:lnTo>
                      <a:pt x="120" y="77"/>
                    </a:lnTo>
                    <a:lnTo>
                      <a:pt x="124" y="72"/>
                    </a:lnTo>
                    <a:lnTo>
                      <a:pt x="129" y="69"/>
                    </a:lnTo>
                    <a:lnTo>
                      <a:pt x="134" y="64"/>
                    </a:lnTo>
                    <a:lnTo>
                      <a:pt x="144" y="64"/>
                    </a:lnTo>
                    <a:lnTo>
                      <a:pt x="149" y="57"/>
                    </a:lnTo>
                    <a:lnTo>
                      <a:pt x="155" y="52"/>
                    </a:lnTo>
                    <a:lnTo>
                      <a:pt x="167" y="46"/>
                    </a:lnTo>
                    <a:lnTo>
                      <a:pt x="179" y="45"/>
                    </a:lnTo>
                    <a:lnTo>
                      <a:pt x="189" y="43"/>
                    </a:lnTo>
                    <a:lnTo>
                      <a:pt x="203" y="40"/>
                    </a:lnTo>
                    <a:lnTo>
                      <a:pt x="206" y="36"/>
                    </a:lnTo>
                    <a:lnTo>
                      <a:pt x="215" y="34"/>
                    </a:lnTo>
                    <a:lnTo>
                      <a:pt x="223" y="31"/>
                    </a:lnTo>
                    <a:lnTo>
                      <a:pt x="232" y="29"/>
                    </a:lnTo>
                    <a:lnTo>
                      <a:pt x="248" y="22"/>
                    </a:lnTo>
                    <a:lnTo>
                      <a:pt x="254" y="12"/>
                    </a:lnTo>
                    <a:lnTo>
                      <a:pt x="251" y="7"/>
                    </a:lnTo>
                    <a:lnTo>
                      <a:pt x="246" y="3"/>
                    </a:lnTo>
                    <a:lnTo>
                      <a:pt x="239" y="0"/>
                    </a:lnTo>
                    <a:lnTo>
                      <a:pt x="234" y="0"/>
                    </a:lnTo>
                    <a:lnTo>
                      <a:pt x="223" y="0"/>
                    </a:lnTo>
                    <a:lnTo>
                      <a:pt x="213" y="3"/>
                    </a:lnTo>
                    <a:lnTo>
                      <a:pt x="205" y="9"/>
                    </a:lnTo>
                    <a:lnTo>
                      <a:pt x="196" y="14"/>
                    </a:lnTo>
                    <a:lnTo>
                      <a:pt x="186" y="19"/>
                    </a:lnTo>
                    <a:lnTo>
                      <a:pt x="177" y="24"/>
                    </a:lnTo>
                    <a:lnTo>
                      <a:pt x="167" y="26"/>
                    </a:lnTo>
                    <a:lnTo>
                      <a:pt x="158" y="29"/>
                    </a:lnTo>
                    <a:lnTo>
                      <a:pt x="149" y="26"/>
                    </a:lnTo>
                    <a:lnTo>
                      <a:pt x="143" y="22"/>
                    </a:lnTo>
                    <a:lnTo>
                      <a:pt x="132" y="26"/>
                    </a:lnTo>
                    <a:lnTo>
                      <a:pt x="127" y="29"/>
                    </a:lnTo>
                    <a:lnTo>
                      <a:pt x="112" y="33"/>
                    </a:lnTo>
                    <a:lnTo>
                      <a:pt x="101" y="41"/>
                    </a:lnTo>
                    <a:lnTo>
                      <a:pt x="89" y="48"/>
                    </a:lnTo>
                    <a:lnTo>
                      <a:pt x="81" y="53"/>
                    </a:lnTo>
                    <a:lnTo>
                      <a:pt x="70" y="55"/>
                    </a:lnTo>
                    <a:lnTo>
                      <a:pt x="60" y="57"/>
                    </a:lnTo>
                    <a:lnTo>
                      <a:pt x="55" y="58"/>
                    </a:lnTo>
                    <a:lnTo>
                      <a:pt x="55" y="62"/>
                    </a:lnTo>
                    <a:lnTo>
                      <a:pt x="57" y="65"/>
                    </a:lnTo>
                    <a:lnTo>
                      <a:pt x="58" y="71"/>
                    </a:lnTo>
                    <a:lnTo>
                      <a:pt x="53" y="79"/>
                    </a:lnTo>
                    <a:lnTo>
                      <a:pt x="45" y="88"/>
                    </a:lnTo>
                    <a:lnTo>
                      <a:pt x="36" y="95"/>
                    </a:lnTo>
                    <a:lnTo>
                      <a:pt x="33" y="101"/>
                    </a:lnTo>
                    <a:lnTo>
                      <a:pt x="36" y="105"/>
                    </a:lnTo>
                    <a:lnTo>
                      <a:pt x="39" y="113"/>
                    </a:lnTo>
                    <a:lnTo>
                      <a:pt x="31" y="113"/>
                    </a:lnTo>
                    <a:lnTo>
                      <a:pt x="24" y="117"/>
                    </a:lnTo>
                    <a:lnTo>
                      <a:pt x="17" y="120"/>
                    </a:lnTo>
                    <a:lnTo>
                      <a:pt x="15" y="127"/>
                    </a:lnTo>
                    <a:lnTo>
                      <a:pt x="15" y="132"/>
                    </a:lnTo>
                    <a:lnTo>
                      <a:pt x="15" y="134"/>
                    </a:lnTo>
                    <a:lnTo>
                      <a:pt x="12" y="139"/>
                    </a:lnTo>
                    <a:lnTo>
                      <a:pt x="7" y="143"/>
                    </a:lnTo>
                    <a:lnTo>
                      <a:pt x="2" y="146"/>
                    </a:lnTo>
                    <a:lnTo>
                      <a:pt x="0" y="155"/>
                    </a:lnTo>
                    <a:lnTo>
                      <a:pt x="5" y="162"/>
                    </a:lnTo>
                    <a:lnTo>
                      <a:pt x="10" y="165"/>
                    </a:lnTo>
                    <a:lnTo>
                      <a:pt x="12" y="165"/>
                    </a:lnTo>
                    <a:lnTo>
                      <a:pt x="17" y="165"/>
                    </a:lnTo>
                    <a:lnTo>
                      <a:pt x="20" y="165"/>
                    </a:lnTo>
                    <a:lnTo>
                      <a:pt x="26" y="165"/>
                    </a:lnTo>
                    <a:lnTo>
                      <a:pt x="31" y="170"/>
                    </a:lnTo>
                    <a:lnTo>
                      <a:pt x="33" y="182"/>
                    </a:lnTo>
                    <a:lnTo>
                      <a:pt x="38" y="182"/>
                    </a:lnTo>
                    <a:lnTo>
                      <a:pt x="45" y="182"/>
                    </a:lnTo>
                    <a:lnTo>
                      <a:pt x="46" y="184"/>
                    </a:lnTo>
                    <a:lnTo>
                      <a:pt x="48" y="186"/>
                    </a:lnTo>
                    <a:lnTo>
                      <a:pt x="88" y="186"/>
                    </a:lnTo>
                    <a:lnTo>
                      <a:pt x="84" y="181"/>
                    </a:lnTo>
                    <a:lnTo>
                      <a:pt x="82" y="181"/>
                    </a:lnTo>
                    <a:lnTo>
                      <a:pt x="88" y="1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6" name="Freeform 255"/>
              <p:cNvSpPr>
                <a:spLocks/>
              </p:cNvSpPr>
              <p:nvPr/>
            </p:nvSpPr>
            <p:spPr bwMode="auto">
              <a:xfrm>
                <a:off x="4102894" y="2519363"/>
                <a:ext cx="884238" cy="633412"/>
              </a:xfrm>
              <a:custGeom>
                <a:avLst/>
                <a:gdLst/>
                <a:ahLst/>
                <a:cxnLst>
                  <a:cxn ang="0">
                    <a:pos x="530" y="291"/>
                  </a:cxn>
                  <a:cxn ang="0">
                    <a:pos x="540" y="313"/>
                  </a:cxn>
                  <a:cxn ang="0">
                    <a:pos x="492" y="315"/>
                  </a:cxn>
                  <a:cxn ang="0">
                    <a:pos x="461" y="325"/>
                  </a:cxn>
                  <a:cxn ang="0">
                    <a:pos x="466" y="349"/>
                  </a:cxn>
                  <a:cxn ang="0">
                    <a:pos x="478" y="367"/>
                  </a:cxn>
                  <a:cxn ang="0">
                    <a:pos x="462" y="370"/>
                  </a:cxn>
                  <a:cxn ang="0">
                    <a:pos x="445" y="380"/>
                  </a:cxn>
                  <a:cxn ang="0">
                    <a:pos x="437" y="358"/>
                  </a:cxn>
                  <a:cxn ang="0">
                    <a:pos x="411" y="312"/>
                  </a:cxn>
                  <a:cxn ang="0">
                    <a:pos x="373" y="274"/>
                  </a:cxn>
                  <a:cxn ang="0">
                    <a:pos x="339" y="245"/>
                  </a:cxn>
                  <a:cxn ang="0">
                    <a:pos x="308" y="241"/>
                  </a:cxn>
                  <a:cxn ang="0">
                    <a:pos x="328" y="270"/>
                  </a:cxn>
                  <a:cxn ang="0">
                    <a:pos x="361" y="300"/>
                  </a:cxn>
                  <a:cxn ang="0">
                    <a:pos x="387" y="329"/>
                  </a:cxn>
                  <a:cxn ang="0">
                    <a:pos x="373" y="349"/>
                  </a:cxn>
                  <a:cxn ang="0">
                    <a:pos x="361" y="356"/>
                  </a:cxn>
                  <a:cxn ang="0">
                    <a:pos x="337" y="317"/>
                  </a:cxn>
                  <a:cxn ang="0">
                    <a:pos x="299" y="293"/>
                  </a:cxn>
                  <a:cxn ang="0">
                    <a:pos x="253" y="258"/>
                  </a:cxn>
                  <a:cxn ang="0">
                    <a:pos x="182" y="275"/>
                  </a:cxn>
                  <a:cxn ang="0">
                    <a:pos x="139" y="325"/>
                  </a:cxn>
                  <a:cxn ang="0">
                    <a:pos x="117" y="375"/>
                  </a:cxn>
                  <a:cxn ang="0">
                    <a:pos x="89" y="387"/>
                  </a:cxn>
                  <a:cxn ang="0">
                    <a:pos x="38" y="382"/>
                  </a:cxn>
                  <a:cxn ang="0">
                    <a:pos x="7" y="367"/>
                  </a:cxn>
                  <a:cxn ang="0">
                    <a:pos x="5" y="330"/>
                  </a:cxn>
                  <a:cxn ang="0">
                    <a:pos x="5" y="277"/>
                  </a:cxn>
                  <a:cxn ang="0">
                    <a:pos x="55" y="270"/>
                  </a:cxn>
                  <a:cxn ang="0">
                    <a:pos x="108" y="274"/>
                  </a:cxn>
                  <a:cxn ang="0">
                    <a:pos x="120" y="238"/>
                  </a:cxn>
                  <a:cxn ang="0">
                    <a:pos x="105" y="205"/>
                  </a:cxn>
                  <a:cxn ang="0">
                    <a:pos x="69" y="186"/>
                  </a:cxn>
                  <a:cxn ang="0">
                    <a:pos x="93" y="179"/>
                  </a:cxn>
                  <a:cxn ang="0">
                    <a:pos x="110" y="164"/>
                  </a:cxn>
                  <a:cxn ang="0">
                    <a:pos x="139" y="160"/>
                  </a:cxn>
                  <a:cxn ang="0">
                    <a:pos x="168" y="134"/>
                  </a:cxn>
                  <a:cxn ang="0">
                    <a:pos x="198" y="107"/>
                  </a:cxn>
                  <a:cxn ang="0">
                    <a:pos x="235" y="86"/>
                  </a:cxn>
                  <a:cxn ang="0">
                    <a:pos x="263" y="74"/>
                  </a:cxn>
                  <a:cxn ang="0">
                    <a:pos x="249" y="31"/>
                  </a:cxn>
                  <a:cxn ang="0">
                    <a:pos x="278" y="12"/>
                  </a:cxn>
                  <a:cxn ang="0">
                    <a:pos x="284" y="30"/>
                  </a:cxn>
                  <a:cxn ang="0">
                    <a:pos x="277" y="64"/>
                  </a:cxn>
                  <a:cxn ang="0">
                    <a:pos x="301" y="73"/>
                  </a:cxn>
                  <a:cxn ang="0">
                    <a:pos x="328" y="74"/>
                  </a:cxn>
                  <a:cxn ang="0">
                    <a:pos x="371" y="61"/>
                  </a:cxn>
                  <a:cxn ang="0">
                    <a:pos x="407" y="64"/>
                  </a:cxn>
                  <a:cxn ang="0">
                    <a:pos x="466" y="64"/>
                  </a:cxn>
                  <a:cxn ang="0">
                    <a:pos x="473" y="122"/>
                  </a:cxn>
                  <a:cxn ang="0">
                    <a:pos x="459" y="183"/>
                  </a:cxn>
                  <a:cxn ang="0">
                    <a:pos x="507" y="181"/>
                  </a:cxn>
                  <a:cxn ang="0">
                    <a:pos x="540" y="227"/>
                  </a:cxn>
                  <a:cxn ang="0">
                    <a:pos x="557" y="234"/>
                  </a:cxn>
                </a:cxnLst>
                <a:rect l="0" t="0" r="r" b="b"/>
                <a:pathLst>
                  <a:path w="557" h="399">
                    <a:moveTo>
                      <a:pt x="547" y="248"/>
                    </a:moveTo>
                    <a:lnTo>
                      <a:pt x="545" y="253"/>
                    </a:lnTo>
                    <a:lnTo>
                      <a:pt x="543" y="255"/>
                    </a:lnTo>
                    <a:lnTo>
                      <a:pt x="543" y="269"/>
                    </a:lnTo>
                    <a:lnTo>
                      <a:pt x="535" y="277"/>
                    </a:lnTo>
                    <a:lnTo>
                      <a:pt x="530" y="291"/>
                    </a:lnTo>
                    <a:lnTo>
                      <a:pt x="531" y="296"/>
                    </a:lnTo>
                    <a:lnTo>
                      <a:pt x="536" y="303"/>
                    </a:lnTo>
                    <a:lnTo>
                      <a:pt x="542" y="306"/>
                    </a:lnTo>
                    <a:lnTo>
                      <a:pt x="547" y="312"/>
                    </a:lnTo>
                    <a:lnTo>
                      <a:pt x="543" y="312"/>
                    </a:lnTo>
                    <a:lnTo>
                      <a:pt x="540" y="313"/>
                    </a:lnTo>
                    <a:lnTo>
                      <a:pt x="533" y="313"/>
                    </a:lnTo>
                    <a:lnTo>
                      <a:pt x="528" y="315"/>
                    </a:lnTo>
                    <a:lnTo>
                      <a:pt x="519" y="320"/>
                    </a:lnTo>
                    <a:lnTo>
                      <a:pt x="512" y="325"/>
                    </a:lnTo>
                    <a:lnTo>
                      <a:pt x="502" y="320"/>
                    </a:lnTo>
                    <a:lnTo>
                      <a:pt x="492" y="315"/>
                    </a:lnTo>
                    <a:lnTo>
                      <a:pt x="481" y="317"/>
                    </a:lnTo>
                    <a:lnTo>
                      <a:pt x="475" y="322"/>
                    </a:lnTo>
                    <a:lnTo>
                      <a:pt x="475" y="327"/>
                    </a:lnTo>
                    <a:lnTo>
                      <a:pt x="475" y="332"/>
                    </a:lnTo>
                    <a:lnTo>
                      <a:pt x="466" y="329"/>
                    </a:lnTo>
                    <a:lnTo>
                      <a:pt x="461" y="325"/>
                    </a:lnTo>
                    <a:lnTo>
                      <a:pt x="457" y="327"/>
                    </a:lnTo>
                    <a:lnTo>
                      <a:pt x="456" y="330"/>
                    </a:lnTo>
                    <a:lnTo>
                      <a:pt x="466" y="343"/>
                    </a:lnTo>
                    <a:lnTo>
                      <a:pt x="464" y="344"/>
                    </a:lnTo>
                    <a:lnTo>
                      <a:pt x="464" y="348"/>
                    </a:lnTo>
                    <a:lnTo>
                      <a:pt x="466" y="349"/>
                    </a:lnTo>
                    <a:lnTo>
                      <a:pt x="471" y="355"/>
                    </a:lnTo>
                    <a:lnTo>
                      <a:pt x="476" y="358"/>
                    </a:lnTo>
                    <a:lnTo>
                      <a:pt x="481" y="361"/>
                    </a:lnTo>
                    <a:lnTo>
                      <a:pt x="481" y="363"/>
                    </a:lnTo>
                    <a:lnTo>
                      <a:pt x="483" y="367"/>
                    </a:lnTo>
                    <a:lnTo>
                      <a:pt x="478" y="367"/>
                    </a:lnTo>
                    <a:lnTo>
                      <a:pt x="475" y="370"/>
                    </a:lnTo>
                    <a:lnTo>
                      <a:pt x="475" y="370"/>
                    </a:lnTo>
                    <a:lnTo>
                      <a:pt x="464" y="365"/>
                    </a:lnTo>
                    <a:lnTo>
                      <a:pt x="461" y="361"/>
                    </a:lnTo>
                    <a:lnTo>
                      <a:pt x="461" y="367"/>
                    </a:lnTo>
                    <a:lnTo>
                      <a:pt x="462" y="370"/>
                    </a:lnTo>
                    <a:lnTo>
                      <a:pt x="464" y="375"/>
                    </a:lnTo>
                    <a:lnTo>
                      <a:pt x="461" y="380"/>
                    </a:lnTo>
                    <a:lnTo>
                      <a:pt x="464" y="387"/>
                    </a:lnTo>
                    <a:lnTo>
                      <a:pt x="459" y="387"/>
                    </a:lnTo>
                    <a:lnTo>
                      <a:pt x="456" y="387"/>
                    </a:lnTo>
                    <a:lnTo>
                      <a:pt x="445" y="380"/>
                    </a:lnTo>
                    <a:lnTo>
                      <a:pt x="442" y="370"/>
                    </a:lnTo>
                    <a:lnTo>
                      <a:pt x="444" y="365"/>
                    </a:lnTo>
                    <a:lnTo>
                      <a:pt x="447" y="361"/>
                    </a:lnTo>
                    <a:lnTo>
                      <a:pt x="442" y="361"/>
                    </a:lnTo>
                    <a:lnTo>
                      <a:pt x="438" y="361"/>
                    </a:lnTo>
                    <a:lnTo>
                      <a:pt x="437" y="358"/>
                    </a:lnTo>
                    <a:lnTo>
                      <a:pt x="437" y="356"/>
                    </a:lnTo>
                    <a:lnTo>
                      <a:pt x="430" y="346"/>
                    </a:lnTo>
                    <a:lnTo>
                      <a:pt x="425" y="341"/>
                    </a:lnTo>
                    <a:lnTo>
                      <a:pt x="414" y="330"/>
                    </a:lnTo>
                    <a:lnTo>
                      <a:pt x="411" y="318"/>
                    </a:lnTo>
                    <a:lnTo>
                      <a:pt x="411" y="312"/>
                    </a:lnTo>
                    <a:lnTo>
                      <a:pt x="411" y="306"/>
                    </a:lnTo>
                    <a:lnTo>
                      <a:pt x="404" y="293"/>
                    </a:lnTo>
                    <a:lnTo>
                      <a:pt x="394" y="284"/>
                    </a:lnTo>
                    <a:lnTo>
                      <a:pt x="382" y="279"/>
                    </a:lnTo>
                    <a:lnTo>
                      <a:pt x="378" y="274"/>
                    </a:lnTo>
                    <a:lnTo>
                      <a:pt x="373" y="274"/>
                    </a:lnTo>
                    <a:lnTo>
                      <a:pt x="371" y="274"/>
                    </a:lnTo>
                    <a:lnTo>
                      <a:pt x="361" y="270"/>
                    </a:lnTo>
                    <a:lnTo>
                      <a:pt x="354" y="263"/>
                    </a:lnTo>
                    <a:lnTo>
                      <a:pt x="347" y="253"/>
                    </a:lnTo>
                    <a:lnTo>
                      <a:pt x="347" y="245"/>
                    </a:lnTo>
                    <a:lnTo>
                      <a:pt x="339" y="245"/>
                    </a:lnTo>
                    <a:lnTo>
                      <a:pt x="332" y="245"/>
                    </a:lnTo>
                    <a:lnTo>
                      <a:pt x="327" y="238"/>
                    </a:lnTo>
                    <a:lnTo>
                      <a:pt x="325" y="231"/>
                    </a:lnTo>
                    <a:lnTo>
                      <a:pt x="313" y="234"/>
                    </a:lnTo>
                    <a:lnTo>
                      <a:pt x="308" y="239"/>
                    </a:lnTo>
                    <a:lnTo>
                      <a:pt x="308" y="241"/>
                    </a:lnTo>
                    <a:lnTo>
                      <a:pt x="311" y="243"/>
                    </a:lnTo>
                    <a:lnTo>
                      <a:pt x="309" y="246"/>
                    </a:lnTo>
                    <a:lnTo>
                      <a:pt x="309" y="251"/>
                    </a:lnTo>
                    <a:lnTo>
                      <a:pt x="311" y="260"/>
                    </a:lnTo>
                    <a:lnTo>
                      <a:pt x="320" y="265"/>
                    </a:lnTo>
                    <a:lnTo>
                      <a:pt x="328" y="270"/>
                    </a:lnTo>
                    <a:lnTo>
                      <a:pt x="332" y="281"/>
                    </a:lnTo>
                    <a:lnTo>
                      <a:pt x="337" y="291"/>
                    </a:lnTo>
                    <a:lnTo>
                      <a:pt x="342" y="298"/>
                    </a:lnTo>
                    <a:lnTo>
                      <a:pt x="352" y="300"/>
                    </a:lnTo>
                    <a:lnTo>
                      <a:pt x="363" y="300"/>
                    </a:lnTo>
                    <a:lnTo>
                      <a:pt x="361" y="300"/>
                    </a:lnTo>
                    <a:lnTo>
                      <a:pt x="361" y="303"/>
                    </a:lnTo>
                    <a:lnTo>
                      <a:pt x="364" y="308"/>
                    </a:lnTo>
                    <a:lnTo>
                      <a:pt x="375" y="313"/>
                    </a:lnTo>
                    <a:lnTo>
                      <a:pt x="389" y="320"/>
                    </a:lnTo>
                    <a:lnTo>
                      <a:pt x="395" y="332"/>
                    </a:lnTo>
                    <a:lnTo>
                      <a:pt x="387" y="329"/>
                    </a:lnTo>
                    <a:lnTo>
                      <a:pt x="380" y="325"/>
                    </a:lnTo>
                    <a:lnTo>
                      <a:pt x="371" y="327"/>
                    </a:lnTo>
                    <a:lnTo>
                      <a:pt x="368" y="334"/>
                    </a:lnTo>
                    <a:lnTo>
                      <a:pt x="371" y="339"/>
                    </a:lnTo>
                    <a:lnTo>
                      <a:pt x="376" y="348"/>
                    </a:lnTo>
                    <a:lnTo>
                      <a:pt x="373" y="349"/>
                    </a:lnTo>
                    <a:lnTo>
                      <a:pt x="371" y="351"/>
                    </a:lnTo>
                    <a:lnTo>
                      <a:pt x="366" y="360"/>
                    </a:lnTo>
                    <a:lnTo>
                      <a:pt x="359" y="367"/>
                    </a:lnTo>
                    <a:lnTo>
                      <a:pt x="354" y="365"/>
                    </a:lnTo>
                    <a:lnTo>
                      <a:pt x="354" y="361"/>
                    </a:lnTo>
                    <a:lnTo>
                      <a:pt x="361" y="356"/>
                    </a:lnTo>
                    <a:lnTo>
                      <a:pt x="363" y="349"/>
                    </a:lnTo>
                    <a:lnTo>
                      <a:pt x="359" y="339"/>
                    </a:lnTo>
                    <a:lnTo>
                      <a:pt x="358" y="334"/>
                    </a:lnTo>
                    <a:lnTo>
                      <a:pt x="349" y="327"/>
                    </a:lnTo>
                    <a:lnTo>
                      <a:pt x="344" y="318"/>
                    </a:lnTo>
                    <a:lnTo>
                      <a:pt x="337" y="317"/>
                    </a:lnTo>
                    <a:lnTo>
                      <a:pt x="333" y="313"/>
                    </a:lnTo>
                    <a:lnTo>
                      <a:pt x="321" y="310"/>
                    </a:lnTo>
                    <a:lnTo>
                      <a:pt x="316" y="306"/>
                    </a:lnTo>
                    <a:lnTo>
                      <a:pt x="311" y="301"/>
                    </a:lnTo>
                    <a:lnTo>
                      <a:pt x="306" y="298"/>
                    </a:lnTo>
                    <a:lnTo>
                      <a:pt x="299" y="293"/>
                    </a:lnTo>
                    <a:lnTo>
                      <a:pt x="294" y="288"/>
                    </a:lnTo>
                    <a:lnTo>
                      <a:pt x="287" y="277"/>
                    </a:lnTo>
                    <a:lnTo>
                      <a:pt x="282" y="267"/>
                    </a:lnTo>
                    <a:lnTo>
                      <a:pt x="273" y="258"/>
                    </a:lnTo>
                    <a:lnTo>
                      <a:pt x="263" y="257"/>
                    </a:lnTo>
                    <a:lnTo>
                      <a:pt x="253" y="258"/>
                    </a:lnTo>
                    <a:lnTo>
                      <a:pt x="249" y="265"/>
                    </a:lnTo>
                    <a:lnTo>
                      <a:pt x="235" y="272"/>
                    </a:lnTo>
                    <a:lnTo>
                      <a:pt x="222" y="279"/>
                    </a:lnTo>
                    <a:lnTo>
                      <a:pt x="206" y="275"/>
                    </a:lnTo>
                    <a:lnTo>
                      <a:pt x="192" y="272"/>
                    </a:lnTo>
                    <a:lnTo>
                      <a:pt x="182" y="275"/>
                    </a:lnTo>
                    <a:lnTo>
                      <a:pt x="177" y="286"/>
                    </a:lnTo>
                    <a:lnTo>
                      <a:pt x="180" y="296"/>
                    </a:lnTo>
                    <a:lnTo>
                      <a:pt x="170" y="306"/>
                    </a:lnTo>
                    <a:lnTo>
                      <a:pt x="155" y="313"/>
                    </a:lnTo>
                    <a:lnTo>
                      <a:pt x="146" y="317"/>
                    </a:lnTo>
                    <a:lnTo>
                      <a:pt x="139" y="325"/>
                    </a:lnTo>
                    <a:lnTo>
                      <a:pt x="132" y="336"/>
                    </a:lnTo>
                    <a:lnTo>
                      <a:pt x="131" y="346"/>
                    </a:lnTo>
                    <a:lnTo>
                      <a:pt x="132" y="351"/>
                    </a:lnTo>
                    <a:lnTo>
                      <a:pt x="136" y="353"/>
                    </a:lnTo>
                    <a:lnTo>
                      <a:pt x="127" y="365"/>
                    </a:lnTo>
                    <a:lnTo>
                      <a:pt x="117" y="375"/>
                    </a:lnTo>
                    <a:lnTo>
                      <a:pt x="112" y="377"/>
                    </a:lnTo>
                    <a:lnTo>
                      <a:pt x="108" y="382"/>
                    </a:lnTo>
                    <a:lnTo>
                      <a:pt x="103" y="386"/>
                    </a:lnTo>
                    <a:lnTo>
                      <a:pt x="98" y="387"/>
                    </a:lnTo>
                    <a:lnTo>
                      <a:pt x="98" y="387"/>
                    </a:lnTo>
                    <a:lnTo>
                      <a:pt x="89" y="387"/>
                    </a:lnTo>
                    <a:lnTo>
                      <a:pt x="82" y="389"/>
                    </a:lnTo>
                    <a:lnTo>
                      <a:pt x="67" y="394"/>
                    </a:lnTo>
                    <a:lnTo>
                      <a:pt x="53" y="399"/>
                    </a:lnTo>
                    <a:lnTo>
                      <a:pt x="48" y="396"/>
                    </a:lnTo>
                    <a:lnTo>
                      <a:pt x="45" y="389"/>
                    </a:lnTo>
                    <a:lnTo>
                      <a:pt x="38" y="382"/>
                    </a:lnTo>
                    <a:lnTo>
                      <a:pt x="33" y="380"/>
                    </a:lnTo>
                    <a:lnTo>
                      <a:pt x="20" y="382"/>
                    </a:lnTo>
                    <a:lnTo>
                      <a:pt x="12" y="384"/>
                    </a:lnTo>
                    <a:lnTo>
                      <a:pt x="7" y="380"/>
                    </a:lnTo>
                    <a:lnTo>
                      <a:pt x="7" y="379"/>
                    </a:lnTo>
                    <a:lnTo>
                      <a:pt x="7" y="367"/>
                    </a:lnTo>
                    <a:lnTo>
                      <a:pt x="7" y="360"/>
                    </a:lnTo>
                    <a:lnTo>
                      <a:pt x="2" y="356"/>
                    </a:lnTo>
                    <a:lnTo>
                      <a:pt x="0" y="353"/>
                    </a:lnTo>
                    <a:lnTo>
                      <a:pt x="2" y="344"/>
                    </a:lnTo>
                    <a:lnTo>
                      <a:pt x="5" y="341"/>
                    </a:lnTo>
                    <a:lnTo>
                      <a:pt x="5" y="330"/>
                    </a:lnTo>
                    <a:lnTo>
                      <a:pt x="7" y="320"/>
                    </a:lnTo>
                    <a:lnTo>
                      <a:pt x="8" y="310"/>
                    </a:lnTo>
                    <a:lnTo>
                      <a:pt x="10" y="301"/>
                    </a:lnTo>
                    <a:lnTo>
                      <a:pt x="7" y="291"/>
                    </a:lnTo>
                    <a:lnTo>
                      <a:pt x="3" y="282"/>
                    </a:lnTo>
                    <a:lnTo>
                      <a:pt x="5" y="277"/>
                    </a:lnTo>
                    <a:lnTo>
                      <a:pt x="12" y="274"/>
                    </a:lnTo>
                    <a:lnTo>
                      <a:pt x="19" y="269"/>
                    </a:lnTo>
                    <a:lnTo>
                      <a:pt x="24" y="269"/>
                    </a:lnTo>
                    <a:lnTo>
                      <a:pt x="27" y="269"/>
                    </a:lnTo>
                    <a:lnTo>
                      <a:pt x="33" y="270"/>
                    </a:lnTo>
                    <a:lnTo>
                      <a:pt x="55" y="270"/>
                    </a:lnTo>
                    <a:lnTo>
                      <a:pt x="58" y="272"/>
                    </a:lnTo>
                    <a:lnTo>
                      <a:pt x="63" y="274"/>
                    </a:lnTo>
                    <a:lnTo>
                      <a:pt x="88" y="274"/>
                    </a:lnTo>
                    <a:lnTo>
                      <a:pt x="94" y="274"/>
                    </a:lnTo>
                    <a:lnTo>
                      <a:pt x="101" y="275"/>
                    </a:lnTo>
                    <a:lnTo>
                      <a:pt x="108" y="274"/>
                    </a:lnTo>
                    <a:lnTo>
                      <a:pt x="115" y="274"/>
                    </a:lnTo>
                    <a:lnTo>
                      <a:pt x="119" y="262"/>
                    </a:lnTo>
                    <a:lnTo>
                      <a:pt x="122" y="250"/>
                    </a:lnTo>
                    <a:lnTo>
                      <a:pt x="120" y="243"/>
                    </a:lnTo>
                    <a:lnTo>
                      <a:pt x="120" y="236"/>
                    </a:lnTo>
                    <a:lnTo>
                      <a:pt x="120" y="238"/>
                    </a:lnTo>
                    <a:lnTo>
                      <a:pt x="120" y="232"/>
                    </a:lnTo>
                    <a:lnTo>
                      <a:pt x="122" y="229"/>
                    </a:lnTo>
                    <a:lnTo>
                      <a:pt x="120" y="226"/>
                    </a:lnTo>
                    <a:lnTo>
                      <a:pt x="119" y="222"/>
                    </a:lnTo>
                    <a:lnTo>
                      <a:pt x="106" y="215"/>
                    </a:lnTo>
                    <a:lnTo>
                      <a:pt x="105" y="205"/>
                    </a:lnTo>
                    <a:lnTo>
                      <a:pt x="101" y="202"/>
                    </a:lnTo>
                    <a:lnTo>
                      <a:pt x="100" y="202"/>
                    </a:lnTo>
                    <a:lnTo>
                      <a:pt x="89" y="198"/>
                    </a:lnTo>
                    <a:lnTo>
                      <a:pt x="81" y="195"/>
                    </a:lnTo>
                    <a:lnTo>
                      <a:pt x="72" y="189"/>
                    </a:lnTo>
                    <a:lnTo>
                      <a:pt x="69" y="186"/>
                    </a:lnTo>
                    <a:lnTo>
                      <a:pt x="69" y="184"/>
                    </a:lnTo>
                    <a:lnTo>
                      <a:pt x="70" y="181"/>
                    </a:lnTo>
                    <a:lnTo>
                      <a:pt x="76" y="179"/>
                    </a:lnTo>
                    <a:lnTo>
                      <a:pt x="81" y="176"/>
                    </a:lnTo>
                    <a:lnTo>
                      <a:pt x="88" y="176"/>
                    </a:lnTo>
                    <a:lnTo>
                      <a:pt x="93" y="179"/>
                    </a:lnTo>
                    <a:lnTo>
                      <a:pt x="101" y="181"/>
                    </a:lnTo>
                    <a:lnTo>
                      <a:pt x="106" y="179"/>
                    </a:lnTo>
                    <a:lnTo>
                      <a:pt x="113" y="177"/>
                    </a:lnTo>
                    <a:lnTo>
                      <a:pt x="113" y="174"/>
                    </a:lnTo>
                    <a:lnTo>
                      <a:pt x="110" y="169"/>
                    </a:lnTo>
                    <a:lnTo>
                      <a:pt x="110" y="164"/>
                    </a:lnTo>
                    <a:lnTo>
                      <a:pt x="110" y="160"/>
                    </a:lnTo>
                    <a:lnTo>
                      <a:pt x="115" y="160"/>
                    </a:lnTo>
                    <a:lnTo>
                      <a:pt x="122" y="164"/>
                    </a:lnTo>
                    <a:lnTo>
                      <a:pt x="131" y="167"/>
                    </a:lnTo>
                    <a:lnTo>
                      <a:pt x="136" y="164"/>
                    </a:lnTo>
                    <a:lnTo>
                      <a:pt x="139" y="160"/>
                    </a:lnTo>
                    <a:lnTo>
                      <a:pt x="148" y="157"/>
                    </a:lnTo>
                    <a:lnTo>
                      <a:pt x="155" y="152"/>
                    </a:lnTo>
                    <a:lnTo>
                      <a:pt x="158" y="143"/>
                    </a:lnTo>
                    <a:lnTo>
                      <a:pt x="162" y="136"/>
                    </a:lnTo>
                    <a:lnTo>
                      <a:pt x="165" y="134"/>
                    </a:lnTo>
                    <a:lnTo>
                      <a:pt x="168" y="134"/>
                    </a:lnTo>
                    <a:lnTo>
                      <a:pt x="172" y="131"/>
                    </a:lnTo>
                    <a:lnTo>
                      <a:pt x="180" y="129"/>
                    </a:lnTo>
                    <a:lnTo>
                      <a:pt x="189" y="126"/>
                    </a:lnTo>
                    <a:lnTo>
                      <a:pt x="194" y="124"/>
                    </a:lnTo>
                    <a:lnTo>
                      <a:pt x="196" y="116"/>
                    </a:lnTo>
                    <a:lnTo>
                      <a:pt x="198" y="107"/>
                    </a:lnTo>
                    <a:lnTo>
                      <a:pt x="199" y="104"/>
                    </a:lnTo>
                    <a:lnTo>
                      <a:pt x="201" y="102"/>
                    </a:lnTo>
                    <a:lnTo>
                      <a:pt x="211" y="91"/>
                    </a:lnTo>
                    <a:lnTo>
                      <a:pt x="229" y="86"/>
                    </a:lnTo>
                    <a:lnTo>
                      <a:pt x="232" y="86"/>
                    </a:lnTo>
                    <a:lnTo>
                      <a:pt x="235" y="86"/>
                    </a:lnTo>
                    <a:lnTo>
                      <a:pt x="235" y="85"/>
                    </a:lnTo>
                    <a:lnTo>
                      <a:pt x="239" y="83"/>
                    </a:lnTo>
                    <a:lnTo>
                      <a:pt x="244" y="81"/>
                    </a:lnTo>
                    <a:lnTo>
                      <a:pt x="251" y="83"/>
                    </a:lnTo>
                    <a:lnTo>
                      <a:pt x="258" y="79"/>
                    </a:lnTo>
                    <a:lnTo>
                      <a:pt x="263" y="74"/>
                    </a:lnTo>
                    <a:lnTo>
                      <a:pt x="261" y="67"/>
                    </a:lnTo>
                    <a:lnTo>
                      <a:pt x="260" y="62"/>
                    </a:lnTo>
                    <a:lnTo>
                      <a:pt x="256" y="52"/>
                    </a:lnTo>
                    <a:lnTo>
                      <a:pt x="253" y="45"/>
                    </a:lnTo>
                    <a:lnTo>
                      <a:pt x="249" y="38"/>
                    </a:lnTo>
                    <a:lnTo>
                      <a:pt x="249" y="31"/>
                    </a:lnTo>
                    <a:lnTo>
                      <a:pt x="251" y="18"/>
                    </a:lnTo>
                    <a:lnTo>
                      <a:pt x="260" y="11"/>
                    </a:lnTo>
                    <a:lnTo>
                      <a:pt x="270" y="6"/>
                    </a:lnTo>
                    <a:lnTo>
                      <a:pt x="282" y="0"/>
                    </a:lnTo>
                    <a:lnTo>
                      <a:pt x="282" y="6"/>
                    </a:lnTo>
                    <a:lnTo>
                      <a:pt x="278" y="12"/>
                    </a:lnTo>
                    <a:lnTo>
                      <a:pt x="278" y="19"/>
                    </a:lnTo>
                    <a:lnTo>
                      <a:pt x="280" y="23"/>
                    </a:lnTo>
                    <a:lnTo>
                      <a:pt x="287" y="24"/>
                    </a:lnTo>
                    <a:lnTo>
                      <a:pt x="287" y="26"/>
                    </a:lnTo>
                    <a:lnTo>
                      <a:pt x="287" y="28"/>
                    </a:lnTo>
                    <a:lnTo>
                      <a:pt x="284" y="30"/>
                    </a:lnTo>
                    <a:lnTo>
                      <a:pt x="282" y="33"/>
                    </a:lnTo>
                    <a:lnTo>
                      <a:pt x="273" y="40"/>
                    </a:lnTo>
                    <a:lnTo>
                      <a:pt x="270" y="52"/>
                    </a:lnTo>
                    <a:lnTo>
                      <a:pt x="272" y="57"/>
                    </a:lnTo>
                    <a:lnTo>
                      <a:pt x="277" y="62"/>
                    </a:lnTo>
                    <a:lnTo>
                      <a:pt x="277" y="64"/>
                    </a:lnTo>
                    <a:lnTo>
                      <a:pt x="277" y="67"/>
                    </a:lnTo>
                    <a:lnTo>
                      <a:pt x="282" y="67"/>
                    </a:lnTo>
                    <a:lnTo>
                      <a:pt x="289" y="69"/>
                    </a:lnTo>
                    <a:lnTo>
                      <a:pt x="289" y="73"/>
                    </a:lnTo>
                    <a:lnTo>
                      <a:pt x="292" y="76"/>
                    </a:lnTo>
                    <a:lnTo>
                      <a:pt x="301" y="73"/>
                    </a:lnTo>
                    <a:lnTo>
                      <a:pt x="309" y="69"/>
                    </a:lnTo>
                    <a:lnTo>
                      <a:pt x="316" y="66"/>
                    </a:lnTo>
                    <a:lnTo>
                      <a:pt x="327" y="66"/>
                    </a:lnTo>
                    <a:lnTo>
                      <a:pt x="325" y="67"/>
                    </a:lnTo>
                    <a:lnTo>
                      <a:pt x="325" y="71"/>
                    </a:lnTo>
                    <a:lnTo>
                      <a:pt x="328" y="74"/>
                    </a:lnTo>
                    <a:lnTo>
                      <a:pt x="332" y="78"/>
                    </a:lnTo>
                    <a:lnTo>
                      <a:pt x="337" y="74"/>
                    </a:lnTo>
                    <a:lnTo>
                      <a:pt x="342" y="73"/>
                    </a:lnTo>
                    <a:lnTo>
                      <a:pt x="352" y="69"/>
                    </a:lnTo>
                    <a:lnTo>
                      <a:pt x="364" y="67"/>
                    </a:lnTo>
                    <a:lnTo>
                      <a:pt x="371" y="61"/>
                    </a:lnTo>
                    <a:lnTo>
                      <a:pt x="383" y="57"/>
                    </a:lnTo>
                    <a:lnTo>
                      <a:pt x="392" y="57"/>
                    </a:lnTo>
                    <a:lnTo>
                      <a:pt x="401" y="59"/>
                    </a:lnTo>
                    <a:lnTo>
                      <a:pt x="399" y="62"/>
                    </a:lnTo>
                    <a:lnTo>
                      <a:pt x="399" y="66"/>
                    </a:lnTo>
                    <a:lnTo>
                      <a:pt x="407" y="64"/>
                    </a:lnTo>
                    <a:lnTo>
                      <a:pt x="416" y="64"/>
                    </a:lnTo>
                    <a:lnTo>
                      <a:pt x="425" y="62"/>
                    </a:lnTo>
                    <a:lnTo>
                      <a:pt x="435" y="62"/>
                    </a:lnTo>
                    <a:lnTo>
                      <a:pt x="447" y="62"/>
                    </a:lnTo>
                    <a:lnTo>
                      <a:pt x="461" y="62"/>
                    </a:lnTo>
                    <a:lnTo>
                      <a:pt x="466" y="64"/>
                    </a:lnTo>
                    <a:lnTo>
                      <a:pt x="471" y="73"/>
                    </a:lnTo>
                    <a:lnTo>
                      <a:pt x="475" y="81"/>
                    </a:lnTo>
                    <a:lnTo>
                      <a:pt x="476" y="91"/>
                    </a:lnTo>
                    <a:lnTo>
                      <a:pt x="473" y="100"/>
                    </a:lnTo>
                    <a:lnTo>
                      <a:pt x="469" y="109"/>
                    </a:lnTo>
                    <a:lnTo>
                      <a:pt x="473" y="122"/>
                    </a:lnTo>
                    <a:lnTo>
                      <a:pt x="478" y="136"/>
                    </a:lnTo>
                    <a:lnTo>
                      <a:pt x="473" y="141"/>
                    </a:lnTo>
                    <a:lnTo>
                      <a:pt x="468" y="147"/>
                    </a:lnTo>
                    <a:lnTo>
                      <a:pt x="461" y="159"/>
                    </a:lnTo>
                    <a:lnTo>
                      <a:pt x="459" y="176"/>
                    </a:lnTo>
                    <a:lnTo>
                      <a:pt x="459" y="183"/>
                    </a:lnTo>
                    <a:lnTo>
                      <a:pt x="464" y="186"/>
                    </a:lnTo>
                    <a:lnTo>
                      <a:pt x="471" y="186"/>
                    </a:lnTo>
                    <a:lnTo>
                      <a:pt x="481" y="188"/>
                    </a:lnTo>
                    <a:lnTo>
                      <a:pt x="490" y="186"/>
                    </a:lnTo>
                    <a:lnTo>
                      <a:pt x="500" y="184"/>
                    </a:lnTo>
                    <a:lnTo>
                      <a:pt x="507" y="181"/>
                    </a:lnTo>
                    <a:lnTo>
                      <a:pt x="518" y="181"/>
                    </a:lnTo>
                    <a:lnTo>
                      <a:pt x="524" y="184"/>
                    </a:lnTo>
                    <a:lnTo>
                      <a:pt x="528" y="193"/>
                    </a:lnTo>
                    <a:lnTo>
                      <a:pt x="531" y="202"/>
                    </a:lnTo>
                    <a:lnTo>
                      <a:pt x="540" y="207"/>
                    </a:lnTo>
                    <a:lnTo>
                      <a:pt x="540" y="227"/>
                    </a:lnTo>
                    <a:lnTo>
                      <a:pt x="540" y="229"/>
                    </a:lnTo>
                    <a:lnTo>
                      <a:pt x="543" y="231"/>
                    </a:lnTo>
                    <a:lnTo>
                      <a:pt x="545" y="234"/>
                    </a:lnTo>
                    <a:lnTo>
                      <a:pt x="550" y="232"/>
                    </a:lnTo>
                    <a:lnTo>
                      <a:pt x="557" y="231"/>
                    </a:lnTo>
                    <a:lnTo>
                      <a:pt x="557" y="234"/>
                    </a:lnTo>
                    <a:lnTo>
                      <a:pt x="557" y="239"/>
                    </a:lnTo>
                    <a:lnTo>
                      <a:pt x="550" y="241"/>
                    </a:lnTo>
                    <a:lnTo>
                      <a:pt x="547" y="2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7" name="Freeform 256"/>
              <p:cNvSpPr>
                <a:spLocks/>
              </p:cNvSpPr>
              <p:nvPr/>
            </p:nvSpPr>
            <p:spPr bwMode="auto">
              <a:xfrm>
                <a:off x="4429919" y="2020888"/>
                <a:ext cx="598488" cy="574675"/>
              </a:xfrm>
              <a:custGeom>
                <a:avLst/>
                <a:gdLst/>
                <a:ahLst/>
                <a:cxnLst>
                  <a:cxn ang="0">
                    <a:pos x="66" y="278"/>
                  </a:cxn>
                  <a:cxn ang="0">
                    <a:pos x="23" y="299"/>
                  </a:cxn>
                  <a:cxn ang="0">
                    <a:pos x="9" y="283"/>
                  </a:cxn>
                  <a:cxn ang="0">
                    <a:pos x="2" y="277"/>
                  </a:cxn>
                  <a:cxn ang="0">
                    <a:pos x="2" y="246"/>
                  </a:cxn>
                  <a:cxn ang="0">
                    <a:pos x="12" y="215"/>
                  </a:cxn>
                  <a:cxn ang="0">
                    <a:pos x="45" y="187"/>
                  </a:cxn>
                  <a:cxn ang="0">
                    <a:pos x="52" y="180"/>
                  </a:cxn>
                  <a:cxn ang="0">
                    <a:pos x="98" y="146"/>
                  </a:cxn>
                  <a:cxn ang="0">
                    <a:pos x="107" y="125"/>
                  </a:cxn>
                  <a:cxn ang="0">
                    <a:pos x="136" y="93"/>
                  </a:cxn>
                  <a:cxn ang="0">
                    <a:pos x="164" y="60"/>
                  </a:cxn>
                  <a:cxn ang="0">
                    <a:pos x="145" y="62"/>
                  </a:cxn>
                  <a:cxn ang="0">
                    <a:pos x="145" y="53"/>
                  </a:cxn>
                  <a:cxn ang="0">
                    <a:pos x="153" y="51"/>
                  </a:cxn>
                  <a:cxn ang="0">
                    <a:pos x="176" y="55"/>
                  </a:cxn>
                  <a:cxn ang="0">
                    <a:pos x="176" y="41"/>
                  </a:cxn>
                  <a:cxn ang="0">
                    <a:pos x="191" y="36"/>
                  </a:cxn>
                  <a:cxn ang="0">
                    <a:pos x="212" y="36"/>
                  </a:cxn>
                  <a:cxn ang="0">
                    <a:pos x="241" y="19"/>
                  </a:cxn>
                  <a:cxn ang="0">
                    <a:pos x="251" y="5"/>
                  </a:cxn>
                  <a:cxn ang="0">
                    <a:pos x="274" y="7"/>
                  </a:cxn>
                  <a:cxn ang="0">
                    <a:pos x="289" y="10"/>
                  </a:cxn>
                  <a:cxn ang="0">
                    <a:pos x="306" y="8"/>
                  </a:cxn>
                  <a:cxn ang="0">
                    <a:pos x="329" y="7"/>
                  </a:cxn>
                  <a:cxn ang="0">
                    <a:pos x="349" y="7"/>
                  </a:cxn>
                  <a:cxn ang="0">
                    <a:pos x="344" y="27"/>
                  </a:cxn>
                  <a:cxn ang="0">
                    <a:pos x="355" y="38"/>
                  </a:cxn>
                  <a:cxn ang="0">
                    <a:pos x="339" y="63"/>
                  </a:cxn>
                  <a:cxn ang="0">
                    <a:pos x="351" y="89"/>
                  </a:cxn>
                  <a:cxn ang="0">
                    <a:pos x="353" y="132"/>
                  </a:cxn>
                  <a:cxn ang="0">
                    <a:pos x="363" y="160"/>
                  </a:cxn>
                  <a:cxn ang="0">
                    <a:pos x="370" y="182"/>
                  </a:cxn>
                  <a:cxn ang="0">
                    <a:pos x="342" y="232"/>
                  </a:cxn>
                  <a:cxn ang="0">
                    <a:pos x="301" y="252"/>
                  </a:cxn>
                  <a:cxn ang="0">
                    <a:pos x="255" y="261"/>
                  </a:cxn>
                  <a:cxn ang="0">
                    <a:pos x="232" y="230"/>
                  </a:cxn>
                  <a:cxn ang="0">
                    <a:pos x="227" y="203"/>
                  </a:cxn>
                  <a:cxn ang="0">
                    <a:pos x="263" y="168"/>
                  </a:cxn>
                  <a:cxn ang="0">
                    <a:pos x="289" y="137"/>
                  </a:cxn>
                  <a:cxn ang="0">
                    <a:pos x="250" y="132"/>
                  </a:cxn>
                  <a:cxn ang="0">
                    <a:pos x="232" y="158"/>
                  </a:cxn>
                  <a:cxn ang="0">
                    <a:pos x="207" y="184"/>
                  </a:cxn>
                  <a:cxn ang="0">
                    <a:pos x="174" y="218"/>
                  </a:cxn>
                  <a:cxn ang="0">
                    <a:pos x="174" y="247"/>
                  </a:cxn>
                  <a:cxn ang="0">
                    <a:pos x="196" y="266"/>
                  </a:cxn>
                  <a:cxn ang="0">
                    <a:pos x="176" y="287"/>
                  </a:cxn>
                  <a:cxn ang="0">
                    <a:pos x="162" y="313"/>
                  </a:cxn>
                  <a:cxn ang="0">
                    <a:pos x="160" y="335"/>
                  </a:cxn>
                  <a:cxn ang="0">
                    <a:pos x="140" y="345"/>
                  </a:cxn>
                  <a:cxn ang="0">
                    <a:pos x="115" y="362"/>
                  </a:cxn>
                  <a:cxn ang="0">
                    <a:pos x="105" y="338"/>
                  </a:cxn>
                  <a:cxn ang="0">
                    <a:pos x="95" y="306"/>
                  </a:cxn>
                  <a:cxn ang="0">
                    <a:pos x="88" y="278"/>
                  </a:cxn>
                </a:cxnLst>
                <a:rect l="0" t="0" r="r" b="b"/>
                <a:pathLst>
                  <a:path w="377" h="362">
                    <a:moveTo>
                      <a:pt x="88" y="280"/>
                    </a:moveTo>
                    <a:lnTo>
                      <a:pt x="81" y="275"/>
                    </a:lnTo>
                    <a:lnTo>
                      <a:pt x="78" y="268"/>
                    </a:lnTo>
                    <a:lnTo>
                      <a:pt x="66" y="278"/>
                    </a:lnTo>
                    <a:lnTo>
                      <a:pt x="55" y="290"/>
                    </a:lnTo>
                    <a:lnTo>
                      <a:pt x="43" y="299"/>
                    </a:lnTo>
                    <a:lnTo>
                      <a:pt x="29" y="302"/>
                    </a:lnTo>
                    <a:lnTo>
                      <a:pt x="23" y="299"/>
                    </a:lnTo>
                    <a:lnTo>
                      <a:pt x="16" y="295"/>
                    </a:lnTo>
                    <a:lnTo>
                      <a:pt x="7" y="290"/>
                    </a:lnTo>
                    <a:lnTo>
                      <a:pt x="5" y="289"/>
                    </a:lnTo>
                    <a:lnTo>
                      <a:pt x="9" y="283"/>
                    </a:lnTo>
                    <a:lnTo>
                      <a:pt x="14" y="280"/>
                    </a:lnTo>
                    <a:lnTo>
                      <a:pt x="14" y="273"/>
                    </a:lnTo>
                    <a:lnTo>
                      <a:pt x="7" y="273"/>
                    </a:lnTo>
                    <a:lnTo>
                      <a:pt x="2" y="277"/>
                    </a:lnTo>
                    <a:lnTo>
                      <a:pt x="4" y="270"/>
                    </a:lnTo>
                    <a:lnTo>
                      <a:pt x="9" y="263"/>
                    </a:lnTo>
                    <a:lnTo>
                      <a:pt x="4" y="254"/>
                    </a:lnTo>
                    <a:lnTo>
                      <a:pt x="2" y="246"/>
                    </a:lnTo>
                    <a:lnTo>
                      <a:pt x="0" y="235"/>
                    </a:lnTo>
                    <a:lnTo>
                      <a:pt x="0" y="227"/>
                    </a:lnTo>
                    <a:lnTo>
                      <a:pt x="4" y="218"/>
                    </a:lnTo>
                    <a:lnTo>
                      <a:pt x="12" y="215"/>
                    </a:lnTo>
                    <a:lnTo>
                      <a:pt x="21" y="203"/>
                    </a:lnTo>
                    <a:lnTo>
                      <a:pt x="35" y="197"/>
                    </a:lnTo>
                    <a:lnTo>
                      <a:pt x="40" y="192"/>
                    </a:lnTo>
                    <a:lnTo>
                      <a:pt x="45" y="187"/>
                    </a:lnTo>
                    <a:lnTo>
                      <a:pt x="52" y="184"/>
                    </a:lnTo>
                    <a:lnTo>
                      <a:pt x="64" y="184"/>
                    </a:lnTo>
                    <a:lnTo>
                      <a:pt x="57" y="182"/>
                    </a:lnTo>
                    <a:lnTo>
                      <a:pt x="52" y="180"/>
                    </a:lnTo>
                    <a:lnTo>
                      <a:pt x="66" y="173"/>
                    </a:lnTo>
                    <a:lnTo>
                      <a:pt x="78" y="165"/>
                    </a:lnTo>
                    <a:lnTo>
                      <a:pt x="86" y="154"/>
                    </a:lnTo>
                    <a:lnTo>
                      <a:pt x="98" y="146"/>
                    </a:lnTo>
                    <a:lnTo>
                      <a:pt x="100" y="139"/>
                    </a:lnTo>
                    <a:lnTo>
                      <a:pt x="103" y="132"/>
                    </a:lnTo>
                    <a:lnTo>
                      <a:pt x="103" y="127"/>
                    </a:lnTo>
                    <a:lnTo>
                      <a:pt x="107" y="125"/>
                    </a:lnTo>
                    <a:lnTo>
                      <a:pt x="109" y="118"/>
                    </a:lnTo>
                    <a:lnTo>
                      <a:pt x="112" y="113"/>
                    </a:lnTo>
                    <a:lnTo>
                      <a:pt x="122" y="99"/>
                    </a:lnTo>
                    <a:lnTo>
                      <a:pt x="136" y="93"/>
                    </a:lnTo>
                    <a:lnTo>
                      <a:pt x="143" y="86"/>
                    </a:lnTo>
                    <a:lnTo>
                      <a:pt x="152" y="77"/>
                    </a:lnTo>
                    <a:lnTo>
                      <a:pt x="158" y="68"/>
                    </a:lnTo>
                    <a:lnTo>
                      <a:pt x="164" y="60"/>
                    </a:lnTo>
                    <a:lnTo>
                      <a:pt x="148" y="65"/>
                    </a:lnTo>
                    <a:lnTo>
                      <a:pt x="134" y="70"/>
                    </a:lnTo>
                    <a:lnTo>
                      <a:pt x="138" y="65"/>
                    </a:lnTo>
                    <a:lnTo>
                      <a:pt x="145" y="62"/>
                    </a:lnTo>
                    <a:lnTo>
                      <a:pt x="138" y="60"/>
                    </a:lnTo>
                    <a:lnTo>
                      <a:pt x="136" y="60"/>
                    </a:lnTo>
                    <a:lnTo>
                      <a:pt x="138" y="55"/>
                    </a:lnTo>
                    <a:lnTo>
                      <a:pt x="145" y="53"/>
                    </a:lnTo>
                    <a:lnTo>
                      <a:pt x="148" y="55"/>
                    </a:lnTo>
                    <a:lnTo>
                      <a:pt x="150" y="50"/>
                    </a:lnTo>
                    <a:lnTo>
                      <a:pt x="153" y="48"/>
                    </a:lnTo>
                    <a:lnTo>
                      <a:pt x="153" y="51"/>
                    </a:lnTo>
                    <a:lnTo>
                      <a:pt x="153" y="56"/>
                    </a:lnTo>
                    <a:lnTo>
                      <a:pt x="162" y="58"/>
                    </a:lnTo>
                    <a:lnTo>
                      <a:pt x="170" y="62"/>
                    </a:lnTo>
                    <a:lnTo>
                      <a:pt x="176" y="55"/>
                    </a:lnTo>
                    <a:lnTo>
                      <a:pt x="179" y="50"/>
                    </a:lnTo>
                    <a:lnTo>
                      <a:pt x="176" y="48"/>
                    </a:lnTo>
                    <a:lnTo>
                      <a:pt x="172" y="48"/>
                    </a:lnTo>
                    <a:lnTo>
                      <a:pt x="176" y="41"/>
                    </a:lnTo>
                    <a:lnTo>
                      <a:pt x="184" y="39"/>
                    </a:lnTo>
                    <a:lnTo>
                      <a:pt x="188" y="39"/>
                    </a:lnTo>
                    <a:lnTo>
                      <a:pt x="193" y="39"/>
                    </a:lnTo>
                    <a:lnTo>
                      <a:pt x="191" y="36"/>
                    </a:lnTo>
                    <a:lnTo>
                      <a:pt x="189" y="36"/>
                    </a:lnTo>
                    <a:lnTo>
                      <a:pt x="198" y="29"/>
                    </a:lnTo>
                    <a:lnTo>
                      <a:pt x="212" y="29"/>
                    </a:lnTo>
                    <a:lnTo>
                      <a:pt x="212" y="36"/>
                    </a:lnTo>
                    <a:lnTo>
                      <a:pt x="219" y="27"/>
                    </a:lnTo>
                    <a:lnTo>
                      <a:pt x="231" y="22"/>
                    </a:lnTo>
                    <a:lnTo>
                      <a:pt x="231" y="29"/>
                    </a:lnTo>
                    <a:lnTo>
                      <a:pt x="241" y="19"/>
                    </a:lnTo>
                    <a:lnTo>
                      <a:pt x="255" y="15"/>
                    </a:lnTo>
                    <a:lnTo>
                      <a:pt x="248" y="12"/>
                    </a:lnTo>
                    <a:lnTo>
                      <a:pt x="246" y="10"/>
                    </a:lnTo>
                    <a:lnTo>
                      <a:pt x="251" y="5"/>
                    </a:lnTo>
                    <a:lnTo>
                      <a:pt x="258" y="1"/>
                    </a:lnTo>
                    <a:lnTo>
                      <a:pt x="262" y="7"/>
                    </a:lnTo>
                    <a:lnTo>
                      <a:pt x="269" y="10"/>
                    </a:lnTo>
                    <a:lnTo>
                      <a:pt x="274" y="7"/>
                    </a:lnTo>
                    <a:lnTo>
                      <a:pt x="284" y="3"/>
                    </a:lnTo>
                    <a:lnTo>
                      <a:pt x="291" y="0"/>
                    </a:lnTo>
                    <a:lnTo>
                      <a:pt x="294" y="3"/>
                    </a:lnTo>
                    <a:lnTo>
                      <a:pt x="289" y="10"/>
                    </a:lnTo>
                    <a:lnTo>
                      <a:pt x="284" y="20"/>
                    </a:lnTo>
                    <a:lnTo>
                      <a:pt x="294" y="13"/>
                    </a:lnTo>
                    <a:lnTo>
                      <a:pt x="306" y="5"/>
                    </a:lnTo>
                    <a:lnTo>
                      <a:pt x="306" y="8"/>
                    </a:lnTo>
                    <a:lnTo>
                      <a:pt x="308" y="13"/>
                    </a:lnTo>
                    <a:lnTo>
                      <a:pt x="318" y="5"/>
                    </a:lnTo>
                    <a:lnTo>
                      <a:pt x="329" y="0"/>
                    </a:lnTo>
                    <a:lnTo>
                      <a:pt x="329" y="7"/>
                    </a:lnTo>
                    <a:lnTo>
                      <a:pt x="334" y="12"/>
                    </a:lnTo>
                    <a:lnTo>
                      <a:pt x="336" y="5"/>
                    </a:lnTo>
                    <a:lnTo>
                      <a:pt x="341" y="3"/>
                    </a:lnTo>
                    <a:lnTo>
                      <a:pt x="349" y="7"/>
                    </a:lnTo>
                    <a:lnTo>
                      <a:pt x="358" y="12"/>
                    </a:lnTo>
                    <a:lnTo>
                      <a:pt x="349" y="20"/>
                    </a:lnTo>
                    <a:lnTo>
                      <a:pt x="337" y="24"/>
                    </a:lnTo>
                    <a:lnTo>
                      <a:pt x="344" y="27"/>
                    </a:lnTo>
                    <a:lnTo>
                      <a:pt x="348" y="31"/>
                    </a:lnTo>
                    <a:lnTo>
                      <a:pt x="355" y="32"/>
                    </a:lnTo>
                    <a:lnTo>
                      <a:pt x="363" y="34"/>
                    </a:lnTo>
                    <a:lnTo>
                      <a:pt x="355" y="38"/>
                    </a:lnTo>
                    <a:lnTo>
                      <a:pt x="348" y="44"/>
                    </a:lnTo>
                    <a:lnTo>
                      <a:pt x="339" y="50"/>
                    </a:lnTo>
                    <a:lnTo>
                      <a:pt x="337" y="60"/>
                    </a:lnTo>
                    <a:lnTo>
                      <a:pt x="339" y="63"/>
                    </a:lnTo>
                    <a:lnTo>
                      <a:pt x="346" y="68"/>
                    </a:lnTo>
                    <a:lnTo>
                      <a:pt x="353" y="72"/>
                    </a:lnTo>
                    <a:lnTo>
                      <a:pt x="356" y="80"/>
                    </a:lnTo>
                    <a:lnTo>
                      <a:pt x="351" y="89"/>
                    </a:lnTo>
                    <a:lnTo>
                      <a:pt x="348" y="101"/>
                    </a:lnTo>
                    <a:lnTo>
                      <a:pt x="351" y="113"/>
                    </a:lnTo>
                    <a:lnTo>
                      <a:pt x="356" y="125"/>
                    </a:lnTo>
                    <a:lnTo>
                      <a:pt x="353" y="132"/>
                    </a:lnTo>
                    <a:lnTo>
                      <a:pt x="351" y="141"/>
                    </a:lnTo>
                    <a:lnTo>
                      <a:pt x="353" y="146"/>
                    </a:lnTo>
                    <a:lnTo>
                      <a:pt x="358" y="153"/>
                    </a:lnTo>
                    <a:lnTo>
                      <a:pt x="363" y="160"/>
                    </a:lnTo>
                    <a:lnTo>
                      <a:pt x="367" y="166"/>
                    </a:lnTo>
                    <a:lnTo>
                      <a:pt x="363" y="170"/>
                    </a:lnTo>
                    <a:lnTo>
                      <a:pt x="361" y="173"/>
                    </a:lnTo>
                    <a:lnTo>
                      <a:pt x="370" y="182"/>
                    </a:lnTo>
                    <a:lnTo>
                      <a:pt x="377" y="194"/>
                    </a:lnTo>
                    <a:lnTo>
                      <a:pt x="370" y="206"/>
                    </a:lnTo>
                    <a:lnTo>
                      <a:pt x="358" y="220"/>
                    </a:lnTo>
                    <a:lnTo>
                      <a:pt x="342" y="232"/>
                    </a:lnTo>
                    <a:lnTo>
                      <a:pt x="332" y="244"/>
                    </a:lnTo>
                    <a:lnTo>
                      <a:pt x="324" y="249"/>
                    </a:lnTo>
                    <a:lnTo>
                      <a:pt x="313" y="252"/>
                    </a:lnTo>
                    <a:lnTo>
                      <a:pt x="301" y="252"/>
                    </a:lnTo>
                    <a:lnTo>
                      <a:pt x="294" y="254"/>
                    </a:lnTo>
                    <a:lnTo>
                      <a:pt x="277" y="259"/>
                    </a:lnTo>
                    <a:lnTo>
                      <a:pt x="263" y="263"/>
                    </a:lnTo>
                    <a:lnTo>
                      <a:pt x="255" y="261"/>
                    </a:lnTo>
                    <a:lnTo>
                      <a:pt x="251" y="256"/>
                    </a:lnTo>
                    <a:lnTo>
                      <a:pt x="236" y="251"/>
                    </a:lnTo>
                    <a:lnTo>
                      <a:pt x="231" y="237"/>
                    </a:lnTo>
                    <a:lnTo>
                      <a:pt x="232" y="230"/>
                    </a:lnTo>
                    <a:lnTo>
                      <a:pt x="238" y="227"/>
                    </a:lnTo>
                    <a:lnTo>
                      <a:pt x="229" y="218"/>
                    </a:lnTo>
                    <a:lnTo>
                      <a:pt x="227" y="208"/>
                    </a:lnTo>
                    <a:lnTo>
                      <a:pt x="227" y="203"/>
                    </a:lnTo>
                    <a:lnTo>
                      <a:pt x="227" y="197"/>
                    </a:lnTo>
                    <a:lnTo>
                      <a:pt x="241" y="192"/>
                    </a:lnTo>
                    <a:lnTo>
                      <a:pt x="253" y="182"/>
                    </a:lnTo>
                    <a:lnTo>
                      <a:pt x="263" y="168"/>
                    </a:lnTo>
                    <a:lnTo>
                      <a:pt x="274" y="161"/>
                    </a:lnTo>
                    <a:lnTo>
                      <a:pt x="286" y="154"/>
                    </a:lnTo>
                    <a:lnTo>
                      <a:pt x="293" y="146"/>
                    </a:lnTo>
                    <a:lnTo>
                      <a:pt x="289" y="137"/>
                    </a:lnTo>
                    <a:lnTo>
                      <a:pt x="282" y="134"/>
                    </a:lnTo>
                    <a:lnTo>
                      <a:pt x="272" y="132"/>
                    </a:lnTo>
                    <a:lnTo>
                      <a:pt x="263" y="132"/>
                    </a:lnTo>
                    <a:lnTo>
                      <a:pt x="250" y="132"/>
                    </a:lnTo>
                    <a:lnTo>
                      <a:pt x="241" y="136"/>
                    </a:lnTo>
                    <a:lnTo>
                      <a:pt x="234" y="141"/>
                    </a:lnTo>
                    <a:lnTo>
                      <a:pt x="232" y="151"/>
                    </a:lnTo>
                    <a:lnTo>
                      <a:pt x="232" y="158"/>
                    </a:lnTo>
                    <a:lnTo>
                      <a:pt x="232" y="163"/>
                    </a:lnTo>
                    <a:lnTo>
                      <a:pt x="227" y="170"/>
                    </a:lnTo>
                    <a:lnTo>
                      <a:pt x="219" y="179"/>
                    </a:lnTo>
                    <a:lnTo>
                      <a:pt x="207" y="184"/>
                    </a:lnTo>
                    <a:lnTo>
                      <a:pt x="198" y="191"/>
                    </a:lnTo>
                    <a:lnTo>
                      <a:pt x="184" y="196"/>
                    </a:lnTo>
                    <a:lnTo>
                      <a:pt x="176" y="208"/>
                    </a:lnTo>
                    <a:lnTo>
                      <a:pt x="174" y="218"/>
                    </a:lnTo>
                    <a:lnTo>
                      <a:pt x="169" y="228"/>
                    </a:lnTo>
                    <a:lnTo>
                      <a:pt x="169" y="237"/>
                    </a:lnTo>
                    <a:lnTo>
                      <a:pt x="172" y="242"/>
                    </a:lnTo>
                    <a:lnTo>
                      <a:pt x="174" y="247"/>
                    </a:lnTo>
                    <a:lnTo>
                      <a:pt x="179" y="249"/>
                    </a:lnTo>
                    <a:lnTo>
                      <a:pt x="188" y="254"/>
                    </a:lnTo>
                    <a:lnTo>
                      <a:pt x="193" y="259"/>
                    </a:lnTo>
                    <a:lnTo>
                      <a:pt x="196" y="266"/>
                    </a:lnTo>
                    <a:lnTo>
                      <a:pt x="193" y="271"/>
                    </a:lnTo>
                    <a:lnTo>
                      <a:pt x="188" y="278"/>
                    </a:lnTo>
                    <a:lnTo>
                      <a:pt x="179" y="283"/>
                    </a:lnTo>
                    <a:lnTo>
                      <a:pt x="176" y="287"/>
                    </a:lnTo>
                    <a:lnTo>
                      <a:pt x="169" y="289"/>
                    </a:lnTo>
                    <a:lnTo>
                      <a:pt x="164" y="295"/>
                    </a:lnTo>
                    <a:lnTo>
                      <a:pt x="162" y="304"/>
                    </a:lnTo>
                    <a:lnTo>
                      <a:pt x="162" y="313"/>
                    </a:lnTo>
                    <a:lnTo>
                      <a:pt x="164" y="320"/>
                    </a:lnTo>
                    <a:lnTo>
                      <a:pt x="169" y="321"/>
                    </a:lnTo>
                    <a:lnTo>
                      <a:pt x="164" y="328"/>
                    </a:lnTo>
                    <a:lnTo>
                      <a:pt x="160" y="335"/>
                    </a:lnTo>
                    <a:lnTo>
                      <a:pt x="155" y="338"/>
                    </a:lnTo>
                    <a:lnTo>
                      <a:pt x="153" y="345"/>
                    </a:lnTo>
                    <a:lnTo>
                      <a:pt x="145" y="345"/>
                    </a:lnTo>
                    <a:lnTo>
                      <a:pt x="140" y="345"/>
                    </a:lnTo>
                    <a:lnTo>
                      <a:pt x="133" y="347"/>
                    </a:lnTo>
                    <a:lnTo>
                      <a:pt x="129" y="354"/>
                    </a:lnTo>
                    <a:lnTo>
                      <a:pt x="122" y="359"/>
                    </a:lnTo>
                    <a:lnTo>
                      <a:pt x="115" y="362"/>
                    </a:lnTo>
                    <a:lnTo>
                      <a:pt x="112" y="357"/>
                    </a:lnTo>
                    <a:lnTo>
                      <a:pt x="109" y="350"/>
                    </a:lnTo>
                    <a:lnTo>
                      <a:pt x="105" y="342"/>
                    </a:lnTo>
                    <a:lnTo>
                      <a:pt x="105" y="338"/>
                    </a:lnTo>
                    <a:lnTo>
                      <a:pt x="105" y="335"/>
                    </a:lnTo>
                    <a:lnTo>
                      <a:pt x="105" y="333"/>
                    </a:lnTo>
                    <a:lnTo>
                      <a:pt x="97" y="320"/>
                    </a:lnTo>
                    <a:lnTo>
                      <a:pt x="95" y="306"/>
                    </a:lnTo>
                    <a:lnTo>
                      <a:pt x="88" y="297"/>
                    </a:lnTo>
                    <a:lnTo>
                      <a:pt x="85" y="287"/>
                    </a:lnTo>
                    <a:lnTo>
                      <a:pt x="86" y="282"/>
                    </a:lnTo>
                    <a:lnTo>
                      <a:pt x="88" y="278"/>
                    </a:lnTo>
                    <a:lnTo>
                      <a:pt x="88" y="2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8" name="Freeform 257"/>
              <p:cNvSpPr>
                <a:spLocks/>
              </p:cNvSpPr>
              <p:nvPr/>
            </p:nvSpPr>
            <p:spPr bwMode="auto">
              <a:xfrm>
                <a:off x="4763294" y="1717675"/>
                <a:ext cx="3906838" cy="1449387"/>
              </a:xfrm>
              <a:custGeom>
                <a:avLst/>
                <a:gdLst/>
                <a:ahLst/>
                <a:cxnLst>
                  <a:cxn ang="0">
                    <a:pos x="1720" y="708"/>
                  </a:cxn>
                  <a:cxn ang="0">
                    <a:pos x="1734" y="571"/>
                  </a:cxn>
                  <a:cxn ang="0">
                    <a:pos x="1744" y="488"/>
                  </a:cxn>
                  <a:cxn ang="0">
                    <a:pos x="1906" y="464"/>
                  </a:cxn>
                  <a:cxn ang="0">
                    <a:pos x="2002" y="416"/>
                  </a:cxn>
                  <a:cxn ang="0">
                    <a:pos x="2086" y="409"/>
                  </a:cxn>
                  <a:cxn ang="0">
                    <a:pos x="1976" y="507"/>
                  </a:cxn>
                  <a:cxn ang="0">
                    <a:pos x="2011" y="584"/>
                  </a:cxn>
                  <a:cxn ang="0">
                    <a:pos x="2091" y="452"/>
                  </a:cxn>
                  <a:cxn ang="0">
                    <a:pos x="2257" y="399"/>
                  </a:cxn>
                  <a:cxn ang="0">
                    <a:pos x="2324" y="328"/>
                  </a:cxn>
                  <a:cxn ang="0">
                    <a:pos x="2425" y="333"/>
                  </a:cxn>
                  <a:cxn ang="0">
                    <a:pos x="2355" y="261"/>
                  </a:cxn>
                  <a:cxn ang="0">
                    <a:pos x="2177" y="234"/>
                  </a:cxn>
                  <a:cxn ang="0">
                    <a:pos x="1978" y="184"/>
                  </a:cxn>
                  <a:cxn ang="0">
                    <a:pos x="1835" y="143"/>
                  </a:cxn>
                  <a:cxn ang="0">
                    <a:pos x="1696" y="179"/>
                  </a:cxn>
                  <a:cxn ang="0">
                    <a:pos x="1582" y="173"/>
                  </a:cxn>
                  <a:cxn ang="0">
                    <a:pos x="1436" y="130"/>
                  </a:cxn>
                  <a:cxn ang="0">
                    <a:pos x="1266" y="122"/>
                  </a:cxn>
                  <a:cxn ang="0">
                    <a:pos x="1233" y="2"/>
                  </a:cxn>
                  <a:cxn ang="0">
                    <a:pos x="1106" y="48"/>
                  </a:cxn>
                  <a:cxn ang="0">
                    <a:pos x="958" y="106"/>
                  </a:cxn>
                  <a:cxn ang="0">
                    <a:pos x="863" y="156"/>
                  </a:cxn>
                  <a:cxn ang="0">
                    <a:pos x="790" y="148"/>
                  </a:cxn>
                  <a:cxn ang="0">
                    <a:pos x="769" y="251"/>
                  </a:cxn>
                  <a:cxn ang="0">
                    <a:pos x="731" y="137"/>
                  </a:cxn>
                  <a:cxn ang="0">
                    <a:pos x="704" y="256"/>
                  </a:cxn>
                  <a:cxn ang="0">
                    <a:pos x="585" y="247"/>
                  </a:cxn>
                  <a:cxn ang="0">
                    <a:pos x="470" y="247"/>
                  </a:cxn>
                  <a:cxn ang="0">
                    <a:pos x="363" y="247"/>
                  </a:cxn>
                  <a:cxn ang="0">
                    <a:pos x="294" y="335"/>
                  </a:cxn>
                  <a:cxn ang="0">
                    <a:pos x="237" y="311"/>
                  </a:cxn>
                  <a:cxn ang="0">
                    <a:pos x="225" y="244"/>
                  </a:cxn>
                  <a:cxn ang="0">
                    <a:pos x="136" y="259"/>
                  </a:cxn>
                  <a:cxn ang="0">
                    <a:pos x="153" y="361"/>
                  </a:cxn>
                  <a:cxn ang="0">
                    <a:pos x="107" y="464"/>
                  </a:cxn>
                  <a:cxn ang="0">
                    <a:pos x="41" y="500"/>
                  </a:cxn>
                  <a:cxn ang="0">
                    <a:pos x="45" y="567"/>
                  </a:cxn>
                  <a:cxn ang="0">
                    <a:pos x="43" y="688"/>
                  </a:cxn>
                  <a:cxn ang="0">
                    <a:pos x="124" y="734"/>
                  </a:cxn>
                  <a:cxn ang="0">
                    <a:pos x="212" y="755"/>
                  </a:cxn>
                  <a:cxn ang="0">
                    <a:pos x="253" y="713"/>
                  </a:cxn>
                  <a:cxn ang="0">
                    <a:pos x="270" y="765"/>
                  </a:cxn>
                  <a:cxn ang="0">
                    <a:pos x="353" y="829"/>
                  </a:cxn>
                  <a:cxn ang="0">
                    <a:pos x="415" y="851"/>
                  </a:cxn>
                  <a:cxn ang="0">
                    <a:pos x="403" y="727"/>
                  </a:cxn>
                  <a:cxn ang="0">
                    <a:pos x="492" y="729"/>
                  </a:cxn>
                  <a:cxn ang="0">
                    <a:pos x="473" y="811"/>
                  </a:cxn>
                  <a:cxn ang="0">
                    <a:pos x="494" y="880"/>
                  </a:cxn>
                  <a:cxn ang="0">
                    <a:pos x="599" y="889"/>
                  </a:cxn>
                  <a:cxn ang="0">
                    <a:pos x="666" y="875"/>
                  </a:cxn>
                  <a:cxn ang="0">
                    <a:pos x="747" y="872"/>
                  </a:cxn>
                  <a:cxn ang="0">
                    <a:pos x="798" y="825"/>
                  </a:cxn>
                  <a:cxn ang="0">
                    <a:pos x="932" y="710"/>
                  </a:cxn>
                  <a:cxn ang="0">
                    <a:pos x="1030" y="648"/>
                  </a:cxn>
                  <a:cxn ang="0">
                    <a:pos x="1152" y="612"/>
                  </a:cxn>
                  <a:cxn ang="0">
                    <a:pos x="1268" y="653"/>
                  </a:cxn>
                  <a:cxn ang="0">
                    <a:pos x="1422" y="653"/>
                  </a:cxn>
                  <a:cxn ang="0">
                    <a:pos x="1546" y="629"/>
                  </a:cxn>
                  <a:cxn ang="0">
                    <a:pos x="1649" y="682"/>
                  </a:cxn>
                  <a:cxn ang="0">
                    <a:pos x="1610" y="780"/>
                  </a:cxn>
                </a:cxnLst>
                <a:rect l="0" t="0" r="r" b="b"/>
                <a:pathLst>
                  <a:path w="2461" h="913">
                    <a:moveTo>
                      <a:pt x="1608" y="786"/>
                    </a:moveTo>
                    <a:lnTo>
                      <a:pt x="1612" y="786"/>
                    </a:lnTo>
                    <a:lnTo>
                      <a:pt x="1620" y="787"/>
                    </a:lnTo>
                    <a:lnTo>
                      <a:pt x="1631" y="789"/>
                    </a:lnTo>
                    <a:lnTo>
                      <a:pt x="1644" y="791"/>
                    </a:lnTo>
                    <a:lnTo>
                      <a:pt x="1653" y="787"/>
                    </a:lnTo>
                    <a:lnTo>
                      <a:pt x="1663" y="780"/>
                    </a:lnTo>
                    <a:lnTo>
                      <a:pt x="1674" y="768"/>
                    </a:lnTo>
                    <a:lnTo>
                      <a:pt x="1684" y="756"/>
                    </a:lnTo>
                    <a:lnTo>
                      <a:pt x="1692" y="743"/>
                    </a:lnTo>
                    <a:lnTo>
                      <a:pt x="1703" y="729"/>
                    </a:lnTo>
                    <a:lnTo>
                      <a:pt x="1711" y="717"/>
                    </a:lnTo>
                    <a:lnTo>
                      <a:pt x="1720" y="708"/>
                    </a:lnTo>
                    <a:lnTo>
                      <a:pt x="1725" y="700"/>
                    </a:lnTo>
                    <a:lnTo>
                      <a:pt x="1734" y="691"/>
                    </a:lnTo>
                    <a:lnTo>
                      <a:pt x="1737" y="681"/>
                    </a:lnTo>
                    <a:lnTo>
                      <a:pt x="1742" y="670"/>
                    </a:lnTo>
                    <a:lnTo>
                      <a:pt x="1742" y="660"/>
                    </a:lnTo>
                    <a:lnTo>
                      <a:pt x="1742" y="652"/>
                    </a:lnTo>
                    <a:lnTo>
                      <a:pt x="1742" y="641"/>
                    </a:lnTo>
                    <a:lnTo>
                      <a:pt x="1748" y="633"/>
                    </a:lnTo>
                    <a:lnTo>
                      <a:pt x="1753" y="621"/>
                    </a:lnTo>
                    <a:lnTo>
                      <a:pt x="1758" y="605"/>
                    </a:lnTo>
                    <a:lnTo>
                      <a:pt x="1753" y="591"/>
                    </a:lnTo>
                    <a:lnTo>
                      <a:pt x="1744" y="579"/>
                    </a:lnTo>
                    <a:lnTo>
                      <a:pt x="1734" y="571"/>
                    </a:lnTo>
                    <a:lnTo>
                      <a:pt x="1725" y="572"/>
                    </a:lnTo>
                    <a:lnTo>
                      <a:pt x="1713" y="578"/>
                    </a:lnTo>
                    <a:lnTo>
                      <a:pt x="1705" y="578"/>
                    </a:lnTo>
                    <a:lnTo>
                      <a:pt x="1694" y="576"/>
                    </a:lnTo>
                    <a:lnTo>
                      <a:pt x="1689" y="574"/>
                    </a:lnTo>
                    <a:lnTo>
                      <a:pt x="1680" y="562"/>
                    </a:lnTo>
                    <a:lnTo>
                      <a:pt x="1679" y="557"/>
                    </a:lnTo>
                    <a:lnTo>
                      <a:pt x="1682" y="545"/>
                    </a:lnTo>
                    <a:lnTo>
                      <a:pt x="1692" y="535"/>
                    </a:lnTo>
                    <a:lnTo>
                      <a:pt x="1705" y="524"/>
                    </a:lnTo>
                    <a:lnTo>
                      <a:pt x="1717" y="516"/>
                    </a:lnTo>
                    <a:lnTo>
                      <a:pt x="1729" y="502"/>
                    </a:lnTo>
                    <a:lnTo>
                      <a:pt x="1744" y="488"/>
                    </a:lnTo>
                    <a:lnTo>
                      <a:pt x="1760" y="474"/>
                    </a:lnTo>
                    <a:lnTo>
                      <a:pt x="1775" y="468"/>
                    </a:lnTo>
                    <a:lnTo>
                      <a:pt x="1784" y="464"/>
                    </a:lnTo>
                    <a:lnTo>
                      <a:pt x="1796" y="464"/>
                    </a:lnTo>
                    <a:lnTo>
                      <a:pt x="1809" y="461"/>
                    </a:lnTo>
                    <a:lnTo>
                      <a:pt x="1825" y="461"/>
                    </a:lnTo>
                    <a:lnTo>
                      <a:pt x="1837" y="459"/>
                    </a:lnTo>
                    <a:lnTo>
                      <a:pt x="1851" y="457"/>
                    </a:lnTo>
                    <a:lnTo>
                      <a:pt x="1861" y="457"/>
                    </a:lnTo>
                    <a:lnTo>
                      <a:pt x="1871" y="457"/>
                    </a:lnTo>
                    <a:lnTo>
                      <a:pt x="1885" y="457"/>
                    </a:lnTo>
                    <a:lnTo>
                      <a:pt x="1895" y="462"/>
                    </a:lnTo>
                    <a:lnTo>
                      <a:pt x="1906" y="464"/>
                    </a:lnTo>
                    <a:lnTo>
                      <a:pt x="1916" y="468"/>
                    </a:lnTo>
                    <a:lnTo>
                      <a:pt x="1920" y="468"/>
                    </a:lnTo>
                    <a:lnTo>
                      <a:pt x="1925" y="468"/>
                    </a:lnTo>
                    <a:lnTo>
                      <a:pt x="1932" y="468"/>
                    </a:lnTo>
                    <a:lnTo>
                      <a:pt x="1944" y="468"/>
                    </a:lnTo>
                    <a:lnTo>
                      <a:pt x="1945" y="454"/>
                    </a:lnTo>
                    <a:lnTo>
                      <a:pt x="1949" y="445"/>
                    </a:lnTo>
                    <a:lnTo>
                      <a:pt x="1954" y="435"/>
                    </a:lnTo>
                    <a:lnTo>
                      <a:pt x="1961" y="428"/>
                    </a:lnTo>
                    <a:lnTo>
                      <a:pt x="1968" y="421"/>
                    </a:lnTo>
                    <a:lnTo>
                      <a:pt x="1978" y="418"/>
                    </a:lnTo>
                    <a:lnTo>
                      <a:pt x="1988" y="416"/>
                    </a:lnTo>
                    <a:lnTo>
                      <a:pt x="2002" y="416"/>
                    </a:lnTo>
                    <a:lnTo>
                      <a:pt x="2007" y="414"/>
                    </a:lnTo>
                    <a:lnTo>
                      <a:pt x="2012" y="414"/>
                    </a:lnTo>
                    <a:lnTo>
                      <a:pt x="2019" y="414"/>
                    </a:lnTo>
                    <a:lnTo>
                      <a:pt x="2031" y="416"/>
                    </a:lnTo>
                    <a:lnTo>
                      <a:pt x="2024" y="423"/>
                    </a:lnTo>
                    <a:lnTo>
                      <a:pt x="2028" y="433"/>
                    </a:lnTo>
                    <a:lnTo>
                      <a:pt x="2031" y="433"/>
                    </a:lnTo>
                    <a:lnTo>
                      <a:pt x="2042" y="428"/>
                    </a:lnTo>
                    <a:lnTo>
                      <a:pt x="2055" y="416"/>
                    </a:lnTo>
                    <a:lnTo>
                      <a:pt x="2074" y="397"/>
                    </a:lnTo>
                    <a:lnTo>
                      <a:pt x="2081" y="397"/>
                    </a:lnTo>
                    <a:lnTo>
                      <a:pt x="2088" y="404"/>
                    </a:lnTo>
                    <a:lnTo>
                      <a:pt x="2086" y="409"/>
                    </a:lnTo>
                    <a:lnTo>
                      <a:pt x="2085" y="416"/>
                    </a:lnTo>
                    <a:lnTo>
                      <a:pt x="2078" y="423"/>
                    </a:lnTo>
                    <a:lnTo>
                      <a:pt x="2067" y="433"/>
                    </a:lnTo>
                    <a:lnTo>
                      <a:pt x="2057" y="437"/>
                    </a:lnTo>
                    <a:lnTo>
                      <a:pt x="2047" y="438"/>
                    </a:lnTo>
                    <a:lnTo>
                      <a:pt x="2038" y="442"/>
                    </a:lnTo>
                    <a:lnTo>
                      <a:pt x="2031" y="450"/>
                    </a:lnTo>
                    <a:lnTo>
                      <a:pt x="2023" y="461"/>
                    </a:lnTo>
                    <a:lnTo>
                      <a:pt x="2016" y="474"/>
                    </a:lnTo>
                    <a:lnTo>
                      <a:pt x="2005" y="483"/>
                    </a:lnTo>
                    <a:lnTo>
                      <a:pt x="1997" y="493"/>
                    </a:lnTo>
                    <a:lnTo>
                      <a:pt x="1985" y="498"/>
                    </a:lnTo>
                    <a:lnTo>
                      <a:pt x="1976" y="507"/>
                    </a:lnTo>
                    <a:lnTo>
                      <a:pt x="1968" y="517"/>
                    </a:lnTo>
                    <a:lnTo>
                      <a:pt x="1966" y="535"/>
                    </a:lnTo>
                    <a:lnTo>
                      <a:pt x="1966" y="541"/>
                    </a:lnTo>
                    <a:lnTo>
                      <a:pt x="1966" y="553"/>
                    </a:lnTo>
                    <a:lnTo>
                      <a:pt x="1968" y="567"/>
                    </a:lnTo>
                    <a:lnTo>
                      <a:pt x="1971" y="583"/>
                    </a:lnTo>
                    <a:lnTo>
                      <a:pt x="1973" y="595"/>
                    </a:lnTo>
                    <a:lnTo>
                      <a:pt x="1976" y="609"/>
                    </a:lnTo>
                    <a:lnTo>
                      <a:pt x="1981" y="617"/>
                    </a:lnTo>
                    <a:lnTo>
                      <a:pt x="1987" y="626"/>
                    </a:lnTo>
                    <a:lnTo>
                      <a:pt x="1993" y="610"/>
                    </a:lnTo>
                    <a:lnTo>
                      <a:pt x="2000" y="596"/>
                    </a:lnTo>
                    <a:lnTo>
                      <a:pt x="2011" y="584"/>
                    </a:lnTo>
                    <a:lnTo>
                      <a:pt x="2024" y="578"/>
                    </a:lnTo>
                    <a:lnTo>
                      <a:pt x="2026" y="567"/>
                    </a:lnTo>
                    <a:lnTo>
                      <a:pt x="2033" y="562"/>
                    </a:lnTo>
                    <a:lnTo>
                      <a:pt x="2040" y="555"/>
                    </a:lnTo>
                    <a:lnTo>
                      <a:pt x="2045" y="550"/>
                    </a:lnTo>
                    <a:lnTo>
                      <a:pt x="2047" y="538"/>
                    </a:lnTo>
                    <a:lnTo>
                      <a:pt x="2054" y="531"/>
                    </a:lnTo>
                    <a:lnTo>
                      <a:pt x="2059" y="524"/>
                    </a:lnTo>
                    <a:lnTo>
                      <a:pt x="2062" y="519"/>
                    </a:lnTo>
                    <a:lnTo>
                      <a:pt x="2059" y="509"/>
                    </a:lnTo>
                    <a:lnTo>
                      <a:pt x="2062" y="497"/>
                    </a:lnTo>
                    <a:lnTo>
                      <a:pt x="2076" y="469"/>
                    </a:lnTo>
                    <a:lnTo>
                      <a:pt x="2091" y="452"/>
                    </a:lnTo>
                    <a:lnTo>
                      <a:pt x="2105" y="443"/>
                    </a:lnTo>
                    <a:lnTo>
                      <a:pt x="2119" y="442"/>
                    </a:lnTo>
                    <a:lnTo>
                      <a:pt x="2129" y="443"/>
                    </a:lnTo>
                    <a:lnTo>
                      <a:pt x="2140" y="449"/>
                    </a:lnTo>
                    <a:lnTo>
                      <a:pt x="2148" y="452"/>
                    </a:lnTo>
                    <a:lnTo>
                      <a:pt x="2157" y="455"/>
                    </a:lnTo>
                    <a:lnTo>
                      <a:pt x="2172" y="452"/>
                    </a:lnTo>
                    <a:lnTo>
                      <a:pt x="2188" y="445"/>
                    </a:lnTo>
                    <a:lnTo>
                      <a:pt x="2202" y="435"/>
                    </a:lnTo>
                    <a:lnTo>
                      <a:pt x="2217" y="426"/>
                    </a:lnTo>
                    <a:lnTo>
                      <a:pt x="2229" y="414"/>
                    </a:lnTo>
                    <a:lnTo>
                      <a:pt x="2243" y="406"/>
                    </a:lnTo>
                    <a:lnTo>
                      <a:pt x="2257" y="399"/>
                    </a:lnTo>
                    <a:lnTo>
                      <a:pt x="2272" y="397"/>
                    </a:lnTo>
                    <a:lnTo>
                      <a:pt x="2293" y="394"/>
                    </a:lnTo>
                    <a:lnTo>
                      <a:pt x="2305" y="390"/>
                    </a:lnTo>
                    <a:lnTo>
                      <a:pt x="2308" y="385"/>
                    </a:lnTo>
                    <a:lnTo>
                      <a:pt x="2308" y="380"/>
                    </a:lnTo>
                    <a:lnTo>
                      <a:pt x="2301" y="373"/>
                    </a:lnTo>
                    <a:lnTo>
                      <a:pt x="2294" y="366"/>
                    </a:lnTo>
                    <a:lnTo>
                      <a:pt x="2289" y="361"/>
                    </a:lnTo>
                    <a:lnTo>
                      <a:pt x="2288" y="359"/>
                    </a:lnTo>
                    <a:lnTo>
                      <a:pt x="2291" y="345"/>
                    </a:lnTo>
                    <a:lnTo>
                      <a:pt x="2303" y="339"/>
                    </a:lnTo>
                    <a:lnTo>
                      <a:pt x="2313" y="333"/>
                    </a:lnTo>
                    <a:lnTo>
                      <a:pt x="2324" y="328"/>
                    </a:lnTo>
                    <a:lnTo>
                      <a:pt x="2324" y="316"/>
                    </a:lnTo>
                    <a:lnTo>
                      <a:pt x="2331" y="311"/>
                    </a:lnTo>
                    <a:lnTo>
                      <a:pt x="2341" y="311"/>
                    </a:lnTo>
                    <a:lnTo>
                      <a:pt x="2353" y="316"/>
                    </a:lnTo>
                    <a:lnTo>
                      <a:pt x="2363" y="323"/>
                    </a:lnTo>
                    <a:lnTo>
                      <a:pt x="2374" y="332"/>
                    </a:lnTo>
                    <a:lnTo>
                      <a:pt x="2382" y="339"/>
                    </a:lnTo>
                    <a:lnTo>
                      <a:pt x="2392" y="345"/>
                    </a:lnTo>
                    <a:lnTo>
                      <a:pt x="2403" y="351"/>
                    </a:lnTo>
                    <a:lnTo>
                      <a:pt x="2413" y="354"/>
                    </a:lnTo>
                    <a:lnTo>
                      <a:pt x="2417" y="351"/>
                    </a:lnTo>
                    <a:lnTo>
                      <a:pt x="2422" y="344"/>
                    </a:lnTo>
                    <a:lnTo>
                      <a:pt x="2425" y="333"/>
                    </a:lnTo>
                    <a:lnTo>
                      <a:pt x="2430" y="328"/>
                    </a:lnTo>
                    <a:lnTo>
                      <a:pt x="2435" y="321"/>
                    </a:lnTo>
                    <a:lnTo>
                      <a:pt x="2442" y="320"/>
                    </a:lnTo>
                    <a:lnTo>
                      <a:pt x="2451" y="316"/>
                    </a:lnTo>
                    <a:lnTo>
                      <a:pt x="2461" y="314"/>
                    </a:lnTo>
                    <a:lnTo>
                      <a:pt x="2451" y="304"/>
                    </a:lnTo>
                    <a:lnTo>
                      <a:pt x="2439" y="297"/>
                    </a:lnTo>
                    <a:lnTo>
                      <a:pt x="2425" y="289"/>
                    </a:lnTo>
                    <a:lnTo>
                      <a:pt x="2411" y="284"/>
                    </a:lnTo>
                    <a:lnTo>
                      <a:pt x="2394" y="277"/>
                    </a:lnTo>
                    <a:lnTo>
                      <a:pt x="2380" y="271"/>
                    </a:lnTo>
                    <a:lnTo>
                      <a:pt x="2365" y="266"/>
                    </a:lnTo>
                    <a:lnTo>
                      <a:pt x="2355" y="261"/>
                    </a:lnTo>
                    <a:lnTo>
                      <a:pt x="2337" y="251"/>
                    </a:lnTo>
                    <a:lnTo>
                      <a:pt x="2320" y="242"/>
                    </a:lnTo>
                    <a:lnTo>
                      <a:pt x="2301" y="234"/>
                    </a:lnTo>
                    <a:lnTo>
                      <a:pt x="2284" y="227"/>
                    </a:lnTo>
                    <a:lnTo>
                      <a:pt x="2263" y="220"/>
                    </a:lnTo>
                    <a:lnTo>
                      <a:pt x="2243" y="216"/>
                    </a:lnTo>
                    <a:lnTo>
                      <a:pt x="2222" y="213"/>
                    </a:lnTo>
                    <a:lnTo>
                      <a:pt x="2202" y="213"/>
                    </a:lnTo>
                    <a:lnTo>
                      <a:pt x="2190" y="213"/>
                    </a:lnTo>
                    <a:lnTo>
                      <a:pt x="2181" y="215"/>
                    </a:lnTo>
                    <a:lnTo>
                      <a:pt x="2176" y="216"/>
                    </a:lnTo>
                    <a:lnTo>
                      <a:pt x="2176" y="222"/>
                    </a:lnTo>
                    <a:lnTo>
                      <a:pt x="2177" y="234"/>
                    </a:lnTo>
                    <a:lnTo>
                      <a:pt x="2177" y="241"/>
                    </a:lnTo>
                    <a:lnTo>
                      <a:pt x="2172" y="242"/>
                    </a:lnTo>
                    <a:lnTo>
                      <a:pt x="2169" y="239"/>
                    </a:lnTo>
                    <a:lnTo>
                      <a:pt x="2153" y="227"/>
                    </a:lnTo>
                    <a:lnTo>
                      <a:pt x="2143" y="222"/>
                    </a:lnTo>
                    <a:lnTo>
                      <a:pt x="2026" y="220"/>
                    </a:lnTo>
                    <a:lnTo>
                      <a:pt x="2023" y="210"/>
                    </a:lnTo>
                    <a:lnTo>
                      <a:pt x="2019" y="203"/>
                    </a:lnTo>
                    <a:lnTo>
                      <a:pt x="2012" y="196"/>
                    </a:lnTo>
                    <a:lnTo>
                      <a:pt x="2007" y="191"/>
                    </a:lnTo>
                    <a:lnTo>
                      <a:pt x="1999" y="186"/>
                    </a:lnTo>
                    <a:lnTo>
                      <a:pt x="1990" y="184"/>
                    </a:lnTo>
                    <a:lnTo>
                      <a:pt x="1978" y="184"/>
                    </a:lnTo>
                    <a:lnTo>
                      <a:pt x="1968" y="184"/>
                    </a:lnTo>
                    <a:lnTo>
                      <a:pt x="1952" y="184"/>
                    </a:lnTo>
                    <a:lnTo>
                      <a:pt x="1937" y="186"/>
                    </a:lnTo>
                    <a:lnTo>
                      <a:pt x="1921" y="186"/>
                    </a:lnTo>
                    <a:lnTo>
                      <a:pt x="1911" y="182"/>
                    </a:lnTo>
                    <a:lnTo>
                      <a:pt x="1904" y="173"/>
                    </a:lnTo>
                    <a:lnTo>
                      <a:pt x="1899" y="167"/>
                    </a:lnTo>
                    <a:lnTo>
                      <a:pt x="1892" y="160"/>
                    </a:lnTo>
                    <a:lnTo>
                      <a:pt x="1885" y="156"/>
                    </a:lnTo>
                    <a:lnTo>
                      <a:pt x="1871" y="151"/>
                    </a:lnTo>
                    <a:lnTo>
                      <a:pt x="1859" y="148"/>
                    </a:lnTo>
                    <a:lnTo>
                      <a:pt x="1847" y="144"/>
                    </a:lnTo>
                    <a:lnTo>
                      <a:pt x="1835" y="143"/>
                    </a:lnTo>
                    <a:lnTo>
                      <a:pt x="1821" y="141"/>
                    </a:lnTo>
                    <a:lnTo>
                      <a:pt x="1808" y="139"/>
                    </a:lnTo>
                    <a:lnTo>
                      <a:pt x="1794" y="139"/>
                    </a:lnTo>
                    <a:lnTo>
                      <a:pt x="1780" y="139"/>
                    </a:lnTo>
                    <a:lnTo>
                      <a:pt x="1765" y="139"/>
                    </a:lnTo>
                    <a:lnTo>
                      <a:pt x="1756" y="143"/>
                    </a:lnTo>
                    <a:lnTo>
                      <a:pt x="1748" y="146"/>
                    </a:lnTo>
                    <a:lnTo>
                      <a:pt x="1742" y="151"/>
                    </a:lnTo>
                    <a:lnTo>
                      <a:pt x="1734" y="163"/>
                    </a:lnTo>
                    <a:lnTo>
                      <a:pt x="1732" y="179"/>
                    </a:lnTo>
                    <a:lnTo>
                      <a:pt x="1717" y="179"/>
                    </a:lnTo>
                    <a:lnTo>
                      <a:pt x="1706" y="179"/>
                    </a:lnTo>
                    <a:lnTo>
                      <a:pt x="1696" y="179"/>
                    </a:lnTo>
                    <a:lnTo>
                      <a:pt x="1687" y="179"/>
                    </a:lnTo>
                    <a:lnTo>
                      <a:pt x="1668" y="179"/>
                    </a:lnTo>
                    <a:lnTo>
                      <a:pt x="1651" y="179"/>
                    </a:lnTo>
                    <a:lnTo>
                      <a:pt x="1641" y="175"/>
                    </a:lnTo>
                    <a:lnTo>
                      <a:pt x="1636" y="172"/>
                    </a:lnTo>
                    <a:lnTo>
                      <a:pt x="1627" y="168"/>
                    </a:lnTo>
                    <a:lnTo>
                      <a:pt x="1619" y="167"/>
                    </a:lnTo>
                    <a:lnTo>
                      <a:pt x="1615" y="172"/>
                    </a:lnTo>
                    <a:lnTo>
                      <a:pt x="1613" y="180"/>
                    </a:lnTo>
                    <a:lnTo>
                      <a:pt x="1610" y="186"/>
                    </a:lnTo>
                    <a:lnTo>
                      <a:pt x="1606" y="189"/>
                    </a:lnTo>
                    <a:lnTo>
                      <a:pt x="1591" y="184"/>
                    </a:lnTo>
                    <a:lnTo>
                      <a:pt x="1582" y="173"/>
                    </a:lnTo>
                    <a:lnTo>
                      <a:pt x="1576" y="160"/>
                    </a:lnTo>
                    <a:lnTo>
                      <a:pt x="1576" y="149"/>
                    </a:lnTo>
                    <a:lnTo>
                      <a:pt x="1579" y="143"/>
                    </a:lnTo>
                    <a:lnTo>
                      <a:pt x="1582" y="132"/>
                    </a:lnTo>
                    <a:lnTo>
                      <a:pt x="1576" y="125"/>
                    </a:lnTo>
                    <a:lnTo>
                      <a:pt x="1565" y="118"/>
                    </a:lnTo>
                    <a:lnTo>
                      <a:pt x="1543" y="113"/>
                    </a:lnTo>
                    <a:lnTo>
                      <a:pt x="1512" y="112"/>
                    </a:lnTo>
                    <a:lnTo>
                      <a:pt x="1502" y="110"/>
                    </a:lnTo>
                    <a:lnTo>
                      <a:pt x="1496" y="113"/>
                    </a:lnTo>
                    <a:lnTo>
                      <a:pt x="1491" y="118"/>
                    </a:lnTo>
                    <a:lnTo>
                      <a:pt x="1491" y="130"/>
                    </a:lnTo>
                    <a:lnTo>
                      <a:pt x="1436" y="130"/>
                    </a:lnTo>
                    <a:lnTo>
                      <a:pt x="1426" y="127"/>
                    </a:lnTo>
                    <a:lnTo>
                      <a:pt x="1410" y="125"/>
                    </a:lnTo>
                    <a:lnTo>
                      <a:pt x="1391" y="122"/>
                    </a:lnTo>
                    <a:lnTo>
                      <a:pt x="1374" y="118"/>
                    </a:lnTo>
                    <a:lnTo>
                      <a:pt x="1355" y="113"/>
                    </a:lnTo>
                    <a:lnTo>
                      <a:pt x="1338" y="108"/>
                    </a:lnTo>
                    <a:lnTo>
                      <a:pt x="1326" y="103"/>
                    </a:lnTo>
                    <a:lnTo>
                      <a:pt x="1319" y="98"/>
                    </a:lnTo>
                    <a:lnTo>
                      <a:pt x="1297" y="113"/>
                    </a:lnTo>
                    <a:lnTo>
                      <a:pt x="1283" y="124"/>
                    </a:lnTo>
                    <a:lnTo>
                      <a:pt x="1273" y="127"/>
                    </a:lnTo>
                    <a:lnTo>
                      <a:pt x="1268" y="129"/>
                    </a:lnTo>
                    <a:lnTo>
                      <a:pt x="1266" y="122"/>
                    </a:lnTo>
                    <a:lnTo>
                      <a:pt x="1268" y="118"/>
                    </a:lnTo>
                    <a:lnTo>
                      <a:pt x="1278" y="108"/>
                    </a:lnTo>
                    <a:lnTo>
                      <a:pt x="1299" y="100"/>
                    </a:lnTo>
                    <a:lnTo>
                      <a:pt x="1321" y="88"/>
                    </a:lnTo>
                    <a:lnTo>
                      <a:pt x="1343" y="75"/>
                    </a:lnTo>
                    <a:lnTo>
                      <a:pt x="1355" y="62"/>
                    </a:lnTo>
                    <a:lnTo>
                      <a:pt x="1359" y="50"/>
                    </a:lnTo>
                    <a:lnTo>
                      <a:pt x="1345" y="38"/>
                    </a:lnTo>
                    <a:lnTo>
                      <a:pt x="1312" y="27"/>
                    </a:lnTo>
                    <a:lnTo>
                      <a:pt x="1257" y="27"/>
                    </a:lnTo>
                    <a:lnTo>
                      <a:pt x="1252" y="17"/>
                    </a:lnTo>
                    <a:lnTo>
                      <a:pt x="1245" y="8"/>
                    </a:lnTo>
                    <a:lnTo>
                      <a:pt x="1233" y="2"/>
                    </a:lnTo>
                    <a:lnTo>
                      <a:pt x="1219" y="0"/>
                    </a:lnTo>
                    <a:lnTo>
                      <a:pt x="1209" y="0"/>
                    </a:lnTo>
                    <a:lnTo>
                      <a:pt x="1201" y="2"/>
                    </a:lnTo>
                    <a:lnTo>
                      <a:pt x="1194" y="5"/>
                    </a:lnTo>
                    <a:lnTo>
                      <a:pt x="1189" y="10"/>
                    </a:lnTo>
                    <a:lnTo>
                      <a:pt x="1178" y="19"/>
                    </a:lnTo>
                    <a:lnTo>
                      <a:pt x="1170" y="29"/>
                    </a:lnTo>
                    <a:lnTo>
                      <a:pt x="1163" y="31"/>
                    </a:lnTo>
                    <a:lnTo>
                      <a:pt x="1152" y="36"/>
                    </a:lnTo>
                    <a:lnTo>
                      <a:pt x="1140" y="41"/>
                    </a:lnTo>
                    <a:lnTo>
                      <a:pt x="1128" y="46"/>
                    </a:lnTo>
                    <a:lnTo>
                      <a:pt x="1115" y="46"/>
                    </a:lnTo>
                    <a:lnTo>
                      <a:pt x="1106" y="48"/>
                    </a:lnTo>
                    <a:lnTo>
                      <a:pt x="1099" y="45"/>
                    </a:lnTo>
                    <a:lnTo>
                      <a:pt x="1099" y="39"/>
                    </a:lnTo>
                    <a:lnTo>
                      <a:pt x="1089" y="39"/>
                    </a:lnTo>
                    <a:lnTo>
                      <a:pt x="1077" y="43"/>
                    </a:lnTo>
                    <a:lnTo>
                      <a:pt x="1060" y="45"/>
                    </a:lnTo>
                    <a:lnTo>
                      <a:pt x="1044" y="50"/>
                    </a:lnTo>
                    <a:lnTo>
                      <a:pt x="1023" y="55"/>
                    </a:lnTo>
                    <a:lnTo>
                      <a:pt x="1006" y="62"/>
                    </a:lnTo>
                    <a:lnTo>
                      <a:pt x="987" y="70"/>
                    </a:lnTo>
                    <a:lnTo>
                      <a:pt x="974" y="82"/>
                    </a:lnTo>
                    <a:lnTo>
                      <a:pt x="968" y="89"/>
                    </a:lnTo>
                    <a:lnTo>
                      <a:pt x="963" y="100"/>
                    </a:lnTo>
                    <a:lnTo>
                      <a:pt x="958" y="106"/>
                    </a:lnTo>
                    <a:lnTo>
                      <a:pt x="953" y="112"/>
                    </a:lnTo>
                    <a:lnTo>
                      <a:pt x="943" y="110"/>
                    </a:lnTo>
                    <a:lnTo>
                      <a:pt x="932" y="110"/>
                    </a:lnTo>
                    <a:lnTo>
                      <a:pt x="919" y="110"/>
                    </a:lnTo>
                    <a:lnTo>
                      <a:pt x="905" y="112"/>
                    </a:lnTo>
                    <a:lnTo>
                      <a:pt x="891" y="112"/>
                    </a:lnTo>
                    <a:lnTo>
                      <a:pt x="881" y="117"/>
                    </a:lnTo>
                    <a:lnTo>
                      <a:pt x="874" y="122"/>
                    </a:lnTo>
                    <a:lnTo>
                      <a:pt x="872" y="134"/>
                    </a:lnTo>
                    <a:lnTo>
                      <a:pt x="874" y="143"/>
                    </a:lnTo>
                    <a:lnTo>
                      <a:pt x="881" y="155"/>
                    </a:lnTo>
                    <a:lnTo>
                      <a:pt x="872" y="156"/>
                    </a:lnTo>
                    <a:lnTo>
                      <a:pt x="863" y="156"/>
                    </a:lnTo>
                    <a:lnTo>
                      <a:pt x="857" y="155"/>
                    </a:lnTo>
                    <a:lnTo>
                      <a:pt x="850" y="155"/>
                    </a:lnTo>
                    <a:lnTo>
                      <a:pt x="839" y="155"/>
                    </a:lnTo>
                    <a:lnTo>
                      <a:pt x="829" y="155"/>
                    </a:lnTo>
                    <a:lnTo>
                      <a:pt x="817" y="163"/>
                    </a:lnTo>
                    <a:lnTo>
                      <a:pt x="810" y="168"/>
                    </a:lnTo>
                    <a:lnTo>
                      <a:pt x="805" y="168"/>
                    </a:lnTo>
                    <a:lnTo>
                      <a:pt x="803" y="165"/>
                    </a:lnTo>
                    <a:lnTo>
                      <a:pt x="798" y="156"/>
                    </a:lnTo>
                    <a:lnTo>
                      <a:pt x="798" y="149"/>
                    </a:lnTo>
                    <a:lnTo>
                      <a:pt x="796" y="143"/>
                    </a:lnTo>
                    <a:lnTo>
                      <a:pt x="795" y="139"/>
                    </a:lnTo>
                    <a:lnTo>
                      <a:pt x="790" y="148"/>
                    </a:lnTo>
                    <a:lnTo>
                      <a:pt x="784" y="156"/>
                    </a:lnTo>
                    <a:lnTo>
                      <a:pt x="776" y="161"/>
                    </a:lnTo>
                    <a:lnTo>
                      <a:pt x="769" y="168"/>
                    </a:lnTo>
                    <a:lnTo>
                      <a:pt x="772" y="179"/>
                    </a:lnTo>
                    <a:lnTo>
                      <a:pt x="781" y="191"/>
                    </a:lnTo>
                    <a:lnTo>
                      <a:pt x="783" y="201"/>
                    </a:lnTo>
                    <a:lnTo>
                      <a:pt x="779" y="215"/>
                    </a:lnTo>
                    <a:lnTo>
                      <a:pt x="776" y="227"/>
                    </a:lnTo>
                    <a:lnTo>
                      <a:pt x="783" y="244"/>
                    </a:lnTo>
                    <a:lnTo>
                      <a:pt x="786" y="258"/>
                    </a:lnTo>
                    <a:lnTo>
                      <a:pt x="783" y="265"/>
                    </a:lnTo>
                    <a:lnTo>
                      <a:pt x="774" y="259"/>
                    </a:lnTo>
                    <a:lnTo>
                      <a:pt x="769" y="251"/>
                    </a:lnTo>
                    <a:lnTo>
                      <a:pt x="764" y="237"/>
                    </a:lnTo>
                    <a:lnTo>
                      <a:pt x="760" y="223"/>
                    </a:lnTo>
                    <a:lnTo>
                      <a:pt x="757" y="206"/>
                    </a:lnTo>
                    <a:lnTo>
                      <a:pt x="755" y="192"/>
                    </a:lnTo>
                    <a:lnTo>
                      <a:pt x="755" y="179"/>
                    </a:lnTo>
                    <a:lnTo>
                      <a:pt x="755" y="172"/>
                    </a:lnTo>
                    <a:lnTo>
                      <a:pt x="759" y="160"/>
                    </a:lnTo>
                    <a:lnTo>
                      <a:pt x="764" y="151"/>
                    </a:lnTo>
                    <a:lnTo>
                      <a:pt x="762" y="146"/>
                    </a:lnTo>
                    <a:lnTo>
                      <a:pt x="760" y="144"/>
                    </a:lnTo>
                    <a:lnTo>
                      <a:pt x="753" y="141"/>
                    </a:lnTo>
                    <a:lnTo>
                      <a:pt x="741" y="139"/>
                    </a:lnTo>
                    <a:lnTo>
                      <a:pt x="731" y="137"/>
                    </a:lnTo>
                    <a:lnTo>
                      <a:pt x="721" y="141"/>
                    </a:lnTo>
                    <a:lnTo>
                      <a:pt x="710" y="146"/>
                    </a:lnTo>
                    <a:lnTo>
                      <a:pt x="700" y="155"/>
                    </a:lnTo>
                    <a:lnTo>
                      <a:pt x="690" y="161"/>
                    </a:lnTo>
                    <a:lnTo>
                      <a:pt x="683" y="172"/>
                    </a:lnTo>
                    <a:lnTo>
                      <a:pt x="678" y="180"/>
                    </a:lnTo>
                    <a:lnTo>
                      <a:pt x="678" y="189"/>
                    </a:lnTo>
                    <a:lnTo>
                      <a:pt x="678" y="204"/>
                    </a:lnTo>
                    <a:lnTo>
                      <a:pt x="683" y="218"/>
                    </a:lnTo>
                    <a:lnTo>
                      <a:pt x="690" y="229"/>
                    </a:lnTo>
                    <a:lnTo>
                      <a:pt x="700" y="241"/>
                    </a:lnTo>
                    <a:lnTo>
                      <a:pt x="705" y="251"/>
                    </a:lnTo>
                    <a:lnTo>
                      <a:pt x="704" y="256"/>
                    </a:lnTo>
                    <a:lnTo>
                      <a:pt x="697" y="256"/>
                    </a:lnTo>
                    <a:lnTo>
                      <a:pt x="686" y="253"/>
                    </a:lnTo>
                    <a:lnTo>
                      <a:pt x="673" y="246"/>
                    </a:lnTo>
                    <a:lnTo>
                      <a:pt x="659" y="239"/>
                    </a:lnTo>
                    <a:lnTo>
                      <a:pt x="643" y="232"/>
                    </a:lnTo>
                    <a:lnTo>
                      <a:pt x="635" y="229"/>
                    </a:lnTo>
                    <a:lnTo>
                      <a:pt x="612" y="222"/>
                    </a:lnTo>
                    <a:lnTo>
                      <a:pt x="597" y="222"/>
                    </a:lnTo>
                    <a:lnTo>
                      <a:pt x="588" y="220"/>
                    </a:lnTo>
                    <a:lnTo>
                      <a:pt x="585" y="225"/>
                    </a:lnTo>
                    <a:lnTo>
                      <a:pt x="585" y="230"/>
                    </a:lnTo>
                    <a:lnTo>
                      <a:pt x="588" y="237"/>
                    </a:lnTo>
                    <a:lnTo>
                      <a:pt x="585" y="247"/>
                    </a:lnTo>
                    <a:lnTo>
                      <a:pt x="583" y="254"/>
                    </a:lnTo>
                    <a:lnTo>
                      <a:pt x="580" y="254"/>
                    </a:lnTo>
                    <a:lnTo>
                      <a:pt x="576" y="256"/>
                    </a:lnTo>
                    <a:lnTo>
                      <a:pt x="568" y="249"/>
                    </a:lnTo>
                    <a:lnTo>
                      <a:pt x="561" y="246"/>
                    </a:lnTo>
                    <a:lnTo>
                      <a:pt x="545" y="247"/>
                    </a:lnTo>
                    <a:lnTo>
                      <a:pt x="528" y="254"/>
                    </a:lnTo>
                    <a:lnTo>
                      <a:pt x="518" y="256"/>
                    </a:lnTo>
                    <a:lnTo>
                      <a:pt x="507" y="258"/>
                    </a:lnTo>
                    <a:lnTo>
                      <a:pt x="497" y="256"/>
                    </a:lnTo>
                    <a:lnTo>
                      <a:pt x="490" y="256"/>
                    </a:lnTo>
                    <a:lnTo>
                      <a:pt x="482" y="247"/>
                    </a:lnTo>
                    <a:lnTo>
                      <a:pt x="470" y="247"/>
                    </a:lnTo>
                    <a:lnTo>
                      <a:pt x="454" y="253"/>
                    </a:lnTo>
                    <a:lnTo>
                      <a:pt x="439" y="263"/>
                    </a:lnTo>
                    <a:lnTo>
                      <a:pt x="420" y="273"/>
                    </a:lnTo>
                    <a:lnTo>
                      <a:pt x="406" y="284"/>
                    </a:lnTo>
                    <a:lnTo>
                      <a:pt x="392" y="290"/>
                    </a:lnTo>
                    <a:lnTo>
                      <a:pt x="384" y="294"/>
                    </a:lnTo>
                    <a:lnTo>
                      <a:pt x="373" y="290"/>
                    </a:lnTo>
                    <a:lnTo>
                      <a:pt x="370" y="284"/>
                    </a:lnTo>
                    <a:lnTo>
                      <a:pt x="370" y="273"/>
                    </a:lnTo>
                    <a:lnTo>
                      <a:pt x="372" y="265"/>
                    </a:lnTo>
                    <a:lnTo>
                      <a:pt x="370" y="254"/>
                    </a:lnTo>
                    <a:lnTo>
                      <a:pt x="368" y="251"/>
                    </a:lnTo>
                    <a:lnTo>
                      <a:pt x="363" y="247"/>
                    </a:lnTo>
                    <a:lnTo>
                      <a:pt x="358" y="253"/>
                    </a:lnTo>
                    <a:lnTo>
                      <a:pt x="351" y="263"/>
                    </a:lnTo>
                    <a:lnTo>
                      <a:pt x="344" y="285"/>
                    </a:lnTo>
                    <a:lnTo>
                      <a:pt x="347" y="290"/>
                    </a:lnTo>
                    <a:lnTo>
                      <a:pt x="353" y="301"/>
                    </a:lnTo>
                    <a:lnTo>
                      <a:pt x="347" y="308"/>
                    </a:lnTo>
                    <a:lnTo>
                      <a:pt x="337" y="311"/>
                    </a:lnTo>
                    <a:lnTo>
                      <a:pt x="323" y="308"/>
                    </a:lnTo>
                    <a:lnTo>
                      <a:pt x="311" y="311"/>
                    </a:lnTo>
                    <a:lnTo>
                      <a:pt x="306" y="313"/>
                    </a:lnTo>
                    <a:lnTo>
                      <a:pt x="303" y="320"/>
                    </a:lnTo>
                    <a:lnTo>
                      <a:pt x="298" y="327"/>
                    </a:lnTo>
                    <a:lnTo>
                      <a:pt x="294" y="335"/>
                    </a:lnTo>
                    <a:lnTo>
                      <a:pt x="287" y="340"/>
                    </a:lnTo>
                    <a:lnTo>
                      <a:pt x="277" y="344"/>
                    </a:lnTo>
                    <a:lnTo>
                      <a:pt x="263" y="344"/>
                    </a:lnTo>
                    <a:lnTo>
                      <a:pt x="246" y="339"/>
                    </a:lnTo>
                    <a:lnTo>
                      <a:pt x="246" y="359"/>
                    </a:lnTo>
                    <a:lnTo>
                      <a:pt x="234" y="356"/>
                    </a:lnTo>
                    <a:lnTo>
                      <a:pt x="227" y="352"/>
                    </a:lnTo>
                    <a:lnTo>
                      <a:pt x="222" y="345"/>
                    </a:lnTo>
                    <a:lnTo>
                      <a:pt x="220" y="340"/>
                    </a:lnTo>
                    <a:lnTo>
                      <a:pt x="215" y="323"/>
                    </a:lnTo>
                    <a:lnTo>
                      <a:pt x="210" y="311"/>
                    </a:lnTo>
                    <a:lnTo>
                      <a:pt x="224" y="311"/>
                    </a:lnTo>
                    <a:lnTo>
                      <a:pt x="237" y="311"/>
                    </a:lnTo>
                    <a:lnTo>
                      <a:pt x="249" y="311"/>
                    </a:lnTo>
                    <a:lnTo>
                      <a:pt x="265" y="316"/>
                    </a:lnTo>
                    <a:lnTo>
                      <a:pt x="275" y="316"/>
                    </a:lnTo>
                    <a:lnTo>
                      <a:pt x="289" y="313"/>
                    </a:lnTo>
                    <a:lnTo>
                      <a:pt x="299" y="308"/>
                    </a:lnTo>
                    <a:lnTo>
                      <a:pt x="308" y="301"/>
                    </a:lnTo>
                    <a:lnTo>
                      <a:pt x="308" y="290"/>
                    </a:lnTo>
                    <a:lnTo>
                      <a:pt x="303" y="282"/>
                    </a:lnTo>
                    <a:lnTo>
                      <a:pt x="287" y="271"/>
                    </a:lnTo>
                    <a:lnTo>
                      <a:pt x="263" y="261"/>
                    </a:lnTo>
                    <a:lnTo>
                      <a:pt x="251" y="256"/>
                    </a:lnTo>
                    <a:lnTo>
                      <a:pt x="239" y="251"/>
                    </a:lnTo>
                    <a:lnTo>
                      <a:pt x="225" y="244"/>
                    </a:lnTo>
                    <a:lnTo>
                      <a:pt x="212" y="239"/>
                    </a:lnTo>
                    <a:lnTo>
                      <a:pt x="196" y="234"/>
                    </a:lnTo>
                    <a:lnTo>
                      <a:pt x="184" y="229"/>
                    </a:lnTo>
                    <a:lnTo>
                      <a:pt x="174" y="225"/>
                    </a:lnTo>
                    <a:lnTo>
                      <a:pt x="167" y="225"/>
                    </a:lnTo>
                    <a:lnTo>
                      <a:pt x="163" y="223"/>
                    </a:lnTo>
                    <a:lnTo>
                      <a:pt x="153" y="225"/>
                    </a:lnTo>
                    <a:lnTo>
                      <a:pt x="145" y="229"/>
                    </a:lnTo>
                    <a:lnTo>
                      <a:pt x="138" y="235"/>
                    </a:lnTo>
                    <a:lnTo>
                      <a:pt x="129" y="241"/>
                    </a:lnTo>
                    <a:lnTo>
                      <a:pt x="127" y="251"/>
                    </a:lnTo>
                    <a:lnTo>
                      <a:pt x="129" y="254"/>
                    </a:lnTo>
                    <a:lnTo>
                      <a:pt x="136" y="259"/>
                    </a:lnTo>
                    <a:lnTo>
                      <a:pt x="143" y="263"/>
                    </a:lnTo>
                    <a:lnTo>
                      <a:pt x="146" y="271"/>
                    </a:lnTo>
                    <a:lnTo>
                      <a:pt x="141" y="280"/>
                    </a:lnTo>
                    <a:lnTo>
                      <a:pt x="138" y="292"/>
                    </a:lnTo>
                    <a:lnTo>
                      <a:pt x="141" y="304"/>
                    </a:lnTo>
                    <a:lnTo>
                      <a:pt x="146" y="316"/>
                    </a:lnTo>
                    <a:lnTo>
                      <a:pt x="143" y="323"/>
                    </a:lnTo>
                    <a:lnTo>
                      <a:pt x="141" y="332"/>
                    </a:lnTo>
                    <a:lnTo>
                      <a:pt x="143" y="337"/>
                    </a:lnTo>
                    <a:lnTo>
                      <a:pt x="148" y="344"/>
                    </a:lnTo>
                    <a:lnTo>
                      <a:pt x="153" y="351"/>
                    </a:lnTo>
                    <a:lnTo>
                      <a:pt x="157" y="357"/>
                    </a:lnTo>
                    <a:lnTo>
                      <a:pt x="153" y="361"/>
                    </a:lnTo>
                    <a:lnTo>
                      <a:pt x="151" y="364"/>
                    </a:lnTo>
                    <a:lnTo>
                      <a:pt x="160" y="373"/>
                    </a:lnTo>
                    <a:lnTo>
                      <a:pt x="167" y="385"/>
                    </a:lnTo>
                    <a:lnTo>
                      <a:pt x="160" y="397"/>
                    </a:lnTo>
                    <a:lnTo>
                      <a:pt x="148" y="411"/>
                    </a:lnTo>
                    <a:lnTo>
                      <a:pt x="132" y="423"/>
                    </a:lnTo>
                    <a:lnTo>
                      <a:pt x="122" y="435"/>
                    </a:lnTo>
                    <a:lnTo>
                      <a:pt x="127" y="442"/>
                    </a:lnTo>
                    <a:lnTo>
                      <a:pt x="134" y="454"/>
                    </a:lnTo>
                    <a:lnTo>
                      <a:pt x="127" y="455"/>
                    </a:lnTo>
                    <a:lnTo>
                      <a:pt x="120" y="459"/>
                    </a:lnTo>
                    <a:lnTo>
                      <a:pt x="112" y="462"/>
                    </a:lnTo>
                    <a:lnTo>
                      <a:pt x="107" y="464"/>
                    </a:lnTo>
                    <a:lnTo>
                      <a:pt x="95" y="462"/>
                    </a:lnTo>
                    <a:lnTo>
                      <a:pt x="81" y="461"/>
                    </a:lnTo>
                    <a:lnTo>
                      <a:pt x="69" y="461"/>
                    </a:lnTo>
                    <a:lnTo>
                      <a:pt x="59" y="466"/>
                    </a:lnTo>
                    <a:lnTo>
                      <a:pt x="50" y="471"/>
                    </a:lnTo>
                    <a:lnTo>
                      <a:pt x="52" y="478"/>
                    </a:lnTo>
                    <a:lnTo>
                      <a:pt x="64" y="493"/>
                    </a:lnTo>
                    <a:lnTo>
                      <a:pt x="65" y="504"/>
                    </a:lnTo>
                    <a:lnTo>
                      <a:pt x="62" y="509"/>
                    </a:lnTo>
                    <a:lnTo>
                      <a:pt x="59" y="512"/>
                    </a:lnTo>
                    <a:lnTo>
                      <a:pt x="52" y="509"/>
                    </a:lnTo>
                    <a:lnTo>
                      <a:pt x="46" y="505"/>
                    </a:lnTo>
                    <a:lnTo>
                      <a:pt x="41" y="500"/>
                    </a:lnTo>
                    <a:lnTo>
                      <a:pt x="38" y="498"/>
                    </a:lnTo>
                    <a:lnTo>
                      <a:pt x="29" y="502"/>
                    </a:lnTo>
                    <a:lnTo>
                      <a:pt x="24" y="511"/>
                    </a:lnTo>
                    <a:lnTo>
                      <a:pt x="17" y="523"/>
                    </a:lnTo>
                    <a:lnTo>
                      <a:pt x="17" y="535"/>
                    </a:lnTo>
                    <a:lnTo>
                      <a:pt x="14" y="545"/>
                    </a:lnTo>
                    <a:lnTo>
                      <a:pt x="9" y="552"/>
                    </a:lnTo>
                    <a:lnTo>
                      <a:pt x="2" y="557"/>
                    </a:lnTo>
                    <a:lnTo>
                      <a:pt x="0" y="569"/>
                    </a:lnTo>
                    <a:lnTo>
                      <a:pt x="9" y="567"/>
                    </a:lnTo>
                    <a:lnTo>
                      <a:pt x="19" y="567"/>
                    </a:lnTo>
                    <a:lnTo>
                      <a:pt x="31" y="567"/>
                    </a:lnTo>
                    <a:lnTo>
                      <a:pt x="45" y="567"/>
                    </a:lnTo>
                    <a:lnTo>
                      <a:pt x="50" y="569"/>
                    </a:lnTo>
                    <a:lnTo>
                      <a:pt x="55" y="578"/>
                    </a:lnTo>
                    <a:lnTo>
                      <a:pt x="59" y="586"/>
                    </a:lnTo>
                    <a:lnTo>
                      <a:pt x="60" y="596"/>
                    </a:lnTo>
                    <a:lnTo>
                      <a:pt x="57" y="605"/>
                    </a:lnTo>
                    <a:lnTo>
                      <a:pt x="53" y="614"/>
                    </a:lnTo>
                    <a:lnTo>
                      <a:pt x="57" y="627"/>
                    </a:lnTo>
                    <a:lnTo>
                      <a:pt x="62" y="641"/>
                    </a:lnTo>
                    <a:lnTo>
                      <a:pt x="57" y="646"/>
                    </a:lnTo>
                    <a:lnTo>
                      <a:pt x="52" y="652"/>
                    </a:lnTo>
                    <a:lnTo>
                      <a:pt x="45" y="664"/>
                    </a:lnTo>
                    <a:lnTo>
                      <a:pt x="43" y="681"/>
                    </a:lnTo>
                    <a:lnTo>
                      <a:pt x="43" y="688"/>
                    </a:lnTo>
                    <a:lnTo>
                      <a:pt x="48" y="691"/>
                    </a:lnTo>
                    <a:lnTo>
                      <a:pt x="55" y="691"/>
                    </a:lnTo>
                    <a:lnTo>
                      <a:pt x="65" y="693"/>
                    </a:lnTo>
                    <a:lnTo>
                      <a:pt x="74" y="691"/>
                    </a:lnTo>
                    <a:lnTo>
                      <a:pt x="84" y="689"/>
                    </a:lnTo>
                    <a:lnTo>
                      <a:pt x="91" y="686"/>
                    </a:lnTo>
                    <a:lnTo>
                      <a:pt x="102" y="686"/>
                    </a:lnTo>
                    <a:lnTo>
                      <a:pt x="108" y="689"/>
                    </a:lnTo>
                    <a:lnTo>
                      <a:pt x="112" y="698"/>
                    </a:lnTo>
                    <a:lnTo>
                      <a:pt x="115" y="707"/>
                    </a:lnTo>
                    <a:lnTo>
                      <a:pt x="124" y="712"/>
                    </a:lnTo>
                    <a:lnTo>
                      <a:pt x="124" y="732"/>
                    </a:lnTo>
                    <a:lnTo>
                      <a:pt x="124" y="734"/>
                    </a:lnTo>
                    <a:lnTo>
                      <a:pt x="127" y="736"/>
                    </a:lnTo>
                    <a:lnTo>
                      <a:pt x="129" y="739"/>
                    </a:lnTo>
                    <a:lnTo>
                      <a:pt x="134" y="737"/>
                    </a:lnTo>
                    <a:lnTo>
                      <a:pt x="141" y="736"/>
                    </a:lnTo>
                    <a:lnTo>
                      <a:pt x="146" y="731"/>
                    </a:lnTo>
                    <a:lnTo>
                      <a:pt x="153" y="727"/>
                    </a:lnTo>
                    <a:lnTo>
                      <a:pt x="157" y="722"/>
                    </a:lnTo>
                    <a:lnTo>
                      <a:pt x="165" y="720"/>
                    </a:lnTo>
                    <a:lnTo>
                      <a:pt x="172" y="725"/>
                    </a:lnTo>
                    <a:lnTo>
                      <a:pt x="184" y="739"/>
                    </a:lnTo>
                    <a:lnTo>
                      <a:pt x="196" y="751"/>
                    </a:lnTo>
                    <a:lnTo>
                      <a:pt x="205" y="758"/>
                    </a:lnTo>
                    <a:lnTo>
                      <a:pt x="212" y="755"/>
                    </a:lnTo>
                    <a:lnTo>
                      <a:pt x="222" y="751"/>
                    </a:lnTo>
                    <a:lnTo>
                      <a:pt x="232" y="746"/>
                    </a:lnTo>
                    <a:lnTo>
                      <a:pt x="239" y="743"/>
                    </a:lnTo>
                    <a:lnTo>
                      <a:pt x="236" y="741"/>
                    </a:lnTo>
                    <a:lnTo>
                      <a:pt x="232" y="741"/>
                    </a:lnTo>
                    <a:lnTo>
                      <a:pt x="227" y="741"/>
                    </a:lnTo>
                    <a:lnTo>
                      <a:pt x="225" y="741"/>
                    </a:lnTo>
                    <a:lnTo>
                      <a:pt x="220" y="739"/>
                    </a:lnTo>
                    <a:lnTo>
                      <a:pt x="217" y="732"/>
                    </a:lnTo>
                    <a:lnTo>
                      <a:pt x="222" y="727"/>
                    </a:lnTo>
                    <a:lnTo>
                      <a:pt x="237" y="720"/>
                    </a:lnTo>
                    <a:lnTo>
                      <a:pt x="244" y="717"/>
                    </a:lnTo>
                    <a:lnTo>
                      <a:pt x="253" y="713"/>
                    </a:lnTo>
                    <a:lnTo>
                      <a:pt x="261" y="710"/>
                    </a:lnTo>
                    <a:lnTo>
                      <a:pt x="268" y="710"/>
                    </a:lnTo>
                    <a:lnTo>
                      <a:pt x="263" y="713"/>
                    </a:lnTo>
                    <a:lnTo>
                      <a:pt x="258" y="719"/>
                    </a:lnTo>
                    <a:lnTo>
                      <a:pt x="260" y="722"/>
                    </a:lnTo>
                    <a:lnTo>
                      <a:pt x="261" y="729"/>
                    </a:lnTo>
                    <a:lnTo>
                      <a:pt x="260" y="732"/>
                    </a:lnTo>
                    <a:lnTo>
                      <a:pt x="258" y="736"/>
                    </a:lnTo>
                    <a:lnTo>
                      <a:pt x="251" y="739"/>
                    </a:lnTo>
                    <a:lnTo>
                      <a:pt x="244" y="743"/>
                    </a:lnTo>
                    <a:lnTo>
                      <a:pt x="248" y="751"/>
                    </a:lnTo>
                    <a:lnTo>
                      <a:pt x="258" y="760"/>
                    </a:lnTo>
                    <a:lnTo>
                      <a:pt x="270" y="765"/>
                    </a:lnTo>
                    <a:lnTo>
                      <a:pt x="284" y="772"/>
                    </a:lnTo>
                    <a:lnTo>
                      <a:pt x="294" y="777"/>
                    </a:lnTo>
                    <a:lnTo>
                      <a:pt x="304" y="784"/>
                    </a:lnTo>
                    <a:lnTo>
                      <a:pt x="311" y="793"/>
                    </a:lnTo>
                    <a:lnTo>
                      <a:pt x="315" y="808"/>
                    </a:lnTo>
                    <a:lnTo>
                      <a:pt x="317" y="808"/>
                    </a:lnTo>
                    <a:lnTo>
                      <a:pt x="322" y="805"/>
                    </a:lnTo>
                    <a:lnTo>
                      <a:pt x="327" y="805"/>
                    </a:lnTo>
                    <a:lnTo>
                      <a:pt x="335" y="805"/>
                    </a:lnTo>
                    <a:lnTo>
                      <a:pt x="341" y="810"/>
                    </a:lnTo>
                    <a:lnTo>
                      <a:pt x="344" y="817"/>
                    </a:lnTo>
                    <a:lnTo>
                      <a:pt x="347" y="825"/>
                    </a:lnTo>
                    <a:lnTo>
                      <a:pt x="353" y="829"/>
                    </a:lnTo>
                    <a:lnTo>
                      <a:pt x="360" y="834"/>
                    </a:lnTo>
                    <a:lnTo>
                      <a:pt x="365" y="837"/>
                    </a:lnTo>
                    <a:lnTo>
                      <a:pt x="370" y="844"/>
                    </a:lnTo>
                    <a:lnTo>
                      <a:pt x="375" y="849"/>
                    </a:lnTo>
                    <a:lnTo>
                      <a:pt x="385" y="853"/>
                    </a:lnTo>
                    <a:lnTo>
                      <a:pt x="394" y="846"/>
                    </a:lnTo>
                    <a:lnTo>
                      <a:pt x="403" y="841"/>
                    </a:lnTo>
                    <a:lnTo>
                      <a:pt x="406" y="839"/>
                    </a:lnTo>
                    <a:lnTo>
                      <a:pt x="411" y="839"/>
                    </a:lnTo>
                    <a:lnTo>
                      <a:pt x="411" y="842"/>
                    </a:lnTo>
                    <a:lnTo>
                      <a:pt x="415" y="848"/>
                    </a:lnTo>
                    <a:lnTo>
                      <a:pt x="413" y="849"/>
                    </a:lnTo>
                    <a:lnTo>
                      <a:pt x="415" y="851"/>
                    </a:lnTo>
                    <a:lnTo>
                      <a:pt x="421" y="853"/>
                    </a:lnTo>
                    <a:lnTo>
                      <a:pt x="427" y="837"/>
                    </a:lnTo>
                    <a:lnTo>
                      <a:pt x="435" y="827"/>
                    </a:lnTo>
                    <a:lnTo>
                      <a:pt x="423" y="817"/>
                    </a:lnTo>
                    <a:lnTo>
                      <a:pt x="413" y="803"/>
                    </a:lnTo>
                    <a:lnTo>
                      <a:pt x="404" y="786"/>
                    </a:lnTo>
                    <a:lnTo>
                      <a:pt x="401" y="772"/>
                    </a:lnTo>
                    <a:lnTo>
                      <a:pt x="394" y="762"/>
                    </a:lnTo>
                    <a:lnTo>
                      <a:pt x="389" y="753"/>
                    </a:lnTo>
                    <a:lnTo>
                      <a:pt x="389" y="746"/>
                    </a:lnTo>
                    <a:lnTo>
                      <a:pt x="394" y="739"/>
                    </a:lnTo>
                    <a:lnTo>
                      <a:pt x="397" y="731"/>
                    </a:lnTo>
                    <a:lnTo>
                      <a:pt x="403" y="727"/>
                    </a:lnTo>
                    <a:lnTo>
                      <a:pt x="404" y="725"/>
                    </a:lnTo>
                    <a:lnTo>
                      <a:pt x="411" y="724"/>
                    </a:lnTo>
                    <a:lnTo>
                      <a:pt x="416" y="720"/>
                    </a:lnTo>
                    <a:lnTo>
                      <a:pt x="421" y="720"/>
                    </a:lnTo>
                    <a:lnTo>
                      <a:pt x="428" y="715"/>
                    </a:lnTo>
                    <a:lnTo>
                      <a:pt x="437" y="713"/>
                    </a:lnTo>
                    <a:lnTo>
                      <a:pt x="447" y="712"/>
                    </a:lnTo>
                    <a:lnTo>
                      <a:pt x="459" y="712"/>
                    </a:lnTo>
                    <a:lnTo>
                      <a:pt x="468" y="712"/>
                    </a:lnTo>
                    <a:lnTo>
                      <a:pt x="475" y="713"/>
                    </a:lnTo>
                    <a:lnTo>
                      <a:pt x="480" y="715"/>
                    </a:lnTo>
                    <a:lnTo>
                      <a:pt x="485" y="720"/>
                    </a:lnTo>
                    <a:lnTo>
                      <a:pt x="492" y="729"/>
                    </a:lnTo>
                    <a:lnTo>
                      <a:pt x="501" y="739"/>
                    </a:lnTo>
                    <a:lnTo>
                      <a:pt x="487" y="743"/>
                    </a:lnTo>
                    <a:lnTo>
                      <a:pt x="475" y="741"/>
                    </a:lnTo>
                    <a:lnTo>
                      <a:pt x="463" y="741"/>
                    </a:lnTo>
                    <a:lnTo>
                      <a:pt x="451" y="746"/>
                    </a:lnTo>
                    <a:lnTo>
                      <a:pt x="442" y="750"/>
                    </a:lnTo>
                    <a:lnTo>
                      <a:pt x="439" y="753"/>
                    </a:lnTo>
                    <a:lnTo>
                      <a:pt x="442" y="762"/>
                    </a:lnTo>
                    <a:lnTo>
                      <a:pt x="451" y="768"/>
                    </a:lnTo>
                    <a:lnTo>
                      <a:pt x="456" y="779"/>
                    </a:lnTo>
                    <a:lnTo>
                      <a:pt x="464" y="789"/>
                    </a:lnTo>
                    <a:lnTo>
                      <a:pt x="470" y="798"/>
                    </a:lnTo>
                    <a:lnTo>
                      <a:pt x="473" y="811"/>
                    </a:lnTo>
                    <a:lnTo>
                      <a:pt x="482" y="806"/>
                    </a:lnTo>
                    <a:lnTo>
                      <a:pt x="490" y="805"/>
                    </a:lnTo>
                    <a:lnTo>
                      <a:pt x="494" y="813"/>
                    </a:lnTo>
                    <a:lnTo>
                      <a:pt x="499" y="823"/>
                    </a:lnTo>
                    <a:lnTo>
                      <a:pt x="485" y="823"/>
                    </a:lnTo>
                    <a:lnTo>
                      <a:pt x="476" y="827"/>
                    </a:lnTo>
                    <a:lnTo>
                      <a:pt x="475" y="835"/>
                    </a:lnTo>
                    <a:lnTo>
                      <a:pt x="487" y="842"/>
                    </a:lnTo>
                    <a:lnTo>
                      <a:pt x="492" y="858"/>
                    </a:lnTo>
                    <a:lnTo>
                      <a:pt x="490" y="863"/>
                    </a:lnTo>
                    <a:lnTo>
                      <a:pt x="489" y="868"/>
                    </a:lnTo>
                    <a:lnTo>
                      <a:pt x="490" y="875"/>
                    </a:lnTo>
                    <a:lnTo>
                      <a:pt x="494" y="880"/>
                    </a:lnTo>
                    <a:lnTo>
                      <a:pt x="495" y="875"/>
                    </a:lnTo>
                    <a:lnTo>
                      <a:pt x="504" y="873"/>
                    </a:lnTo>
                    <a:lnTo>
                      <a:pt x="509" y="870"/>
                    </a:lnTo>
                    <a:lnTo>
                      <a:pt x="514" y="866"/>
                    </a:lnTo>
                    <a:lnTo>
                      <a:pt x="525" y="863"/>
                    </a:lnTo>
                    <a:lnTo>
                      <a:pt x="537" y="860"/>
                    </a:lnTo>
                    <a:lnTo>
                      <a:pt x="550" y="865"/>
                    </a:lnTo>
                    <a:lnTo>
                      <a:pt x="566" y="872"/>
                    </a:lnTo>
                    <a:lnTo>
                      <a:pt x="573" y="875"/>
                    </a:lnTo>
                    <a:lnTo>
                      <a:pt x="580" y="878"/>
                    </a:lnTo>
                    <a:lnTo>
                      <a:pt x="585" y="882"/>
                    </a:lnTo>
                    <a:lnTo>
                      <a:pt x="597" y="885"/>
                    </a:lnTo>
                    <a:lnTo>
                      <a:pt x="599" y="889"/>
                    </a:lnTo>
                    <a:lnTo>
                      <a:pt x="600" y="892"/>
                    </a:lnTo>
                    <a:lnTo>
                      <a:pt x="600" y="901"/>
                    </a:lnTo>
                    <a:lnTo>
                      <a:pt x="602" y="911"/>
                    </a:lnTo>
                    <a:lnTo>
                      <a:pt x="609" y="909"/>
                    </a:lnTo>
                    <a:lnTo>
                      <a:pt x="618" y="913"/>
                    </a:lnTo>
                    <a:lnTo>
                      <a:pt x="624" y="909"/>
                    </a:lnTo>
                    <a:lnTo>
                      <a:pt x="630" y="904"/>
                    </a:lnTo>
                    <a:lnTo>
                      <a:pt x="636" y="901"/>
                    </a:lnTo>
                    <a:lnTo>
                      <a:pt x="643" y="897"/>
                    </a:lnTo>
                    <a:lnTo>
                      <a:pt x="647" y="889"/>
                    </a:lnTo>
                    <a:lnTo>
                      <a:pt x="652" y="882"/>
                    </a:lnTo>
                    <a:lnTo>
                      <a:pt x="657" y="877"/>
                    </a:lnTo>
                    <a:lnTo>
                      <a:pt x="666" y="875"/>
                    </a:lnTo>
                    <a:lnTo>
                      <a:pt x="669" y="875"/>
                    </a:lnTo>
                    <a:lnTo>
                      <a:pt x="674" y="877"/>
                    </a:lnTo>
                    <a:lnTo>
                      <a:pt x="681" y="880"/>
                    </a:lnTo>
                    <a:lnTo>
                      <a:pt x="690" y="878"/>
                    </a:lnTo>
                    <a:lnTo>
                      <a:pt x="695" y="880"/>
                    </a:lnTo>
                    <a:lnTo>
                      <a:pt x="700" y="884"/>
                    </a:lnTo>
                    <a:lnTo>
                      <a:pt x="712" y="880"/>
                    </a:lnTo>
                    <a:lnTo>
                      <a:pt x="722" y="872"/>
                    </a:lnTo>
                    <a:lnTo>
                      <a:pt x="724" y="872"/>
                    </a:lnTo>
                    <a:lnTo>
                      <a:pt x="729" y="865"/>
                    </a:lnTo>
                    <a:lnTo>
                      <a:pt x="741" y="860"/>
                    </a:lnTo>
                    <a:lnTo>
                      <a:pt x="745" y="863"/>
                    </a:lnTo>
                    <a:lnTo>
                      <a:pt x="747" y="872"/>
                    </a:lnTo>
                    <a:lnTo>
                      <a:pt x="747" y="880"/>
                    </a:lnTo>
                    <a:lnTo>
                      <a:pt x="753" y="885"/>
                    </a:lnTo>
                    <a:lnTo>
                      <a:pt x="765" y="880"/>
                    </a:lnTo>
                    <a:lnTo>
                      <a:pt x="779" y="877"/>
                    </a:lnTo>
                    <a:lnTo>
                      <a:pt x="788" y="877"/>
                    </a:lnTo>
                    <a:lnTo>
                      <a:pt x="796" y="878"/>
                    </a:lnTo>
                    <a:lnTo>
                      <a:pt x="796" y="877"/>
                    </a:lnTo>
                    <a:lnTo>
                      <a:pt x="791" y="863"/>
                    </a:lnTo>
                    <a:lnTo>
                      <a:pt x="779" y="858"/>
                    </a:lnTo>
                    <a:lnTo>
                      <a:pt x="781" y="848"/>
                    </a:lnTo>
                    <a:lnTo>
                      <a:pt x="786" y="837"/>
                    </a:lnTo>
                    <a:lnTo>
                      <a:pt x="791" y="829"/>
                    </a:lnTo>
                    <a:lnTo>
                      <a:pt x="798" y="825"/>
                    </a:lnTo>
                    <a:lnTo>
                      <a:pt x="814" y="823"/>
                    </a:lnTo>
                    <a:lnTo>
                      <a:pt x="829" y="820"/>
                    </a:lnTo>
                    <a:lnTo>
                      <a:pt x="843" y="813"/>
                    </a:lnTo>
                    <a:lnTo>
                      <a:pt x="855" y="805"/>
                    </a:lnTo>
                    <a:lnTo>
                      <a:pt x="863" y="793"/>
                    </a:lnTo>
                    <a:lnTo>
                      <a:pt x="870" y="779"/>
                    </a:lnTo>
                    <a:lnTo>
                      <a:pt x="874" y="763"/>
                    </a:lnTo>
                    <a:lnTo>
                      <a:pt x="877" y="744"/>
                    </a:lnTo>
                    <a:lnTo>
                      <a:pt x="891" y="737"/>
                    </a:lnTo>
                    <a:lnTo>
                      <a:pt x="901" y="725"/>
                    </a:lnTo>
                    <a:lnTo>
                      <a:pt x="910" y="713"/>
                    </a:lnTo>
                    <a:lnTo>
                      <a:pt x="920" y="712"/>
                    </a:lnTo>
                    <a:lnTo>
                      <a:pt x="932" y="710"/>
                    </a:lnTo>
                    <a:lnTo>
                      <a:pt x="941" y="708"/>
                    </a:lnTo>
                    <a:lnTo>
                      <a:pt x="944" y="703"/>
                    </a:lnTo>
                    <a:lnTo>
                      <a:pt x="949" y="700"/>
                    </a:lnTo>
                    <a:lnTo>
                      <a:pt x="949" y="688"/>
                    </a:lnTo>
                    <a:lnTo>
                      <a:pt x="953" y="681"/>
                    </a:lnTo>
                    <a:lnTo>
                      <a:pt x="960" y="674"/>
                    </a:lnTo>
                    <a:lnTo>
                      <a:pt x="968" y="669"/>
                    </a:lnTo>
                    <a:lnTo>
                      <a:pt x="979" y="665"/>
                    </a:lnTo>
                    <a:lnTo>
                      <a:pt x="989" y="664"/>
                    </a:lnTo>
                    <a:lnTo>
                      <a:pt x="999" y="658"/>
                    </a:lnTo>
                    <a:lnTo>
                      <a:pt x="1010" y="655"/>
                    </a:lnTo>
                    <a:lnTo>
                      <a:pt x="1020" y="652"/>
                    </a:lnTo>
                    <a:lnTo>
                      <a:pt x="1030" y="648"/>
                    </a:lnTo>
                    <a:lnTo>
                      <a:pt x="1037" y="641"/>
                    </a:lnTo>
                    <a:lnTo>
                      <a:pt x="1049" y="636"/>
                    </a:lnTo>
                    <a:lnTo>
                      <a:pt x="1060" y="638"/>
                    </a:lnTo>
                    <a:lnTo>
                      <a:pt x="1075" y="643"/>
                    </a:lnTo>
                    <a:lnTo>
                      <a:pt x="1089" y="648"/>
                    </a:lnTo>
                    <a:lnTo>
                      <a:pt x="1106" y="652"/>
                    </a:lnTo>
                    <a:lnTo>
                      <a:pt x="1113" y="648"/>
                    </a:lnTo>
                    <a:lnTo>
                      <a:pt x="1120" y="645"/>
                    </a:lnTo>
                    <a:lnTo>
                      <a:pt x="1123" y="638"/>
                    </a:lnTo>
                    <a:lnTo>
                      <a:pt x="1128" y="631"/>
                    </a:lnTo>
                    <a:lnTo>
                      <a:pt x="1133" y="617"/>
                    </a:lnTo>
                    <a:lnTo>
                      <a:pt x="1144" y="612"/>
                    </a:lnTo>
                    <a:lnTo>
                      <a:pt x="1152" y="612"/>
                    </a:lnTo>
                    <a:lnTo>
                      <a:pt x="1168" y="615"/>
                    </a:lnTo>
                    <a:lnTo>
                      <a:pt x="1180" y="619"/>
                    </a:lnTo>
                    <a:lnTo>
                      <a:pt x="1187" y="626"/>
                    </a:lnTo>
                    <a:lnTo>
                      <a:pt x="1190" y="634"/>
                    </a:lnTo>
                    <a:lnTo>
                      <a:pt x="1195" y="639"/>
                    </a:lnTo>
                    <a:lnTo>
                      <a:pt x="1202" y="643"/>
                    </a:lnTo>
                    <a:lnTo>
                      <a:pt x="1209" y="645"/>
                    </a:lnTo>
                    <a:lnTo>
                      <a:pt x="1221" y="643"/>
                    </a:lnTo>
                    <a:lnTo>
                      <a:pt x="1233" y="641"/>
                    </a:lnTo>
                    <a:lnTo>
                      <a:pt x="1242" y="641"/>
                    </a:lnTo>
                    <a:lnTo>
                      <a:pt x="1252" y="645"/>
                    </a:lnTo>
                    <a:lnTo>
                      <a:pt x="1259" y="648"/>
                    </a:lnTo>
                    <a:lnTo>
                      <a:pt x="1268" y="653"/>
                    </a:lnTo>
                    <a:lnTo>
                      <a:pt x="1275" y="657"/>
                    </a:lnTo>
                    <a:lnTo>
                      <a:pt x="1283" y="660"/>
                    </a:lnTo>
                    <a:lnTo>
                      <a:pt x="1293" y="664"/>
                    </a:lnTo>
                    <a:lnTo>
                      <a:pt x="1305" y="665"/>
                    </a:lnTo>
                    <a:lnTo>
                      <a:pt x="1316" y="664"/>
                    </a:lnTo>
                    <a:lnTo>
                      <a:pt x="1328" y="660"/>
                    </a:lnTo>
                    <a:lnTo>
                      <a:pt x="1340" y="657"/>
                    </a:lnTo>
                    <a:lnTo>
                      <a:pt x="1354" y="653"/>
                    </a:lnTo>
                    <a:lnTo>
                      <a:pt x="1366" y="648"/>
                    </a:lnTo>
                    <a:lnTo>
                      <a:pt x="1379" y="648"/>
                    </a:lnTo>
                    <a:lnTo>
                      <a:pt x="1393" y="648"/>
                    </a:lnTo>
                    <a:lnTo>
                      <a:pt x="1409" y="653"/>
                    </a:lnTo>
                    <a:lnTo>
                      <a:pt x="1422" y="653"/>
                    </a:lnTo>
                    <a:lnTo>
                      <a:pt x="1433" y="650"/>
                    </a:lnTo>
                    <a:lnTo>
                      <a:pt x="1440" y="639"/>
                    </a:lnTo>
                    <a:lnTo>
                      <a:pt x="1447" y="627"/>
                    </a:lnTo>
                    <a:lnTo>
                      <a:pt x="1452" y="612"/>
                    </a:lnTo>
                    <a:lnTo>
                      <a:pt x="1460" y="600"/>
                    </a:lnTo>
                    <a:lnTo>
                      <a:pt x="1474" y="591"/>
                    </a:lnTo>
                    <a:lnTo>
                      <a:pt x="1496" y="588"/>
                    </a:lnTo>
                    <a:lnTo>
                      <a:pt x="1510" y="588"/>
                    </a:lnTo>
                    <a:lnTo>
                      <a:pt x="1520" y="593"/>
                    </a:lnTo>
                    <a:lnTo>
                      <a:pt x="1529" y="598"/>
                    </a:lnTo>
                    <a:lnTo>
                      <a:pt x="1536" y="609"/>
                    </a:lnTo>
                    <a:lnTo>
                      <a:pt x="1541" y="617"/>
                    </a:lnTo>
                    <a:lnTo>
                      <a:pt x="1546" y="629"/>
                    </a:lnTo>
                    <a:lnTo>
                      <a:pt x="1551" y="639"/>
                    </a:lnTo>
                    <a:lnTo>
                      <a:pt x="1558" y="652"/>
                    </a:lnTo>
                    <a:lnTo>
                      <a:pt x="1563" y="657"/>
                    </a:lnTo>
                    <a:lnTo>
                      <a:pt x="1576" y="660"/>
                    </a:lnTo>
                    <a:lnTo>
                      <a:pt x="1586" y="664"/>
                    </a:lnTo>
                    <a:lnTo>
                      <a:pt x="1596" y="670"/>
                    </a:lnTo>
                    <a:lnTo>
                      <a:pt x="1600" y="676"/>
                    </a:lnTo>
                    <a:lnTo>
                      <a:pt x="1606" y="686"/>
                    </a:lnTo>
                    <a:lnTo>
                      <a:pt x="1612" y="693"/>
                    </a:lnTo>
                    <a:lnTo>
                      <a:pt x="1624" y="696"/>
                    </a:lnTo>
                    <a:lnTo>
                      <a:pt x="1632" y="693"/>
                    </a:lnTo>
                    <a:lnTo>
                      <a:pt x="1641" y="688"/>
                    </a:lnTo>
                    <a:lnTo>
                      <a:pt x="1649" y="682"/>
                    </a:lnTo>
                    <a:lnTo>
                      <a:pt x="1665" y="681"/>
                    </a:lnTo>
                    <a:lnTo>
                      <a:pt x="1665" y="694"/>
                    </a:lnTo>
                    <a:lnTo>
                      <a:pt x="1656" y="703"/>
                    </a:lnTo>
                    <a:lnTo>
                      <a:pt x="1649" y="717"/>
                    </a:lnTo>
                    <a:lnTo>
                      <a:pt x="1643" y="731"/>
                    </a:lnTo>
                    <a:lnTo>
                      <a:pt x="1636" y="739"/>
                    </a:lnTo>
                    <a:lnTo>
                      <a:pt x="1625" y="743"/>
                    </a:lnTo>
                    <a:lnTo>
                      <a:pt x="1615" y="746"/>
                    </a:lnTo>
                    <a:lnTo>
                      <a:pt x="1608" y="748"/>
                    </a:lnTo>
                    <a:lnTo>
                      <a:pt x="1610" y="753"/>
                    </a:lnTo>
                    <a:lnTo>
                      <a:pt x="1615" y="762"/>
                    </a:lnTo>
                    <a:lnTo>
                      <a:pt x="1615" y="772"/>
                    </a:lnTo>
                    <a:lnTo>
                      <a:pt x="1610" y="780"/>
                    </a:lnTo>
                    <a:lnTo>
                      <a:pt x="1608" y="7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9" name="Freeform 258"/>
              <p:cNvSpPr>
                <a:spLocks/>
              </p:cNvSpPr>
              <p:nvPr/>
            </p:nvSpPr>
            <p:spPr bwMode="auto">
              <a:xfrm>
                <a:off x="5999957" y="2651125"/>
                <a:ext cx="1406525" cy="887412"/>
              </a:xfrm>
              <a:custGeom>
                <a:avLst/>
                <a:gdLst/>
                <a:ahLst/>
                <a:cxnLst>
                  <a:cxn ang="0">
                    <a:pos x="659" y="330"/>
                  </a:cxn>
                  <a:cxn ang="0">
                    <a:pos x="707" y="294"/>
                  </a:cxn>
                  <a:cxn ang="0">
                    <a:pos x="669" y="294"/>
                  </a:cxn>
                  <a:cxn ang="0">
                    <a:pos x="635" y="270"/>
                  </a:cxn>
                  <a:cxn ang="0">
                    <a:pos x="680" y="239"/>
                  </a:cxn>
                  <a:cxn ang="0">
                    <a:pos x="686" y="263"/>
                  </a:cxn>
                  <a:cxn ang="0">
                    <a:pos x="745" y="254"/>
                  </a:cxn>
                  <a:cxn ang="0">
                    <a:pos x="745" y="284"/>
                  </a:cxn>
                  <a:cxn ang="0">
                    <a:pos x="757" y="299"/>
                  </a:cxn>
                  <a:cxn ang="0">
                    <a:pos x="762" y="320"/>
                  </a:cxn>
                  <a:cxn ang="0">
                    <a:pos x="767" y="339"/>
                  </a:cxn>
                  <a:cxn ang="0">
                    <a:pos x="793" y="328"/>
                  </a:cxn>
                  <a:cxn ang="0">
                    <a:pos x="784" y="266"/>
                  </a:cxn>
                  <a:cxn ang="0">
                    <a:pos x="807" y="229"/>
                  </a:cxn>
                  <a:cxn ang="0">
                    <a:pos x="836" y="184"/>
                  </a:cxn>
                  <a:cxn ang="0">
                    <a:pos x="857" y="151"/>
                  </a:cxn>
                  <a:cxn ang="0">
                    <a:pos x="870" y="94"/>
                  </a:cxn>
                  <a:cxn ang="0">
                    <a:pos x="821" y="88"/>
                  </a:cxn>
                  <a:cxn ang="0">
                    <a:pos x="772" y="51"/>
                  </a:cxn>
                  <a:cxn ang="0">
                    <a:pos x="731" y="0"/>
                  </a:cxn>
                  <a:cxn ang="0">
                    <a:pos x="661" y="51"/>
                  </a:cxn>
                  <a:cxn ang="0">
                    <a:pos x="587" y="60"/>
                  </a:cxn>
                  <a:cxn ang="0">
                    <a:pos x="514" y="76"/>
                  </a:cxn>
                  <a:cxn ang="0">
                    <a:pos x="463" y="53"/>
                  </a:cxn>
                  <a:cxn ang="0">
                    <a:pos x="411" y="46"/>
                  </a:cxn>
                  <a:cxn ang="0">
                    <a:pos x="354" y="29"/>
                  </a:cxn>
                  <a:cxn ang="0">
                    <a:pos x="310" y="60"/>
                  </a:cxn>
                  <a:cxn ang="0">
                    <a:pos x="241" y="64"/>
                  </a:cxn>
                  <a:cxn ang="0">
                    <a:pos x="181" y="86"/>
                  </a:cxn>
                  <a:cxn ang="0">
                    <a:pos x="153" y="122"/>
                  </a:cxn>
                  <a:cxn ang="0">
                    <a:pos x="95" y="175"/>
                  </a:cxn>
                  <a:cxn ang="0">
                    <a:pos x="35" y="235"/>
                  </a:cxn>
                  <a:cxn ang="0">
                    <a:pos x="12" y="275"/>
                  </a:cxn>
                  <a:cxn ang="0">
                    <a:pos x="35" y="311"/>
                  </a:cxn>
                  <a:cxn ang="0">
                    <a:pos x="95" y="327"/>
                  </a:cxn>
                  <a:cxn ang="0">
                    <a:pos x="84" y="364"/>
                  </a:cxn>
                  <a:cxn ang="0">
                    <a:pos x="78" y="392"/>
                  </a:cxn>
                  <a:cxn ang="0">
                    <a:pos x="134" y="414"/>
                  </a:cxn>
                  <a:cxn ang="0">
                    <a:pos x="169" y="437"/>
                  </a:cxn>
                  <a:cxn ang="0">
                    <a:pos x="217" y="442"/>
                  </a:cxn>
                  <a:cxn ang="0">
                    <a:pos x="272" y="440"/>
                  </a:cxn>
                  <a:cxn ang="0">
                    <a:pos x="306" y="419"/>
                  </a:cxn>
                  <a:cxn ang="0">
                    <a:pos x="341" y="431"/>
                  </a:cxn>
                  <a:cxn ang="0">
                    <a:pos x="351" y="485"/>
                  </a:cxn>
                  <a:cxn ang="0">
                    <a:pos x="365" y="504"/>
                  </a:cxn>
                  <a:cxn ang="0">
                    <a:pos x="392" y="536"/>
                  </a:cxn>
                  <a:cxn ang="0">
                    <a:pos x="406" y="538"/>
                  </a:cxn>
                  <a:cxn ang="0">
                    <a:pos x="446" y="517"/>
                  </a:cxn>
                  <a:cxn ang="0">
                    <a:pos x="508" y="542"/>
                  </a:cxn>
                  <a:cxn ang="0">
                    <a:pos x="539" y="542"/>
                  </a:cxn>
                  <a:cxn ang="0">
                    <a:pos x="585" y="524"/>
                  </a:cxn>
                  <a:cxn ang="0">
                    <a:pos x="638" y="500"/>
                  </a:cxn>
                  <a:cxn ang="0">
                    <a:pos x="666" y="457"/>
                  </a:cxn>
                  <a:cxn ang="0">
                    <a:pos x="692" y="416"/>
                  </a:cxn>
                  <a:cxn ang="0">
                    <a:pos x="676" y="358"/>
                  </a:cxn>
                </a:cxnLst>
                <a:rect l="0" t="0" r="r" b="b"/>
                <a:pathLst>
                  <a:path w="886" h="559">
                    <a:moveTo>
                      <a:pt x="674" y="352"/>
                    </a:moveTo>
                    <a:lnTo>
                      <a:pt x="673" y="352"/>
                    </a:lnTo>
                    <a:lnTo>
                      <a:pt x="673" y="347"/>
                    </a:lnTo>
                    <a:lnTo>
                      <a:pt x="673" y="342"/>
                    </a:lnTo>
                    <a:lnTo>
                      <a:pt x="664" y="339"/>
                    </a:lnTo>
                    <a:lnTo>
                      <a:pt x="659" y="330"/>
                    </a:lnTo>
                    <a:lnTo>
                      <a:pt x="662" y="323"/>
                    </a:lnTo>
                    <a:lnTo>
                      <a:pt x="669" y="318"/>
                    </a:lnTo>
                    <a:lnTo>
                      <a:pt x="674" y="309"/>
                    </a:lnTo>
                    <a:lnTo>
                      <a:pt x="685" y="304"/>
                    </a:lnTo>
                    <a:lnTo>
                      <a:pt x="697" y="299"/>
                    </a:lnTo>
                    <a:lnTo>
                      <a:pt x="707" y="294"/>
                    </a:lnTo>
                    <a:lnTo>
                      <a:pt x="697" y="290"/>
                    </a:lnTo>
                    <a:lnTo>
                      <a:pt x="688" y="289"/>
                    </a:lnTo>
                    <a:lnTo>
                      <a:pt x="681" y="285"/>
                    </a:lnTo>
                    <a:lnTo>
                      <a:pt x="676" y="284"/>
                    </a:lnTo>
                    <a:lnTo>
                      <a:pt x="673" y="289"/>
                    </a:lnTo>
                    <a:lnTo>
                      <a:pt x="669" y="294"/>
                    </a:lnTo>
                    <a:lnTo>
                      <a:pt x="662" y="294"/>
                    </a:lnTo>
                    <a:lnTo>
                      <a:pt x="655" y="292"/>
                    </a:lnTo>
                    <a:lnTo>
                      <a:pt x="650" y="285"/>
                    </a:lnTo>
                    <a:lnTo>
                      <a:pt x="647" y="278"/>
                    </a:lnTo>
                    <a:lnTo>
                      <a:pt x="638" y="275"/>
                    </a:lnTo>
                    <a:lnTo>
                      <a:pt x="635" y="270"/>
                    </a:lnTo>
                    <a:lnTo>
                      <a:pt x="637" y="263"/>
                    </a:lnTo>
                    <a:lnTo>
                      <a:pt x="643" y="261"/>
                    </a:lnTo>
                    <a:lnTo>
                      <a:pt x="650" y="260"/>
                    </a:lnTo>
                    <a:lnTo>
                      <a:pt x="657" y="258"/>
                    </a:lnTo>
                    <a:lnTo>
                      <a:pt x="668" y="249"/>
                    </a:lnTo>
                    <a:lnTo>
                      <a:pt x="680" y="239"/>
                    </a:lnTo>
                    <a:lnTo>
                      <a:pt x="680" y="235"/>
                    </a:lnTo>
                    <a:lnTo>
                      <a:pt x="686" y="234"/>
                    </a:lnTo>
                    <a:lnTo>
                      <a:pt x="693" y="235"/>
                    </a:lnTo>
                    <a:lnTo>
                      <a:pt x="697" y="242"/>
                    </a:lnTo>
                    <a:lnTo>
                      <a:pt x="692" y="253"/>
                    </a:lnTo>
                    <a:lnTo>
                      <a:pt x="686" y="263"/>
                    </a:lnTo>
                    <a:lnTo>
                      <a:pt x="697" y="260"/>
                    </a:lnTo>
                    <a:lnTo>
                      <a:pt x="707" y="254"/>
                    </a:lnTo>
                    <a:lnTo>
                      <a:pt x="717" y="249"/>
                    </a:lnTo>
                    <a:lnTo>
                      <a:pt x="729" y="247"/>
                    </a:lnTo>
                    <a:lnTo>
                      <a:pt x="736" y="251"/>
                    </a:lnTo>
                    <a:lnTo>
                      <a:pt x="745" y="254"/>
                    </a:lnTo>
                    <a:lnTo>
                      <a:pt x="743" y="260"/>
                    </a:lnTo>
                    <a:lnTo>
                      <a:pt x="745" y="265"/>
                    </a:lnTo>
                    <a:lnTo>
                      <a:pt x="741" y="270"/>
                    </a:lnTo>
                    <a:lnTo>
                      <a:pt x="740" y="275"/>
                    </a:lnTo>
                    <a:lnTo>
                      <a:pt x="740" y="280"/>
                    </a:lnTo>
                    <a:lnTo>
                      <a:pt x="745" y="284"/>
                    </a:lnTo>
                    <a:lnTo>
                      <a:pt x="747" y="282"/>
                    </a:lnTo>
                    <a:lnTo>
                      <a:pt x="752" y="282"/>
                    </a:lnTo>
                    <a:lnTo>
                      <a:pt x="760" y="284"/>
                    </a:lnTo>
                    <a:lnTo>
                      <a:pt x="766" y="292"/>
                    </a:lnTo>
                    <a:lnTo>
                      <a:pt x="762" y="296"/>
                    </a:lnTo>
                    <a:lnTo>
                      <a:pt x="757" y="299"/>
                    </a:lnTo>
                    <a:lnTo>
                      <a:pt x="757" y="304"/>
                    </a:lnTo>
                    <a:lnTo>
                      <a:pt x="759" y="304"/>
                    </a:lnTo>
                    <a:lnTo>
                      <a:pt x="762" y="308"/>
                    </a:lnTo>
                    <a:lnTo>
                      <a:pt x="764" y="311"/>
                    </a:lnTo>
                    <a:lnTo>
                      <a:pt x="766" y="316"/>
                    </a:lnTo>
                    <a:lnTo>
                      <a:pt x="762" y="320"/>
                    </a:lnTo>
                    <a:lnTo>
                      <a:pt x="760" y="327"/>
                    </a:lnTo>
                    <a:lnTo>
                      <a:pt x="760" y="330"/>
                    </a:lnTo>
                    <a:lnTo>
                      <a:pt x="764" y="332"/>
                    </a:lnTo>
                    <a:lnTo>
                      <a:pt x="760" y="335"/>
                    </a:lnTo>
                    <a:lnTo>
                      <a:pt x="760" y="339"/>
                    </a:lnTo>
                    <a:lnTo>
                      <a:pt x="767" y="339"/>
                    </a:lnTo>
                    <a:lnTo>
                      <a:pt x="771" y="335"/>
                    </a:lnTo>
                    <a:lnTo>
                      <a:pt x="778" y="335"/>
                    </a:lnTo>
                    <a:lnTo>
                      <a:pt x="779" y="330"/>
                    </a:lnTo>
                    <a:lnTo>
                      <a:pt x="784" y="330"/>
                    </a:lnTo>
                    <a:lnTo>
                      <a:pt x="788" y="328"/>
                    </a:lnTo>
                    <a:lnTo>
                      <a:pt x="793" y="328"/>
                    </a:lnTo>
                    <a:lnTo>
                      <a:pt x="800" y="321"/>
                    </a:lnTo>
                    <a:lnTo>
                      <a:pt x="803" y="309"/>
                    </a:lnTo>
                    <a:lnTo>
                      <a:pt x="802" y="294"/>
                    </a:lnTo>
                    <a:lnTo>
                      <a:pt x="798" y="284"/>
                    </a:lnTo>
                    <a:lnTo>
                      <a:pt x="791" y="273"/>
                    </a:lnTo>
                    <a:lnTo>
                      <a:pt x="784" y="266"/>
                    </a:lnTo>
                    <a:lnTo>
                      <a:pt x="778" y="258"/>
                    </a:lnTo>
                    <a:lnTo>
                      <a:pt x="776" y="249"/>
                    </a:lnTo>
                    <a:lnTo>
                      <a:pt x="784" y="246"/>
                    </a:lnTo>
                    <a:lnTo>
                      <a:pt x="791" y="241"/>
                    </a:lnTo>
                    <a:lnTo>
                      <a:pt x="798" y="234"/>
                    </a:lnTo>
                    <a:lnTo>
                      <a:pt x="807" y="229"/>
                    </a:lnTo>
                    <a:lnTo>
                      <a:pt x="810" y="218"/>
                    </a:lnTo>
                    <a:lnTo>
                      <a:pt x="815" y="210"/>
                    </a:lnTo>
                    <a:lnTo>
                      <a:pt x="821" y="203"/>
                    </a:lnTo>
                    <a:lnTo>
                      <a:pt x="829" y="198"/>
                    </a:lnTo>
                    <a:lnTo>
                      <a:pt x="831" y="192"/>
                    </a:lnTo>
                    <a:lnTo>
                      <a:pt x="836" y="184"/>
                    </a:lnTo>
                    <a:lnTo>
                      <a:pt x="836" y="174"/>
                    </a:lnTo>
                    <a:lnTo>
                      <a:pt x="831" y="165"/>
                    </a:lnTo>
                    <a:lnTo>
                      <a:pt x="829" y="160"/>
                    </a:lnTo>
                    <a:lnTo>
                      <a:pt x="836" y="158"/>
                    </a:lnTo>
                    <a:lnTo>
                      <a:pt x="846" y="155"/>
                    </a:lnTo>
                    <a:lnTo>
                      <a:pt x="857" y="151"/>
                    </a:lnTo>
                    <a:lnTo>
                      <a:pt x="864" y="143"/>
                    </a:lnTo>
                    <a:lnTo>
                      <a:pt x="870" y="129"/>
                    </a:lnTo>
                    <a:lnTo>
                      <a:pt x="877" y="115"/>
                    </a:lnTo>
                    <a:lnTo>
                      <a:pt x="886" y="106"/>
                    </a:lnTo>
                    <a:lnTo>
                      <a:pt x="886" y="93"/>
                    </a:lnTo>
                    <a:lnTo>
                      <a:pt x="870" y="94"/>
                    </a:lnTo>
                    <a:lnTo>
                      <a:pt x="862" y="100"/>
                    </a:lnTo>
                    <a:lnTo>
                      <a:pt x="853" y="105"/>
                    </a:lnTo>
                    <a:lnTo>
                      <a:pt x="845" y="108"/>
                    </a:lnTo>
                    <a:lnTo>
                      <a:pt x="833" y="105"/>
                    </a:lnTo>
                    <a:lnTo>
                      <a:pt x="827" y="98"/>
                    </a:lnTo>
                    <a:lnTo>
                      <a:pt x="821" y="88"/>
                    </a:lnTo>
                    <a:lnTo>
                      <a:pt x="817" y="82"/>
                    </a:lnTo>
                    <a:lnTo>
                      <a:pt x="807" y="76"/>
                    </a:lnTo>
                    <a:lnTo>
                      <a:pt x="797" y="72"/>
                    </a:lnTo>
                    <a:lnTo>
                      <a:pt x="784" y="69"/>
                    </a:lnTo>
                    <a:lnTo>
                      <a:pt x="779" y="64"/>
                    </a:lnTo>
                    <a:lnTo>
                      <a:pt x="772" y="51"/>
                    </a:lnTo>
                    <a:lnTo>
                      <a:pt x="767" y="41"/>
                    </a:lnTo>
                    <a:lnTo>
                      <a:pt x="762" y="29"/>
                    </a:lnTo>
                    <a:lnTo>
                      <a:pt x="757" y="21"/>
                    </a:lnTo>
                    <a:lnTo>
                      <a:pt x="750" y="10"/>
                    </a:lnTo>
                    <a:lnTo>
                      <a:pt x="741" y="5"/>
                    </a:lnTo>
                    <a:lnTo>
                      <a:pt x="731" y="0"/>
                    </a:lnTo>
                    <a:lnTo>
                      <a:pt x="717" y="0"/>
                    </a:lnTo>
                    <a:lnTo>
                      <a:pt x="695" y="3"/>
                    </a:lnTo>
                    <a:lnTo>
                      <a:pt x="681" y="12"/>
                    </a:lnTo>
                    <a:lnTo>
                      <a:pt x="673" y="24"/>
                    </a:lnTo>
                    <a:lnTo>
                      <a:pt x="668" y="39"/>
                    </a:lnTo>
                    <a:lnTo>
                      <a:pt x="661" y="51"/>
                    </a:lnTo>
                    <a:lnTo>
                      <a:pt x="654" y="62"/>
                    </a:lnTo>
                    <a:lnTo>
                      <a:pt x="643" y="65"/>
                    </a:lnTo>
                    <a:lnTo>
                      <a:pt x="630" y="65"/>
                    </a:lnTo>
                    <a:lnTo>
                      <a:pt x="614" y="60"/>
                    </a:lnTo>
                    <a:lnTo>
                      <a:pt x="600" y="60"/>
                    </a:lnTo>
                    <a:lnTo>
                      <a:pt x="587" y="60"/>
                    </a:lnTo>
                    <a:lnTo>
                      <a:pt x="575" y="65"/>
                    </a:lnTo>
                    <a:lnTo>
                      <a:pt x="561" y="69"/>
                    </a:lnTo>
                    <a:lnTo>
                      <a:pt x="549" y="72"/>
                    </a:lnTo>
                    <a:lnTo>
                      <a:pt x="537" y="76"/>
                    </a:lnTo>
                    <a:lnTo>
                      <a:pt x="526" y="77"/>
                    </a:lnTo>
                    <a:lnTo>
                      <a:pt x="514" y="76"/>
                    </a:lnTo>
                    <a:lnTo>
                      <a:pt x="504" y="72"/>
                    </a:lnTo>
                    <a:lnTo>
                      <a:pt x="496" y="69"/>
                    </a:lnTo>
                    <a:lnTo>
                      <a:pt x="489" y="65"/>
                    </a:lnTo>
                    <a:lnTo>
                      <a:pt x="480" y="60"/>
                    </a:lnTo>
                    <a:lnTo>
                      <a:pt x="473" y="57"/>
                    </a:lnTo>
                    <a:lnTo>
                      <a:pt x="463" y="53"/>
                    </a:lnTo>
                    <a:lnTo>
                      <a:pt x="454" y="53"/>
                    </a:lnTo>
                    <a:lnTo>
                      <a:pt x="442" y="55"/>
                    </a:lnTo>
                    <a:lnTo>
                      <a:pt x="430" y="57"/>
                    </a:lnTo>
                    <a:lnTo>
                      <a:pt x="423" y="55"/>
                    </a:lnTo>
                    <a:lnTo>
                      <a:pt x="416" y="51"/>
                    </a:lnTo>
                    <a:lnTo>
                      <a:pt x="411" y="46"/>
                    </a:lnTo>
                    <a:lnTo>
                      <a:pt x="408" y="38"/>
                    </a:lnTo>
                    <a:lnTo>
                      <a:pt x="401" y="31"/>
                    </a:lnTo>
                    <a:lnTo>
                      <a:pt x="389" y="27"/>
                    </a:lnTo>
                    <a:lnTo>
                      <a:pt x="373" y="24"/>
                    </a:lnTo>
                    <a:lnTo>
                      <a:pt x="365" y="24"/>
                    </a:lnTo>
                    <a:lnTo>
                      <a:pt x="354" y="29"/>
                    </a:lnTo>
                    <a:lnTo>
                      <a:pt x="349" y="43"/>
                    </a:lnTo>
                    <a:lnTo>
                      <a:pt x="344" y="50"/>
                    </a:lnTo>
                    <a:lnTo>
                      <a:pt x="341" y="57"/>
                    </a:lnTo>
                    <a:lnTo>
                      <a:pt x="334" y="60"/>
                    </a:lnTo>
                    <a:lnTo>
                      <a:pt x="327" y="64"/>
                    </a:lnTo>
                    <a:lnTo>
                      <a:pt x="310" y="60"/>
                    </a:lnTo>
                    <a:lnTo>
                      <a:pt x="296" y="55"/>
                    </a:lnTo>
                    <a:lnTo>
                      <a:pt x="281" y="50"/>
                    </a:lnTo>
                    <a:lnTo>
                      <a:pt x="270" y="48"/>
                    </a:lnTo>
                    <a:lnTo>
                      <a:pt x="258" y="53"/>
                    </a:lnTo>
                    <a:lnTo>
                      <a:pt x="251" y="60"/>
                    </a:lnTo>
                    <a:lnTo>
                      <a:pt x="241" y="64"/>
                    </a:lnTo>
                    <a:lnTo>
                      <a:pt x="231" y="67"/>
                    </a:lnTo>
                    <a:lnTo>
                      <a:pt x="220" y="70"/>
                    </a:lnTo>
                    <a:lnTo>
                      <a:pt x="210" y="76"/>
                    </a:lnTo>
                    <a:lnTo>
                      <a:pt x="200" y="77"/>
                    </a:lnTo>
                    <a:lnTo>
                      <a:pt x="189" y="81"/>
                    </a:lnTo>
                    <a:lnTo>
                      <a:pt x="181" y="86"/>
                    </a:lnTo>
                    <a:lnTo>
                      <a:pt x="174" y="93"/>
                    </a:lnTo>
                    <a:lnTo>
                      <a:pt x="170" y="100"/>
                    </a:lnTo>
                    <a:lnTo>
                      <a:pt x="170" y="112"/>
                    </a:lnTo>
                    <a:lnTo>
                      <a:pt x="165" y="115"/>
                    </a:lnTo>
                    <a:lnTo>
                      <a:pt x="162" y="120"/>
                    </a:lnTo>
                    <a:lnTo>
                      <a:pt x="153" y="122"/>
                    </a:lnTo>
                    <a:lnTo>
                      <a:pt x="141" y="124"/>
                    </a:lnTo>
                    <a:lnTo>
                      <a:pt x="131" y="125"/>
                    </a:lnTo>
                    <a:lnTo>
                      <a:pt x="122" y="137"/>
                    </a:lnTo>
                    <a:lnTo>
                      <a:pt x="112" y="149"/>
                    </a:lnTo>
                    <a:lnTo>
                      <a:pt x="98" y="156"/>
                    </a:lnTo>
                    <a:lnTo>
                      <a:pt x="95" y="175"/>
                    </a:lnTo>
                    <a:lnTo>
                      <a:pt x="91" y="191"/>
                    </a:lnTo>
                    <a:lnTo>
                      <a:pt x="84" y="205"/>
                    </a:lnTo>
                    <a:lnTo>
                      <a:pt x="76" y="217"/>
                    </a:lnTo>
                    <a:lnTo>
                      <a:pt x="64" y="225"/>
                    </a:lnTo>
                    <a:lnTo>
                      <a:pt x="50" y="232"/>
                    </a:lnTo>
                    <a:lnTo>
                      <a:pt x="35" y="235"/>
                    </a:lnTo>
                    <a:lnTo>
                      <a:pt x="19" y="237"/>
                    </a:lnTo>
                    <a:lnTo>
                      <a:pt x="12" y="241"/>
                    </a:lnTo>
                    <a:lnTo>
                      <a:pt x="7" y="249"/>
                    </a:lnTo>
                    <a:lnTo>
                      <a:pt x="2" y="260"/>
                    </a:lnTo>
                    <a:lnTo>
                      <a:pt x="0" y="270"/>
                    </a:lnTo>
                    <a:lnTo>
                      <a:pt x="12" y="275"/>
                    </a:lnTo>
                    <a:lnTo>
                      <a:pt x="17" y="289"/>
                    </a:lnTo>
                    <a:lnTo>
                      <a:pt x="17" y="290"/>
                    </a:lnTo>
                    <a:lnTo>
                      <a:pt x="19" y="297"/>
                    </a:lnTo>
                    <a:lnTo>
                      <a:pt x="29" y="299"/>
                    </a:lnTo>
                    <a:lnTo>
                      <a:pt x="33" y="304"/>
                    </a:lnTo>
                    <a:lnTo>
                      <a:pt x="35" y="311"/>
                    </a:lnTo>
                    <a:lnTo>
                      <a:pt x="45" y="316"/>
                    </a:lnTo>
                    <a:lnTo>
                      <a:pt x="59" y="321"/>
                    </a:lnTo>
                    <a:lnTo>
                      <a:pt x="69" y="316"/>
                    </a:lnTo>
                    <a:lnTo>
                      <a:pt x="79" y="313"/>
                    </a:lnTo>
                    <a:lnTo>
                      <a:pt x="88" y="316"/>
                    </a:lnTo>
                    <a:lnTo>
                      <a:pt x="95" y="327"/>
                    </a:lnTo>
                    <a:lnTo>
                      <a:pt x="91" y="333"/>
                    </a:lnTo>
                    <a:lnTo>
                      <a:pt x="84" y="339"/>
                    </a:lnTo>
                    <a:lnTo>
                      <a:pt x="78" y="342"/>
                    </a:lnTo>
                    <a:lnTo>
                      <a:pt x="76" y="351"/>
                    </a:lnTo>
                    <a:lnTo>
                      <a:pt x="79" y="358"/>
                    </a:lnTo>
                    <a:lnTo>
                      <a:pt x="84" y="364"/>
                    </a:lnTo>
                    <a:lnTo>
                      <a:pt x="79" y="368"/>
                    </a:lnTo>
                    <a:lnTo>
                      <a:pt x="72" y="370"/>
                    </a:lnTo>
                    <a:lnTo>
                      <a:pt x="72" y="375"/>
                    </a:lnTo>
                    <a:lnTo>
                      <a:pt x="74" y="382"/>
                    </a:lnTo>
                    <a:lnTo>
                      <a:pt x="76" y="390"/>
                    </a:lnTo>
                    <a:lnTo>
                      <a:pt x="78" y="392"/>
                    </a:lnTo>
                    <a:lnTo>
                      <a:pt x="83" y="394"/>
                    </a:lnTo>
                    <a:lnTo>
                      <a:pt x="93" y="399"/>
                    </a:lnTo>
                    <a:lnTo>
                      <a:pt x="105" y="406"/>
                    </a:lnTo>
                    <a:lnTo>
                      <a:pt x="117" y="406"/>
                    </a:lnTo>
                    <a:lnTo>
                      <a:pt x="127" y="411"/>
                    </a:lnTo>
                    <a:lnTo>
                      <a:pt x="134" y="414"/>
                    </a:lnTo>
                    <a:lnTo>
                      <a:pt x="146" y="418"/>
                    </a:lnTo>
                    <a:lnTo>
                      <a:pt x="148" y="421"/>
                    </a:lnTo>
                    <a:lnTo>
                      <a:pt x="152" y="428"/>
                    </a:lnTo>
                    <a:lnTo>
                      <a:pt x="155" y="428"/>
                    </a:lnTo>
                    <a:lnTo>
                      <a:pt x="160" y="428"/>
                    </a:lnTo>
                    <a:lnTo>
                      <a:pt x="169" y="437"/>
                    </a:lnTo>
                    <a:lnTo>
                      <a:pt x="184" y="442"/>
                    </a:lnTo>
                    <a:lnTo>
                      <a:pt x="195" y="442"/>
                    </a:lnTo>
                    <a:lnTo>
                      <a:pt x="205" y="442"/>
                    </a:lnTo>
                    <a:lnTo>
                      <a:pt x="210" y="440"/>
                    </a:lnTo>
                    <a:lnTo>
                      <a:pt x="215" y="438"/>
                    </a:lnTo>
                    <a:lnTo>
                      <a:pt x="217" y="442"/>
                    </a:lnTo>
                    <a:lnTo>
                      <a:pt x="219" y="450"/>
                    </a:lnTo>
                    <a:lnTo>
                      <a:pt x="227" y="442"/>
                    </a:lnTo>
                    <a:lnTo>
                      <a:pt x="241" y="437"/>
                    </a:lnTo>
                    <a:lnTo>
                      <a:pt x="255" y="440"/>
                    </a:lnTo>
                    <a:lnTo>
                      <a:pt x="267" y="444"/>
                    </a:lnTo>
                    <a:lnTo>
                      <a:pt x="272" y="440"/>
                    </a:lnTo>
                    <a:lnTo>
                      <a:pt x="281" y="435"/>
                    </a:lnTo>
                    <a:lnTo>
                      <a:pt x="287" y="430"/>
                    </a:lnTo>
                    <a:lnTo>
                      <a:pt x="294" y="428"/>
                    </a:lnTo>
                    <a:lnTo>
                      <a:pt x="296" y="423"/>
                    </a:lnTo>
                    <a:lnTo>
                      <a:pt x="299" y="421"/>
                    </a:lnTo>
                    <a:lnTo>
                      <a:pt x="306" y="419"/>
                    </a:lnTo>
                    <a:lnTo>
                      <a:pt x="317" y="421"/>
                    </a:lnTo>
                    <a:lnTo>
                      <a:pt x="320" y="416"/>
                    </a:lnTo>
                    <a:lnTo>
                      <a:pt x="324" y="416"/>
                    </a:lnTo>
                    <a:lnTo>
                      <a:pt x="327" y="423"/>
                    </a:lnTo>
                    <a:lnTo>
                      <a:pt x="334" y="430"/>
                    </a:lnTo>
                    <a:lnTo>
                      <a:pt x="341" y="431"/>
                    </a:lnTo>
                    <a:lnTo>
                      <a:pt x="351" y="437"/>
                    </a:lnTo>
                    <a:lnTo>
                      <a:pt x="358" y="447"/>
                    </a:lnTo>
                    <a:lnTo>
                      <a:pt x="363" y="459"/>
                    </a:lnTo>
                    <a:lnTo>
                      <a:pt x="360" y="471"/>
                    </a:lnTo>
                    <a:lnTo>
                      <a:pt x="356" y="478"/>
                    </a:lnTo>
                    <a:lnTo>
                      <a:pt x="351" y="485"/>
                    </a:lnTo>
                    <a:lnTo>
                      <a:pt x="349" y="499"/>
                    </a:lnTo>
                    <a:lnTo>
                      <a:pt x="349" y="500"/>
                    </a:lnTo>
                    <a:lnTo>
                      <a:pt x="351" y="504"/>
                    </a:lnTo>
                    <a:lnTo>
                      <a:pt x="356" y="502"/>
                    </a:lnTo>
                    <a:lnTo>
                      <a:pt x="363" y="502"/>
                    </a:lnTo>
                    <a:lnTo>
                      <a:pt x="365" y="504"/>
                    </a:lnTo>
                    <a:lnTo>
                      <a:pt x="367" y="509"/>
                    </a:lnTo>
                    <a:lnTo>
                      <a:pt x="368" y="512"/>
                    </a:lnTo>
                    <a:lnTo>
                      <a:pt x="373" y="516"/>
                    </a:lnTo>
                    <a:lnTo>
                      <a:pt x="377" y="529"/>
                    </a:lnTo>
                    <a:lnTo>
                      <a:pt x="389" y="538"/>
                    </a:lnTo>
                    <a:lnTo>
                      <a:pt x="392" y="536"/>
                    </a:lnTo>
                    <a:lnTo>
                      <a:pt x="397" y="536"/>
                    </a:lnTo>
                    <a:lnTo>
                      <a:pt x="401" y="536"/>
                    </a:lnTo>
                    <a:lnTo>
                      <a:pt x="401" y="540"/>
                    </a:lnTo>
                    <a:lnTo>
                      <a:pt x="404" y="542"/>
                    </a:lnTo>
                    <a:lnTo>
                      <a:pt x="404" y="540"/>
                    </a:lnTo>
                    <a:lnTo>
                      <a:pt x="406" y="538"/>
                    </a:lnTo>
                    <a:lnTo>
                      <a:pt x="406" y="531"/>
                    </a:lnTo>
                    <a:lnTo>
                      <a:pt x="406" y="524"/>
                    </a:lnTo>
                    <a:lnTo>
                      <a:pt x="411" y="523"/>
                    </a:lnTo>
                    <a:lnTo>
                      <a:pt x="420" y="521"/>
                    </a:lnTo>
                    <a:lnTo>
                      <a:pt x="435" y="521"/>
                    </a:lnTo>
                    <a:lnTo>
                      <a:pt x="446" y="517"/>
                    </a:lnTo>
                    <a:lnTo>
                      <a:pt x="456" y="514"/>
                    </a:lnTo>
                    <a:lnTo>
                      <a:pt x="466" y="517"/>
                    </a:lnTo>
                    <a:lnTo>
                      <a:pt x="478" y="521"/>
                    </a:lnTo>
                    <a:lnTo>
                      <a:pt x="483" y="533"/>
                    </a:lnTo>
                    <a:lnTo>
                      <a:pt x="496" y="540"/>
                    </a:lnTo>
                    <a:lnTo>
                      <a:pt x="508" y="542"/>
                    </a:lnTo>
                    <a:lnTo>
                      <a:pt x="520" y="545"/>
                    </a:lnTo>
                    <a:lnTo>
                      <a:pt x="518" y="552"/>
                    </a:lnTo>
                    <a:lnTo>
                      <a:pt x="523" y="559"/>
                    </a:lnTo>
                    <a:lnTo>
                      <a:pt x="526" y="554"/>
                    </a:lnTo>
                    <a:lnTo>
                      <a:pt x="530" y="547"/>
                    </a:lnTo>
                    <a:lnTo>
                      <a:pt x="539" y="542"/>
                    </a:lnTo>
                    <a:lnTo>
                      <a:pt x="547" y="540"/>
                    </a:lnTo>
                    <a:lnTo>
                      <a:pt x="561" y="536"/>
                    </a:lnTo>
                    <a:lnTo>
                      <a:pt x="573" y="531"/>
                    </a:lnTo>
                    <a:lnTo>
                      <a:pt x="575" y="526"/>
                    </a:lnTo>
                    <a:lnTo>
                      <a:pt x="578" y="523"/>
                    </a:lnTo>
                    <a:lnTo>
                      <a:pt x="585" y="524"/>
                    </a:lnTo>
                    <a:lnTo>
                      <a:pt x="592" y="526"/>
                    </a:lnTo>
                    <a:lnTo>
                      <a:pt x="604" y="523"/>
                    </a:lnTo>
                    <a:lnTo>
                      <a:pt x="616" y="517"/>
                    </a:lnTo>
                    <a:lnTo>
                      <a:pt x="623" y="509"/>
                    </a:lnTo>
                    <a:lnTo>
                      <a:pt x="635" y="504"/>
                    </a:lnTo>
                    <a:lnTo>
                      <a:pt x="638" y="500"/>
                    </a:lnTo>
                    <a:lnTo>
                      <a:pt x="642" y="495"/>
                    </a:lnTo>
                    <a:lnTo>
                      <a:pt x="647" y="492"/>
                    </a:lnTo>
                    <a:lnTo>
                      <a:pt x="654" y="483"/>
                    </a:lnTo>
                    <a:lnTo>
                      <a:pt x="657" y="474"/>
                    </a:lnTo>
                    <a:lnTo>
                      <a:pt x="662" y="466"/>
                    </a:lnTo>
                    <a:lnTo>
                      <a:pt x="666" y="457"/>
                    </a:lnTo>
                    <a:lnTo>
                      <a:pt x="673" y="450"/>
                    </a:lnTo>
                    <a:lnTo>
                      <a:pt x="680" y="442"/>
                    </a:lnTo>
                    <a:lnTo>
                      <a:pt x="686" y="438"/>
                    </a:lnTo>
                    <a:lnTo>
                      <a:pt x="686" y="430"/>
                    </a:lnTo>
                    <a:lnTo>
                      <a:pt x="690" y="425"/>
                    </a:lnTo>
                    <a:lnTo>
                      <a:pt x="692" y="416"/>
                    </a:lnTo>
                    <a:lnTo>
                      <a:pt x="695" y="407"/>
                    </a:lnTo>
                    <a:lnTo>
                      <a:pt x="693" y="392"/>
                    </a:lnTo>
                    <a:lnTo>
                      <a:pt x="690" y="382"/>
                    </a:lnTo>
                    <a:lnTo>
                      <a:pt x="685" y="373"/>
                    </a:lnTo>
                    <a:lnTo>
                      <a:pt x="680" y="364"/>
                    </a:lnTo>
                    <a:lnTo>
                      <a:pt x="676" y="358"/>
                    </a:lnTo>
                    <a:lnTo>
                      <a:pt x="674" y="352"/>
                    </a:lnTo>
                    <a:lnTo>
                      <a:pt x="674" y="3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0" name="Freeform 259"/>
              <p:cNvSpPr>
                <a:spLocks/>
              </p:cNvSpPr>
              <p:nvPr/>
            </p:nvSpPr>
            <p:spPr bwMode="auto">
              <a:xfrm>
                <a:off x="8405019" y="1987550"/>
                <a:ext cx="82550" cy="34925"/>
              </a:xfrm>
              <a:custGeom>
                <a:avLst/>
                <a:gdLst/>
                <a:ahLst/>
                <a:cxnLst>
                  <a:cxn ang="0">
                    <a:pos x="6" y="22"/>
                  </a:cxn>
                  <a:cxn ang="0">
                    <a:pos x="0" y="19"/>
                  </a:cxn>
                  <a:cxn ang="0">
                    <a:pos x="0" y="17"/>
                  </a:cxn>
                  <a:cxn ang="0">
                    <a:pos x="2" y="10"/>
                  </a:cxn>
                  <a:cxn ang="0">
                    <a:pos x="9" y="5"/>
                  </a:cxn>
                  <a:cxn ang="0">
                    <a:pos x="16" y="0"/>
                  </a:cxn>
                  <a:cxn ang="0">
                    <a:pos x="25" y="0"/>
                  </a:cxn>
                  <a:cxn ang="0">
                    <a:pos x="31" y="0"/>
                  </a:cxn>
                  <a:cxn ang="0">
                    <a:pos x="40" y="3"/>
                  </a:cxn>
                  <a:cxn ang="0">
                    <a:pos x="49" y="7"/>
                  </a:cxn>
                  <a:cxn ang="0">
                    <a:pos x="52" y="12"/>
                  </a:cxn>
                  <a:cxn ang="0">
                    <a:pos x="45" y="16"/>
                  </a:cxn>
                  <a:cxn ang="0">
                    <a:pos x="30" y="19"/>
                  </a:cxn>
                  <a:cxn ang="0">
                    <a:pos x="14" y="21"/>
                  </a:cxn>
                  <a:cxn ang="0">
                    <a:pos x="6" y="22"/>
                  </a:cxn>
                </a:cxnLst>
                <a:rect l="0" t="0" r="r" b="b"/>
                <a:pathLst>
                  <a:path w="52" h="22">
                    <a:moveTo>
                      <a:pt x="6" y="22"/>
                    </a:moveTo>
                    <a:lnTo>
                      <a:pt x="0" y="19"/>
                    </a:lnTo>
                    <a:lnTo>
                      <a:pt x="0" y="17"/>
                    </a:lnTo>
                    <a:lnTo>
                      <a:pt x="2" y="10"/>
                    </a:lnTo>
                    <a:lnTo>
                      <a:pt x="9" y="5"/>
                    </a:lnTo>
                    <a:lnTo>
                      <a:pt x="16" y="0"/>
                    </a:lnTo>
                    <a:lnTo>
                      <a:pt x="25" y="0"/>
                    </a:lnTo>
                    <a:lnTo>
                      <a:pt x="31" y="0"/>
                    </a:lnTo>
                    <a:lnTo>
                      <a:pt x="40" y="3"/>
                    </a:lnTo>
                    <a:lnTo>
                      <a:pt x="49" y="7"/>
                    </a:lnTo>
                    <a:lnTo>
                      <a:pt x="52" y="12"/>
                    </a:lnTo>
                    <a:lnTo>
                      <a:pt x="45" y="16"/>
                    </a:lnTo>
                    <a:lnTo>
                      <a:pt x="30" y="19"/>
                    </a:lnTo>
                    <a:lnTo>
                      <a:pt x="14" y="21"/>
                    </a:lnTo>
                    <a:lnTo>
                      <a:pt x="6"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1" name="Freeform 260"/>
              <p:cNvSpPr>
                <a:spLocks/>
              </p:cNvSpPr>
              <p:nvPr/>
            </p:nvSpPr>
            <p:spPr bwMode="auto">
              <a:xfrm>
                <a:off x="8162132" y="2055813"/>
                <a:ext cx="33338" cy="15875"/>
              </a:xfrm>
              <a:custGeom>
                <a:avLst/>
                <a:gdLst/>
                <a:ahLst/>
                <a:cxnLst>
                  <a:cxn ang="0">
                    <a:pos x="16" y="10"/>
                  </a:cxn>
                  <a:cxn ang="0">
                    <a:pos x="18" y="7"/>
                  </a:cxn>
                  <a:cxn ang="0">
                    <a:pos x="21" y="5"/>
                  </a:cxn>
                  <a:cxn ang="0">
                    <a:pos x="19" y="2"/>
                  </a:cxn>
                  <a:cxn ang="0">
                    <a:pos x="18" y="0"/>
                  </a:cxn>
                  <a:cxn ang="0">
                    <a:pos x="0" y="0"/>
                  </a:cxn>
                  <a:cxn ang="0">
                    <a:pos x="6" y="7"/>
                  </a:cxn>
                  <a:cxn ang="0">
                    <a:pos x="16" y="10"/>
                  </a:cxn>
                </a:cxnLst>
                <a:rect l="0" t="0" r="r" b="b"/>
                <a:pathLst>
                  <a:path w="21" h="10">
                    <a:moveTo>
                      <a:pt x="16" y="10"/>
                    </a:moveTo>
                    <a:lnTo>
                      <a:pt x="18" y="7"/>
                    </a:lnTo>
                    <a:lnTo>
                      <a:pt x="21" y="5"/>
                    </a:lnTo>
                    <a:lnTo>
                      <a:pt x="19" y="2"/>
                    </a:lnTo>
                    <a:lnTo>
                      <a:pt x="18" y="0"/>
                    </a:lnTo>
                    <a:lnTo>
                      <a:pt x="0" y="0"/>
                    </a:lnTo>
                    <a:lnTo>
                      <a:pt x="6" y="7"/>
                    </a:lnTo>
                    <a:lnTo>
                      <a:pt x="16"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2" name="Freeform 261"/>
              <p:cNvSpPr>
                <a:spLocks/>
              </p:cNvSpPr>
              <p:nvPr/>
            </p:nvSpPr>
            <p:spPr bwMode="auto">
              <a:xfrm>
                <a:off x="7411244" y="1798638"/>
                <a:ext cx="17463" cy="19050"/>
              </a:xfrm>
              <a:custGeom>
                <a:avLst/>
                <a:gdLst/>
                <a:ahLst/>
                <a:cxnLst>
                  <a:cxn ang="0">
                    <a:pos x="11" y="6"/>
                  </a:cxn>
                  <a:cxn ang="0">
                    <a:pos x="6" y="0"/>
                  </a:cxn>
                  <a:cxn ang="0">
                    <a:pos x="2" y="2"/>
                  </a:cxn>
                  <a:cxn ang="0">
                    <a:pos x="0" y="7"/>
                  </a:cxn>
                  <a:cxn ang="0">
                    <a:pos x="0" y="11"/>
                  </a:cxn>
                  <a:cxn ang="0">
                    <a:pos x="6" y="12"/>
                  </a:cxn>
                  <a:cxn ang="0">
                    <a:pos x="7" y="9"/>
                  </a:cxn>
                  <a:cxn ang="0">
                    <a:pos x="11" y="4"/>
                  </a:cxn>
                  <a:cxn ang="0">
                    <a:pos x="9" y="4"/>
                  </a:cxn>
                  <a:cxn ang="0">
                    <a:pos x="11" y="6"/>
                  </a:cxn>
                </a:cxnLst>
                <a:rect l="0" t="0" r="r" b="b"/>
                <a:pathLst>
                  <a:path w="11" h="12">
                    <a:moveTo>
                      <a:pt x="11" y="6"/>
                    </a:moveTo>
                    <a:lnTo>
                      <a:pt x="6" y="0"/>
                    </a:lnTo>
                    <a:lnTo>
                      <a:pt x="2" y="2"/>
                    </a:lnTo>
                    <a:lnTo>
                      <a:pt x="0" y="7"/>
                    </a:lnTo>
                    <a:lnTo>
                      <a:pt x="0" y="11"/>
                    </a:lnTo>
                    <a:lnTo>
                      <a:pt x="6" y="12"/>
                    </a:lnTo>
                    <a:lnTo>
                      <a:pt x="7" y="9"/>
                    </a:lnTo>
                    <a:lnTo>
                      <a:pt x="11" y="4"/>
                    </a:lnTo>
                    <a:lnTo>
                      <a:pt x="9" y="4"/>
                    </a:lnTo>
                    <a:lnTo>
                      <a:pt x="11"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3" name="Freeform 262"/>
              <p:cNvSpPr>
                <a:spLocks/>
              </p:cNvSpPr>
              <p:nvPr/>
            </p:nvSpPr>
            <p:spPr bwMode="auto">
              <a:xfrm>
                <a:off x="6871494" y="1857375"/>
                <a:ext cx="34925" cy="20637"/>
              </a:xfrm>
              <a:custGeom>
                <a:avLst/>
                <a:gdLst/>
                <a:ahLst/>
                <a:cxnLst>
                  <a:cxn ang="0">
                    <a:pos x="22" y="10"/>
                  </a:cxn>
                  <a:cxn ang="0">
                    <a:pos x="17" y="12"/>
                  </a:cxn>
                  <a:cxn ang="0">
                    <a:pos x="12" y="13"/>
                  </a:cxn>
                  <a:cxn ang="0">
                    <a:pos x="3" y="12"/>
                  </a:cxn>
                  <a:cxn ang="0">
                    <a:pos x="0" y="8"/>
                  </a:cxn>
                  <a:cxn ang="0">
                    <a:pos x="3" y="1"/>
                  </a:cxn>
                  <a:cxn ang="0">
                    <a:pos x="12" y="0"/>
                  </a:cxn>
                  <a:cxn ang="0">
                    <a:pos x="19" y="1"/>
                  </a:cxn>
                  <a:cxn ang="0">
                    <a:pos x="22" y="8"/>
                  </a:cxn>
                  <a:cxn ang="0">
                    <a:pos x="20" y="10"/>
                  </a:cxn>
                  <a:cxn ang="0">
                    <a:pos x="19" y="13"/>
                  </a:cxn>
                  <a:cxn ang="0">
                    <a:pos x="22" y="10"/>
                  </a:cxn>
                </a:cxnLst>
                <a:rect l="0" t="0" r="r" b="b"/>
                <a:pathLst>
                  <a:path w="22" h="13">
                    <a:moveTo>
                      <a:pt x="22" y="10"/>
                    </a:moveTo>
                    <a:lnTo>
                      <a:pt x="17" y="12"/>
                    </a:lnTo>
                    <a:lnTo>
                      <a:pt x="12" y="13"/>
                    </a:lnTo>
                    <a:lnTo>
                      <a:pt x="3" y="12"/>
                    </a:lnTo>
                    <a:lnTo>
                      <a:pt x="0" y="8"/>
                    </a:lnTo>
                    <a:lnTo>
                      <a:pt x="3" y="1"/>
                    </a:lnTo>
                    <a:lnTo>
                      <a:pt x="12" y="0"/>
                    </a:lnTo>
                    <a:lnTo>
                      <a:pt x="19" y="1"/>
                    </a:lnTo>
                    <a:lnTo>
                      <a:pt x="22" y="8"/>
                    </a:lnTo>
                    <a:lnTo>
                      <a:pt x="20" y="10"/>
                    </a:lnTo>
                    <a:lnTo>
                      <a:pt x="19" y="13"/>
                    </a:lnTo>
                    <a:lnTo>
                      <a:pt x="22"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4" name="Freeform 263"/>
              <p:cNvSpPr>
                <a:spLocks/>
              </p:cNvSpPr>
              <p:nvPr/>
            </p:nvSpPr>
            <p:spPr bwMode="auto">
              <a:xfrm>
                <a:off x="6587332" y="1624013"/>
                <a:ext cx="139700" cy="76200"/>
              </a:xfrm>
              <a:custGeom>
                <a:avLst/>
                <a:gdLst/>
                <a:ahLst/>
                <a:cxnLst>
                  <a:cxn ang="0">
                    <a:pos x="7" y="48"/>
                  </a:cxn>
                  <a:cxn ang="0">
                    <a:pos x="0" y="47"/>
                  </a:cxn>
                  <a:cxn ang="0">
                    <a:pos x="0" y="42"/>
                  </a:cxn>
                  <a:cxn ang="0">
                    <a:pos x="3" y="33"/>
                  </a:cxn>
                  <a:cxn ang="0">
                    <a:pos x="9" y="31"/>
                  </a:cxn>
                  <a:cxn ang="0">
                    <a:pos x="15" y="21"/>
                  </a:cxn>
                  <a:cxn ang="0">
                    <a:pos x="24" y="11"/>
                  </a:cxn>
                  <a:cxn ang="0">
                    <a:pos x="33" y="2"/>
                  </a:cxn>
                  <a:cxn ang="0">
                    <a:pos x="46" y="0"/>
                  </a:cxn>
                  <a:cxn ang="0">
                    <a:pos x="48" y="0"/>
                  </a:cxn>
                  <a:cxn ang="0">
                    <a:pos x="52" y="0"/>
                  </a:cxn>
                  <a:cxn ang="0">
                    <a:pos x="52" y="6"/>
                  </a:cxn>
                  <a:cxn ang="0">
                    <a:pos x="52" y="11"/>
                  </a:cxn>
                  <a:cxn ang="0">
                    <a:pos x="55" y="7"/>
                  </a:cxn>
                  <a:cxn ang="0">
                    <a:pos x="60" y="6"/>
                  </a:cxn>
                  <a:cxn ang="0">
                    <a:pos x="67" y="7"/>
                  </a:cxn>
                  <a:cxn ang="0">
                    <a:pos x="76" y="12"/>
                  </a:cxn>
                  <a:cxn ang="0">
                    <a:pos x="84" y="19"/>
                  </a:cxn>
                  <a:cxn ang="0">
                    <a:pos x="88" y="26"/>
                  </a:cxn>
                  <a:cxn ang="0">
                    <a:pos x="83" y="31"/>
                  </a:cxn>
                  <a:cxn ang="0">
                    <a:pos x="72" y="36"/>
                  </a:cxn>
                  <a:cxn ang="0">
                    <a:pos x="60" y="36"/>
                  </a:cxn>
                  <a:cxn ang="0">
                    <a:pos x="52" y="38"/>
                  </a:cxn>
                  <a:cxn ang="0">
                    <a:pos x="46" y="38"/>
                  </a:cxn>
                  <a:cxn ang="0">
                    <a:pos x="41" y="40"/>
                  </a:cxn>
                  <a:cxn ang="0">
                    <a:pos x="36" y="40"/>
                  </a:cxn>
                  <a:cxn ang="0">
                    <a:pos x="34" y="42"/>
                  </a:cxn>
                  <a:cxn ang="0">
                    <a:pos x="7" y="48"/>
                  </a:cxn>
                </a:cxnLst>
                <a:rect l="0" t="0" r="r" b="b"/>
                <a:pathLst>
                  <a:path w="88" h="48">
                    <a:moveTo>
                      <a:pt x="7" y="48"/>
                    </a:moveTo>
                    <a:lnTo>
                      <a:pt x="0" y="47"/>
                    </a:lnTo>
                    <a:lnTo>
                      <a:pt x="0" y="42"/>
                    </a:lnTo>
                    <a:lnTo>
                      <a:pt x="3" y="33"/>
                    </a:lnTo>
                    <a:lnTo>
                      <a:pt x="9" y="31"/>
                    </a:lnTo>
                    <a:lnTo>
                      <a:pt x="15" y="21"/>
                    </a:lnTo>
                    <a:lnTo>
                      <a:pt x="24" y="11"/>
                    </a:lnTo>
                    <a:lnTo>
                      <a:pt x="33" y="2"/>
                    </a:lnTo>
                    <a:lnTo>
                      <a:pt x="46" y="0"/>
                    </a:lnTo>
                    <a:lnTo>
                      <a:pt x="48" y="0"/>
                    </a:lnTo>
                    <a:lnTo>
                      <a:pt x="52" y="0"/>
                    </a:lnTo>
                    <a:lnTo>
                      <a:pt x="52" y="6"/>
                    </a:lnTo>
                    <a:lnTo>
                      <a:pt x="52" y="11"/>
                    </a:lnTo>
                    <a:lnTo>
                      <a:pt x="55" y="7"/>
                    </a:lnTo>
                    <a:lnTo>
                      <a:pt x="60" y="6"/>
                    </a:lnTo>
                    <a:lnTo>
                      <a:pt x="67" y="7"/>
                    </a:lnTo>
                    <a:lnTo>
                      <a:pt x="76" y="12"/>
                    </a:lnTo>
                    <a:lnTo>
                      <a:pt x="84" y="19"/>
                    </a:lnTo>
                    <a:lnTo>
                      <a:pt x="88" y="26"/>
                    </a:lnTo>
                    <a:lnTo>
                      <a:pt x="83" y="31"/>
                    </a:lnTo>
                    <a:lnTo>
                      <a:pt x="72" y="36"/>
                    </a:lnTo>
                    <a:lnTo>
                      <a:pt x="60" y="36"/>
                    </a:lnTo>
                    <a:lnTo>
                      <a:pt x="52" y="38"/>
                    </a:lnTo>
                    <a:lnTo>
                      <a:pt x="46" y="38"/>
                    </a:lnTo>
                    <a:lnTo>
                      <a:pt x="41" y="40"/>
                    </a:lnTo>
                    <a:lnTo>
                      <a:pt x="36" y="40"/>
                    </a:lnTo>
                    <a:lnTo>
                      <a:pt x="34" y="42"/>
                    </a:lnTo>
                    <a:lnTo>
                      <a:pt x="7" y="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5" name="Freeform 264"/>
              <p:cNvSpPr>
                <a:spLocks/>
              </p:cNvSpPr>
              <p:nvPr/>
            </p:nvSpPr>
            <p:spPr bwMode="auto">
              <a:xfrm>
                <a:off x="6393657" y="1585913"/>
                <a:ext cx="52388" cy="26987"/>
              </a:xfrm>
              <a:custGeom>
                <a:avLst/>
                <a:gdLst/>
                <a:ahLst/>
                <a:cxnLst>
                  <a:cxn ang="0">
                    <a:pos x="14" y="0"/>
                  </a:cxn>
                  <a:cxn ang="0">
                    <a:pos x="15" y="0"/>
                  </a:cxn>
                  <a:cxn ang="0">
                    <a:pos x="22" y="4"/>
                  </a:cxn>
                  <a:cxn ang="0">
                    <a:pos x="27" y="5"/>
                  </a:cxn>
                  <a:cxn ang="0">
                    <a:pos x="33" y="7"/>
                  </a:cxn>
                  <a:cxn ang="0">
                    <a:pos x="29" y="11"/>
                  </a:cxn>
                  <a:cxn ang="0">
                    <a:pos x="22" y="14"/>
                  </a:cxn>
                  <a:cxn ang="0">
                    <a:pos x="14" y="16"/>
                  </a:cxn>
                  <a:cxn ang="0">
                    <a:pos x="10" y="17"/>
                  </a:cxn>
                  <a:cxn ang="0">
                    <a:pos x="3" y="12"/>
                  </a:cxn>
                  <a:cxn ang="0">
                    <a:pos x="0" y="5"/>
                  </a:cxn>
                  <a:cxn ang="0">
                    <a:pos x="5" y="0"/>
                  </a:cxn>
                  <a:cxn ang="0">
                    <a:pos x="14" y="0"/>
                  </a:cxn>
                </a:cxnLst>
                <a:rect l="0" t="0" r="r" b="b"/>
                <a:pathLst>
                  <a:path w="33" h="17">
                    <a:moveTo>
                      <a:pt x="14" y="0"/>
                    </a:moveTo>
                    <a:lnTo>
                      <a:pt x="15" y="0"/>
                    </a:lnTo>
                    <a:lnTo>
                      <a:pt x="22" y="4"/>
                    </a:lnTo>
                    <a:lnTo>
                      <a:pt x="27" y="5"/>
                    </a:lnTo>
                    <a:lnTo>
                      <a:pt x="33" y="7"/>
                    </a:lnTo>
                    <a:lnTo>
                      <a:pt x="29" y="11"/>
                    </a:lnTo>
                    <a:lnTo>
                      <a:pt x="22" y="14"/>
                    </a:lnTo>
                    <a:lnTo>
                      <a:pt x="14" y="16"/>
                    </a:lnTo>
                    <a:lnTo>
                      <a:pt x="10" y="17"/>
                    </a:lnTo>
                    <a:lnTo>
                      <a:pt x="3" y="12"/>
                    </a:lnTo>
                    <a:lnTo>
                      <a:pt x="0" y="5"/>
                    </a:lnTo>
                    <a:lnTo>
                      <a:pt x="5"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6" name="Freeform 265"/>
              <p:cNvSpPr>
                <a:spLocks/>
              </p:cNvSpPr>
              <p:nvPr/>
            </p:nvSpPr>
            <p:spPr bwMode="auto">
              <a:xfrm>
                <a:off x="6409532" y="1525588"/>
                <a:ext cx="192088" cy="134937"/>
              </a:xfrm>
              <a:custGeom>
                <a:avLst/>
                <a:gdLst/>
                <a:ahLst/>
                <a:cxnLst>
                  <a:cxn ang="0">
                    <a:pos x="115" y="78"/>
                  </a:cxn>
                  <a:cxn ang="0">
                    <a:pos x="110" y="81"/>
                  </a:cxn>
                  <a:cxn ang="0">
                    <a:pos x="105" y="85"/>
                  </a:cxn>
                  <a:cxn ang="0">
                    <a:pos x="88" y="81"/>
                  </a:cxn>
                  <a:cxn ang="0">
                    <a:pos x="74" y="80"/>
                  </a:cxn>
                  <a:cxn ang="0">
                    <a:pos x="60" y="76"/>
                  </a:cxn>
                  <a:cxn ang="0">
                    <a:pos x="48" y="76"/>
                  </a:cxn>
                  <a:cxn ang="0">
                    <a:pos x="41" y="73"/>
                  </a:cxn>
                  <a:cxn ang="0">
                    <a:pos x="35" y="68"/>
                  </a:cxn>
                  <a:cxn ang="0">
                    <a:pos x="26" y="61"/>
                  </a:cxn>
                  <a:cxn ang="0">
                    <a:pos x="21" y="57"/>
                  </a:cxn>
                  <a:cxn ang="0">
                    <a:pos x="31" y="52"/>
                  </a:cxn>
                  <a:cxn ang="0">
                    <a:pos x="40" y="49"/>
                  </a:cxn>
                  <a:cxn ang="0">
                    <a:pos x="47" y="45"/>
                  </a:cxn>
                  <a:cxn ang="0">
                    <a:pos x="59" y="42"/>
                  </a:cxn>
                  <a:cxn ang="0">
                    <a:pos x="52" y="40"/>
                  </a:cxn>
                  <a:cxn ang="0">
                    <a:pos x="47" y="40"/>
                  </a:cxn>
                  <a:cxn ang="0">
                    <a:pos x="40" y="40"/>
                  </a:cxn>
                  <a:cxn ang="0">
                    <a:pos x="38" y="40"/>
                  </a:cxn>
                  <a:cxn ang="0">
                    <a:pos x="26" y="38"/>
                  </a:cxn>
                  <a:cxn ang="0">
                    <a:pos x="17" y="37"/>
                  </a:cxn>
                  <a:cxn ang="0">
                    <a:pos x="9" y="33"/>
                  </a:cxn>
                  <a:cxn ang="0">
                    <a:pos x="0" y="30"/>
                  </a:cxn>
                  <a:cxn ang="0">
                    <a:pos x="12" y="21"/>
                  </a:cxn>
                  <a:cxn ang="0">
                    <a:pos x="26" y="12"/>
                  </a:cxn>
                  <a:cxn ang="0">
                    <a:pos x="36" y="4"/>
                  </a:cxn>
                  <a:cxn ang="0">
                    <a:pos x="53" y="0"/>
                  </a:cxn>
                  <a:cxn ang="0">
                    <a:pos x="62" y="2"/>
                  </a:cxn>
                  <a:cxn ang="0">
                    <a:pos x="71" y="7"/>
                  </a:cxn>
                  <a:cxn ang="0">
                    <a:pos x="78" y="12"/>
                  </a:cxn>
                  <a:cxn ang="0">
                    <a:pos x="84" y="19"/>
                  </a:cxn>
                  <a:cxn ang="0">
                    <a:pos x="79" y="19"/>
                  </a:cxn>
                  <a:cxn ang="0">
                    <a:pos x="78" y="19"/>
                  </a:cxn>
                  <a:cxn ang="0">
                    <a:pos x="78" y="26"/>
                  </a:cxn>
                  <a:cxn ang="0">
                    <a:pos x="78" y="30"/>
                  </a:cxn>
                  <a:cxn ang="0">
                    <a:pos x="74" y="35"/>
                  </a:cxn>
                  <a:cxn ang="0">
                    <a:pos x="69" y="40"/>
                  </a:cxn>
                  <a:cxn ang="0">
                    <a:pos x="74" y="38"/>
                  </a:cxn>
                  <a:cxn ang="0">
                    <a:pos x="79" y="40"/>
                  </a:cxn>
                  <a:cxn ang="0">
                    <a:pos x="86" y="42"/>
                  </a:cxn>
                  <a:cxn ang="0">
                    <a:pos x="95" y="45"/>
                  </a:cxn>
                  <a:cxn ang="0">
                    <a:pos x="100" y="45"/>
                  </a:cxn>
                  <a:cxn ang="0">
                    <a:pos x="105" y="45"/>
                  </a:cxn>
                  <a:cxn ang="0">
                    <a:pos x="114" y="47"/>
                  </a:cxn>
                  <a:cxn ang="0">
                    <a:pos x="121" y="54"/>
                  </a:cxn>
                  <a:cxn ang="0">
                    <a:pos x="115" y="59"/>
                  </a:cxn>
                  <a:cxn ang="0">
                    <a:pos x="117" y="64"/>
                  </a:cxn>
                  <a:cxn ang="0">
                    <a:pos x="112" y="68"/>
                  </a:cxn>
                  <a:cxn ang="0">
                    <a:pos x="107" y="71"/>
                  </a:cxn>
                  <a:cxn ang="0">
                    <a:pos x="112" y="73"/>
                  </a:cxn>
                  <a:cxn ang="0">
                    <a:pos x="115" y="78"/>
                  </a:cxn>
                </a:cxnLst>
                <a:rect l="0" t="0" r="r" b="b"/>
                <a:pathLst>
                  <a:path w="121" h="85">
                    <a:moveTo>
                      <a:pt x="115" y="78"/>
                    </a:moveTo>
                    <a:lnTo>
                      <a:pt x="110" y="81"/>
                    </a:lnTo>
                    <a:lnTo>
                      <a:pt x="105" y="85"/>
                    </a:lnTo>
                    <a:lnTo>
                      <a:pt x="88" y="81"/>
                    </a:lnTo>
                    <a:lnTo>
                      <a:pt x="74" y="80"/>
                    </a:lnTo>
                    <a:lnTo>
                      <a:pt x="60" y="76"/>
                    </a:lnTo>
                    <a:lnTo>
                      <a:pt x="48" y="76"/>
                    </a:lnTo>
                    <a:lnTo>
                      <a:pt x="41" y="73"/>
                    </a:lnTo>
                    <a:lnTo>
                      <a:pt x="35" y="68"/>
                    </a:lnTo>
                    <a:lnTo>
                      <a:pt x="26" y="61"/>
                    </a:lnTo>
                    <a:lnTo>
                      <a:pt x="21" y="57"/>
                    </a:lnTo>
                    <a:lnTo>
                      <a:pt x="31" y="52"/>
                    </a:lnTo>
                    <a:lnTo>
                      <a:pt x="40" y="49"/>
                    </a:lnTo>
                    <a:lnTo>
                      <a:pt x="47" y="45"/>
                    </a:lnTo>
                    <a:lnTo>
                      <a:pt x="59" y="42"/>
                    </a:lnTo>
                    <a:lnTo>
                      <a:pt x="52" y="40"/>
                    </a:lnTo>
                    <a:lnTo>
                      <a:pt x="47" y="40"/>
                    </a:lnTo>
                    <a:lnTo>
                      <a:pt x="40" y="40"/>
                    </a:lnTo>
                    <a:lnTo>
                      <a:pt x="38" y="40"/>
                    </a:lnTo>
                    <a:lnTo>
                      <a:pt x="26" y="38"/>
                    </a:lnTo>
                    <a:lnTo>
                      <a:pt x="17" y="37"/>
                    </a:lnTo>
                    <a:lnTo>
                      <a:pt x="9" y="33"/>
                    </a:lnTo>
                    <a:lnTo>
                      <a:pt x="0" y="30"/>
                    </a:lnTo>
                    <a:lnTo>
                      <a:pt x="12" y="21"/>
                    </a:lnTo>
                    <a:lnTo>
                      <a:pt x="26" y="12"/>
                    </a:lnTo>
                    <a:lnTo>
                      <a:pt x="36" y="4"/>
                    </a:lnTo>
                    <a:lnTo>
                      <a:pt x="53" y="0"/>
                    </a:lnTo>
                    <a:lnTo>
                      <a:pt x="62" y="2"/>
                    </a:lnTo>
                    <a:lnTo>
                      <a:pt x="71" y="7"/>
                    </a:lnTo>
                    <a:lnTo>
                      <a:pt x="78" y="12"/>
                    </a:lnTo>
                    <a:lnTo>
                      <a:pt x="84" y="19"/>
                    </a:lnTo>
                    <a:lnTo>
                      <a:pt x="79" y="19"/>
                    </a:lnTo>
                    <a:lnTo>
                      <a:pt x="78" y="19"/>
                    </a:lnTo>
                    <a:lnTo>
                      <a:pt x="78" y="26"/>
                    </a:lnTo>
                    <a:lnTo>
                      <a:pt x="78" y="30"/>
                    </a:lnTo>
                    <a:lnTo>
                      <a:pt x="74" y="35"/>
                    </a:lnTo>
                    <a:lnTo>
                      <a:pt x="69" y="40"/>
                    </a:lnTo>
                    <a:lnTo>
                      <a:pt x="74" y="38"/>
                    </a:lnTo>
                    <a:lnTo>
                      <a:pt x="79" y="40"/>
                    </a:lnTo>
                    <a:lnTo>
                      <a:pt x="86" y="42"/>
                    </a:lnTo>
                    <a:lnTo>
                      <a:pt x="95" y="45"/>
                    </a:lnTo>
                    <a:lnTo>
                      <a:pt x="100" y="45"/>
                    </a:lnTo>
                    <a:lnTo>
                      <a:pt x="105" y="45"/>
                    </a:lnTo>
                    <a:lnTo>
                      <a:pt x="114" y="47"/>
                    </a:lnTo>
                    <a:lnTo>
                      <a:pt x="121" y="54"/>
                    </a:lnTo>
                    <a:lnTo>
                      <a:pt x="115" y="59"/>
                    </a:lnTo>
                    <a:lnTo>
                      <a:pt x="117" y="64"/>
                    </a:lnTo>
                    <a:lnTo>
                      <a:pt x="112" y="68"/>
                    </a:lnTo>
                    <a:lnTo>
                      <a:pt x="107" y="71"/>
                    </a:lnTo>
                    <a:lnTo>
                      <a:pt x="112" y="73"/>
                    </a:lnTo>
                    <a:lnTo>
                      <a:pt x="11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7" name="Freeform 266"/>
              <p:cNvSpPr>
                <a:spLocks/>
              </p:cNvSpPr>
              <p:nvPr/>
            </p:nvSpPr>
            <p:spPr bwMode="auto">
              <a:xfrm>
                <a:off x="6493669" y="1739900"/>
                <a:ext cx="22225" cy="15875"/>
              </a:xfrm>
              <a:custGeom>
                <a:avLst/>
                <a:gdLst/>
                <a:ahLst/>
                <a:cxnLst>
                  <a:cxn ang="0">
                    <a:pos x="0" y="5"/>
                  </a:cxn>
                  <a:cxn ang="0">
                    <a:pos x="4" y="1"/>
                  </a:cxn>
                  <a:cxn ang="0">
                    <a:pos x="7" y="0"/>
                  </a:cxn>
                  <a:cxn ang="0">
                    <a:pos x="14" y="0"/>
                  </a:cxn>
                  <a:cxn ang="0">
                    <a:pos x="11" y="6"/>
                  </a:cxn>
                  <a:cxn ang="0">
                    <a:pos x="4" y="10"/>
                  </a:cxn>
                  <a:cxn ang="0">
                    <a:pos x="0" y="6"/>
                  </a:cxn>
                  <a:cxn ang="0">
                    <a:pos x="0" y="5"/>
                  </a:cxn>
                </a:cxnLst>
                <a:rect l="0" t="0" r="r" b="b"/>
                <a:pathLst>
                  <a:path w="14" h="10">
                    <a:moveTo>
                      <a:pt x="0" y="5"/>
                    </a:moveTo>
                    <a:lnTo>
                      <a:pt x="4" y="1"/>
                    </a:lnTo>
                    <a:lnTo>
                      <a:pt x="7" y="0"/>
                    </a:lnTo>
                    <a:lnTo>
                      <a:pt x="14" y="0"/>
                    </a:lnTo>
                    <a:lnTo>
                      <a:pt x="11" y="6"/>
                    </a:lnTo>
                    <a:lnTo>
                      <a:pt x="4" y="10"/>
                    </a:lnTo>
                    <a:lnTo>
                      <a:pt x="0" y="6"/>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8" name="Freeform 267"/>
              <p:cNvSpPr>
                <a:spLocks/>
              </p:cNvSpPr>
              <p:nvPr/>
            </p:nvSpPr>
            <p:spPr bwMode="auto">
              <a:xfrm>
                <a:off x="6371432" y="1528763"/>
                <a:ext cx="33338" cy="6350"/>
              </a:xfrm>
              <a:custGeom>
                <a:avLst/>
                <a:gdLst/>
                <a:ahLst/>
                <a:cxnLst>
                  <a:cxn ang="0">
                    <a:pos x="21" y="4"/>
                  </a:cxn>
                  <a:cxn ang="0">
                    <a:pos x="9" y="4"/>
                  </a:cxn>
                  <a:cxn ang="0">
                    <a:pos x="0" y="0"/>
                  </a:cxn>
                  <a:cxn ang="0">
                    <a:pos x="19" y="0"/>
                  </a:cxn>
                  <a:cxn ang="0">
                    <a:pos x="21" y="4"/>
                  </a:cxn>
                </a:cxnLst>
                <a:rect l="0" t="0" r="r" b="b"/>
                <a:pathLst>
                  <a:path w="21" h="4">
                    <a:moveTo>
                      <a:pt x="21" y="4"/>
                    </a:moveTo>
                    <a:lnTo>
                      <a:pt x="9" y="4"/>
                    </a:lnTo>
                    <a:lnTo>
                      <a:pt x="0" y="0"/>
                    </a:lnTo>
                    <a:lnTo>
                      <a:pt x="19" y="0"/>
                    </a:lnTo>
                    <a:lnTo>
                      <a:pt x="21"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9" name="Freeform 268"/>
              <p:cNvSpPr>
                <a:spLocks/>
              </p:cNvSpPr>
              <p:nvPr/>
            </p:nvSpPr>
            <p:spPr bwMode="auto">
              <a:xfrm>
                <a:off x="6754019" y="1684338"/>
                <a:ext cx="23813" cy="11112"/>
              </a:xfrm>
              <a:custGeom>
                <a:avLst/>
                <a:gdLst/>
                <a:ahLst/>
                <a:cxnLst>
                  <a:cxn ang="0">
                    <a:pos x="15" y="0"/>
                  </a:cxn>
                  <a:cxn ang="0">
                    <a:pos x="14" y="4"/>
                  </a:cxn>
                  <a:cxn ang="0">
                    <a:pos x="8" y="7"/>
                  </a:cxn>
                  <a:cxn ang="0">
                    <a:pos x="2" y="4"/>
                  </a:cxn>
                  <a:cxn ang="0">
                    <a:pos x="0" y="2"/>
                  </a:cxn>
                  <a:cxn ang="0">
                    <a:pos x="10" y="0"/>
                  </a:cxn>
                  <a:cxn ang="0">
                    <a:pos x="15" y="0"/>
                  </a:cxn>
                </a:cxnLst>
                <a:rect l="0" t="0" r="r" b="b"/>
                <a:pathLst>
                  <a:path w="15" h="7">
                    <a:moveTo>
                      <a:pt x="15" y="0"/>
                    </a:moveTo>
                    <a:lnTo>
                      <a:pt x="14" y="4"/>
                    </a:lnTo>
                    <a:lnTo>
                      <a:pt x="8" y="7"/>
                    </a:lnTo>
                    <a:lnTo>
                      <a:pt x="2" y="4"/>
                    </a:lnTo>
                    <a:lnTo>
                      <a:pt x="0" y="2"/>
                    </a:lnTo>
                    <a:lnTo>
                      <a:pt x="10"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0" name="Freeform 269"/>
              <p:cNvSpPr>
                <a:spLocks/>
              </p:cNvSpPr>
              <p:nvPr/>
            </p:nvSpPr>
            <p:spPr bwMode="auto">
              <a:xfrm>
                <a:off x="5320507" y="1547813"/>
                <a:ext cx="163513" cy="49212"/>
              </a:xfrm>
              <a:custGeom>
                <a:avLst/>
                <a:gdLst/>
                <a:ahLst/>
                <a:cxnLst>
                  <a:cxn ang="0">
                    <a:pos x="88" y="16"/>
                  </a:cxn>
                  <a:cxn ang="0">
                    <a:pos x="76" y="17"/>
                  </a:cxn>
                  <a:cxn ang="0">
                    <a:pos x="67" y="21"/>
                  </a:cxn>
                  <a:cxn ang="0">
                    <a:pos x="60" y="26"/>
                  </a:cxn>
                  <a:cxn ang="0">
                    <a:pos x="57" y="31"/>
                  </a:cxn>
                  <a:cxn ang="0">
                    <a:pos x="52" y="28"/>
                  </a:cxn>
                  <a:cxn ang="0">
                    <a:pos x="52" y="26"/>
                  </a:cxn>
                  <a:cxn ang="0">
                    <a:pos x="52" y="26"/>
                  </a:cxn>
                  <a:cxn ang="0">
                    <a:pos x="41" y="24"/>
                  </a:cxn>
                  <a:cxn ang="0">
                    <a:pos x="38" y="21"/>
                  </a:cxn>
                  <a:cxn ang="0">
                    <a:pos x="41" y="17"/>
                  </a:cxn>
                  <a:cxn ang="0">
                    <a:pos x="48" y="16"/>
                  </a:cxn>
                  <a:cxn ang="0">
                    <a:pos x="41" y="16"/>
                  </a:cxn>
                  <a:cxn ang="0">
                    <a:pos x="38" y="16"/>
                  </a:cxn>
                  <a:cxn ang="0">
                    <a:pos x="41" y="12"/>
                  </a:cxn>
                  <a:cxn ang="0">
                    <a:pos x="46" y="11"/>
                  </a:cxn>
                  <a:cxn ang="0">
                    <a:pos x="39" y="7"/>
                  </a:cxn>
                  <a:cxn ang="0">
                    <a:pos x="34" y="5"/>
                  </a:cxn>
                  <a:cxn ang="0">
                    <a:pos x="22" y="9"/>
                  </a:cxn>
                  <a:cxn ang="0">
                    <a:pos x="12" y="12"/>
                  </a:cxn>
                  <a:cxn ang="0">
                    <a:pos x="5" y="11"/>
                  </a:cxn>
                  <a:cxn ang="0">
                    <a:pos x="0" y="11"/>
                  </a:cxn>
                  <a:cxn ang="0">
                    <a:pos x="5" y="4"/>
                  </a:cxn>
                  <a:cxn ang="0">
                    <a:pos x="17" y="2"/>
                  </a:cxn>
                  <a:cxn ang="0">
                    <a:pos x="29" y="0"/>
                  </a:cxn>
                  <a:cxn ang="0">
                    <a:pos x="39" y="0"/>
                  </a:cxn>
                  <a:cxn ang="0">
                    <a:pos x="55" y="4"/>
                  </a:cxn>
                  <a:cxn ang="0">
                    <a:pos x="69" y="7"/>
                  </a:cxn>
                  <a:cxn ang="0">
                    <a:pos x="77" y="4"/>
                  </a:cxn>
                  <a:cxn ang="0">
                    <a:pos x="88" y="0"/>
                  </a:cxn>
                  <a:cxn ang="0">
                    <a:pos x="96" y="2"/>
                  </a:cxn>
                  <a:cxn ang="0">
                    <a:pos x="103" y="5"/>
                  </a:cxn>
                  <a:cxn ang="0">
                    <a:pos x="96" y="12"/>
                  </a:cxn>
                  <a:cxn ang="0">
                    <a:pos x="89" y="16"/>
                  </a:cxn>
                  <a:cxn ang="0">
                    <a:pos x="86" y="16"/>
                  </a:cxn>
                  <a:cxn ang="0">
                    <a:pos x="84" y="16"/>
                  </a:cxn>
                  <a:cxn ang="0">
                    <a:pos x="84" y="21"/>
                  </a:cxn>
                  <a:cxn ang="0">
                    <a:pos x="88" y="16"/>
                  </a:cxn>
                </a:cxnLst>
                <a:rect l="0" t="0" r="r" b="b"/>
                <a:pathLst>
                  <a:path w="103" h="31">
                    <a:moveTo>
                      <a:pt x="88" y="16"/>
                    </a:moveTo>
                    <a:lnTo>
                      <a:pt x="76" y="17"/>
                    </a:lnTo>
                    <a:lnTo>
                      <a:pt x="67" y="21"/>
                    </a:lnTo>
                    <a:lnTo>
                      <a:pt x="60" y="26"/>
                    </a:lnTo>
                    <a:lnTo>
                      <a:pt x="57" y="31"/>
                    </a:lnTo>
                    <a:lnTo>
                      <a:pt x="52" y="28"/>
                    </a:lnTo>
                    <a:lnTo>
                      <a:pt x="52" y="26"/>
                    </a:lnTo>
                    <a:lnTo>
                      <a:pt x="52" y="26"/>
                    </a:lnTo>
                    <a:lnTo>
                      <a:pt x="41" y="24"/>
                    </a:lnTo>
                    <a:lnTo>
                      <a:pt x="38" y="21"/>
                    </a:lnTo>
                    <a:lnTo>
                      <a:pt x="41" y="17"/>
                    </a:lnTo>
                    <a:lnTo>
                      <a:pt x="48" y="16"/>
                    </a:lnTo>
                    <a:lnTo>
                      <a:pt x="41" y="16"/>
                    </a:lnTo>
                    <a:lnTo>
                      <a:pt x="38" y="16"/>
                    </a:lnTo>
                    <a:lnTo>
                      <a:pt x="41" y="12"/>
                    </a:lnTo>
                    <a:lnTo>
                      <a:pt x="46" y="11"/>
                    </a:lnTo>
                    <a:lnTo>
                      <a:pt x="39" y="7"/>
                    </a:lnTo>
                    <a:lnTo>
                      <a:pt x="34" y="5"/>
                    </a:lnTo>
                    <a:lnTo>
                      <a:pt x="22" y="9"/>
                    </a:lnTo>
                    <a:lnTo>
                      <a:pt x="12" y="12"/>
                    </a:lnTo>
                    <a:lnTo>
                      <a:pt x="5" y="11"/>
                    </a:lnTo>
                    <a:lnTo>
                      <a:pt x="0" y="11"/>
                    </a:lnTo>
                    <a:lnTo>
                      <a:pt x="5" y="4"/>
                    </a:lnTo>
                    <a:lnTo>
                      <a:pt x="17" y="2"/>
                    </a:lnTo>
                    <a:lnTo>
                      <a:pt x="29" y="0"/>
                    </a:lnTo>
                    <a:lnTo>
                      <a:pt x="39" y="0"/>
                    </a:lnTo>
                    <a:lnTo>
                      <a:pt x="55" y="4"/>
                    </a:lnTo>
                    <a:lnTo>
                      <a:pt x="69" y="7"/>
                    </a:lnTo>
                    <a:lnTo>
                      <a:pt x="77" y="4"/>
                    </a:lnTo>
                    <a:lnTo>
                      <a:pt x="88" y="0"/>
                    </a:lnTo>
                    <a:lnTo>
                      <a:pt x="96" y="2"/>
                    </a:lnTo>
                    <a:lnTo>
                      <a:pt x="103" y="5"/>
                    </a:lnTo>
                    <a:lnTo>
                      <a:pt x="96" y="12"/>
                    </a:lnTo>
                    <a:lnTo>
                      <a:pt x="89" y="16"/>
                    </a:lnTo>
                    <a:lnTo>
                      <a:pt x="86" y="16"/>
                    </a:lnTo>
                    <a:lnTo>
                      <a:pt x="84" y="16"/>
                    </a:lnTo>
                    <a:lnTo>
                      <a:pt x="84" y="21"/>
                    </a:lnTo>
                    <a:lnTo>
                      <a:pt x="88"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1" name="Freeform 270"/>
              <p:cNvSpPr>
                <a:spLocks/>
              </p:cNvSpPr>
              <p:nvPr/>
            </p:nvSpPr>
            <p:spPr bwMode="auto">
              <a:xfrm>
                <a:off x="5744369" y="1517650"/>
                <a:ext cx="57150" cy="36512"/>
              </a:xfrm>
              <a:custGeom>
                <a:avLst/>
                <a:gdLst/>
                <a:ahLst/>
                <a:cxnLst>
                  <a:cxn ang="0">
                    <a:pos x="8" y="23"/>
                  </a:cxn>
                  <a:cxn ang="0">
                    <a:pos x="1" y="19"/>
                  </a:cxn>
                  <a:cxn ang="0">
                    <a:pos x="0" y="14"/>
                  </a:cxn>
                  <a:cxn ang="0">
                    <a:pos x="1" y="9"/>
                  </a:cxn>
                  <a:cxn ang="0">
                    <a:pos x="10" y="4"/>
                  </a:cxn>
                  <a:cxn ang="0">
                    <a:pos x="18" y="0"/>
                  </a:cxn>
                  <a:cxn ang="0">
                    <a:pos x="29" y="0"/>
                  </a:cxn>
                  <a:cxn ang="0">
                    <a:pos x="36" y="16"/>
                  </a:cxn>
                  <a:cxn ang="0">
                    <a:pos x="29" y="17"/>
                  </a:cxn>
                  <a:cxn ang="0">
                    <a:pos x="22" y="19"/>
                  </a:cxn>
                  <a:cxn ang="0">
                    <a:pos x="12" y="21"/>
                  </a:cxn>
                  <a:cxn ang="0">
                    <a:pos x="8" y="23"/>
                  </a:cxn>
                </a:cxnLst>
                <a:rect l="0" t="0" r="r" b="b"/>
                <a:pathLst>
                  <a:path w="36" h="23">
                    <a:moveTo>
                      <a:pt x="8" y="23"/>
                    </a:moveTo>
                    <a:lnTo>
                      <a:pt x="1" y="19"/>
                    </a:lnTo>
                    <a:lnTo>
                      <a:pt x="0" y="14"/>
                    </a:lnTo>
                    <a:lnTo>
                      <a:pt x="1" y="9"/>
                    </a:lnTo>
                    <a:lnTo>
                      <a:pt x="10" y="4"/>
                    </a:lnTo>
                    <a:lnTo>
                      <a:pt x="18" y="0"/>
                    </a:lnTo>
                    <a:lnTo>
                      <a:pt x="29" y="0"/>
                    </a:lnTo>
                    <a:lnTo>
                      <a:pt x="36" y="16"/>
                    </a:lnTo>
                    <a:lnTo>
                      <a:pt x="29" y="17"/>
                    </a:lnTo>
                    <a:lnTo>
                      <a:pt x="22" y="19"/>
                    </a:lnTo>
                    <a:lnTo>
                      <a:pt x="12" y="21"/>
                    </a:lnTo>
                    <a:lnTo>
                      <a:pt x="8"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2" name="Freeform 271"/>
              <p:cNvSpPr>
                <a:spLocks/>
              </p:cNvSpPr>
              <p:nvPr/>
            </p:nvSpPr>
            <p:spPr bwMode="auto">
              <a:xfrm>
                <a:off x="5669757" y="1539875"/>
                <a:ext cx="60325" cy="34925"/>
              </a:xfrm>
              <a:custGeom>
                <a:avLst/>
                <a:gdLst/>
                <a:ahLst/>
                <a:cxnLst>
                  <a:cxn ang="0">
                    <a:pos x="38" y="5"/>
                  </a:cxn>
                  <a:cxn ang="0">
                    <a:pos x="38" y="9"/>
                  </a:cxn>
                  <a:cxn ang="0">
                    <a:pos x="38" y="12"/>
                  </a:cxn>
                  <a:cxn ang="0">
                    <a:pos x="31" y="16"/>
                  </a:cxn>
                  <a:cxn ang="0">
                    <a:pos x="26" y="16"/>
                  </a:cxn>
                  <a:cxn ang="0">
                    <a:pos x="28" y="21"/>
                  </a:cxn>
                  <a:cxn ang="0">
                    <a:pos x="21" y="21"/>
                  </a:cxn>
                  <a:cxn ang="0">
                    <a:pos x="12" y="22"/>
                  </a:cxn>
                  <a:cxn ang="0">
                    <a:pos x="4" y="21"/>
                  </a:cxn>
                  <a:cxn ang="0">
                    <a:pos x="0" y="21"/>
                  </a:cxn>
                  <a:cxn ang="0">
                    <a:pos x="2" y="10"/>
                  </a:cxn>
                  <a:cxn ang="0">
                    <a:pos x="10" y="7"/>
                  </a:cxn>
                  <a:cxn ang="0">
                    <a:pos x="9" y="2"/>
                  </a:cxn>
                  <a:cxn ang="0">
                    <a:pos x="10" y="0"/>
                  </a:cxn>
                  <a:cxn ang="0">
                    <a:pos x="26" y="0"/>
                  </a:cxn>
                  <a:cxn ang="0">
                    <a:pos x="24" y="3"/>
                  </a:cxn>
                  <a:cxn ang="0">
                    <a:pos x="22" y="5"/>
                  </a:cxn>
                  <a:cxn ang="0">
                    <a:pos x="28" y="5"/>
                  </a:cxn>
                  <a:cxn ang="0">
                    <a:pos x="38" y="5"/>
                  </a:cxn>
                </a:cxnLst>
                <a:rect l="0" t="0" r="r" b="b"/>
                <a:pathLst>
                  <a:path w="38" h="22">
                    <a:moveTo>
                      <a:pt x="38" y="5"/>
                    </a:moveTo>
                    <a:lnTo>
                      <a:pt x="38" y="9"/>
                    </a:lnTo>
                    <a:lnTo>
                      <a:pt x="38" y="12"/>
                    </a:lnTo>
                    <a:lnTo>
                      <a:pt x="31" y="16"/>
                    </a:lnTo>
                    <a:lnTo>
                      <a:pt x="26" y="16"/>
                    </a:lnTo>
                    <a:lnTo>
                      <a:pt x="28" y="21"/>
                    </a:lnTo>
                    <a:lnTo>
                      <a:pt x="21" y="21"/>
                    </a:lnTo>
                    <a:lnTo>
                      <a:pt x="12" y="22"/>
                    </a:lnTo>
                    <a:lnTo>
                      <a:pt x="4" y="21"/>
                    </a:lnTo>
                    <a:lnTo>
                      <a:pt x="0" y="21"/>
                    </a:lnTo>
                    <a:lnTo>
                      <a:pt x="2" y="10"/>
                    </a:lnTo>
                    <a:lnTo>
                      <a:pt x="10" y="7"/>
                    </a:lnTo>
                    <a:lnTo>
                      <a:pt x="9" y="2"/>
                    </a:lnTo>
                    <a:lnTo>
                      <a:pt x="10" y="0"/>
                    </a:lnTo>
                    <a:lnTo>
                      <a:pt x="26" y="0"/>
                    </a:lnTo>
                    <a:lnTo>
                      <a:pt x="24" y="3"/>
                    </a:lnTo>
                    <a:lnTo>
                      <a:pt x="22" y="5"/>
                    </a:lnTo>
                    <a:lnTo>
                      <a:pt x="28" y="5"/>
                    </a:lnTo>
                    <a:lnTo>
                      <a:pt x="3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3" name="Freeform 272"/>
              <p:cNvSpPr>
                <a:spLocks/>
              </p:cNvSpPr>
              <p:nvPr/>
            </p:nvSpPr>
            <p:spPr bwMode="auto">
              <a:xfrm>
                <a:off x="5587207" y="1573213"/>
                <a:ext cx="63500" cy="20637"/>
              </a:xfrm>
              <a:custGeom>
                <a:avLst/>
                <a:gdLst/>
                <a:ahLst/>
                <a:cxnLst>
                  <a:cxn ang="0">
                    <a:pos x="23" y="13"/>
                  </a:cxn>
                  <a:cxn ang="0">
                    <a:pos x="18" y="10"/>
                  </a:cxn>
                  <a:cxn ang="0">
                    <a:pos x="14" y="8"/>
                  </a:cxn>
                  <a:cxn ang="0">
                    <a:pos x="11" y="12"/>
                  </a:cxn>
                  <a:cxn ang="0">
                    <a:pos x="6" y="13"/>
                  </a:cxn>
                  <a:cxn ang="0">
                    <a:pos x="2" y="12"/>
                  </a:cxn>
                  <a:cxn ang="0">
                    <a:pos x="0" y="10"/>
                  </a:cxn>
                  <a:cxn ang="0">
                    <a:pos x="2" y="3"/>
                  </a:cxn>
                  <a:cxn ang="0">
                    <a:pos x="11" y="1"/>
                  </a:cxn>
                  <a:cxn ang="0">
                    <a:pos x="18" y="0"/>
                  </a:cxn>
                  <a:cxn ang="0">
                    <a:pos x="26" y="0"/>
                  </a:cxn>
                  <a:cxn ang="0">
                    <a:pos x="35" y="0"/>
                  </a:cxn>
                  <a:cxn ang="0">
                    <a:pos x="40" y="5"/>
                  </a:cxn>
                  <a:cxn ang="0">
                    <a:pos x="30" y="8"/>
                  </a:cxn>
                  <a:cxn ang="0">
                    <a:pos x="23" y="13"/>
                  </a:cxn>
                </a:cxnLst>
                <a:rect l="0" t="0" r="r" b="b"/>
                <a:pathLst>
                  <a:path w="40" h="13">
                    <a:moveTo>
                      <a:pt x="23" y="13"/>
                    </a:moveTo>
                    <a:lnTo>
                      <a:pt x="18" y="10"/>
                    </a:lnTo>
                    <a:lnTo>
                      <a:pt x="14" y="8"/>
                    </a:lnTo>
                    <a:lnTo>
                      <a:pt x="11" y="12"/>
                    </a:lnTo>
                    <a:lnTo>
                      <a:pt x="6" y="13"/>
                    </a:lnTo>
                    <a:lnTo>
                      <a:pt x="2" y="12"/>
                    </a:lnTo>
                    <a:lnTo>
                      <a:pt x="0" y="10"/>
                    </a:lnTo>
                    <a:lnTo>
                      <a:pt x="2" y="3"/>
                    </a:lnTo>
                    <a:lnTo>
                      <a:pt x="11" y="1"/>
                    </a:lnTo>
                    <a:lnTo>
                      <a:pt x="18" y="0"/>
                    </a:lnTo>
                    <a:lnTo>
                      <a:pt x="26" y="0"/>
                    </a:lnTo>
                    <a:lnTo>
                      <a:pt x="35" y="0"/>
                    </a:lnTo>
                    <a:lnTo>
                      <a:pt x="40" y="5"/>
                    </a:lnTo>
                    <a:lnTo>
                      <a:pt x="30" y="8"/>
                    </a:lnTo>
                    <a:lnTo>
                      <a:pt x="23"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4" name="Freeform 273"/>
              <p:cNvSpPr>
                <a:spLocks/>
              </p:cNvSpPr>
              <p:nvPr/>
            </p:nvSpPr>
            <p:spPr bwMode="auto">
              <a:xfrm>
                <a:off x="5552282" y="1498600"/>
                <a:ext cx="95250" cy="66675"/>
              </a:xfrm>
              <a:custGeom>
                <a:avLst/>
                <a:gdLst/>
                <a:ahLst/>
                <a:cxnLst>
                  <a:cxn ang="0">
                    <a:pos x="45" y="36"/>
                  </a:cxn>
                  <a:cxn ang="0">
                    <a:pos x="35" y="38"/>
                  </a:cxn>
                  <a:cxn ang="0">
                    <a:pos x="26" y="42"/>
                  </a:cxn>
                  <a:cxn ang="0">
                    <a:pos x="19" y="38"/>
                  </a:cxn>
                  <a:cxn ang="0">
                    <a:pos x="12" y="36"/>
                  </a:cxn>
                  <a:cxn ang="0">
                    <a:pos x="4" y="33"/>
                  </a:cxn>
                  <a:cxn ang="0">
                    <a:pos x="0" y="33"/>
                  </a:cxn>
                  <a:cxn ang="0">
                    <a:pos x="4" y="29"/>
                  </a:cxn>
                  <a:cxn ang="0">
                    <a:pos x="7" y="26"/>
                  </a:cxn>
                  <a:cxn ang="0">
                    <a:pos x="28" y="26"/>
                  </a:cxn>
                  <a:cxn ang="0">
                    <a:pos x="22" y="23"/>
                  </a:cxn>
                  <a:cxn ang="0">
                    <a:pos x="19" y="26"/>
                  </a:cxn>
                  <a:cxn ang="0">
                    <a:pos x="19" y="19"/>
                  </a:cxn>
                  <a:cxn ang="0">
                    <a:pos x="26" y="16"/>
                  </a:cxn>
                  <a:cxn ang="0">
                    <a:pos x="35" y="14"/>
                  </a:cxn>
                  <a:cxn ang="0">
                    <a:pos x="40" y="9"/>
                  </a:cxn>
                  <a:cxn ang="0">
                    <a:pos x="50" y="9"/>
                  </a:cxn>
                  <a:cxn ang="0">
                    <a:pos x="52" y="2"/>
                  </a:cxn>
                  <a:cxn ang="0">
                    <a:pos x="59" y="0"/>
                  </a:cxn>
                  <a:cxn ang="0">
                    <a:pos x="59" y="2"/>
                  </a:cxn>
                  <a:cxn ang="0">
                    <a:pos x="60" y="7"/>
                  </a:cxn>
                  <a:cxn ang="0">
                    <a:pos x="57" y="9"/>
                  </a:cxn>
                  <a:cxn ang="0">
                    <a:pos x="55" y="12"/>
                  </a:cxn>
                  <a:cxn ang="0">
                    <a:pos x="41" y="19"/>
                  </a:cxn>
                  <a:cxn ang="0">
                    <a:pos x="33" y="26"/>
                  </a:cxn>
                  <a:cxn ang="0">
                    <a:pos x="40" y="26"/>
                  </a:cxn>
                  <a:cxn ang="0">
                    <a:pos x="47" y="28"/>
                  </a:cxn>
                  <a:cxn ang="0">
                    <a:pos x="53" y="29"/>
                  </a:cxn>
                  <a:cxn ang="0">
                    <a:pos x="60" y="35"/>
                  </a:cxn>
                  <a:cxn ang="0">
                    <a:pos x="53" y="35"/>
                  </a:cxn>
                  <a:cxn ang="0">
                    <a:pos x="45" y="36"/>
                  </a:cxn>
                </a:cxnLst>
                <a:rect l="0" t="0" r="r" b="b"/>
                <a:pathLst>
                  <a:path w="60" h="42">
                    <a:moveTo>
                      <a:pt x="45" y="36"/>
                    </a:moveTo>
                    <a:lnTo>
                      <a:pt x="35" y="38"/>
                    </a:lnTo>
                    <a:lnTo>
                      <a:pt x="26" y="42"/>
                    </a:lnTo>
                    <a:lnTo>
                      <a:pt x="19" y="38"/>
                    </a:lnTo>
                    <a:lnTo>
                      <a:pt x="12" y="36"/>
                    </a:lnTo>
                    <a:lnTo>
                      <a:pt x="4" y="33"/>
                    </a:lnTo>
                    <a:lnTo>
                      <a:pt x="0" y="33"/>
                    </a:lnTo>
                    <a:lnTo>
                      <a:pt x="4" y="29"/>
                    </a:lnTo>
                    <a:lnTo>
                      <a:pt x="7" y="26"/>
                    </a:lnTo>
                    <a:lnTo>
                      <a:pt x="28" y="26"/>
                    </a:lnTo>
                    <a:lnTo>
                      <a:pt x="22" y="23"/>
                    </a:lnTo>
                    <a:lnTo>
                      <a:pt x="19" y="26"/>
                    </a:lnTo>
                    <a:lnTo>
                      <a:pt x="19" y="19"/>
                    </a:lnTo>
                    <a:lnTo>
                      <a:pt x="26" y="16"/>
                    </a:lnTo>
                    <a:lnTo>
                      <a:pt x="35" y="14"/>
                    </a:lnTo>
                    <a:lnTo>
                      <a:pt x="40" y="9"/>
                    </a:lnTo>
                    <a:lnTo>
                      <a:pt x="50" y="9"/>
                    </a:lnTo>
                    <a:lnTo>
                      <a:pt x="52" y="2"/>
                    </a:lnTo>
                    <a:lnTo>
                      <a:pt x="59" y="0"/>
                    </a:lnTo>
                    <a:lnTo>
                      <a:pt x="59" y="2"/>
                    </a:lnTo>
                    <a:lnTo>
                      <a:pt x="60" y="7"/>
                    </a:lnTo>
                    <a:lnTo>
                      <a:pt x="57" y="9"/>
                    </a:lnTo>
                    <a:lnTo>
                      <a:pt x="55" y="12"/>
                    </a:lnTo>
                    <a:lnTo>
                      <a:pt x="41" y="19"/>
                    </a:lnTo>
                    <a:lnTo>
                      <a:pt x="33" y="26"/>
                    </a:lnTo>
                    <a:lnTo>
                      <a:pt x="40" y="26"/>
                    </a:lnTo>
                    <a:lnTo>
                      <a:pt x="47" y="28"/>
                    </a:lnTo>
                    <a:lnTo>
                      <a:pt x="53" y="29"/>
                    </a:lnTo>
                    <a:lnTo>
                      <a:pt x="60" y="35"/>
                    </a:lnTo>
                    <a:lnTo>
                      <a:pt x="53" y="35"/>
                    </a:lnTo>
                    <a:lnTo>
                      <a:pt x="45"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5" name="Freeform 274"/>
              <p:cNvSpPr>
                <a:spLocks/>
              </p:cNvSpPr>
              <p:nvPr/>
            </p:nvSpPr>
            <p:spPr bwMode="auto">
              <a:xfrm>
                <a:off x="4553744" y="1597025"/>
                <a:ext cx="322263" cy="174625"/>
              </a:xfrm>
              <a:custGeom>
                <a:avLst/>
                <a:gdLst/>
                <a:ahLst/>
                <a:cxnLst>
                  <a:cxn ang="0">
                    <a:pos x="168" y="84"/>
                  </a:cxn>
                  <a:cxn ang="0">
                    <a:pos x="158" y="81"/>
                  </a:cxn>
                  <a:cxn ang="0">
                    <a:pos x="151" y="72"/>
                  </a:cxn>
                  <a:cxn ang="0">
                    <a:pos x="148" y="59"/>
                  </a:cxn>
                  <a:cxn ang="0">
                    <a:pos x="148" y="52"/>
                  </a:cxn>
                  <a:cxn ang="0">
                    <a:pos x="142" y="47"/>
                  </a:cxn>
                  <a:cxn ang="0">
                    <a:pos x="127" y="47"/>
                  </a:cxn>
                  <a:cxn ang="0">
                    <a:pos x="115" y="67"/>
                  </a:cxn>
                  <a:cxn ang="0">
                    <a:pos x="108" y="81"/>
                  </a:cxn>
                  <a:cxn ang="0">
                    <a:pos x="98" y="88"/>
                  </a:cxn>
                  <a:cxn ang="0">
                    <a:pos x="92" y="103"/>
                  </a:cxn>
                  <a:cxn ang="0">
                    <a:pos x="75" y="103"/>
                  </a:cxn>
                  <a:cxn ang="0">
                    <a:pos x="53" y="90"/>
                  </a:cxn>
                  <a:cxn ang="0">
                    <a:pos x="62" y="78"/>
                  </a:cxn>
                  <a:cxn ang="0">
                    <a:pos x="75" y="76"/>
                  </a:cxn>
                  <a:cxn ang="0">
                    <a:pos x="80" y="72"/>
                  </a:cxn>
                  <a:cxn ang="0">
                    <a:pos x="65" y="72"/>
                  </a:cxn>
                  <a:cxn ang="0">
                    <a:pos x="55" y="72"/>
                  </a:cxn>
                  <a:cxn ang="0">
                    <a:pos x="44" y="72"/>
                  </a:cxn>
                  <a:cxn ang="0">
                    <a:pos x="48" y="62"/>
                  </a:cxn>
                  <a:cxn ang="0">
                    <a:pos x="62" y="57"/>
                  </a:cxn>
                  <a:cxn ang="0">
                    <a:pos x="77" y="52"/>
                  </a:cxn>
                  <a:cxn ang="0">
                    <a:pos x="74" y="48"/>
                  </a:cxn>
                  <a:cxn ang="0">
                    <a:pos x="65" y="45"/>
                  </a:cxn>
                  <a:cxn ang="0">
                    <a:pos x="60" y="43"/>
                  </a:cxn>
                  <a:cxn ang="0">
                    <a:pos x="51" y="50"/>
                  </a:cxn>
                  <a:cxn ang="0">
                    <a:pos x="32" y="55"/>
                  </a:cxn>
                  <a:cxn ang="0">
                    <a:pos x="29" y="48"/>
                  </a:cxn>
                  <a:cxn ang="0">
                    <a:pos x="19" y="40"/>
                  </a:cxn>
                  <a:cxn ang="0">
                    <a:pos x="13" y="29"/>
                  </a:cxn>
                  <a:cxn ang="0">
                    <a:pos x="0" y="17"/>
                  </a:cxn>
                  <a:cxn ang="0">
                    <a:pos x="17" y="5"/>
                  </a:cxn>
                  <a:cxn ang="0">
                    <a:pos x="43" y="7"/>
                  </a:cxn>
                  <a:cxn ang="0">
                    <a:pos x="37" y="14"/>
                  </a:cxn>
                  <a:cxn ang="0">
                    <a:pos x="51" y="23"/>
                  </a:cxn>
                  <a:cxn ang="0">
                    <a:pos x="48" y="16"/>
                  </a:cxn>
                  <a:cxn ang="0">
                    <a:pos x="56" y="7"/>
                  </a:cxn>
                  <a:cxn ang="0">
                    <a:pos x="67" y="16"/>
                  </a:cxn>
                  <a:cxn ang="0">
                    <a:pos x="79" y="29"/>
                  </a:cxn>
                  <a:cxn ang="0">
                    <a:pos x="72" y="7"/>
                  </a:cxn>
                  <a:cxn ang="0">
                    <a:pos x="82" y="0"/>
                  </a:cxn>
                  <a:cxn ang="0">
                    <a:pos x="94" y="2"/>
                  </a:cxn>
                  <a:cxn ang="0">
                    <a:pos x="103" y="9"/>
                  </a:cxn>
                  <a:cxn ang="0">
                    <a:pos x="101" y="19"/>
                  </a:cxn>
                  <a:cxn ang="0">
                    <a:pos x="110" y="12"/>
                  </a:cxn>
                  <a:cxn ang="0">
                    <a:pos x="117" y="24"/>
                  </a:cxn>
                  <a:cxn ang="0">
                    <a:pos x="122" y="26"/>
                  </a:cxn>
                  <a:cxn ang="0">
                    <a:pos x="142" y="33"/>
                  </a:cxn>
                  <a:cxn ang="0">
                    <a:pos x="163" y="47"/>
                  </a:cxn>
                  <a:cxn ang="0">
                    <a:pos x="158" y="48"/>
                  </a:cxn>
                  <a:cxn ang="0">
                    <a:pos x="166" y="48"/>
                  </a:cxn>
                  <a:cxn ang="0">
                    <a:pos x="166" y="55"/>
                  </a:cxn>
                  <a:cxn ang="0">
                    <a:pos x="182" y="55"/>
                  </a:cxn>
                  <a:cxn ang="0">
                    <a:pos x="189" y="67"/>
                  </a:cxn>
                  <a:cxn ang="0">
                    <a:pos x="203" y="72"/>
                  </a:cxn>
                  <a:cxn ang="0">
                    <a:pos x="185" y="81"/>
                  </a:cxn>
                  <a:cxn ang="0">
                    <a:pos x="170" y="91"/>
                  </a:cxn>
                </a:cxnLst>
                <a:rect l="0" t="0" r="r" b="b"/>
                <a:pathLst>
                  <a:path w="203" h="110">
                    <a:moveTo>
                      <a:pt x="170" y="91"/>
                    </a:moveTo>
                    <a:lnTo>
                      <a:pt x="168" y="84"/>
                    </a:lnTo>
                    <a:lnTo>
                      <a:pt x="170" y="81"/>
                    </a:lnTo>
                    <a:lnTo>
                      <a:pt x="158" y="81"/>
                    </a:lnTo>
                    <a:lnTo>
                      <a:pt x="148" y="81"/>
                    </a:lnTo>
                    <a:lnTo>
                      <a:pt x="151" y="72"/>
                    </a:lnTo>
                    <a:lnTo>
                      <a:pt x="154" y="65"/>
                    </a:lnTo>
                    <a:lnTo>
                      <a:pt x="148" y="59"/>
                    </a:lnTo>
                    <a:lnTo>
                      <a:pt x="144" y="52"/>
                    </a:lnTo>
                    <a:lnTo>
                      <a:pt x="148" y="52"/>
                    </a:lnTo>
                    <a:lnTo>
                      <a:pt x="151" y="52"/>
                    </a:lnTo>
                    <a:lnTo>
                      <a:pt x="142" y="47"/>
                    </a:lnTo>
                    <a:lnTo>
                      <a:pt x="139" y="43"/>
                    </a:lnTo>
                    <a:lnTo>
                      <a:pt x="127" y="47"/>
                    </a:lnTo>
                    <a:lnTo>
                      <a:pt x="120" y="55"/>
                    </a:lnTo>
                    <a:lnTo>
                      <a:pt x="115" y="67"/>
                    </a:lnTo>
                    <a:lnTo>
                      <a:pt x="111" y="79"/>
                    </a:lnTo>
                    <a:lnTo>
                      <a:pt x="108" y="81"/>
                    </a:lnTo>
                    <a:lnTo>
                      <a:pt x="105" y="83"/>
                    </a:lnTo>
                    <a:lnTo>
                      <a:pt x="98" y="88"/>
                    </a:lnTo>
                    <a:lnTo>
                      <a:pt x="96" y="96"/>
                    </a:lnTo>
                    <a:lnTo>
                      <a:pt x="92" y="103"/>
                    </a:lnTo>
                    <a:lnTo>
                      <a:pt x="89" y="110"/>
                    </a:lnTo>
                    <a:lnTo>
                      <a:pt x="75" y="103"/>
                    </a:lnTo>
                    <a:lnTo>
                      <a:pt x="63" y="98"/>
                    </a:lnTo>
                    <a:lnTo>
                      <a:pt x="53" y="90"/>
                    </a:lnTo>
                    <a:lnTo>
                      <a:pt x="49" y="79"/>
                    </a:lnTo>
                    <a:lnTo>
                      <a:pt x="62" y="78"/>
                    </a:lnTo>
                    <a:lnTo>
                      <a:pt x="68" y="79"/>
                    </a:lnTo>
                    <a:lnTo>
                      <a:pt x="75" y="76"/>
                    </a:lnTo>
                    <a:lnTo>
                      <a:pt x="86" y="76"/>
                    </a:lnTo>
                    <a:lnTo>
                      <a:pt x="80" y="72"/>
                    </a:lnTo>
                    <a:lnTo>
                      <a:pt x="74" y="72"/>
                    </a:lnTo>
                    <a:lnTo>
                      <a:pt x="65" y="72"/>
                    </a:lnTo>
                    <a:lnTo>
                      <a:pt x="62" y="72"/>
                    </a:lnTo>
                    <a:lnTo>
                      <a:pt x="55" y="72"/>
                    </a:lnTo>
                    <a:lnTo>
                      <a:pt x="49" y="74"/>
                    </a:lnTo>
                    <a:lnTo>
                      <a:pt x="44" y="72"/>
                    </a:lnTo>
                    <a:lnTo>
                      <a:pt x="43" y="65"/>
                    </a:lnTo>
                    <a:lnTo>
                      <a:pt x="48" y="62"/>
                    </a:lnTo>
                    <a:lnTo>
                      <a:pt x="58" y="60"/>
                    </a:lnTo>
                    <a:lnTo>
                      <a:pt x="62" y="57"/>
                    </a:lnTo>
                    <a:lnTo>
                      <a:pt x="70" y="55"/>
                    </a:lnTo>
                    <a:lnTo>
                      <a:pt x="77" y="52"/>
                    </a:lnTo>
                    <a:lnTo>
                      <a:pt x="84" y="48"/>
                    </a:lnTo>
                    <a:lnTo>
                      <a:pt x="74" y="48"/>
                    </a:lnTo>
                    <a:lnTo>
                      <a:pt x="70" y="48"/>
                    </a:lnTo>
                    <a:lnTo>
                      <a:pt x="65" y="45"/>
                    </a:lnTo>
                    <a:lnTo>
                      <a:pt x="62" y="43"/>
                    </a:lnTo>
                    <a:lnTo>
                      <a:pt x="60" y="43"/>
                    </a:lnTo>
                    <a:lnTo>
                      <a:pt x="58" y="43"/>
                    </a:lnTo>
                    <a:lnTo>
                      <a:pt x="51" y="50"/>
                    </a:lnTo>
                    <a:lnTo>
                      <a:pt x="43" y="57"/>
                    </a:lnTo>
                    <a:lnTo>
                      <a:pt x="32" y="55"/>
                    </a:lnTo>
                    <a:lnTo>
                      <a:pt x="27" y="50"/>
                    </a:lnTo>
                    <a:lnTo>
                      <a:pt x="29" y="48"/>
                    </a:lnTo>
                    <a:lnTo>
                      <a:pt x="31" y="48"/>
                    </a:lnTo>
                    <a:lnTo>
                      <a:pt x="19" y="40"/>
                    </a:lnTo>
                    <a:lnTo>
                      <a:pt x="17" y="31"/>
                    </a:lnTo>
                    <a:lnTo>
                      <a:pt x="13" y="29"/>
                    </a:lnTo>
                    <a:lnTo>
                      <a:pt x="7" y="24"/>
                    </a:lnTo>
                    <a:lnTo>
                      <a:pt x="0" y="17"/>
                    </a:lnTo>
                    <a:lnTo>
                      <a:pt x="7" y="10"/>
                    </a:lnTo>
                    <a:lnTo>
                      <a:pt x="17" y="5"/>
                    </a:lnTo>
                    <a:lnTo>
                      <a:pt x="27" y="5"/>
                    </a:lnTo>
                    <a:lnTo>
                      <a:pt x="43" y="7"/>
                    </a:lnTo>
                    <a:lnTo>
                      <a:pt x="39" y="10"/>
                    </a:lnTo>
                    <a:lnTo>
                      <a:pt x="37" y="14"/>
                    </a:lnTo>
                    <a:lnTo>
                      <a:pt x="44" y="17"/>
                    </a:lnTo>
                    <a:lnTo>
                      <a:pt x="51" y="23"/>
                    </a:lnTo>
                    <a:lnTo>
                      <a:pt x="48" y="19"/>
                    </a:lnTo>
                    <a:lnTo>
                      <a:pt x="48" y="16"/>
                    </a:lnTo>
                    <a:lnTo>
                      <a:pt x="49" y="9"/>
                    </a:lnTo>
                    <a:lnTo>
                      <a:pt x="56" y="7"/>
                    </a:lnTo>
                    <a:lnTo>
                      <a:pt x="63" y="9"/>
                    </a:lnTo>
                    <a:lnTo>
                      <a:pt x="67" y="16"/>
                    </a:lnTo>
                    <a:lnTo>
                      <a:pt x="70" y="23"/>
                    </a:lnTo>
                    <a:lnTo>
                      <a:pt x="79" y="29"/>
                    </a:lnTo>
                    <a:lnTo>
                      <a:pt x="74" y="17"/>
                    </a:lnTo>
                    <a:lnTo>
                      <a:pt x="72" y="7"/>
                    </a:lnTo>
                    <a:lnTo>
                      <a:pt x="74" y="0"/>
                    </a:lnTo>
                    <a:lnTo>
                      <a:pt x="82" y="0"/>
                    </a:lnTo>
                    <a:lnTo>
                      <a:pt x="87" y="0"/>
                    </a:lnTo>
                    <a:lnTo>
                      <a:pt x="94" y="2"/>
                    </a:lnTo>
                    <a:lnTo>
                      <a:pt x="99" y="4"/>
                    </a:lnTo>
                    <a:lnTo>
                      <a:pt x="103" y="9"/>
                    </a:lnTo>
                    <a:lnTo>
                      <a:pt x="101" y="14"/>
                    </a:lnTo>
                    <a:lnTo>
                      <a:pt x="101" y="19"/>
                    </a:lnTo>
                    <a:lnTo>
                      <a:pt x="105" y="14"/>
                    </a:lnTo>
                    <a:lnTo>
                      <a:pt x="110" y="12"/>
                    </a:lnTo>
                    <a:lnTo>
                      <a:pt x="117" y="16"/>
                    </a:lnTo>
                    <a:lnTo>
                      <a:pt x="117" y="24"/>
                    </a:lnTo>
                    <a:lnTo>
                      <a:pt x="118" y="24"/>
                    </a:lnTo>
                    <a:lnTo>
                      <a:pt x="122" y="26"/>
                    </a:lnTo>
                    <a:lnTo>
                      <a:pt x="129" y="28"/>
                    </a:lnTo>
                    <a:lnTo>
                      <a:pt x="142" y="33"/>
                    </a:lnTo>
                    <a:lnTo>
                      <a:pt x="154" y="40"/>
                    </a:lnTo>
                    <a:lnTo>
                      <a:pt x="163" y="47"/>
                    </a:lnTo>
                    <a:lnTo>
                      <a:pt x="160" y="47"/>
                    </a:lnTo>
                    <a:lnTo>
                      <a:pt x="158" y="48"/>
                    </a:lnTo>
                    <a:lnTo>
                      <a:pt x="161" y="48"/>
                    </a:lnTo>
                    <a:lnTo>
                      <a:pt x="166" y="48"/>
                    </a:lnTo>
                    <a:lnTo>
                      <a:pt x="166" y="52"/>
                    </a:lnTo>
                    <a:lnTo>
                      <a:pt x="166" y="55"/>
                    </a:lnTo>
                    <a:lnTo>
                      <a:pt x="173" y="55"/>
                    </a:lnTo>
                    <a:lnTo>
                      <a:pt x="182" y="55"/>
                    </a:lnTo>
                    <a:lnTo>
                      <a:pt x="184" y="62"/>
                    </a:lnTo>
                    <a:lnTo>
                      <a:pt x="189" y="67"/>
                    </a:lnTo>
                    <a:lnTo>
                      <a:pt x="196" y="69"/>
                    </a:lnTo>
                    <a:lnTo>
                      <a:pt x="203" y="72"/>
                    </a:lnTo>
                    <a:lnTo>
                      <a:pt x="192" y="76"/>
                    </a:lnTo>
                    <a:lnTo>
                      <a:pt x="185" y="81"/>
                    </a:lnTo>
                    <a:lnTo>
                      <a:pt x="177" y="86"/>
                    </a:lnTo>
                    <a:lnTo>
                      <a:pt x="170"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6" name="Freeform 275"/>
              <p:cNvSpPr>
                <a:spLocks/>
              </p:cNvSpPr>
              <p:nvPr/>
            </p:nvSpPr>
            <p:spPr bwMode="auto">
              <a:xfrm>
                <a:off x="4722019" y="1570038"/>
                <a:ext cx="207963" cy="73025"/>
              </a:xfrm>
              <a:custGeom>
                <a:avLst/>
                <a:gdLst/>
                <a:ahLst/>
                <a:cxnLst>
                  <a:cxn ang="0">
                    <a:pos x="131" y="21"/>
                  </a:cxn>
                  <a:cxn ang="0">
                    <a:pos x="119" y="27"/>
                  </a:cxn>
                  <a:cxn ang="0">
                    <a:pos x="105" y="36"/>
                  </a:cxn>
                  <a:cxn ang="0">
                    <a:pos x="90" y="43"/>
                  </a:cxn>
                  <a:cxn ang="0">
                    <a:pos x="79" y="46"/>
                  </a:cxn>
                  <a:cxn ang="0">
                    <a:pos x="67" y="43"/>
                  </a:cxn>
                  <a:cxn ang="0">
                    <a:pos x="62" y="38"/>
                  </a:cxn>
                  <a:cxn ang="0">
                    <a:pos x="33" y="38"/>
                  </a:cxn>
                  <a:cxn ang="0">
                    <a:pos x="26" y="34"/>
                  </a:cxn>
                  <a:cxn ang="0">
                    <a:pos x="26" y="29"/>
                  </a:cxn>
                  <a:cxn ang="0">
                    <a:pos x="31" y="29"/>
                  </a:cxn>
                  <a:cxn ang="0">
                    <a:pos x="36" y="29"/>
                  </a:cxn>
                  <a:cxn ang="0">
                    <a:pos x="42" y="27"/>
                  </a:cxn>
                  <a:cxn ang="0">
                    <a:pos x="48" y="26"/>
                  </a:cxn>
                  <a:cxn ang="0">
                    <a:pos x="43" y="24"/>
                  </a:cxn>
                  <a:cxn ang="0">
                    <a:pos x="36" y="24"/>
                  </a:cxn>
                  <a:cxn ang="0">
                    <a:pos x="28" y="24"/>
                  </a:cxn>
                  <a:cxn ang="0">
                    <a:pos x="24" y="24"/>
                  </a:cxn>
                  <a:cxn ang="0">
                    <a:pos x="11" y="26"/>
                  </a:cxn>
                  <a:cxn ang="0">
                    <a:pos x="7" y="19"/>
                  </a:cxn>
                  <a:cxn ang="0">
                    <a:pos x="2" y="14"/>
                  </a:cxn>
                  <a:cxn ang="0">
                    <a:pos x="0" y="7"/>
                  </a:cxn>
                  <a:cxn ang="0">
                    <a:pos x="7" y="7"/>
                  </a:cxn>
                  <a:cxn ang="0">
                    <a:pos x="12" y="9"/>
                  </a:cxn>
                  <a:cxn ang="0">
                    <a:pos x="17" y="9"/>
                  </a:cxn>
                  <a:cxn ang="0">
                    <a:pos x="17" y="7"/>
                  </a:cxn>
                  <a:cxn ang="0">
                    <a:pos x="26" y="7"/>
                  </a:cxn>
                  <a:cxn ang="0">
                    <a:pos x="23" y="2"/>
                  </a:cxn>
                  <a:cxn ang="0">
                    <a:pos x="38" y="2"/>
                  </a:cxn>
                  <a:cxn ang="0">
                    <a:pos x="40" y="3"/>
                  </a:cxn>
                  <a:cxn ang="0">
                    <a:pos x="47" y="7"/>
                  </a:cxn>
                  <a:cxn ang="0">
                    <a:pos x="52" y="9"/>
                  </a:cxn>
                  <a:cxn ang="0">
                    <a:pos x="57" y="12"/>
                  </a:cxn>
                  <a:cxn ang="0">
                    <a:pos x="64" y="5"/>
                  </a:cxn>
                  <a:cxn ang="0">
                    <a:pos x="71" y="0"/>
                  </a:cxn>
                  <a:cxn ang="0">
                    <a:pos x="76" y="0"/>
                  </a:cxn>
                  <a:cxn ang="0">
                    <a:pos x="76" y="7"/>
                  </a:cxn>
                  <a:cxn ang="0">
                    <a:pos x="76" y="12"/>
                  </a:cxn>
                  <a:cxn ang="0">
                    <a:pos x="83" y="9"/>
                  </a:cxn>
                  <a:cxn ang="0">
                    <a:pos x="91" y="7"/>
                  </a:cxn>
                  <a:cxn ang="0">
                    <a:pos x="102" y="7"/>
                  </a:cxn>
                  <a:cxn ang="0">
                    <a:pos x="109" y="7"/>
                  </a:cxn>
                  <a:cxn ang="0">
                    <a:pos x="122" y="10"/>
                  </a:cxn>
                  <a:cxn ang="0">
                    <a:pos x="131" y="21"/>
                  </a:cxn>
                </a:cxnLst>
                <a:rect l="0" t="0" r="r" b="b"/>
                <a:pathLst>
                  <a:path w="131" h="46">
                    <a:moveTo>
                      <a:pt x="131" y="21"/>
                    </a:moveTo>
                    <a:lnTo>
                      <a:pt x="119" y="27"/>
                    </a:lnTo>
                    <a:lnTo>
                      <a:pt x="105" y="36"/>
                    </a:lnTo>
                    <a:lnTo>
                      <a:pt x="90" y="43"/>
                    </a:lnTo>
                    <a:lnTo>
                      <a:pt x="79" y="46"/>
                    </a:lnTo>
                    <a:lnTo>
                      <a:pt x="67" y="43"/>
                    </a:lnTo>
                    <a:lnTo>
                      <a:pt x="62" y="38"/>
                    </a:lnTo>
                    <a:lnTo>
                      <a:pt x="33" y="38"/>
                    </a:lnTo>
                    <a:lnTo>
                      <a:pt x="26" y="34"/>
                    </a:lnTo>
                    <a:lnTo>
                      <a:pt x="26" y="29"/>
                    </a:lnTo>
                    <a:lnTo>
                      <a:pt x="31" y="29"/>
                    </a:lnTo>
                    <a:lnTo>
                      <a:pt x="36" y="29"/>
                    </a:lnTo>
                    <a:lnTo>
                      <a:pt x="42" y="27"/>
                    </a:lnTo>
                    <a:lnTo>
                      <a:pt x="48" y="26"/>
                    </a:lnTo>
                    <a:lnTo>
                      <a:pt x="43" y="24"/>
                    </a:lnTo>
                    <a:lnTo>
                      <a:pt x="36" y="24"/>
                    </a:lnTo>
                    <a:lnTo>
                      <a:pt x="28" y="24"/>
                    </a:lnTo>
                    <a:lnTo>
                      <a:pt x="24" y="24"/>
                    </a:lnTo>
                    <a:lnTo>
                      <a:pt x="11" y="26"/>
                    </a:lnTo>
                    <a:lnTo>
                      <a:pt x="7" y="19"/>
                    </a:lnTo>
                    <a:lnTo>
                      <a:pt x="2" y="14"/>
                    </a:lnTo>
                    <a:lnTo>
                      <a:pt x="0" y="7"/>
                    </a:lnTo>
                    <a:lnTo>
                      <a:pt x="7" y="7"/>
                    </a:lnTo>
                    <a:lnTo>
                      <a:pt x="12" y="9"/>
                    </a:lnTo>
                    <a:lnTo>
                      <a:pt x="17" y="9"/>
                    </a:lnTo>
                    <a:lnTo>
                      <a:pt x="17" y="7"/>
                    </a:lnTo>
                    <a:lnTo>
                      <a:pt x="26" y="7"/>
                    </a:lnTo>
                    <a:lnTo>
                      <a:pt x="23" y="2"/>
                    </a:lnTo>
                    <a:lnTo>
                      <a:pt x="38" y="2"/>
                    </a:lnTo>
                    <a:lnTo>
                      <a:pt x="40" y="3"/>
                    </a:lnTo>
                    <a:lnTo>
                      <a:pt x="47" y="7"/>
                    </a:lnTo>
                    <a:lnTo>
                      <a:pt x="52" y="9"/>
                    </a:lnTo>
                    <a:lnTo>
                      <a:pt x="57" y="12"/>
                    </a:lnTo>
                    <a:lnTo>
                      <a:pt x="64" y="5"/>
                    </a:lnTo>
                    <a:lnTo>
                      <a:pt x="71" y="0"/>
                    </a:lnTo>
                    <a:lnTo>
                      <a:pt x="76" y="0"/>
                    </a:lnTo>
                    <a:lnTo>
                      <a:pt x="76" y="7"/>
                    </a:lnTo>
                    <a:lnTo>
                      <a:pt x="76" y="12"/>
                    </a:lnTo>
                    <a:lnTo>
                      <a:pt x="83" y="9"/>
                    </a:lnTo>
                    <a:lnTo>
                      <a:pt x="91" y="7"/>
                    </a:lnTo>
                    <a:lnTo>
                      <a:pt x="102" y="7"/>
                    </a:lnTo>
                    <a:lnTo>
                      <a:pt x="109" y="7"/>
                    </a:lnTo>
                    <a:lnTo>
                      <a:pt x="122" y="10"/>
                    </a:lnTo>
                    <a:lnTo>
                      <a:pt x="131"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7" name="Freeform 276"/>
              <p:cNvSpPr>
                <a:spLocks/>
              </p:cNvSpPr>
              <p:nvPr/>
            </p:nvSpPr>
            <p:spPr bwMode="auto">
              <a:xfrm>
                <a:off x="4547394" y="1654175"/>
                <a:ext cx="33338" cy="33337"/>
              </a:xfrm>
              <a:custGeom>
                <a:avLst/>
                <a:gdLst/>
                <a:ahLst/>
                <a:cxnLst>
                  <a:cxn ang="0">
                    <a:pos x="4" y="0"/>
                  </a:cxn>
                  <a:cxn ang="0">
                    <a:pos x="12" y="9"/>
                  </a:cxn>
                  <a:cxn ang="0">
                    <a:pos x="21" y="21"/>
                  </a:cxn>
                  <a:cxn ang="0">
                    <a:pos x="12" y="16"/>
                  </a:cxn>
                  <a:cxn ang="0">
                    <a:pos x="5" y="11"/>
                  </a:cxn>
                  <a:cxn ang="0">
                    <a:pos x="0" y="4"/>
                  </a:cxn>
                  <a:cxn ang="0">
                    <a:pos x="5" y="0"/>
                  </a:cxn>
                  <a:cxn ang="0">
                    <a:pos x="5" y="2"/>
                  </a:cxn>
                  <a:cxn ang="0">
                    <a:pos x="4" y="0"/>
                  </a:cxn>
                </a:cxnLst>
                <a:rect l="0" t="0" r="r" b="b"/>
                <a:pathLst>
                  <a:path w="21" h="21">
                    <a:moveTo>
                      <a:pt x="4" y="0"/>
                    </a:moveTo>
                    <a:lnTo>
                      <a:pt x="12" y="9"/>
                    </a:lnTo>
                    <a:lnTo>
                      <a:pt x="21" y="21"/>
                    </a:lnTo>
                    <a:lnTo>
                      <a:pt x="12" y="16"/>
                    </a:lnTo>
                    <a:lnTo>
                      <a:pt x="5" y="11"/>
                    </a:lnTo>
                    <a:lnTo>
                      <a:pt x="0" y="4"/>
                    </a:lnTo>
                    <a:lnTo>
                      <a:pt x="5" y="0"/>
                    </a:lnTo>
                    <a:lnTo>
                      <a:pt x="5"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8" name="Freeform 277"/>
              <p:cNvSpPr>
                <a:spLocks/>
              </p:cNvSpPr>
              <p:nvPr/>
            </p:nvSpPr>
            <p:spPr bwMode="auto">
              <a:xfrm>
                <a:off x="4087019" y="2598738"/>
                <a:ext cx="100013" cy="120650"/>
              </a:xfrm>
              <a:custGeom>
                <a:avLst/>
                <a:gdLst/>
                <a:ahLst/>
                <a:cxnLst>
                  <a:cxn ang="0">
                    <a:pos x="10" y="23"/>
                  </a:cxn>
                  <a:cxn ang="0">
                    <a:pos x="17" y="19"/>
                  </a:cxn>
                  <a:cxn ang="0">
                    <a:pos x="25" y="16"/>
                  </a:cxn>
                  <a:cxn ang="0">
                    <a:pos x="22" y="12"/>
                  </a:cxn>
                  <a:cxn ang="0">
                    <a:pos x="22" y="9"/>
                  </a:cxn>
                  <a:cxn ang="0">
                    <a:pos x="27" y="2"/>
                  </a:cxn>
                  <a:cxn ang="0">
                    <a:pos x="37" y="0"/>
                  </a:cxn>
                  <a:cxn ang="0">
                    <a:pos x="41" y="0"/>
                  </a:cxn>
                  <a:cxn ang="0">
                    <a:pos x="46" y="0"/>
                  </a:cxn>
                  <a:cxn ang="0">
                    <a:pos x="58" y="7"/>
                  </a:cxn>
                  <a:cxn ang="0">
                    <a:pos x="63" y="21"/>
                  </a:cxn>
                  <a:cxn ang="0">
                    <a:pos x="58" y="24"/>
                  </a:cxn>
                  <a:cxn ang="0">
                    <a:pos x="53" y="28"/>
                  </a:cxn>
                  <a:cxn ang="0">
                    <a:pos x="53" y="31"/>
                  </a:cxn>
                  <a:cxn ang="0">
                    <a:pos x="53" y="36"/>
                  </a:cxn>
                  <a:cxn ang="0">
                    <a:pos x="53" y="41"/>
                  </a:cxn>
                  <a:cxn ang="0">
                    <a:pos x="53" y="45"/>
                  </a:cxn>
                  <a:cxn ang="0">
                    <a:pos x="53" y="52"/>
                  </a:cxn>
                  <a:cxn ang="0">
                    <a:pos x="53" y="60"/>
                  </a:cxn>
                  <a:cxn ang="0">
                    <a:pos x="46" y="60"/>
                  </a:cxn>
                  <a:cxn ang="0">
                    <a:pos x="39" y="62"/>
                  </a:cxn>
                  <a:cxn ang="0">
                    <a:pos x="29" y="66"/>
                  </a:cxn>
                  <a:cxn ang="0">
                    <a:pos x="22" y="74"/>
                  </a:cxn>
                  <a:cxn ang="0">
                    <a:pos x="17" y="74"/>
                  </a:cxn>
                  <a:cxn ang="0">
                    <a:pos x="12" y="76"/>
                  </a:cxn>
                  <a:cxn ang="0">
                    <a:pos x="3" y="72"/>
                  </a:cxn>
                  <a:cxn ang="0">
                    <a:pos x="0" y="64"/>
                  </a:cxn>
                  <a:cxn ang="0">
                    <a:pos x="5" y="50"/>
                  </a:cxn>
                  <a:cxn ang="0">
                    <a:pos x="13" y="38"/>
                  </a:cxn>
                  <a:cxn ang="0">
                    <a:pos x="6" y="33"/>
                  </a:cxn>
                  <a:cxn ang="0">
                    <a:pos x="5" y="28"/>
                  </a:cxn>
                  <a:cxn ang="0">
                    <a:pos x="6" y="23"/>
                  </a:cxn>
                  <a:cxn ang="0">
                    <a:pos x="10" y="23"/>
                  </a:cxn>
                </a:cxnLst>
                <a:rect l="0" t="0" r="r" b="b"/>
                <a:pathLst>
                  <a:path w="63" h="76">
                    <a:moveTo>
                      <a:pt x="10" y="23"/>
                    </a:moveTo>
                    <a:lnTo>
                      <a:pt x="17" y="19"/>
                    </a:lnTo>
                    <a:lnTo>
                      <a:pt x="25" y="16"/>
                    </a:lnTo>
                    <a:lnTo>
                      <a:pt x="22" y="12"/>
                    </a:lnTo>
                    <a:lnTo>
                      <a:pt x="22" y="9"/>
                    </a:lnTo>
                    <a:lnTo>
                      <a:pt x="27" y="2"/>
                    </a:lnTo>
                    <a:lnTo>
                      <a:pt x="37" y="0"/>
                    </a:lnTo>
                    <a:lnTo>
                      <a:pt x="41" y="0"/>
                    </a:lnTo>
                    <a:lnTo>
                      <a:pt x="46" y="0"/>
                    </a:lnTo>
                    <a:lnTo>
                      <a:pt x="58" y="7"/>
                    </a:lnTo>
                    <a:lnTo>
                      <a:pt x="63" y="21"/>
                    </a:lnTo>
                    <a:lnTo>
                      <a:pt x="58" y="24"/>
                    </a:lnTo>
                    <a:lnTo>
                      <a:pt x="53" y="28"/>
                    </a:lnTo>
                    <a:lnTo>
                      <a:pt x="53" y="31"/>
                    </a:lnTo>
                    <a:lnTo>
                      <a:pt x="53" y="36"/>
                    </a:lnTo>
                    <a:lnTo>
                      <a:pt x="53" y="41"/>
                    </a:lnTo>
                    <a:lnTo>
                      <a:pt x="53" y="45"/>
                    </a:lnTo>
                    <a:lnTo>
                      <a:pt x="53" y="52"/>
                    </a:lnTo>
                    <a:lnTo>
                      <a:pt x="53" y="60"/>
                    </a:lnTo>
                    <a:lnTo>
                      <a:pt x="46" y="60"/>
                    </a:lnTo>
                    <a:lnTo>
                      <a:pt x="39" y="62"/>
                    </a:lnTo>
                    <a:lnTo>
                      <a:pt x="29" y="66"/>
                    </a:lnTo>
                    <a:lnTo>
                      <a:pt x="22" y="74"/>
                    </a:lnTo>
                    <a:lnTo>
                      <a:pt x="17" y="74"/>
                    </a:lnTo>
                    <a:lnTo>
                      <a:pt x="12" y="76"/>
                    </a:lnTo>
                    <a:lnTo>
                      <a:pt x="3" y="72"/>
                    </a:lnTo>
                    <a:lnTo>
                      <a:pt x="0" y="64"/>
                    </a:lnTo>
                    <a:lnTo>
                      <a:pt x="5" y="50"/>
                    </a:lnTo>
                    <a:lnTo>
                      <a:pt x="13" y="38"/>
                    </a:lnTo>
                    <a:lnTo>
                      <a:pt x="6" y="33"/>
                    </a:lnTo>
                    <a:lnTo>
                      <a:pt x="5" y="28"/>
                    </a:lnTo>
                    <a:lnTo>
                      <a:pt x="6" y="23"/>
                    </a:lnTo>
                    <a:lnTo>
                      <a:pt x="10"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9" name="Freeform 278"/>
              <p:cNvSpPr>
                <a:spLocks/>
              </p:cNvSpPr>
              <p:nvPr/>
            </p:nvSpPr>
            <p:spPr bwMode="auto">
              <a:xfrm>
                <a:off x="4155282" y="2495550"/>
                <a:ext cx="19050" cy="19050"/>
              </a:xfrm>
              <a:custGeom>
                <a:avLst/>
                <a:gdLst/>
                <a:ahLst/>
                <a:cxnLst>
                  <a:cxn ang="0">
                    <a:pos x="1" y="12"/>
                  </a:cxn>
                  <a:cxn ang="0">
                    <a:pos x="0" y="8"/>
                  </a:cxn>
                  <a:cxn ang="0">
                    <a:pos x="0" y="7"/>
                  </a:cxn>
                  <a:cxn ang="0">
                    <a:pos x="3" y="2"/>
                  </a:cxn>
                  <a:cxn ang="0">
                    <a:pos x="12" y="0"/>
                  </a:cxn>
                  <a:cxn ang="0">
                    <a:pos x="8" y="8"/>
                  </a:cxn>
                  <a:cxn ang="0">
                    <a:pos x="1" y="12"/>
                  </a:cxn>
                </a:cxnLst>
                <a:rect l="0" t="0" r="r" b="b"/>
                <a:pathLst>
                  <a:path w="12" h="12">
                    <a:moveTo>
                      <a:pt x="1" y="12"/>
                    </a:moveTo>
                    <a:lnTo>
                      <a:pt x="0" y="8"/>
                    </a:lnTo>
                    <a:lnTo>
                      <a:pt x="0" y="7"/>
                    </a:lnTo>
                    <a:lnTo>
                      <a:pt x="3" y="2"/>
                    </a:lnTo>
                    <a:lnTo>
                      <a:pt x="12" y="0"/>
                    </a:lnTo>
                    <a:lnTo>
                      <a:pt x="8" y="8"/>
                    </a:lnTo>
                    <a:lnTo>
                      <a:pt x="1"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0" name="Freeform 279"/>
              <p:cNvSpPr>
                <a:spLocks/>
              </p:cNvSpPr>
              <p:nvPr/>
            </p:nvSpPr>
            <p:spPr bwMode="auto">
              <a:xfrm>
                <a:off x="4164807" y="2487613"/>
                <a:ext cx="192088" cy="274637"/>
              </a:xfrm>
              <a:custGeom>
                <a:avLst/>
                <a:gdLst/>
                <a:ahLst/>
                <a:cxnLst>
                  <a:cxn ang="0">
                    <a:pos x="105" y="115"/>
                  </a:cxn>
                  <a:cxn ang="0">
                    <a:pos x="117" y="118"/>
                  </a:cxn>
                  <a:cxn ang="0">
                    <a:pos x="114" y="136"/>
                  </a:cxn>
                  <a:cxn ang="0">
                    <a:pos x="109" y="146"/>
                  </a:cxn>
                  <a:cxn ang="0">
                    <a:pos x="114" y="151"/>
                  </a:cxn>
                  <a:cxn ang="0">
                    <a:pos x="100" y="160"/>
                  </a:cxn>
                  <a:cxn ang="0">
                    <a:pos x="80" y="160"/>
                  </a:cxn>
                  <a:cxn ang="0">
                    <a:pos x="66" y="161"/>
                  </a:cxn>
                  <a:cxn ang="0">
                    <a:pos x="54" y="163"/>
                  </a:cxn>
                  <a:cxn ang="0">
                    <a:pos x="45" y="161"/>
                  </a:cxn>
                  <a:cxn ang="0">
                    <a:pos x="37" y="170"/>
                  </a:cxn>
                  <a:cxn ang="0">
                    <a:pos x="24" y="170"/>
                  </a:cxn>
                  <a:cxn ang="0">
                    <a:pos x="19" y="173"/>
                  </a:cxn>
                  <a:cxn ang="0">
                    <a:pos x="21" y="165"/>
                  </a:cxn>
                  <a:cxn ang="0">
                    <a:pos x="31" y="153"/>
                  </a:cxn>
                  <a:cxn ang="0">
                    <a:pos x="47" y="149"/>
                  </a:cxn>
                  <a:cxn ang="0">
                    <a:pos x="52" y="142"/>
                  </a:cxn>
                  <a:cxn ang="0">
                    <a:pos x="47" y="144"/>
                  </a:cxn>
                  <a:cxn ang="0">
                    <a:pos x="35" y="142"/>
                  </a:cxn>
                  <a:cxn ang="0">
                    <a:pos x="26" y="141"/>
                  </a:cxn>
                  <a:cxn ang="0">
                    <a:pos x="21" y="141"/>
                  </a:cxn>
                  <a:cxn ang="0">
                    <a:pos x="28" y="132"/>
                  </a:cxn>
                  <a:cxn ang="0">
                    <a:pos x="37" y="125"/>
                  </a:cxn>
                  <a:cxn ang="0">
                    <a:pos x="31" y="110"/>
                  </a:cxn>
                  <a:cxn ang="0">
                    <a:pos x="55" y="101"/>
                  </a:cxn>
                  <a:cxn ang="0">
                    <a:pos x="45" y="91"/>
                  </a:cxn>
                  <a:cxn ang="0">
                    <a:pos x="43" y="82"/>
                  </a:cxn>
                  <a:cxn ang="0">
                    <a:pos x="43" y="79"/>
                  </a:cxn>
                  <a:cxn ang="0">
                    <a:pos x="35" y="81"/>
                  </a:cxn>
                  <a:cxn ang="0">
                    <a:pos x="23" y="81"/>
                  </a:cxn>
                  <a:cxn ang="0">
                    <a:pos x="23" y="72"/>
                  </a:cxn>
                  <a:cxn ang="0">
                    <a:pos x="24" y="62"/>
                  </a:cxn>
                  <a:cxn ang="0">
                    <a:pos x="21" y="56"/>
                  </a:cxn>
                  <a:cxn ang="0">
                    <a:pos x="16" y="60"/>
                  </a:cxn>
                  <a:cxn ang="0">
                    <a:pos x="14" y="63"/>
                  </a:cxn>
                  <a:cxn ang="0">
                    <a:pos x="14" y="55"/>
                  </a:cxn>
                  <a:cxn ang="0">
                    <a:pos x="16" y="51"/>
                  </a:cxn>
                  <a:cxn ang="0">
                    <a:pos x="11" y="44"/>
                  </a:cxn>
                  <a:cxn ang="0">
                    <a:pos x="11" y="38"/>
                  </a:cxn>
                  <a:cxn ang="0">
                    <a:pos x="12" y="32"/>
                  </a:cxn>
                  <a:cxn ang="0">
                    <a:pos x="0" y="22"/>
                  </a:cxn>
                  <a:cxn ang="0">
                    <a:pos x="9" y="26"/>
                  </a:cxn>
                  <a:cxn ang="0">
                    <a:pos x="12" y="26"/>
                  </a:cxn>
                  <a:cxn ang="0">
                    <a:pos x="11" y="22"/>
                  </a:cxn>
                  <a:cxn ang="0">
                    <a:pos x="12" y="15"/>
                  </a:cxn>
                  <a:cxn ang="0">
                    <a:pos x="19" y="8"/>
                  </a:cxn>
                  <a:cxn ang="0">
                    <a:pos x="23" y="1"/>
                  </a:cxn>
                  <a:cxn ang="0">
                    <a:pos x="37" y="0"/>
                  </a:cxn>
                  <a:cxn ang="0">
                    <a:pos x="45" y="1"/>
                  </a:cxn>
                  <a:cxn ang="0">
                    <a:pos x="42" y="10"/>
                  </a:cxn>
                  <a:cxn ang="0">
                    <a:pos x="37" y="19"/>
                  </a:cxn>
                  <a:cxn ang="0">
                    <a:pos x="67" y="20"/>
                  </a:cxn>
                  <a:cxn ang="0">
                    <a:pos x="61" y="38"/>
                  </a:cxn>
                  <a:cxn ang="0">
                    <a:pos x="54" y="51"/>
                  </a:cxn>
                  <a:cxn ang="0">
                    <a:pos x="50" y="56"/>
                  </a:cxn>
                  <a:cxn ang="0">
                    <a:pos x="61" y="56"/>
                  </a:cxn>
                  <a:cxn ang="0">
                    <a:pos x="76" y="79"/>
                  </a:cxn>
                  <a:cxn ang="0">
                    <a:pos x="88" y="87"/>
                  </a:cxn>
                  <a:cxn ang="0">
                    <a:pos x="97" y="101"/>
                  </a:cxn>
                  <a:cxn ang="0">
                    <a:pos x="102" y="113"/>
                  </a:cxn>
                  <a:cxn ang="0">
                    <a:pos x="100" y="117"/>
                  </a:cxn>
                  <a:cxn ang="0">
                    <a:pos x="102" y="117"/>
                  </a:cxn>
                  <a:cxn ang="0">
                    <a:pos x="104" y="118"/>
                  </a:cxn>
                </a:cxnLst>
                <a:rect l="0" t="0" r="r" b="b"/>
                <a:pathLst>
                  <a:path w="121" h="173">
                    <a:moveTo>
                      <a:pt x="104" y="118"/>
                    </a:moveTo>
                    <a:lnTo>
                      <a:pt x="105" y="115"/>
                    </a:lnTo>
                    <a:lnTo>
                      <a:pt x="110" y="117"/>
                    </a:lnTo>
                    <a:lnTo>
                      <a:pt x="117" y="118"/>
                    </a:lnTo>
                    <a:lnTo>
                      <a:pt x="121" y="125"/>
                    </a:lnTo>
                    <a:lnTo>
                      <a:pt x="114" y="136"/>
                    </a:lnTo>
                    <a:lnTo>
                      <a:pt x="104" y="146"/>
                    </a:lnTo>
                    <a:lnTo>
                      <a:pt x="109" y="146"/>
                    </a:lnTo>
                    <a:lnTo>
                      <a:pt x="114" y="148"/>
                    </a:lnTo>
                    <a:lnTo>
                      <a:pt x="114" y="151"/>
                    </a:lnTo>
                    <a:lnTo>
                      <a:pt x="107" y="156"/>
                    </a:lnTo>
                    <a:lnTo>
                      <a:pt x="100" y="160"/>
                    </a:lnTo>
                    <a:lnTo>
                      <a:pt x="88" y="160"/>
                    </a:lnTo>
                    <a:lnTo>
                      <a:pt x="80" y="160"/>
                    </a:lnTo>
                    <a:lnTo>
                      <a:pt x="73" y="160"/>
                    </a:lnTo>
                    <a:lnTo>
                      <a:pt x="66" y="161"/>
                    </a:lnTo>
                    <a:lnTo>
                      <a:pt x="59" y="161"/>
                    </a:lnTo>
                    <a:lnTo>
                      <a:pt x="54" y="163"/>
                    </a:lnTo>
                    <a:lnTo>
                      <a:pt x="49" y="161"/>
                    </a:lnTo>
                    <a:lnTo>
                      <a:pt x="45" y="161"/>
                    </a:lnTo>
                    <a:lnTo>
                      <a:pt x="38" y="163"/>
                    </a:lnTo>
                    <a:lnTo>
                      <a:pt x="37" y="170"/>
                    </a:lnTo>
                    <a:lnTo>
                      <a:pt x="30" y="170"/>
                    </a:lnTo>
                    <a:lnTo>
                      <a:pt x="24" y="170"/>
                    </a:lnTo>
                    <a:lnTo>
                      <a:pt x="23" y="173"/>
                    </a:lnTo>
                    <a:lnTo>
                      <a:pt x="19" y="173"/>
                    </a:lnTo>
                    <a:lnTo>
                      <a:pt x="19" y="170"/>
                    </a:lnTo>
                    <a:lnTo>
                      <a:pt x="21" y="165"/>
                    </a:lnTo>
                    <a:lnTo>
                      <a:pt x="26" y="160"/>
                    </a:lnTo>
                    <a:lnTo>
                      <a:pt x="31" y="153"/>
                    </a:lnTo>
                    <a:lnTo>
                      <a:pt x="37" y="151"/>
                    </a:lnTo>
                    <a:lnTo>
                      <a:pt x="47" y="149"/>
                    </a:lnTo>
                    <a:lnTo>
                      <a:pt x="54" y="144"/>
                    </a:lnTo>
                    <a:lnTo>
                      <a:pt x="52" y="142"/>
                    </a:lnTo>
                    <a:lnTo>
                      <a:pt x="52" y="141"/>
                    </a:lnTo>
                    <a:lnTo>
                      <a:pt x="47" y="144"/>
                    </a:lnTo>
                    <a:lnTo>
                      <a:pt x="43" y="146"/>
                    </a:lnTo>
                    <a:lnTo>
                      <a:pt x="35" y="142"/>
                    </a:lnTo>
                    <a:lnTo>
                      <a:pt x="30" y="141"/>
                    </a:lnTo>
                    <a:lnTo>
                      <a:pt x="26" y="141"/>
                    </a:lnTo>
                    <a:lnTo>
                      <a:pt x="24" y="142"/>
                    </a:lnTo>
                    <a:lnTo>
                      <a:pt x="21" y="141"/>
                    </a:lnTo>
                    <a:lnTo>
                      <a:pt x="23" y="134"/>
                    </a:lnTo>
                    <a:lnTo>
                      <a:pt x="28" y="132"/>
                    </a:lnTo>
                    <a:lnTo>
                      <a:pt x="33" y="129"/>
                    </a:lnTo>
                    <a:lnTo>
                      <a:pt x="37" y="125"/>
                    </a:lnTo>
                    <a:lnTo>
                      <a:pt x="33" y="117"/>
                    </a:lnTo>
                    <a:lnTo>
                      <a:pt x="31" y="110"/>
                    </a:lnTo>
                    <a:lnTo>
                      <a:pt x="45" y="106"/>
                    </a:lnTo>
                    <a:lnTo>
                      <a:pt x="55" y="101"/>
                    </a:lnTo>
                    <a:lnTo>
                      <a:pt x="55" y="93"/>
                    </a:lnTo>
                    <a:lnTo>
                      <a:pt x="45" y="91"/>
                    </a:lnTo>
                    <a:lnTo>
                      <a:pt x="42" y="87"/>
                    </a:lnTo>
                    <a:lnTo>
                      <a:pt x="43" y="82"/>
                    </a:lnTo>
                    <a:lnTo>
                      <a:pt x="47" y="81"/>
                    </a:lnTo>
                    <a:lnTo>
                      <a:pt x="43" y="79"/>
                    </a:lnTo>
                    <a:lnTo>
                      <a:pt x="42" y="79"/>
                    </a:lnTo>
                    <a:lnTo>
                      <a:pt x="35" y="81"/>
                    </a:lnTo>
                    <a:lnTo>
                      <a:pt x="30" y="82"/>
                    </a:lnTo>
                    <a:lnTo>
                      <a:pt x="23" y="81"/>
                    </a:lnTo>
                    <a:lnTo>
                      <a:pt x="21" y="79"/>
                    </a:lnTo>
                    <a:lnTo>
                      <a:pt x="23" y="72"/>
                    </a:lnTo>
                    <a:lnTo>
                      <a:pt x="26" y="67"/>
                    </a:lnTo>
                    <a:lnTo>
                      <a:pt x="24" y="62"/>
                    </a:lnTo>
                    <a:lnTo>
                      <a:pt x="26" y="58"/>
                    </a:lnTo>
                    <a:lnTo>
                      <a:pt x="21" y="56"/>
                    </a:lnTo>
                    <a:lnTo>
                      <a:pt x="18" y="55"/>
                    </a:lnTo>
                    <a:lnTo>
                      <a:pt x="16" y="60"/>
                    </a:lnTo>
                    <a:lnTo>
                      <a:pt x="18" y="63"/>
                    </a:lnTo>
                    <a:lnTo>
                      <a:pt x="14" y="63"/>
                    </a:lnTo>
                    <a:lnTo>
                      <a:pt x="14" y="56"/>
                    </a:lnTo>
                    <a:lnTo>
                      <a:pt x="14" y="55"/>
                    </a:lnTo>
                    <a:lnTo>
                      <a:pt x="14" y="51"/>
                    </a:lnTo>
                    <a:lnTo>
                      <a:pt x="16" y="51"/>
                    </a:lnTo>
                    <a:lnTo>
                      <a:pt x="16" y="46"/>
                    </a:lnTo>
                    <a:lnTo>
                      <a:pt x="11" y="44"/>
                    </a:lnTo>
                    <a:lnTo>
                      <a:pt x="9" y="43"/>
                    </a:lnTo>
                    <a:lnTo>
                      <a:pt x="11" y="38"/>
                    </a:lnTo>
                    <a:lnTo>
                      <a:pt x="12" y="36"/>
                    </a:lnTo>
                    <a:lnTo>
                      <a:pt x="12" y="32"/>
                    </a:lnTo>
                    <a:lnTo>
                      <a:pt x="2" y="29"/>
                    </a:lnTo>
                    <a:lnTo>
                      <a:pt x="0" y="22"/>
                    </a:lnTo>
                    <a:lnTo>
                      <a:pt x="9" y="22"/>
                    </a:lnTo>
                    <a:lnTo>
                      <a:pt x="9" y="26"/>
                    </a:lnTo>
                    <a:lnTo>
                      <a:pt x="12" y="27"/>
                    </a:lnTo>
                    <a:lnTo>
                      <a:pt x="12" y="26"/>
                    </a:lnTo>
                    <a:lnTo>
                      <a:pt x="14" y="24"/>
                    </a:lnTo>
                    <a:lnTo>
                      <a:pt x="11" y="22"/>
                    </a:lnTo>
                    <a:lnTo>
                      <a:pt x="11" y="20"/>
                    </a:lnTo>
                    <a:lnTo>
                      <a:pt x="12" y="15"/>
                    </a:lnTo>
                    <a:lnTo>
                      <a:pt x="19" y="15"/>
                    </a:lnTo>
                    <a:lnTo>
                      <a:pt x="19" y="8"/>
                    </a:lnTo>
                    <a:lnTo>
                      <a:pt x="21" y="7"/>
                    </a:lnTo>
                    <a:lnTo>
                      <a:pt x="23" y="1"/>
                    </a:lnTo>
                    <a:lnTo>
                      <a:pt x="30" y="0"/>
                    </a:lnTo>
                    <a:lnTo>
                      <a:pt x="37" y="0"/>
                    </a:lnTo>
                    <a:lnTo>
                      <a:pt x="43" y="0"/>
                    </a:lnTo>
                    <a:lnTo>
                      <a:pt x="45" y="1"/>
                    </a:lnTo>
                    <a:lnTo>
                      <a:pt x="49" y="3"/>
                    </a:lnTo>
                    <a:lnTo>
                      <a:pt x="42" y="10"/>
                    </a:lnTo>
                    <a:lnTo>
                      <a:pt x="37" y="17"/>
                    </a:lnTo>
                    <a:lnTo>
                      <a:pt x="37" y="19"/>
                    </a:lnTo>
                    <a:lnTo>
                      <a:pt x="38" y="20"/>
                    </a:lnTo>
                    <a:lnTo>
                      <a:pt x="67" y="20"/>
                    </a:lnTo>
                    <a:lnTo>
                      <a:pt x="64" y="29"/>
                    </a:lnTo>
                    <a:lnTo>
                      <a:pt x="61" y="38"/>
                    </a:lnTo>
                    <a:lnTo>
                      <a:pt x="55" y="43"/>
                    </a:lnTo>
                    <a:lnTo>
                      <a:pt x="54" y="51"/>
                    </a:lnTo>
                    <a:lnTo>
                      <a:pt x="50" y="53"/>
                    </a:lnTo>
                    <a:lnTo>
                      <a:pt x="50" y="56"/>
                    </a:lnTo>
                    <a:lnTo>
                      <a:pt x="55" y="56"/>
                    </a:lnTo>
                    <a:lnTo>
                      <a:pt x="61" y="56"/>
                    </a:lnTo>
                    <a:lnTo>
                      <a:pt x="69" y="65"/>
                    </a:lnTo>
                    <a:lnTo>
                      <a:pt x="76" y="79"/>
                    </a:lnTo>
                    <a:lnTo>
                      <a:pt x="81" y="82"/>
                    </a:lnTo>
                    <a:lnTo>
                      <a:pt x="88" y="87"/>
                    </a:lnTo>
                    <a:lnTo>
                      <a:pt x="93" y="93"/>
                    </a:lnTo>
                    <a:lnTo>
                      <a:pt x="97" y="101"/>
                    </a:lnTo>
                    <a:lnTo>
                      <a:pt x="98" y="106"/>
                    </a:lnTo>
                    <a:lnTo>
                      <a:pt x="102" y="113"/>
                    </a:lnTo>
                    <a:lnTo>
                      <a:pt x="100" y="113"/>
                    </a:lnTo>
                    <a:lnTo>
                      <a:pt x="100" y="117"/>
                    </a:lnTo>
                    <a:lnTo>
                      <a:pt x="100" y="120"/>
                    </a:lnTo>
                    <a:lnTo>
                      <a:pt x="102" y="117"/>
                    </a:lnTo>
                    <a:lnTo>
                      <a:pt x="105" y="117"/>
                    </a:lnTo>
                    <a:lnTo>
                      <a:pt x="104"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1" name="Freeform 280"/>
              <p:cNvSpPr>
                <a:spLocks/>
              </p:cNvSpPr>
              <p:nvPr/>
            </p:nvSpPr>
            <p:spPr bwMode="auto">
              <a:xfrm>
                <a:off x="4206082" y="2628900"/>
                <a:ext cx="7938" cy="11112"/>
              </a:xfrm>
              <a:custGeom>
                <a:avLst/>
                <a:gdLst/>
                <a:ahLst/>
                <a:cxnLst>
                  <a:cxn ang="0">
                    <a:pos x="4" y="0"/>
                  </a:cxn>
                  <a:cxn ang="0">
                    <a:pos x="0" y="2"/>
                  </a:cxn>
                  <a:cxn ang="0">
                    <a:pos x="0" y="7"/>
                  </a:cxn>
                  <a:cxn ang="0">
                    <a:pos x="2" y="7"/>
                  </a:cxn>
                  <a:cxn ang="0">
                    <a:pos x="5" y="7"/>
                  </a:cxn>
                  <a:cxn ang="0">
                    <a:pos x="5" y="2"/>
                  </a:cxn>
                  <a:cxn ang="0">
                    <a:pos x="5" y="0"/>
                  </a:cxn>
                  <a:cxn ang="0">
                    <a:pos x="4" y="0"/>
                  </a:cxn>
                </a:cxnLst>
                <a:rect l="0" t="0" r="r" b="b"/>
                <a:pathLst>
                  <a:path w="5" h="7">
                    <a:moveTo>
                      <a:pt x="4" y="0"/>
                    </a:moveTo>
                    <a:lnTo>
                      <a:pt x="0" y="2"/>
                    </a:lnTo>
                    <a:lnTo>
                      <a:pt x="0" y="7"/>
                    </a:lnTo>
                    <a:lnTo>
                      <a:pt x="2" y="7"/>
                    </a:lnTo>
                    <a:lnTo>
                      <a:pt x="5" y="7"/>
                    </a:lnTo>
                    <a:lnTo>
                      <a:pt x="5" y="2"/>
                    </a:lnTo>
                    <a:lnTo>
                      <a:pt x="5"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2" name="Freeform 282"/>
              <p:cNvSpPr>
                <a:spLocks/>
              </p:cNvSpPr>
              <p:nvPr/>
            </p:nvSpPr>
            <p:spPr bwMode="auto">
              <a:xfrm>
                <a:off x="2374107" y="3482975"/>
                <a:ext cx="238125" cy="82550"/>
              </a:xfrm>
              <a:custGeom>
                <a:avLst/>
                <a:gdLst/>
                <a:ahLst/>
                <a:cxnLst>
                  <a:cxn ang="0">
                    <a:pos x="150" y="47"/>
                  </a:cxn>
                  <a:cxn ang="0">
                    <a:pos x="141" y="50"/>
                  </a:cxn>
                  <a:cxn ang="0">
                    <a:pos x="131" y="52"/>
                  </a:cxn>
                  <a:cxn ang="0">
                    <a:pos x="115" y="50"/>
                  </a:cxn>
                  <a:cxn ang="0">
                    <a:pos x="102" y="48"/>
                  </a:cxn>
                  <a:cxn ang="0">
                    <a:pos x="102" y="47"/>
                  </a:cxn>
                  <a:cxn ang="0">
                    <a:pos x="105" y="45"/>
                  </a:cxn>
                  <a:cxn ang="0">
                    <a:pos x="107" y="42"/>
                  </a:cxn>
                  <a:cxn ang="0">
                    <a:pos x="95" y="36"/>
                  </a:cxn>
                  <a:cxn ang="0">
                    <a:pos x="90" y="31"/>
                  </a:cxn>
                  <a:cxn ang="0">
                    <a:pos x="86" y="28"/>
                  </a:cxn>
                  <a:cxn ang="0">
                    <a:pos x="84" y="26"/>
                  </a:cxn>
                  <a:cxn ang="0">
                    <a:pos x="79" y="24"/>
                  </a:cxn>
                  <a:cxn ang="0">
                    <a:pos x="74" y="26"/>
                  </a:cxn>
                  <a:cxn ang="0">
                    <a:pos x="64" y="21"/>
                  </a:cxn>
                  <a:cxn ang="0">
                    <a:pos x="55" y="18"/>
                  </a:cxn>
                  <a:cxn ang="0">
                    <a:pos x="41" y="18"/>
                  </a:cxn>
                  <a:cxn ang="0">
                    <a:pos x="38" y="14"/>
                  </a:cxn>
                  <a:cxn ang="0">
                    <a:pos x="40" y="12"/>
                  </a:cxn>
                  <a:cxn ang="0">
                    <a:pos x="36" y="11"/>
                  </a:cxn>
                  <a:cxn ang="0">
                    <a:pos x="33" y="11"/>
                  </a:cxn>
                  <a:cxn ang="0">
                    <a:pos x="16" y="14"/>
                  </a:cxn>
                  <a:cxn ang="0">
                    <a:pos x="5" y="23"/>
                  </a:cxn>
                  <a:cxn ang="0">
                    <a:pos x="0" y="23"/>
                  </a:cxn>
                  <a:cxn ang="0">
                    <a:pos x="5" y="12"/>
                  </a:cxn>
                  <a:cxn ang="0">
                    <a:pos x="16" y="5"/>
                  </a:cxn>
                  <a:cxn ang="0">
                    <a:pos x="26" y="0"/>
                  </a:cxn>
                  <a:cxn ang="0">
                    <a:pos x="41" y="0"/>
                  </a:cxn>
                  <a:cxn ang="0">
                    <a:pos x="55" y="2"/>
                  </a:cxn>
                  <a:cxn ang="0">
                    <a:pos x="67" y="7"/>
                  </a:cxn>
                  <a:cxn ang="0">
                    <a:pos x="79" y="11"/>
                  </a:cxn>
                  <a:cxn ang="0">
                    <a:pos x="91" y="14"/>
                  </a:cxn>
                  <a:cxn ang="0">
                    <a:pos x="95" y="16"/>
                  </a:cxn>
                  <a:cxn ang="0">
                    <a:pos x="100" y="19"/>
                  </a:cxn>
                  <a:cxn ang="0">
                    <a:pos x="112" y="28"/>
                  </a:cxn>
                  <a:cxn ang="0">
                    <a:pos x="131" y="33"/>
                  </a:cxn>
                  <a:cxn ang="0">
                    <a:pos x="131" y="36"/>
                  </a:cxn>
                  <a:cxn ang="0">
                    <a:pos x="139" y="36"/>
                  </a:cxn>
                  <a:cxn ang="0">
                    <a:pos x="145" y="42"/>
                  </a:cxn>
                  <a:cxn ang="0">
                    <a:pos x="150" y="47"/>
                  </a:cxn>
                </a:cxnLst>
                <a:rect l="0" t="0" r="r" b="b"/>
                <a:pathLst>
                  <a:path w="150" h="52">
                    <a:moveTo>
                      <a:pt x="150" y="47"/>
                    </a:moveTo>
                    <a:lnTo>
                      <a:pt x="141" y="50"/>
                    </a:lnTo>
                    <a:lnTo>
                      <a:pt x="131" y="52"/>
                    </a:lnTo>
                    <a:lnTo>
                      <a:pt x="115" y="50"/>
                    </a:lnTo>
                    <a:lnTo>
                      <a:pt x="102" y="48"/>
                    </a:lnTo>
                    <a:lnTo>
                      <a:pt x="102" y="47"/>
                    </a:lnTo>
                    <a:lnTo>
                      <a:pt x="105" y="45"/>
                    </a:lnTo>
                    <a:lnTo>
                      <a:pt x="107" y="42"/>
                    </a:lnTo>
                    <a:lnTo>
                      <a:pt x="95" y="36"/>
                    </a:lnTo>
                    <a:lnTo>
                      <a:pt x="90" y="31"/>
                    </a:lnTo>
                    <a:lnTo>
                      <a:pt x="86" y="28"/>
                    </a:lnTo>
                    <a:lnTo>
                      <a:pt x="84" y="26"/>
                    </a:lnTo>
                    <a:lnTo>
                      <a:pt x="79" y="24"/>
                    </a:lnTo>
                    <a:lnTo>
                      <a:pt x="74" y="26"/>
                    </a:lnTo>
                    <a:lnTo>
                      <a:pt x="64" y="21"/>
                    </a:lnTo>
                    <a:lnTo>
                      <a:pt x="55" y="18"/>
                    </a:lnTo>
                    <a:lnTo>
                      <a:pt x="41" y="18"/>
                    </a:lnTo>
                    <a:lnTo>
                      <a:pt x="38" y="14"/>
                    </a:lnTo>
                    <a:lnTo>
                      <a:pt x="40" y="12"/>
                    </a:lnTo>
                    <a:lnTo>
                      <a:pt x="36" y="11"/>
                    </a:lnTo>
                    <a:lnTo>
                      <a:pt x="33" y="11"/>
                    </a:lnTo>
                    <a:lnTo>
                      <a:pt x="16" y="14"/>
                    </a:lnTo>
                    <a:lnTo>
                      <a:pt x="5" y="23"/>
                    </a:lnTo>
                    <a:lnTo>
                      <a:pt x="0" y="23"/>
                    </a:lnTo>
                    <a:lnTo>
                      <a:pt x="5" y="12"/>
                    </a:lnTo>
                    <a:lnTo>
                      <a:pt x="16" y="5"/>
                    </a:lnTo>
                    <a:lnTo>
                      <a:pt x="26" y="0"/>
                    </a:lnTo>
                    <a:lnTo>
                      <a:pt x="41" y="0"/>
                    </a:lnTo>
                    <a:lnTo>
                      <a:pt x="55" y="2"/>
                    </a:lnTo>
                    <a:lnTo>
                      <a:pt x="67" y="7"/>
                    </a:lnTo>
                    <a:lnTo>
                      <a:pt x="79" y="11"/>
                    </a:lnTo>
                    <a:lnTo>
                      <a:pt x="91" y="14"/>
                    </a:lnTo>
                    <a:lnTo>
                      <a:pt x="95" y="16"/>
                    </a:lnTo>
                    <a:lnTo>
                      <a:pt x="100" y="19"/>
                    </a:lnTo>
                    <a:lnTo>
                      <a:pt x="112" y="28"/>
                    </a:lnTo>
                    <a:lnTo>
                      <a:pt x="131" y="33"/>
                    </a:lnTo>
                    <a:lnTo>
                      <a:pt x="131" y="36"/>
                    </a:lnTo>
                    <a:lnTo>
                      <a:pt x="139" y="36"/>
                    </a:lnTo>
                    <a:lnTo>
                      <a:pt x="145" y="42"/>
                    </a:lnTo>
                    <a:lnTo>
                      <a:pt x="150" y="4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3" name="Freeform 283"/>
              <p:cNvSpPr>
                <a:spLocks/>
              </p:cNvSpPr>
              <p:nvPr/>
            </p:nvSpPr>
            <p:spPr bwMode="auto">
              <a:xfrm>
                <a:off x="2407444" y="3516313"/>
                <a:ext cx="11113" cy="11112"/>
              </a:xfrm>
              <a:custGeom>
                <a:avLst/>
                <a:gdLst/>
                <a:ahLst/>
                <a:cxnLst>
                  <a:cxn ang="0">
                    <a:pos x="7" y="0"/>
                  </a:cxn>
                  <a:cxn ang="0">
                    <a:pos x="7" y="3"/>
                  </a:cxn>
                  <a:cxn ang="0">
                    <a:pos x="7" y="7"/>
                  </a:cxn>
                  <a:cxn ang="0">
                    <a:pos x="3" y="7"/>
                  </a:cxn>
                  <a:cxn ang="0">
                    <a:pos x="0" y="7"/>
                  </a:cxn>
                  <a:cxn ang="0">
                    <a:pos x="1" y="3"/>
                  </a:cxn>
                  <a:cxn ang="0">
                    <a:pos x="5" y="3"/>
                  </a:cxn>
                  <a:cxn ang="0">
                    <a:pos x="5" y="0"/>
                  </a:cxn>
                  <a:cxn ang="0">
                    <a:pos x="5" y="0"/>
                  </a:cxn>
                  <a:cxn ang="0">
                    <a:pos x="7" y="0"/>
                  </a:cxn>
                </a:cxnLst>
                <a:rect l="0" t="0" r="r" b="b"/>
                <a:pathLst>
                  <a:path w="7" h="7">
                    <a:moveTo>
                      <a:pt x="7" y="0"/>
                    </a:moveTo>
                    <a:lnTo>
                      <a:pt x="7" y="3"/>
                    </a:lnTo>
                    <a:lnTo>
                      <a:pt x="7" y="7"/>
                    </a:lnTo>
                    <a:lnTo>
                      <a:pt x="3" y="7"/>
                    </a:lnTo>
                    <a:lnTo>
                      <a:pt x="0" y="7"/>
                    </a:lnTo>
                    <a:lnTo>
                      <a:pt x="1" y="3"/>
                    </a:lnTo>
                    <a:lnTo>
                      <a:pt x="5" y="3"/>
                    </a:lnTo>
                    <a:lnTo>
                      <a:pt x="5" y="0"/>
                    </a:lnTo>
                    <a:lnTo>
                      <a:pt x="5" y="0"/>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4" name="Freeform 284"/>
              <p:cNvSpPr>
                <a:spLocks/>
              </p:cNvSpPr>
              <p:nvPr/>
            </p:nvSpPr>
            <p:spPr bwMode="auto">
              <a:xfrm>
                <a:off x="2526507" y="3595688"/>
                <a:ext cx="39688" cy="19050"/>
              </a:xfrm>
              <a:custGeom>
                <a:avLst/>
                <a:gdLst/>
                <a:ahLst/>
                <a:cxnLst>
                  <a:cxn ang="0">
                    <a:pos x="21" y="3"/>
                  </a:cxn>
                  <a:cxn ang="0">
                    <a:pos x="23" y="5"/>
                  </a:cxn>
                  <a:cxn ang="0">
                    <a:pos x="25" y="8"/>
                  </a:cxn>
                  <a:cxn ang="0">
                    <a:pos x="16" y="10"/>
                  </a:cxn>
                  <a:cxn ang="0">
                    <a:pos x="9" y="12"/>
                  </a:cxn>
                  <a:cxn ang="0">
                    <a:pos x="2" y="8"/>
                  </a:cxn>
                  <a:cxn ang="0">
                    <a:pos x="0" y="3"/>
                  </a:cxn>
                  <a:cxn ang="0">
                    <a:pos x="2" y="0"/>
                  </a:cxn>
                  <a:cxn ang="0">
                    <a:pos x="6" y="0"/>
                  </a:cxn>
                  <a:cxn ang="0">
                    <a:pos x="14" y="2"/>
                  </a:cxn>
                  <a:cxn ang="0">
                    <a:pos x="21" y="5"/>
                  </a:cxn>
                  <a:cxn ang="0">
                    <a:pos x="21" y="3"/>
                  </a:cxn>
                </a:cxnLst>
                <a:rect l="0" t="0" r="r" b="b"/>
                <a:pathLst>
                  <a:path w="25" h="12">
                    <a:moveTo>
                      <a:pt x="21" y="3"/>
                    </a:moveTo>
                    <a:lnTo>
                      <a:pt x="23" y="5"/>
                    </a:lnTo>
                    <a:lnTo>
                      <a:pt x="25" y="8"/>
                    </a:lnTo>
                    <a:lnTo>
                      <a:pt x="16" y="10"/>
                    </a:lnTo>
                    <a:lnTo>
                      <a:pt x="9" y="12"/>
                    </a:lnTo>
                    <a:lnTo>
                      <a:pt x="2" y="8"/>
                    </a:lnTo>
                    <a:lnTo>
                      <a:pt x="0" y="3"/>
                    </a:lnTo>
                    <a:lnTo>
                      <a:pt x="2" y="0"/>
                    </a:lnTo>
                    <a:lnTo>
                      <a:pt x="6" y="0"/>
                    </a:lnTo>
                    <a:lnTo>
                      <a:pt x="14" y="2"/>
                    </a:lnTo>
                    <a:lnTo>
                      <a:pt x="21" y="5"/>
                    </a:lnTo>
                    <a:lnTo>
                      <a:pt x="21"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5" name="Freeform 285"/>
              <p:cNvSpPr>
                <a:spLocks/>
              </p:cNvSpPr>
              <p:nvPr/>
            </p:nvSpPr>
            <p:spPr bwMode="auto">
              <a:xfrm>
                <a:off x="2780507" y="3595688"/>
                <a:ext cx="33338" cy="12700"/>
              </a:xfrm>
              <a:custGeom>
                <a:avLst/>
                <a:gdLst/>
                <a:ahLst/>
                <a:cxnLst>
                  <a:cxn ang="0">
                    <a:pos x="21" y="5"/>
                  </a:cxn>
                  <a:cxn ang="0">
                    <a:pos x="16" y="7"/>
                  </a:cxn>
                  <a:cxn ang="0">
                    <a:pos x="12" y="8"/>
                  </a:cxn>
                  <a:cxn ang="0">
                    <a:pos x="4" y="7"/>
                  </a:cxn>
                  <a:cxn ang="0">
                    <a:pos x="0" y="3"/>
                  </a:cxn>
                  <a:cxn ang="0">
                    <a:pos x="2" y="0"/>
                  </a:cxn>
                  <a:cxn ang="0">
                    <a:pos x="6" y="0"/>
                  </a:cxn>
                  <a:cxn ang="0">
                    <a:pos x="12" y="0"/>
                  </a:cxn>
                  <a:cxn ang="0">
                    <a:pos x="21" y="5"/>
                  </a:cxn>
                </a:cxnLst>
                <a:rect l="0" t="0" r="r" b="b"/>
                <a:pathLst>
                  <a:path w="21" h="8">
                    <a:moveTo>
                      <a:pt x="21" y="5"/>
                    </a:moveTo>
                    <a:lnTo>
                      <a:pt x="16" y="7"/>
                    </a:lnTo>
                    <a:lnTo>
                      <a:pt x="12" y="8"/>
                    </a:lnTo>
                    <a:lnTo>
                      <a:pt x="4" y="7"/>
                    </a:lnTo>
                    <a:lnTo>
                      <a:pt x="0" y="3"/>
                    </a:lnTo>
                    <a:lnTo>
                      <a:pt x="2" y="0"/>
                    </a:lnTo>
                    <a:lnTo>
                      <a:pt x="6" y="0"/>
                    </a:lnTo>
                    <a:lnTo>
                      <a:pt x="12" y="0"/>
                    </a:lnTo>
                    <a:lnTo>
                      <a:pt x="21"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6" name="Freeform 286"/>
              <p:cNvSpPr>
                <a:spLocks/>
              </p:cNvSpPr>
              <p:nvPr/>
            </p:nvSpPr>
            <p:spPr bwMode="auto">
              <a:xfrm>
                <a:off x="2613819" y="3559175"/>
                <a:ext cx="136525" cy="55562"/>
              </a:xfrm>
              <a:custGeom>
                <a:avLst/>
                <a:gdLst/>
                <a:ahLst/>
                <a:cxnLst>
                  <a:cxn ang="0">
                    <a:pos x="73" y="14"/>
                  </a:cxn>
                  <a:cxn ang="0">
                    <a:pos x="80" y="18"/>
                  </a:cxn>
                  <a:cxn ang="0">
                    <a:pos x="86" y="25"/>
                  </a:cxn>
                  <a:cxn ang="0">
                    <a:pos x="68" y="25"/>
                  </a:cxn>
                  <a:cxn ang="0">
                    <a:pos x="62" y="28"/>
                  </a:cxn>
                  <a:cxn ang="0">
                    <a:pos x="59" y="30"/>
                  </a:cxn>
                  <a:cxn ang="0">
                    <a:pos x="56" y="28"/>
                  </a:cxn>
                  <a:cxn ang="0">
                    <a:pos x="54" y="26"/>
                  </a:cxn>
                  <a:cxn ang="0">
                    <a:pos x="47" y="30"/>
                  </a:cxn>
                  <a:cxn ang="0">
                    <a:pos x="42" y="35"/>
                  </a:cxn>
                  <a:cxn ang="0">
                    <a:pos x="38" y="31"/>
                  </a:cxn>
                  <a:cxn ang="0">
                    <a:pos x="37" y="30"/>
                  </a:cxn>
                  <a:cxn ang="0">
                    <a:pos x="25" y="26"/>
                  </a:cxn>
                  <a:cxn ang="0">
                    <a:pos x="13" y="28"/>
                  </a:cxn>
                  <a:cxn ang="0">
                    <a:pos x="9" y="28"/>
                  </a:cxn>
                  <a:cxn ang="0">
                    <a:pos x="7" y="28"/>
                  </a:cxn>
                  <a:cxn ang="0">
                    <a:pos x="7" y="30"/>
                  </a:cxn>
                  <a:cxn ang="0">
                    <a:pos x="7" y="31"/>
                  </a:cxn>
                  <a:cxn ang="0">
                    <a:pos x="2" y="28"/>
                  </a:cxn>
                  <a:cxn ang="0">
                    <a:pos x="0" y="23"/>
                  </a:cxn>
                  <a:cxn ang="0">
                    <a:pos x="2" y="21"/>
                  </a:cxn>
                  <a:cxn ang="0">
                    <a:pos x="4" y="21"/>
                  </a:cxn>
                  <a:cxn ang="0">
                    <a:pos x="16" y="21"/>
                  </a:cxn>
                  <a:cxn ang="0">
                    <a:pos x="26" y="21"/>
                  </a:cxn>
                  <a:cxn ang="0">
                    <a:pos x="23" y="16"/>
                  </a:cxn>
                  <a:cxn ang="0">
                    <a:pos x="23" y="11"/>
                  </a:cxn>
                  <a:cxn ang="0">
                    <a:pos x="18" y="7"/>
                  </a:cxn>
                  <a:cxn ang="0">
                    <a:pos x="16" y="4"/>
                  </a:cxn>
                  <a:cxn ang="0">
                    <a:pos x="18" y="2"/>
                  </a:cxn>
                  <a:cxn ang="0">
                    <a:pos x="19" y="0"/>
                  </a:cxn>
                  <a:cxn ang="0">
                    <a:pos x="25" y="2"/>
                  </a:cxn>
                  <a:cxn ang="0">
                    <a:pos x="31" y="4"/>
                  </a:cxn>
                  <a:cxn ang="0">
                    <a:pos x="38" y="2"/>
                  </a:cxn>
                  <a:cxn ang="0">
                    <a:pos x="47" y="2"/>
                  </a:cxn>
                  <a:cxn ang="0">
                    <a:pos x="57" y="2"/>
                  </a:cxn>
                  <a:cxn ang="0">
                    <a:pos x="64" y="6"/>
                  </a:cxn>
                  <a:cxn ang="0">
                    <a:pos x="69" y="11"/>
                  </a:cxn>
                  <a:cxn ang="0">
                    <a:pos x="76" y="16"/>
                  </a:cxn>
                  <a:cxn ang="0">
                    <a:pos x="73" y="14"/>
                  </a:cxn>
                </a:cxnLst>
                <a:rect l="0" t="0" r="r" b="b"/>
                <a:pathLst>
                  <a:path w="86" h="35">
                    <a:moveTo>
                      <a:pt x="73" y="14"/>
                    </a:moveTo>
                    <a:lnTo>
                      <a:pt x="80" y="18"/>
                    </a:lnTo>
                    <a:lnTo>
                      <a:pt x="86" y="25"/>
                    </a:lnTo>
                    <a:lnTo>
                      <a:pt x="68" y="25"/>
                    </a:lnTo>
                    <a:lnTo>
                      <a:pt x="62" y="28"/>
                    </a:lnTo>
                    <a:lnTo>
                      <a:pt x="59" y="30"/>
                    </a:lnTo>
                    <a:lnTo>
                      <a:pt x="56" y="28"/>
                    </a:lnTo>
                    <a:lnTo>
                      <a:pt x="54" y="26"/>
                    </a:lnTo>
                    <a:lnTo>
                      <a:pt x="47" y="30"/>
                    </a:lnTo>
                    <a:lnTo>
                      <a:pt x="42" y="35"/>
                    </a:lnTo>
                    <a:lnTo>
                      <a:pt x="38" y="31"/>
                    </a:lnTo>
                    <a:lnTo>
                      <a:pt x="37" y="30"/>
                    </a:lnTo>
                    <a:lnTo>
                      <a:pt x="25" y="26"/>
                    </a:lnTo>
                    <a:lnTo>
                      <a:pt x="13" y="28"/>
                    </a:lnTo>
                    <a:lnTo>
                      <a:pt x="9" y="28"/>
                    </a:lnTo>
                    <a:lnTo>
                      <a:pt x="7" y="28"/>
                    </a:lnTo>
                    <a:lnTo>
                      <a:pt x="7" y="30"/>
                    </a:lnTo>
                    <a:lnTo>
                      <a:pt x="7" y="31"/>
                    </a:lnTo>
                    <a:lnTo>
                      <a:pt x="2" y="28"/>
                    </a:lnTo>
                    <a:lnTo>
                      <a:pt x="0" y="23"/>
                    </a:lnTo>
                    <a:lnTo>
                      <a:pt x="2" y="21"/>
                    </a:lnTo>
                    <a:lnTo>
                      <a:pt x="4" y="21"/>
                    </a:lnTo>
                    <a:lnTo>
                      <a:pt x="16" y="21"/>
                    </a:lnTo>
                    <a:lnTo>
                      <a:pt x="26" y="21"/>
                    </a:lnTo>
                    <a:lnTo>
                      <a:pt x="23" y="16"/>
                    </a:lnTo>
                    <a:lnTo>
                      <a:pt x="23" y="11"/>
                    </a:lnTo>
                    <a:lnTo>
                      <a:pt x="18" y="7"/>
                    </a:lnTo>
                    <a:lnTo>
                      <a:pt x="16" y="4"/>
                    </a:lnTo>
                    <a:lnTo>
                      <a:pt x="18" y="2"/>
                    </a:lnTo>
                    <a:lnTo>
                      <a:pt x="19" y="0"/>
                    </a:lnTo>
                    <a:lnTo>
                      <a:pt x="25" y="2"/>
                    </a:lnTo>
                    <a:lnTo>
                      <a:pt x="31" y="4"/>
                    </a:lnTo>
                    <a:lnTo>
                      <a:pt x="38" y="2"/>
                    </a:lnTo>
                    <a:lnTo>
                      <a:pt x="47" y="2"/>
                    </a:lnTo>
                    <a:lnTo>
                      <a:pt x="57" y="2"/>
                    </a:lnTo>
                    <a:lnTo>
                      <a:pt x="64" y="6"/>
                    </a:lnTo>
                    <a:lnTo>
                      <a:pt x="69" y="11"/>
                    </a:lnTo>
                    <a:lnTo>
                      <a:pt x="76" y="16"/>
                    </a:lnTo>
                    <a:lnTo>
                      <a:pt x="73"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7" name="Freeform 287"/>
              <p:cNvSpPr>
                <a:spLocks/>
              </p:cNvSpPr>
              <p:nvPr/>
            </p:nvSpPr>
            <p:spPr bwMode="auto">
              <a:xfrm>
                <a:off x="2907507" y="3781425"/>
                <a:ext cx="15875" cy="15875"/>
              </a:xfrm>
              <a:custGeom>
                <a:avLst/>
                <a:gdLst/>
                <a:ahLst/>
                <a:cxnLst>
                  <a:cxn ang="0">
                    <a:pos x="10" y="3"/>
                  </a:cxn>
                  <a:cxn ang="0">
                    <a:pos x="10" y="0"/>
                  </a:cxn>
                  <a:cxn ang="0">
                    <a:pos x="6" y="0"/>
                  </a:cxn>
                  <a:cxn ang="0">
                    <a:pos x="5" y="0"/>
                  </a:cxn>
                  <a:cxn ang="0">
                    <a:pos x="0" y="1"/>
                  </a:cxn>
                  <a:cxn ang="0">
                    <a:pos x="0" y="10"/>
                  </a:cxn>
                  <a:cxn ang="0">
                    <a:pos x="3" y="10"/>
                  </a:cxn>
                  <a:cxn ang="0">
                    <a:pos x="6" y="7"/>
                  </a:cxn>
                  <a:cxn ang="0">
                    <a:pos x="10" y="3"/>
                  </a:cxn>
                </a:cxnLst>
                <a:rect l="0" t="0" r="r" b="b"/>
                <a:pathLst>
                  <a:path w="10" h="10">
                    <a:moveTo>
                      <a:pt x="10" y="3"/>
                    </a:moveTo>
                    <a:lnTo>
                      <a:pt x="10" y="0"/>
                    </a:lnTo>
                    <a:lnTo>
                      <a:pt x="6" y="0"/>
                    </a:lnTo>
                    <a:lnTo>
                      <a:pt x="5" y="0"/>
                    </a:lnTo>
                    <a:lnTo>
                      <a:pt x="0" y="1"/>
                    </a:lnTo>
                    <a:lnTo>
                      <a:pt x="0" y="10"/>
                    </a:lnTo>
                    <a:lnTo>
                      <a:pt x="3" y="10"/>
                    </a:lnTo>
                    <a:lnTo>
                      <a:pt x="6" y="7"/>
                    </a:lnTo>
                    <a:lnTo>
                      <a:pt x="10"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8" name="Freeform 288"/>
              <p:cNvSpPr>
                <a:spLocks/>
              </p:cNvSpPr>
              <p:nvPr/>
            </p:nvSpPr>
            <p:spPr bwMode="auto">
              <a:xfrm>
                <a:off x="3155157" y="4024313"/>
                <a:ext cx="53975" cy="41275"/>
              </a:xfrm>
              <a:custGeom>
                <a:avLst/>
                <a:gdLst/>
                <a:ahLst/>
                <a:cxnLst>
                  <a:cxn ang="0">
                    <a:pos x="14" y="0"/>
                  </a:cxn>
                  <a:cxn ang="0">
                    <a:pos x="17" y="2"/>
                  </a:cxn>
                  <a:cxn ang="0">
                    <a:pos x="24" y="5"/>
                  </a:cxn>
                  <a:cxn ang="0">
                    <a:pos x="26" y="7"/>
                  </a:cxn>
                  <a:cxn ang="0">
                    <a:pos x="31" y="5"/>
                  </a:cxn>
                  <a:cxn ang="0">
                    <a:pos x="33" y="7"/>
                  </a:cxn>
                  <a:cxn ang="0">
                    <a:pos x="34" y="10"/>
                  </a:cxn>
                  <a:cxn ang="0">
                    <a:pos x="29" y="19"/>
                  </a:cxn>
                  <a:cxn ang="0">
                    <a:pos x="21" y="26"/>
                  </a:cxn>
                  <a:cxn ang="0">
                    <a:pos x="14" y="22"/>
                  </a:cxn>
                  <a:cxn ang="0">
                    <a:pos x="7" y="20"/>
                  </a:cxn>
                  <a:cxn ang="0">
                    <a:pos x="2" y="15"/>
                  </a:cxn>
                  <a:cxn ang="0">
                    <a:pos x="0" y="12"/>
                  </a:cxn>
                  <a:cxn ang="0">
                    <a:pos x="2" y="3"/>
                  </a:cxn>
                  <a:cxn ang="0">
                    <a:pos x="10" y="0"/>
                  </a:cxn>
                  <a:cxn ang="0">
                    <a:pos x="12" y="0"/>
                  </a:cxn>
                  <a:cxn ang="0">
                    <a:pos x="14" y="0"/>
                  </a:cxn>
                </a:cxnLst>
                <a:rect l="0" t="0" r="r" b="b"/>
                <a:pathLst>
                  <a:path w="34" h="26">
                    <a:moveTo>
                      <a:pt x="14" y="0"/>
                    </a:moveTo>
                    <a:lnTo>
                      <a:pt x="17" y="2"/>
                    </a:lnTo>
                    <a:lnTo>
                      <a:pt x="24" y="5"/>
                    </a:lnTo>
                    <a:lnTo>
                      <a:pt x="26" y="7"/>
                    </a:lnTo>
                    <a:lnTo>
                      <a:pt x="31" y="5"/>
                    </a:lnTo>
                    <a:lnTo>
                      <a:pt x="33" y="7"/>
                    </a:lnTo>
                    <a:lnTo>
                      <a:pt x="34" y="10"/>
                    </a:lnTo>
                    <a:lnTo>
                      <a:pt x="29" y="19"/>
                    </a:lnTo>
                    <a:lnTo>
                      <a:pt x="21" y="26"/>
                    </a:lnTo>
                    <a:lnTo>
                      <a:pt x="14" y="22"/>
                    </a:lnTo>
                    <a:lnTo>
                      <a:pt x="7" y="20"/>
                    </a:lnTo>
                    <a:lnTo>
                      <a:pt x="2" y="15"/>
                    </a:lnTo>
                    <a:lnTo>
                      <a:pt x="0" y="12"/>
                    </a:lnTo>
                    <a:lnTo>
                      <a:pt x="2" y="3"/>
                    </a:lnTo>
                    <a:lnTo>
                      <a:pt x="10" y="0"/>
                    </a:lnTo>
                    <a:lnTo>
                      <a:pt x="12"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9" name="Freeform 289"/>
              <p:cNvSpPr>
                <a:spLocks/>
              </p:cNvSpPr>
              <p:nvPr/>
            </p:nvSpPr>
            <p:spPr bwMode="auto">
              <a:xfrm>
                <a:off x="2961482" y="5340350"/>
                <a:ext cx="38100" cy="23812"/>
              </a:xfrm>
              <a:custGeom>
                <a:avLst/>
                <a:gdLst/>
                <a:ahLst/>
                <a:cxnLst>
                  <a:cxn ang="0">
                    <a:pos x="5" y="3"/>
                  </a:cxn>
                  <a:cxn ang="0">
                    <a:pos x="8" y="1"/>
                  </a:cxn>
                  <a:cxn ang="0">
                    <a:pos x="14" y="0"/>
                  </a:cxn>
                  <a:cxn ang="0">
                    <a:pos x="19" y="0"/>
                  </a:cxn>
                  <a:cxn ang="0">
                    <a:pos x="24" y="0"/>
                  </a:cxn>
                  <a:cxn ang="0">
                    <a:pos x="24" y="1"/>
                  </a:cxn>
                  <a:cxn ang="0">
                    <a:pos x="24" y="3"/>
                  </a:cxn>
                  <a:cxn ang="0">
                    <a:pos x="19" y="8"/>
                  </a:cxn>
                  <a:cxn ang="0">
                    <a:pos x="10" y="10"/>
                  </a:cxn>
                  <a:cxn ang="0">
                    <a:pos x="7" y="13"/>
                  </a:cxn>
                  <a:cxn ang="0">
                    <a:pos x="3" y="15"/>
                  </a:cxn>
                  <a:cxn ang="0">
                    <a:pos x="2" y="15"/>
                  </a:cxn>
                  <a:cxn ang="0">
                    <a:pos x="0" y="15"/>
                  </a:cxn>
                  <a:cxn ang="0">
                    <a:pos x="0" y="10"/>
                  </a:cxn>
                  <a:cxn ang="0">
                    <a:pos x="2" y="6"/>
                  </a:cxn>
                  <a:cxn ang="0">
                    <a:pos x="5" y="3"/>
                  </a:cxn>
                </a:cxnLst>
                <a:rect l="0" t="0" r="r" b="b"/>
                <a:pathLst>
                  <a:path w="24" h="15">
                    <a:moveTo>
                      <a:pt x="5" y="3"/>
                    </a:moveTo>
                    <a:lnTo>
                      <a:pt x="8" y="1"/>
                    </a:lnTo>
                    <a:lnTo>
                      <a:pt x="14" y="0"/>
                    </a:lnTo>
                    <a:lnTo>
                      <a:pt x="19" y="0"/>
                    </a:lnTo>
                    <a:lnTo>
                      <a:pt x="24" y="0"/>
                    </a:lnTo>
                    <a:lnTo>
                      <a:pt x="24" y="1"/>
                    </a:lnTo>
                    <a:lnTo>
                      <a:pt x="24" y="3"/>
                    </a:lnTo>
                    <a:lnTo>
                      <a:pt x="19" y="8"/>
                    </a:lnTo>
                    <a:lnTo>
                      <a:pt x="10" y="10"/>
                    </a:lnTo>
                    <a:lnTo>
                      <a:pt x="7" y="13"/>
                    </a:lnTo>
                    <a:lnTo>
                      <a:pt x="3" y="15"/>
                    </a:lnTo>
                    <a:lnTo>
                      <a:pt x="2" y="15"/>
                    </a:lnTo>
                    <a:lnTo>
                      <a:pt x="0" y="15"/>
                    </a:lnTo>
                    <a:lnTo>
                      <a:pt x="0" y="10"/>
                    </a:lnTo>
                    <a:lnTo>
                      <a:pt x="2" y="6"/>
                    </a:lnTo>
                    <a:lnTo>
                      <a:pt x="5"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0" name="Freeform 290"/>
              <p:cNvSpPr>
                <a:spLocks/>
              </p:cNvSpPr>
              <p:nvPr/>
            </p:nvSpPr>
            <p:spPr bwMode="auto">
              <a:xfrm>
                <a:off x="2934494" y="5334000"/>
                <a:ext cx="31750" cy="26987"/>
              </a:xfrm>
              <a:custGeom>
                <a:avLst/>
                <a:gdLst/>
                <a:ahLst/>
                <a:cxnLst>
                  <a:cxn ang="0">
                    <a:pos x="7" y="5"/>
                  </a:cxn>
                  <a:cxn ang="0">
                    <a:pos x="3" y="2"/>
                  </a:cxn>
                  <a:cxn ang="0">
                    <a:pos x="3" y="0"/>
                  </a:cxn>
                  <a:cxn ang="0">
                    <a:pos x="12" y="0"/>
                  </a:cxn>
                  <a:cxn ang="0">
                    <a:pos x="20" y="0"/>
                  </a:cxn>
                  <a:cxn ang="0">
                    <a:pos x="20" y="2"/>
                  </a:cxn>
                  <a:cxn ang="0">
                    <a:pos x="20" y="5"/>
                  </a:cxn>
                  <a:cxn ang="0">
                    <a:pos x="10" y="10"/>
                  </a:cxn>
                  <a:cxn ang="0">
                    <a:pos x="1" y="17"/>
                  </a:cxn>
                  <a:cxn ang="0">
                    <a:pos x="0" y="16"/>
                  </a:cxn>
                  <a:cxn ang="0">
                    <a:pos x="3" y="10"/>
                  </a:cxn>
                  <a:cxn ang="0">
                    <a:pos x="7" y="5"/>
                  </a:cxn>
                </a:cxnLst>
                <a:rect l="0" t="0" r="r" b="b"/>
                <a:pathLst>
                  <a:path w="20" h="17">
                    <a:moveTo>
                      <a:pt x="7" y="5"/>
                    </a:moveTo>
                    <a:lnTo>
                      <a:pt x="3" y="2"/>
                    </a:lnTo>
                    <a:lnTo>
                      <a:pt x="3" y="0"/>
                    </a:lnTo>
                    <a:lnTo>
                      <a:pt x="12" y="0"/>
                    </a:lnTo>
                    <a:lnTo>
                      <a:pt x="20" y="0"/>
                    </a:lnTo>
                    <a:lnTo>
                      <a:pt x="20" y="2"/>
                    </a:lnTo>
                    <a:lnTo>
                      <a:pt x="20" y="5"/>
                    </a:lnTo>
                    <a:lnTo>
                      <a:pt x="10" y="10"/>
                    </a:lnTo>
                    <a:lnTo>
                      <a:pt x="1" y="17"/>
                    </a:lnTo>
                    <a:lnTo>
                      <a:pt x="0" y="16"/>
                    </a:lnTo>
                    <a:lnTo>
                      <a:pt x="3"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1" name="Freeform 291"/>
              <p:cNvSpPr>
                <a:spLocks/>
              </p:cNvSpPr>
              <p:nvPr/>
            </p:nvSpPr>
            <p:spPr bwMode="auto">
              <a:xfrm>
                <a:off x="2620169" y="5057775"/>
                <a:ext cx="19050" cy="47625"/>
              </a:xfrm>
              <a:custGeom>
                <a:avLst/>
                <a:gdLst/>
                <a:ahLst/>
                <a:cxnLst>
                  <a:cxn ang="0">
                    <a:pos x="0" y="16"/>
                  </a:cxn>
                  <a:cxn ang="0">
                    <a:pos x="0" y="13"/>
                  </a:cxn>
                  <a:cxn ang="0">
                    <a:pos x="2" y="7"/>
                  </a:cxn>
                  <a:cxn ang="0">
                    <a:pos x="2" y="2"/>
                  </a:cxn>
                  <a:cxn ang="0">
                    <a:pos x="5" y="0"/>
                  </a:cxn>
                  <a:cxn ang="0">
                    <a:pos x="10" y="2"/>
                  </a:cxn>
                  <a:cxn ang="0">
                    <a:pos x="12" y="9"/>
                  </a:cxn>
                  <a:cxn ang="0">
                    <a:pos x="10" y="13"/>
                  </a:cxn>
                  <a:cxn ang="0">
                    <a:pos x="10" y="14"/>
                  </a:cxn>
                  <a:cxn ang="0">
                    <a:pos x="10" y="30"/>
                  </a:cxn>
                  <a:cxn ang="0">
                    <a:pos x="5" y="30"/>
                  </a:cxn>
                  <a:cxn ang="0">
                    <a:pos x="0" y="26"/>
                  </a:cxn>
                  <a:cxn ang="0">
                    <a:pos x="0" y="23"/>
                  </a:cxn>
                  <a:cxn ang="0">
                    <a:pos x="0" y="18"/>
                  </a:cxn>
                  <a:cxn ang="0">
                    <a:pos x="0" y="16"/>
                  </a:cxn>
                </a:cxnLst>
                <a:rect l="0" t="0" r="r" b="b"/>
                <a:pathLst>
                  <a:path w="12" h="30">
                    <a:moveTo>
                      <a:pt x="0" y="16"/>
                    </a:moveTo>
                    <a:lnTo>
                      <a:pt x="0" y="13"/>
                    </a:lnTo>
                    <a:lnTo>
                      <a:pt x="2" y="7"/>
                    </a:lnTo>
                    <a:lnTo>
                      <a:pt x="2" y="2"/>
                    </a:lnTo>
                    <a:lnTo>
                      <a:pt x="5" y="0"/>
                    </a:lnTo>
                    <a:lnTo>
                      <a:pt x="10" y="2"/>
                    </a:lnTo>
                    <a:lnTo>
                      <a:pt x="12" y="9"/>
                    </a:lnTo>
                    <a:lnTo>
                      <a:pt x="10" y="13"/>
                    </a:lnTo>
                    <a:lnTo>
                      <a:pt x="10" y="14"/>
                    </a:lnTo>
                    <a:lnTo>
                      <a:pt x="10" y="30"/>
                    </a:lnTo>
                    <a:lnTo>
                      <a:pt x="5" y="30"/>
                    </a:lnTo>
                    <a:lnTo>
                      <a:pt x="0" y="26"/>
                    </a:lnTo>
                    <a:lnTo>
                      <a:pt x="0" y="23"/>
                    </a:lnTo>
                    <a:lnTo>
                      <a:pt x="0" y="18"/>
                    </a:lnTo>
                    <a:lnTo>
                      <a:pt x="0"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2" name="Freeform 292"/>
              <p:cNvSpPr>
                <a:spLocks/>
              </p:cNvSpPr>
              <p:nvPr/>
            </p:nvSpPr>
            <p:spPr bwMode="auto">
              <a:xfrm>
                <a:off x="2453482" y="3743325"/>
                <a:ext cx="1069975" cy="1722437"/>
              </a:xfrm>
              <a:custGeom>
                <a:avLst/>
                <a:gdLst/>
                <a:ahLst/>
                <a:cxnLst>
                  <a:cxn ang="0">
                    <a:pos x="52" y="79"/>
                  </a:cxn>
                  <a:cxn ang="0">
                    <a:pos x="65" y="55"/>
                  </a:cxn>
                  <a:cxn ang="0">
                    <a:pos x="86" y="22"/>
                  </a:cxn>
                  <a:cxn ang="0">
                    <a:pos x="143" y="0"/>
                  </a:cxn>
                  <a:cxn ang="0">
                    <a:pos x="139" y="41"/>
                  </a:cxn>
                  <a:cxn ang="0">
                    <a:pos x="158" y="13"/>
                  </a:cxn>
                  <a:cxn ang="0">
                    <a:pos x="191" y="22"/>
                  </a:cxn>
                  <a:cxn ang="0">
                    <a:pos x="234" y="32"/>
                  </a:cxn>
                  <a:cxn ang="0">
                    <a:pos x="272" y="24"/>
                  </a:cxn>
                  <a:cxn ang="0">
                    <a:pos x="313" y="56"/>
                  </a:cxn>
                  <a:cxn ang="0">
                    <a:pos x="344" y="87"/>
                  </a:cxn>
                  <a:cxn ang="0">
                    <a:pos x="409" y="101"/>
                  </a:cxn>
                  <a:cxn ang="0">
                    <a:pos x="442" y="134"/>
                  </a:cxn>
                  <a:cxn ang="0">
                    <a:pos x="437" y="177"/>
                  </a:cxn>
                  <a:cxn ang="0">
                    <a:pos x="463" y="208"/>
                  </a:cxn>
                  <a:cxn ang="0">
                    <a:pos x="507" y="192"/>
                  </a:cxn>
                  <a:cxn ang="0">
                    <a:pos x="538" y="218"/>
                  </a:cxn>
                  <a:cxn ang="0">
                    <a:pos x="616" y="227"/>
                  </a:cxn>
                  <a:cxn ang="0">
                    <a:pos x="671" y="261"/>
                  </a:cxn>
                  <a:cxn ang="0">
                    <a:pos x="642" y="345"/>
                  </a:cxn>
                  <a:cxn ang="0">
                    <a:pos x="614" y="395"/>
                  </a:cxn>
                  <a:cxn ang="0">
                    <a:pos x="604" y="447"/>
                  </a:cxn>
                  <a:cxn ang="0">
                    <a:pos x="571" y="510"/>
                  </a:cxn>
                  <a:cxn ang="0">
                    <a:pos x="509" y="533"/>
                  </a:cxn>
                  <a:cxn ang="0">
                    <a:pos x="475" y="602"/>
                  </a:cxn>
                  <a:cxn ang="0">
                    <a:pos x="433" y="655"/>
                  </a:cxn>
                  <a:cxn ang="0">
                    <a:pos x="368" y="706"/>
                  </a:cxn>
                  <a:cxn ang="0">
                    <a:pos x="342" y="710"/>
                  </a:cxn>
                  <a:cxn ang="0">
                    <a:pos x="349" y="758"/>
                  </a:cxn>
                  <a:cxn ang="0">
                    <a:pos x="282" y="777"/>
                  </a:cxn>
                  <a:cxn ang="0">
                    <a:pos x="277" y="811"/>
                  </a:cxn>
                  <a:cxn ang="0">
                    <a:pos x="237" y="822"/>
                  </a:cxn>
                  <a:cxn ang="0">
                    <a:pos x="260" y="839"/>
                  </a:cxn>
                  <a:cxn ang="0">
                    <a:pos x="237" y="861"/>
                  </a:cxn>
                  <a:cxn ang="0">
                    <a:pos x="217" y="918"/>
                  </a:cxn>
                  <a:cxn ang="0">
                    <a:pos x="205" y="961"/>
                  </a:cxn>
                  <a:cxn ang="0">
                    <a:pos x="186" y="1014"/>
                  </a:cxn>
                  <a:cxn ang="0">
                    <a:pos x="229" y="1068"/>
                  </a:cxn>
                  <a:cxn ang="0">
                    <a:pos x="201" y="1083"/>
                  </a:cxn>
                  <a:cxn ang="0">
                    <a:pos x="169" y="1071"/>
                  </a:cxn>
                  <a:cxn ang="0">
                    <a:pos x="132" y="1050"/>
                  </a:cxn>
                  <a:cxn ang="0">
                    <a:pos x="107" y="1026"/>
                  </a:cxn>
                  <a:cxn ang="0">
                    <a:pos x="105" y="1000"/>
                  </a:cxn>
                  <a:cxn ang="0">
                    <a:pos x="91" y="954"/>
                  </a:cxn>
                  <a:cxn ang="0">
                    <a:pos x="96" y="904"/>
                  </a:cxn>
                  <a:cxn ang="0">
                    <a:pos x="127" y="823"/>
                  </a:cxn>
                  <a:cxn ang="0">
                    <a:pos x="115" y="789"/>
                  </a:cxn>
                  <a:cxn ang="0">
                    <a:pos x="115" y="767"/>
                  </a:cxn>
                  <a:cxn ang="0">
                    <a:pos x="138" y="715"/>
                  </a:cxn>
                  <a:cxn ang="0">
                    <a:pos x="151" y="595"/>
                  </a:cxn>
                  <a:cxn ang="0">
                    <a:pos x="162" y="538"/>
                  </a:cxn>
                  <a:cxn ang="0">
                    <a:pos x="165" y="498"/>
                  </a:cxn>
                  <a:cxn ang="0">
                    <a:pos x="129" y="428"/>
                  </a:cxn>
                  <a:cxn ang="0">
                    <a:pos x="74" y="393"/>
                  </a:cxn>
                  <a:cxn ang="0">
                    <a:pos x="40" y="311"/>
                  </a:cxn>
                  <a:cxn ang="0">
                    <a:pos x="14" y="277"/>
                  </a:cxn>
                  <a:cxn ang="0">
                    <a:pos x="17" y="216"/>
                  </a:cxn>
                  <a:cxn ang="0">
                    <a:pos x="17" y="170"/>
                  </a:cxn>
                  <a:cxn ang="0">
                    <a:pos x="55" y="132"/>
                  </a:cxn>
                </a:cxnLst>
                <a:rect l="0" t="0" r="r" b="b"/>
                <a:pathLst>
                  <a:path w="674" h="1085">
                    <a:moveTo>
                      <a:pt x="57" y="118"/>
                    </a:moveTo>
                    <a:lnTo>
                      <a:pt x="57" y="115"/>
                    </a:lnTo>
                    <a:lnTo>
                      <a:pt x="55" y="108"/>
                    </a:lnTo>
                    <a:lnTo>
                      <a:pt x="53" y="103"/>
                    </a:lnTo>
                    <a:lnTo>
                      <a:pt x="55" y="96"/>
                    </a:lnTo>
                    <a:lnTo>
                      <a:pt x="57" y="91"/>
                    </a:lnTo>
                    <a:lnTo>
                      <a:pt x="52" y="79"/>
                    </a:lnTo>
                    <a:lnTo>
                      <a:pt x="48" y="72"/>
                    </a:lnTo>
                    <a:lnTo>
                      <a:pt x="53" y="63"/>
                    </a:lnTo>
                    <a:lnTo>
                      <a:pt x="60" y="58"/>
                    </a:lnTo>
                    <a:lnTo>
                      <a:pt x="62" y="58"/>
                    </a:lnTo>
                    <a:lnTo>
                      <a:pt x="65" y="58"/>
                    </a:lnTo>
                    <a:lnTo>
                      <a:pt x="65" y="56"/>
                    </a:lnTo>
                    <a:lnTo>
                      <a:pt x="65" y="55"/>
                    </a:lnTo>
                    <a:lnTo>
                      <a:pt x="67" y="53"/>
                    </a:lnTo>
                    <a:lnTo>
                      <a:pt x="69" y="53"/>
                    </a:lnTo>
                    <a:lnTo>
                      <a:pt x="71" y="46"/>
                    </a:lnTo>
                    <a:lnTo>
                      <a:pt x="77" y="43"/>
                    </a:lnTo>
                    <a:lnTo>
                      <a:pt x="79" y="36"/>
                    </a:lnTo>
                    <a:lnTo>
                      <a:pt x="83" y="31"/>
                    </a:lnTo>
                    <a:lnTo>
                      <a:pt x="86" y="22"/>
                    </a:lnTo>
                    <a:lnTo>
                      <a:pt x="96" y="19"/>
                    </a:lnTo>
                    <a:lnTo>
                      <a:pt x="103" y="15"/>
                    </a:lnTo>
                    <a:lnTo>
                      <a:pt x="112" y="13"/>
                    </a:lnTo>
                    <a:lnTo>
                      <a:pt x="119" y="10"/>
                    </a:lnTo>
                    <a:lnTo>
                      <a:pt x="129" y="8"/>
                    </a:lnTo>
                    <a:lnTo>
                      <a:pt x="136" y="3"/>
                    </a:lnTo>
                    <a:lnTo>
                      <a:pt x="143" y="0"/>
                    </a:lnTo>
                    <a:lnTo>
                      <a:pt x="146" y="1"/>
                    </a:lnTo>
                    <a:lnTo>
                      <a:pt x="148" y="5"/>
                    </a:lnTo>
                    <a:lnTo>
                      <a:pt x="144" y="10"/>
                    </a:lnTo>
                    <a:lnTo>
                      <a:pt x="143" y="12"/>
                    </a:lnTo>
                    <a:lnTo>
                      <a:pt x="139" y="22"/>
                    </a:lnTo>
                    <a:lnTo>
                      <a:pt x="138" y="32"/>
                    </a:lnTo>
                    <a:lnTo>
                      <a:pt x="139" y="41"/>
                    </a:lnTo>
                    <a:lnTo>
                      <a:pt x="146" y="48"/>
                    </a:lnTo>
                    <a:lnTo>
                      <a:pt x="148" y="43"/>
                    </a:lnTo>
                    <a:lnTo>
                      <a:pt x="151" y="39"/>
                    </a:lnTo>
                    <a:lnTo>
                      <a:pt x="148" y="31"/>
                    </a:lnTo>
                    <a:lnTo>
                      <a:pt x="144" y="24"/>
                    </a:lnTo>
                    <a:lnTo>
                      <a:pt x="148" y="15"/>
                    </a:lnTo>
                    <a:lnTo>
                      <a:pt x="158" y="13"/>
                    </a:lnTo>
                    <a:lnTo>
                      <a:pt x="170" y="13"/>
                    </a:lnTo>
                    <a:lnTo>
                      <a:pt x="163" y="8"/>
                    </a:lnTo>
                    <a:lnTo>
                      <a:pt x="160" y="5"/>
                    </a:lnTo>
                    <a:lnTo>
                      <a:pt x="170" y="5"/>
                    </a:lnTo>
                    <a:lnTo>
                      <a:pt x="177" y="13"/>
                    </a:lnTo>
                    <a:lnTo>
                      <a:pt x="191" y="17"/>
                    </a:lnTo>
                    <a:lnTo>
                      <a:pt x="191" y="22"/>
                    </a:lnTo>
                    <a:lnTo>
                      <a:pt x="196" y="25"/>
                    </a:lnTo>
                    <a:lnTo>
                      <a:pt x="203" y="25"/>
                    </a:lnTo>
                    <a:lnTo>
                      <a:pt x="212" y="25"/>
                    </a:lnTo>
                    <a:lnTo>
                      <a:pt x="218" y="25"/>
                    </a:lnTo>
                    <a:lnTo>
                      <a:pt x="224" y="25"/>
                    </a:lnTo>
                    <a:lnTo>
                      <a:pt x="227" y="31"/>
                    </a:lnTo>
                    <a:lnTo>
                      <a:pt x="234" y="32"/>
                    </a:lnTo>
                    <a:lnTo>
                      <a:pt x="244" y="29"/>
                    </a:lnTo>
                    <a:lnTo>
                      <a:pt x="249" y="25"/>
                    </a:lnTo>
                    <a:lnTo>
                      <a:pt x="256" y="24"/>
                    </a:lnTo>
                    <a:lnTo>
                      <a:pt x="263" y="22"/>
                    </a:lnTo>
                    <a:lnTo>
                      <a:pt x="272" y="22"/>
                    </a:lnTo>
                    <a:lnTo>
                      <a:pt x="277" y="24"/>
                    </a:lnTo>
                    <a:lnTo>
                      <a:pt x="272" y="24"/>
                    </a:lnTo>
                    <a:lnTo>
                      <a:pt x="268" y="25"/>
                    </a:lnTo>
                    <a:lnTo>
                      <a:pt x="268" y="29"/>
                    </a:lnTo>
                    <a:lnTo>
                      <a:pt x="279" y="36"/>
                    </a:lnTo>
                    <a:lnTo>
                      <a:pt x="291" y="39"/>
                    </a:lnTo>
                    <a:lnTo>
                      <a:pt x="296" y="46"/>
                    </a:lnTo>
                    <a:lnTo>
                      <a:pt x="298" y="56"/>
                    </a:lnTo>
                    <a:lnTo>
                      <a:pt x="313" y="56"/>
                    </a:lnTo>
                    <a:lnTo>
                      <a:pt x="318" y="60"/>
                    </a:lnTo>
                    <a:lnTo>
                      <a:pt x="323" y="63"/>
                    </a:lnTo>
                    <a:lnTo>
                      <a:pt x="327" y="68"/>
                    </a:lnTo>
                    <a:lnTo>
                      <a:pt x="332" y="77"/>
                    </a:lnTo>
                    <a:lnTo>
                      <a:pt x="335" y="79"/>
                    </a:lnTo>
                    <a:lnTo>
                      <a:pt x="341" y="81"/>
                    </a:lnTo>
                    <a:lnTo>
                      <a:pt x="344" y="87"/>
                    </a:lnTo>
                    <a:lnTo>
                      <a:pt x="354" y="91"/>
                    </a:lnTo>
                    <a:lnTo>
                      <a:pt x="366" y="93"/>
                    </a:lnTo>
                    <a:lnTo>
                      <a:pt x="378" y="94"/>
                    </a:lnTo>
                    <a:lnTo>
                      <a:pt x="392" y="94"/>
                    </a:lnTo>
                    <a:lnTo>
                      <a:pt x="399" y="98"/>
                    </a:lnTo>
                    <a:lnTo>
                      <a:pt x="409" y="101"/>
                    </a:lnTo>
                    <a:lnTo>
                      <a:pt x="409" y="101"/>
                    </a:lnTo>
                    <a:lnTo>
                      <a:pt x="411" y="101"/>
                    </a:lnTo>
                    <a:lnTo>
                      <a:pt x="416" y="103"/>
                    </a:lnTo>
                    <a:lnTo>
                      <a:pt x="425" y="110"/>
                    </a:lnTo>
                    <a:lnTo>
                      <a:pt x="430" y="115"/>
                    </a:lnTo>
                    <a:lnTo>
                      <a:pt x="439" y="120"/>
                    </a:lnTo>
                    <a:lnTo>
                      <a:pt x="439" y="125"/>
                    </a:lnTo>
                    <a:lnTo>
                      <a:pt x="442" y="134"/>
                    </a:lnTo>
                    <a:lnTo>
                      <a:pt x="445" y="141"/>
                    </a:lnTo>
                    <a:lnTo>
                      <a:pt x="449" y="149"/>
                    </a:lnTo>
                    <a:lnTo>
                      <a:pt x="452" y="153"/>
                    </a:lnTo>
                    <a:lnTo>
                      <a:pt x="457" y="158"/>
                    </a:lnTo>
                    <a:lnTo>
                      <a:pt x="449" y="163"/>
                    </a:lnTo>
                    <a:lnTo>
                      <a:pt x="442" y="170"/>
                    </a:lnTo>
                    <a:lnTo>
                      <a:pt x="437" y="177"/>
                    </a:lnTo>
                    <a:lnTo>
                      <a:pt x="435" y="189"/>
                    </a:lnTo>
                    <a:lnTo>
                      <a:pt x="437" y="192"/>
                    </a:lnTo>
                    <a:lnTo>
                      <a:pt x="442" y="194"/>
                    </a:lnTo>
                    <a:lnTo>
                      <a:pt x="447" y="199"/>
                    </a:lnTo>
                    <a:lnTo>
                      <a:pt x="451" y="206"/>
                    </a:lnTo>
                    <a:lnTo>
                      <a:pt x="463" y="206"/>
                    </a:lnTo>
                    <a:lnTo>
                      <a:pt x="463" y="208"/>
                    </a:lnTo>
                    <a:lnTo>
                      <a:pt x="464" y="211"/>
                    </a:lnTo>
                    <a:lnTo>
                      <a:pt x="468" y="208"/>
                    </a:lnTo>
                    <a:lnTo>
                      <a:pt x="471" y="206"/>
                    </a:lnTo>
                    <a:lnTo>
                      <a:pt x="478" y="192"/>
                    </a:lnTo>
                    <a:lnTo>
                      <a:pt x="490" y="187"/>
                    </a:lnTo>
                    <a:lnTo>
                      <a:pt x="497" y="187"/>
                    </a:lnTo>
                    <a:lnTo>
                      <a:pt x="507" y="192"/>
                    </a:lnTo>
                    <a:lnTo>
                      <a:pt x="516" y="196"/>
                    </a:lnTo>
                    <a:lnTo>
                      <a:pt x="525" y="201"/>
                    </a:lnTo>
                    <a:lnTo>
                      <a:pt x="530" y="203"/>
                    </a:lnTo>
                    <a:lnTo>
                      <a:pt x="533" y="206"/>
                    </a:lnTo>
                    <a:lnTo>
                      <a:pt x="533" y="211"/>
                    </a:lnTo>
                    <a:lnTo>
                      <a:pt x="535" y="218"/>
                    </a:lnTo>
                    <a:lnTo>
                      <a:pt x="538" y="218"/>
                    </a:lnTo>
                    <a:lnTo>
                      <a:pt x="543" y="215"/>
                    </a:lnTo>
                    <a:lnTo>
                      <a:pt x="549" y="213"/>
                    </a:lnTo>
                    <a:lnTo>
                      <a:pt x="561" y="216"/>
                    </a:lnTo>
                    <a:lnTo>
                      <a:pt x="573" y="222"/>
                    </a:lnTo>
                    <a:lnTo>
                      <a:pt x="592" y="218"/>
                    </a:lnTo>
                    <a:lnTo>
                      <a:pt x="604" y="222"/>
                    </a:lnTo>
                    <a:lnTo>
                      <a:pt x="616" y="227"/>
                    </a:lnTo>
                    <a:lnTo>
                      <a:pt x="619" y="232"/>
                    </a:lnTo>
                    <a:lnTo>
                      <a:pt x="626" y="240"/>
                    </a:lnTo>
                    <a:lnTo>
                      <a:pt x="635" y="246"/>
                    </a:lnTo>
                    <a:lnTo>
                      <a:pt x="643" y="251"/>
                    </a:lnTo>
                    <a:lnTo>
                      <a:pt x="652" y="251"/>
                    </a:lnTo>
                    <a:lnTo>
                      <a:pt x="662" y="252"/>
                    </a:lnTo>
                    <a:lnTo>
                      <a:pt x="671" y="261"/>
                    </a:lnTo>
                    <a:lnTo>
                      <a:pt x="674" y="277"/>
                    </a:lnTo>
                    <a:lnTo>
                      <a:pt x="672" y="289"/>
                    </a:lnTo>
                    <a:lnTo>
                      <a:pt x="671" y="299"/>
                    </a:lnTo>
                    <a:lnTo>
                      <a:pt x="666" y="307"/>
                    </a:lnTo>
                    <a:lnTo>
                      <a:pt x="662" y="316"/>
                    </a:lnTo>
                    <a:lnTo>
                      <a:pt x="652" y="330"/>
                    </a:lnTo>
                    <a:lnTo>
                      <a:pt x="642" y="345"/>
                    </a:lnTo>
                    <a:lnTo>
                      <a:pt x="636" y="349"/>
                    </a:lnTo>
                    <a:lnTo>
                      <a:pt x="633" y="356"/>
                    </a:lnTo>
                    <a:lnTo>
                      <a:pt x="624" y="363"/>
                    </a:lnTo>
                    <a:lnTo>
                      <a:pt x="617" y="369"/>
                    </a:lnTo>
                    <a:lnTo>
                      <a:pt x="612" y="375"/>
                    </a:lnTo>
                    <a:lnTo>
                      <a:pt x="612" y="385"/>
                    </a:lnTo>
                    <a:lnTo>
                      <a:pt x="614" y="395"/>
                    </a:lnTo>
                    <a:lnTo>
                      <a:pt x="616" y="405"/>
                    </a:lnTo>
                    <a:lnTo>
                      <a:pt x="614" y="418"/>
                    </a:lnTo>
                    <a:lnTo>
                      <a:pt x="614" y="430"/>
                    </a:lnTo>
                    <a:lnTo>
                      <a:pt x="612" y="431"/>
                    </a:lnTo>
                    <a:lnTo>
                      <a:pt x="611" y="435"/>
                    </a:lnTo>
                    <a:lnTo>
                      <a:pt x="605" y="440"/>
                    </a:lnTo>
                    <a:lnTo>
                      <a:pt x="604" y="447"/>
                    </a:lnTo>
                    <a:lnTo>
                      <a:pt x="602" y="455"/>
                    </a:lnTo>
                    <a:lnTo>
                      <a:pt x="602" y="464"/>
                    </a:lnTo>
                    <a:lnTo>
                      <a:pt x="592" y="478"/>
                    </a:lnTo>
                    <a:lnTo>
                      <a:pt x="583" y="491"/>
                    </a:lnTo>
                    <a:lnTo>
                      <a:pt x="581" y="497"/>
                    </a:lnTo>
                    <a:lnTo>
                      <a:pt x="581" y="502"/>
                    </a:lnTo>
                    <a:lnTo>
                      <a:pt x="571" y="510"/>
                    </a:lnTo>
                    <a:lnTo>
                      <a:pt x="559" y="516"/>
                    </a:lnTo>
                    <a:lnTo>
                      <a:pt x="545" y="516"/>
                    </a:lnTo>
                    <a:lnTo>
                      <a:pt x="535" y="519"/>
                    </a:lnTo>
                    <a:lnTo>
                      <a:pt x="530" y="521"/>
                    </a:lnTo>
                    <a:lnTo>
                      <a:pt x="528" y="524"/>
                    </a:lnTo>
                    <a:lnTo>
                      <a:pt x="518" y="529"/>
                    </a:lnTo>
                    <a:lnTo>
                      <a:pt x="509" y="533"/>
                    </a:lnTo>
                    <a:lnTo>
                      <a:pt x="500" y="534"/>
                    </a:lnTo>
                    <a:lnTo>
                      <a:pt x="495" y="543"/>
                    </a:lnTo>
                    <a:lnTo>
                      <a:pt x="487" y="548"/>
                    </a:lnTo>
                    <a:lnTo>
                      <a:pt x="480" y="553"/>
                    </a:lnTo>
                    <a:lnTo>
                      <a:pt x="475" y="564"/>
                    </a:lnTo>
                    <a:lnTo>
                      <a:pt x="475" y="577"/>
                    </a:lnTo>
                    <a:lnTo>
                      <a:pt x="475" y="602"/>
                    </a:lnTo>
                    <a:lnTo>
                      <a:pt x="461" y="610"/>
                    </a:lnTo>
                    <a:lnTo>
                      <a:pt x="454" y="626"/>
                    </a:lnTo>
                    <a:lnTo>
                      <a:pt x="454" y="626"/>
                    </a:lnTo>
                    <a:lnTo>
                      <a:pt x="451" y="632"/>
                    </a:lnTo>
                    <a:lnTo>
                      <a:pt x="447" y="641"/>
                    </a:lnTo>
                    <a:lnTo>
                      <a:pt x="439" y="648"/>
                    </a:lnTo>
                    <a:lnTo>
                      <a:pt x="433" y="655"/>
                    </a:lnTo>
                    <a:lnTo>
                      <a:pt x="425" y="660"/>
                    </a:lnTo>
                    <a:lnTo>
                      <a:pt x="420" y="670"/>
                    </a:lnTo>
                    <a:lnTo>
                      <a:pt x="413" y="682"/>
                    </a:lnTo>
                    <a:lnTo>
                      <a:pt x="406" y="694"/>
                    </a:lnTo>
                    <a:lnTo>
                      <a:pt x="396" y="705"/>
                    </a:lnTo>
                    <a:lnTo>
                      <a:pt x="382" y="710"/>
                    </a:lnTo>
                    <a:lnTo>
                      <a:pt x="368" y="706"/>
                    </a:lnTo>
                    <a:lnTo>
                      <a:pt x="359" y="705"/>
                    </a:lnTo>
                    <a:lnTo>
                      <a:pt x="347" y="701"/>
                    </a:lnTo>
                    <a:lnTo>
                      <a:pt x="337" y="700"/>
                    </a:lnTo>
                    <a:lnTo>
                      <a:pt x="334" y="700"/>
                    </a:lnTo>
                    <a:lnTo>
                      <a:pt x="334" y="701"/>
                    </a:lnTo>
                    <a:lnTo>
                      <a:pt x="337" y="706"/>
                    </a:lnTo>
                    <a:lnTo>
                      <a:pt x="342" y="710"/>
                    </a:lnTo>
                    <a:lnTo>
                      <a:pt x="346" y="717"/>
                    </a:lnTo>
                    <a:lnTo>
                      <a:pt x="349" y="725"/>
                    </a:lnTo>
                    <a:lnTo>
                      <a:pt x="353" y="730"/>
                    </a:lnTo>
                    <a:lnTo>
                      <a:pt x="358" y="737"/>
                    </a:lnTo>
                    <a:lnTo>
                      <a:pt x="356" y="744"/>
                    </a:lnTo>
                    <a:lnTo>
                      <a:pt x="356" y="751"/>
                    </a:lnTo>
                    <a:lnTo>
                      <a:pt x="349" y="758"/>
                    </a:lnTo>
                    <a:lnTo>
                      <a:pt x="342" y="767"/>
                    </a:lnTo>
                    <a:lnTo>
                      <a:pt x="327" y="772"/>
                    </a:lnTo>
                    <a:lnTo>
                      <a:pt x="311" y="777"/>
                    </a:lnTo>
                    <a:lnTo>
                      <a:pt x="303" y="775"/>
                    </a:lnTo>
                    <a:lnTo>
                      <a:pt x="294" y="775"/>
                    </a:lnTo>
                    <a:lnTo>
                      <a:pt x="286" y="775"/>
                    </a:lnTo>
                    <a:lnTo>
                      <a:pt x="282" y="777"/>
                    </a:lnTo>
                    <a:lnTo>
                      <a:pt x="277" y="782"/>
                    </a:lnTo>
                    <a:lnTo>
                      <a:pt x="277" y="791"/>
                    </a:lnTo>
                    <a:lnTo>
                      <a:pt x="277" y="798"/>
                    </a:lnTo>
                    <a:lnTo>
                      <a:pt x="277" y="806"/>
                    </a:lnTo>
                    <a:lnTo>
                      <a:pt x="277" y="806"/>
                    </a:lnTo>
                    <a:lnTo>
                      <a:pt x="277" y="808"/>
                    </a:lnTo>
                    <a:lnTo>
                      <a:pt x="277" y="811"/>
                    </a:lnTo>
                    <a:lnTo>
                      <a:pt x="272" y="815"/>
                    </a:lnTo>
                    <a:lnTo>
                      <a:pt x="265" y="818"/>
                    </a:lnTo>
                    <a:lnTo>
                      <a:pt x="253" y="815"/>
                    </a:lnTo>
                    <a:lnTo>
                      <a:pt x="243" y="811"/>
                    </a:lnTo>
                    <a:lnTo>
                      <a:pt x="237" y="813"/>
                    </a:lnTo>
                    <a:lnTo>
                      <a:pt x="237" y="816"/>
                    </a:lnTo>
                    <a:lnTo>
                      <a:pt x="237" y="822"/>
                    </a:lnTo>
                    <a:lnTo>
                      <a:pt x="239" y="828"/>
                    </a:lnTo>
                    <a:lnTo>
                      <a:pt x="243" y="834"/>
                    </a:lnTo>
                    <a:lnTo>
                      <a:pt x="248" y="837"/>
                    </a:lnTo>
                    <a:lnTo>
                      <a:pt x="251" y="835"/>
                    </a:lnTo>
                    <a:lnTo>
                      <a:pt x="255" y="834"/>
                    </a:lnTo>
                    <a:lnTo>
                      <a:pt x="256" y="835"/>
                    </a:lnTo>
                    <a:lnTo>
                      <a:pt x="260" y="839"/>
                    </a:lnTo>
                    <a:lnTo>
                      <a:pt x="256" y="842"/>
                    </a:lnTo>
                    <a:lnTo>
                      <a:pt x="255" y="846"/>
                    </a:lnTo>
                    <a:lnTo>
                      <a:pt x="246" y="842"/>
                    </a:lnTo>
                    <a:lnTo>
                      <a:pt x="241" y="841"/>
                    </a:lnTo>
                    <a:lnTo>
                      <a:pt x="243" y="846"/>
                    </a:lnTo>
                    <a:lnTo>
                      <a:pt x="248" y="847"/>
                    </a:lnTo>
                    <a:lnTo>
                      <a:pt x="237" y="861"/>
                    </a:lnTo>
                    <a:lnTo>
                      <a:pt x="234" y="878"/>
                    </a:lnTo>
                    <a:lnTo>
                      <a:pt x="227" y="884"/>
                    </a:lnTo>
                    <a:lnTo>
                      <a:pt x="220" y="885"/>
                    </a:lnTo>
                    <a:lnTo>
                      <a:pt x="210" y="890"/>
                    </a:lnTo>
                    <a:lnTo>
                      <a:pt x="206" y="904"/>
                    </a:lnTo>
                    <a:lnTo>
                      <a:pt x="208" y="913"/>
                    </a:lnTo>
                    <a:lnTo>
                      <a:pt x="217" y="918"/>
                    </a:lnTo>
                    <a:lnTo>
                      <a:pt x="224" y="921"/>
                    </a:lnTo>
                    <a:lnTo>
                      <a:pt x="229" y="932"/>
                    </a:lnTo>
                    <a:lnTo>
                      <a:pt x="225" y="939"/>
                    </a:lnTo>
                    <a:lnTo>
                      <a:pt x="220" y="945"/>
                    </a:lnTo>
                    <a:lnTo>
                      <a:pt x="213" y="949"/>
                    </a:lnTo>
                    <a:lnTo>
                      <a:pt x="208" y="954"/>
                    </a:lnTo>
                    <a:lnTo>
                      <a:pt x="205" y="961"/>
                    </a:lnTo>
                    <a:lnTo>
                      <a:pt x="203" y="971"/>
                    </a:lnTo>
                    <a:lnTo>
                      <a:pt x="194" y="976"/>
                    </a:lnTo>
                    <a:lnTo>
                      <a:pt x="187" y="980"/>
                    </a:lnTo>
                    <a:lnTo>
                      <a:pt x="181" y="990"/>
                    </a:lnTo>
                    <a:lnTo>
                      <a:pt x="179" y="1004"/>
                    </a:lnTo>
                    <a:lnTo>
                      <a:pt x="181" y="1009"/>
                    </a:lnTo>
                    <a:lnTo>
                      <a:pt x="186" y="1014"/>
                    </a:lnTo>
                    <a:lnTo>
                      <a:pt x="189" y="1019"/>
                    </a:lnTo>
                    <a:lnTo>
                      <a:pt x="193" y="1031"/>
                    </a:lnTo>
                    <a:lnTo>
                      <a:pt x="196" y="1042"/>
                    </a:lnTo>
                    <a:lnTo>
                      <a:pt x="201" y="1050"/>
                    </a:lnTo>
                    <a:lnTo>
                      <a:pt x="208" y="1055"/>
                    </a:lnTo>
                    <a:lnTo>
                      <a:pt x="218" y="1062"/>
                    </a:lnTo>
                    <a:lnTo>
                      <a:pt x="229" y="1068"/>
                    </a:lnTo>
                    <a:lnTo>
                      <a:pt x="239" y="1073"/>
                    </a:lnTo>
                    <a:lnTo>
                      <a:pt x="236" y="1073"/>
                    </a:lnTo>
                    <a:lnTo>
                      <a:pt x="232" y="1073"/>
                    </a:lnTo>
                    <a:lnTo>
                      <a:pt x="217" y="1078"/>
                    </a:lnTo>
                    <a:lnTo>
                      <a:pt x="206" y="1083"/>
                    </a:lnTo>
                    <a:lnTo>
                      <a:pt x="203" y="1083"/>
                    </a:lnTo>
                    <a:lnTo>
                      <a:pt x="201" y="1083"/>
                    </a:lnTo>
                    <a:lnTo>
                      <a:pt x="198" y="1083"/>
                    </a:lnTo>
                    <a:lnTo>
                      <a:pt x="196" y="1085"/>
                    </a:lnTo>
                    <a:lnTo>
                      <a:pt x="189" y="1085"/>
                    </a:lnTo>
                    <a:lnTo>
                      <a:pt x="182" y="1085"/>
                    </a:lnTo>
                    <a:lnTo>
                      <a:pt x="174" y="1081"/>
                    </a:lnTo>
                    <a:lnTo>
                      <a:pt x="172" y="1076"/>
                    </a:lnTo>
                    <a:lnTo>
                      <a:pt x="169" y="1071"/>
                    </a:lnTo>
                    <a:lnTo>
                      <a:pt x="167" y="1069"/>
                    </a:lnTo>
                    <a:lnTo>
                      <a:pt x="153" y="1064"/>
                    </a:lnTo>
                    <a:lnTo>
                      <a:pt x="148" y="1057"/>
                    </a:lnTo>
                    <a:lnTo>
                      <a:pt x="141" y="1057"/>
                    </a:lnTo>
                    <a:lnTo>
                      <a:pt x="138" y="1057"/>
                    </a:lnTo>
                    <a:lnTo>
                      <a:pt x="132" y="1054"/>
                    </a:lnTo>
                    <a:lnTo>
                      <a:pt x="132" y="1050"/>
                    </a:lnTo>
                    <a:lnTo>
                      <a:pt x="120" y="1049"/>
                    </a:lnTo>
                    <a:lnTo>
                      <a:pt x="115" y="1045"/>
                    </a:lnTo>
                    <a:lnTo>
                      <a:pt x="110" y="1040"/>
                    </a:lnTo>
                    <a:lnTo>
                      <a:pt x="107" y="1037"/>
                    </a:lnTo>
                    <a:lnTo>
                      <a:pt x="105" y="1033"/>
                    </a:lnTo>
                    <a:lnTo>
                      <a:pt x="103" y="1031"/>
                    </a:lnTo>
                    <a:lnTo>
                      <a:pt x="107" y="1026"/>
                    </a:lnTo>
                    <a:lnTo>
                      <a:pt x="112" y="1023"/>
                    </a:lnTo>
                    <a:lnTo>
                      <a:pt x="110" y="1021"/>
                    </a:lnTo>
                    <a:lnTo>
                      <a:pt x="108" y="1021"/>
                    </a:lnTo>
                    <a:lnTo>
                      <a:pt x="110" y="1016"/>
                    </a:lnTo>
                    <a:lnTo>
                      <a:pt x="112" y="1012"/>
                    </a:lnTo>
                    <a:lnTo>
                      <a:pt x="108" y="1004"/>
                    </a:lnTo>
                    <a:lnTo>
                      <a:pt x="105" y="1000"/>
                    </a:lnTo>
                    <a:lnTo>
                      <a:pt x="100" y="997"/>
                    </a:lnTo>
                    <a:lnTo>
                      <a:pt x="98" y="992"/>
                    </a:lnTo>
                    <a:lnTo>
                      <a:pt x="98" y="987"/>
                    </a:lnTo>
                    <a:lnTo>
                      <a:pt x="98" y="985"/>
                    </a:lnTo>
                    <a:lnTo>
                      <a:pt x="96" y="975"/>
                    </a:lnTo>
                    <a:lnTo>
                      <a:pt x="95" y="964"/>
                    </a:lnTo>
                    <a:lnTo>
                      <a:pt x="91" y="954"/>
                    </a:lnTo>
                    <a:lnTo>
                      <a:pt x="91" y="947"/>
                    </a:lnTo>
                    <a:lnTo>
                      <a:pt x="96" y="937"/>
                    </a:lnTo>
                    <a:lnTo>
                      <a:pt x="101" y="927"/>
                    </a:lnTo>
                    <a:lnTo>
                      <a:pt x="98" y="916"/>
                    </a:lnTo>
                    <a:lnTo>
                      <a:pt x="95" y="908"/>
                    </a:lnTo>
                    <a:lnTo>
                      <a:pt x="95" y="904"/>
                    </a:lnTo>
                    <a:lnTo>
                      <a:pt x="96" y="904"/>
                    </a:lnTo>
                    <a:lnTo>
                      <a:pt x="96" y="899"/>
                    </a:lnTo>
                    <a:lnTo>
                      <a:pt x="100" y="897"/>
                    </a:lnTo>
                    <a:lnTo>
                      <a:pt x="107" y="902"/>
                    </a:lnTo>
                    <a:lnTo>
                      <a:pt x="114" y="908"/>
                    </a:lnTo>
                    <a:lnTo>
                      <a:pt x="131" y="832"/>
                    </a:lnTo>
                    <a:lnTo>
                      <a:pt x="131" y="825"/>
                    </a:lnTo>
                    <a:lnTo>
                      <a:pt x="127" y="823"/>
                    </a:lnTo>
                    <a:lnTo>
                      <a:pt x="126" y="825"/>
                    </a:lnTo>
                    <a:lnTo>
                      <a:pt x="120" y="827"/>
                    </a:lnTo>
                    <a:lnTo>
                      <a:pt x="117" y="830"/>
                    </a:lnTo>
                    <a:lnTo>
                      <a:pt x="112" y="823"/>
                    </a:lnTo>
                    <a:lnTo>
                      <a:pt x="110" y="813"/>
                    </a:lnTo>
                    <a:lnTo>
                      <a:pt x="112" y="801"/>
                    </a:lnTo>
                    <a:lnTo>
                      <a:pt x="115" y="789"/>
                    </a:lnTo>
                    <a:lnTo>
                      <a:pt x="119" y="787"/>
                    </a:lnTo>
                    <a:lnTo>
                      <a:pt x="120" y="787"/>
                    </a:lnTo>
                    <a:lnTo>
                      <a:pt x="119" y="782"/>
                    </a:lnTo>
                    <a:lnTo>
                      <a:pt x="117" y="780"/>
                    </a:lnTo>
                    <a:lnTo>
                      <a:pt x="115" y="777"/>
                    </a:lnTo>
                    <a:lnTo>
                      <a:pt x="115" y="772"/>
                    </a:lnTo>
                    <a:lnTo>
                      <a:pt x="115" y="767"/>
                    </a:lnTo>
                    <a:lnTo>
                      <a:pt x="115" y="763"/>
                    </a:lnTo>
                    <a:lnTo>
                      <a:pt x="119" y="744"/>
                    </a:lnTo>
                    <a:lnTo>
                      <a:pt x="127" y="732"/>
                    </a:lnTo>
                    <a:lnTo>
                      <a:pt x="129" y="725"/>
                    </a:lnTo>
                    <a:lnTo>
                      <a:pt x="132" y="718"/>
                    </a:lnTo>
                    <a:lnTo>
                      <a:pt x="134" y="717"/>
                    </a:lnTo>
                    <a:lnTo>
                      <a:pt x="138" y="715"/>
                    </a:lnTo>
                    <a:lnTo>
                      <a:pt x="141" y="698"/>
                    </a:lnTo>
                    <a:lnTo>
                      <a:pt x="144" y="682"/>
                    </a:lnTo>
                    <a:lnTo>
                      <a:pt x="143" y="645"/>
                    </a:lnTo>
                    <a:lnTo>
                      <a:pt x="143" y="632"/>
                    </a:lnTo>
                    <a:lnTo>
                      <a:pt x="146" y="620"/>
                    </a:lnTo>
                    <a:lnTo>
                      <a:pt x="146" y="605"/>
                    </a:lnTo>
                    <a:lnTo>
                      <a:pt x="151" y="595"/>
                    </a:lnTo>
                    <a:lnTo>
                      <a:pt x="155" y="583"/>
                    </a:lnTo>
                    <a:lnTo>
                      <a:pt x="158" y="571"/>
                    </a:lnTo>
                    <a:lnTo>
                      <a:pt x="158" y="569"/>
                    </a:lnTo>
                    <a:lnTo>
                      <a:pt x="158" y="567"/>
                    </a:lnTo>
                    <a:lnTo>
                      <a:pt x="158" y="557"/>
                    </a:lnTo>
                    <a:lnTo>
                      <a:pt x="162" y="548"/>
                    </a:lnTo>
                    <a:lnTo>
                      <a:pt x="162" y="538"/>
                    </a:lnTo>
                    <a:lnTo>
                      <a:pt x="162" y="533"/>
                    </a:lnTo>
                    <a:lnTo>
                      <a:pt x="162" y="529"/>
                    </a:lnTo>
                    <a:lnTo>
                      <a:pt x="162" y="526"/>
                    </a:lnTo>
                    <a:lnTo>
                      <a:pt x="162" y="519"/>
                    </a:lnTo>
                    <a:lnTo>
                      <a:pt x="163" y="512"/>
                    </a:lnTo>
                    <a:lnTo>
                      <a:pt x="163" y="504"/>
                    </a:lnTo>
                    <a:lnTo>
                      <a:pt x="165" y="498"/>
                    </a:lnTo>
                    <a:lnTo>
                      <a:pt x="163" y="490"/>
                    </a:lnTo>
                    <a:lnTo>
                      <a:pt x="163" y="478"/>
                    </a:lnTo>
                    <a:lnTo>
                      <a:pt x="162" y="464"/>
                    </a:lnTo>
                    <a:lnTo>
                      <a:pt x="162" y="457"/>
                    </a:lnTo>
                    <a:lnTo>
                      <a:pt x="151" y="442"/>
                    </a:lnTo>
                    <a:lnTo>
                      <a:pt x="139" y="433"/>
                    </a:lnTo>
                    <a:lnTo>
                      <a:pt x="129" y="428"/>
                    </a:lnTo>
                    <a:lnTo>
                      <a:pt x="120" y="424"/>
                    </a:lnTo>
                    <a:lnTo>
                      <a:pt x="112" y="418"/>
                    </a:lnTo>
                    <a:lnTo>
                      <a:pt x="105" y="414"/>
                    </a:lnTo>
                    <a:lnTo>
                      <a:pt x="95" y="409"/>
                    </a:lnTo>
                    <a:lnTo>
                      <a:pt x="86" y="405"/>
                    </a:lnTo>
                    <a:lnTo>
                      <a:pt x="79" y="399"/>
                    </a:lnTo>
                    <a:lnTo>
                      <a:pt x="74" y="393"/>
                    </a:lnTo>
                    <a:lnTo>
                      <a:pt x="71" y="387"/>
                    </a:lnTo>
                    <a:lnTo>
                      <a:pt x="72" y="378"/>
                    </a:lnTo>
                    <a:lnTo>
                      <a:pt x="67" y="368"/>
                    </a:lnTo>
                    <a:lnTo>
                      <a:pt x="62" y="359"/>
                    </a:lnTo>
                    <a:lnTo>
                      <a:pt x="53" y="342"/>
                    </a:lnTo>
                    <a:lnTo>
                      <a:pt x="45" y="326"/>
                    </a:lnTo>
                    <a:lnTo>
                      <a:pt x="40" y="311"/>
                    </a:lnTo>
                    <a:lnTo>
                      <a:pt x="34" y="299"/>
                    </a:lnTo>
                    <a:lnTo>
                      <a:pt x="31" y="295"/>
                    </a:lnTo>
                    <a:lnTo>
                      <a:pt x="28" y="295"/>
                    </a:lnTo>
                    <a:lnTo>
                      <a:pt x="22" y="287"/>
                    </a:lnTo>
                    <a:lnTo>
                      <a:pt x="21" y="280"/>
                    </a:lnTo>
                    <a:lnTo>
                      <a:pt x="17" y="278"/>
                    </a:lnTo>
                    <a:lnTo>
                      <a:pt x="14" y="277"/>
                    </a:lnTo>
                    <a:lnTo>
                      <a:pt x="3" y="264"/>
                    </a:lnTo>
                    <a:lnTo>
                      <a:pt x="0" y="252"/>
                    </a:lnTo>
                    <a:lnTo>
                      <a:pt x="2" y="242"/>
                    </a:lnTo>
                    <a:lnTo>
                      <a:pt x="7" y="237"/>
                    </a:lnTo>
                    <a:lnTo>
                      <a:pt x="14" y="227"/>
                    </a:lnTo>
                    <a:lnTo>
                      <a:pt x="22" y="218"/>
                    </a:lnTo>
                    <a:lnTo>
                      <a:pt x="17" y="216"/>
                    </a:lnTo>
                    <a:lnTo>
                      <a:pt x="14" y="218"/>
                    </a:lnTo>
                    <a:lnTo>
                      <a:pt x="7" y="211"/>
                    </a:lnTo>
                    <a:lnTo>
                      <a:pt x="7" y="201"/>
                    </a:lnTo>
                    <a:lnTo>
                      <a:pt x="7" y="192"/>
                    </a:lnTo>
                    <a:lnTo>
                      <a:pt x="12" y="187"/>
                    </a:lnTo>
                    <a:lnTo>
                      <a:pt x="15" y="180"/>
                    </a:lnTo>
                    <a:lnTo>
                      <a:pt x="17" y="170"/>
                    </a:lnTo>
                    <a:lnTo>
                      <a:pt x="24" y="166"/>
                    </a:lnTo>
                    <a:lnTo>
                      <a:pt x="31" y="161"/>
                    </a:lnTo>
                    <a:lnTo>
                      <a:pt x="34" y="153"/>
                    </a:lnTo>
                    <a:lnTo>
                      <a:pt x="38" y="148"/>
                    </a:lnTo>
                    <a:lnTo>
                      <a:pt x="43" y="139"/>
                    </a:lnTo>
                    <a:lnTo>
                      <a:pt x="50" y="136"/>
                    </a:lnTo>
                    <a:lnTo>
                      <a:pt x="55" y="132"/>
                    </a:lnTo>
                    <a:lnTo>
                      <a:pt x="60" y="125"/>
                    </a:lnTo>
                    <a:lnTo>
                      <a:pt x="57" y="123"/>
                    </a:lnTo>
                    <a:lnTo>
                      <a:pt x="55" y="122"/>
                    </a:lnTo>
                    <a:lnTo>
                      <a:pt x="57" y="117"/>
                    </a:lnTo>
                    <a:lnTo>
                      <a:pt x="57"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3" name="Freeform 293"/>
              <p:cNvSpPr>
                <a:spLocks/>
              </p:cNvSpPr>
              <p:nvPr/>
            </p:nvSpPr>
            <p:spPr bwMode="auto">
              <a:xfrm>
                <a:off x="2518569" y="3440113"/>
                <a:ext cx="14288" cy="15875"/>
              </a:xfrm>
              <a:custGeom>
                <a:avLst/>
                <a:gdLst/>
                <a:ahLst/>
                <a:cxnLst>
                  <a:cxn ang="0">
                    <a:pos x="4" y="0"/>
                  </a:cxn>
                  <a:cxn ang="0">
                    <a:pos x="7" y="2"/>
                  </a:cxn>
                  <a:cxn ang="0">
                    <a:pos x="9" y="7"/>
                  </a:cxn>
                  <a:cxn ang="0">
                    <a:pos x="7" y="8"/>
                  </a:cxn>
                  <a:cxn ang="0">
                    <a:pos x="5" y="10"/>
                  </a:cxn>
                  <a:cxn ang="0">
                    <a:pos x="0" y="7"/>
                  </a:cxn>
                  <a:cxn ang="0">
                    <a:pos x="0" y="0"/>
                  </a:cxn>
                  <a:cxn ang="0">
                    <a:pos x="4" y="0"/>
                  </a:cxn>
                </a:cxnLst>
                <a:rect l="0" t="0" r="r" b="b"/>
                <a:pathLst>
                  <a:path w="9" h="10">
                    <a:moveTo>
                      <a:pt x="4" y="0"/>
                    </a:moveTo>
                    <a:lnTo>
                      <a:pt x="7" y="2"/>
                    </a:lnTo>
                    <a:lnTo>
                      <a:pt x="9" y="7"/>
                    </a:lnTo>
                    <a:lnTo>
                      <a:pt x="7" y="8"/>
                    </a:lnTo>
                    <a:lnTo>
                      <a:pt x="5" y="10"/>
                    </a:lnTo>
                    <a:lnTo>
                      <a:pt x="0" y="7"/>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4" name="Freeform 294"/>
              <p:cNvSpPr>
                <a:spLocks/>
              </p:cNvSpPr>
              <p:nvPr/>
            </p:nvSpPr>
            <p:spPr bwMode="auto">
              <a:xfrm>
                <a:off x="2507457" y="3394075"/>
                <a:ext cx="22225" cy="7937"/>
              </a:xfrm>
              <a:custGeom>
                <a:avLst/>
                <a:gdLst/>
                <a:ahLst/>
                <a:cxnLst>
                  <a:cxn ang="0">
                    <a:pos x="0" y="5"/>
                  </a:cxn>
                  <a:cxn ang="0">
                    <a:pos x="2" y="1"/>
                  </a:cxn>
                  <a:cxn ang="0">
                    <a:pos x="7" y="0"/>
                  </a:cxn>
                  <a:cxn ang="0">
                    <a:pos x="11" y="1"/>
                  </a:cxn>
                  <a:cxn ang="0">
                    <a:pos x="14" y="5"/>
                  </a:cxn>
                  <a:cxn ang="0">
                    <a:pos x="6" y="5"/>
                  </a:cxn>
                  <a:cxn ang="0">
                    <a:pos x="0" y="5"/>
                  </a:cxn>
                </a:cxnLst>
                <a:rect l="0" t="0" r="r" b="b"/>
                <a:pathLst>
                  <a:path w="14" h="5">
                    <a:moveTo>
                      <a:pt x="0" y="5"/>
                    </a:moveTo>
                    <a:lnTo>
                      <a:pt x="2" y="1"/>
                    </a:lnTo>
                    <a:lnTo>
                      <a:pt x="7" y="0"/>
                    </a:lnTo>
                    <a:lnTo>
                      <a:pt x="11" y="1"/>
                    </a:lnTo>
                    <a:lnTo>
                      <a:pt x="14" y="5"/>
                    </a:lnTo>
                    <a:lnTo>
                      <a:pt x="6" y="5"/>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5" name="Freeform 295"/>
              <p:cNvSpPr>
                <a:spLocks/>
              </p:cNvSpPr>
              <p:nvPr/>
            </p:nvSpPr>
            <p:spPr bwMode="auto">
              <a:xfrm>
                <a:off x="2543969" y="3403600"/>
                <a:ext cx="4763" cy="6350"/>
              </a:xfrm>
              <a:custGeom>
                <a:avLst/>
                <a:gdLst/>
                <a:ahLst/>
                <a:cxnLst>
                  <a:cxn ang="0">
                    <a:pos x="3" y="4"/>
                  </a:cxn>
                  <a:cxn ang="0">
                    <a:pos x="0" y="2"/>
                  </a:cxn>
                  <a:cxn ang="0">
                    <a:pos x="0" y="0"/>
                  </a:cxn>
                  <a:cxn ang="0">
                    <a:pos x="3" y="4"/>
                  </a:cxn>
                </a:cxnLst>
                <a:rect l="0" t="0" r="r" b="b"/>
                <a:pathLst>
                  <a:path w="3" h="4">
                    <a:moveTo>
                      <a:pt x="3" y="4"/>
                    </a:moveTo>
                    <a:lnTo>
                      <a:pt x="0" y="2"/>
                    </a:lnTo>
                    <a:lnTo>
                      <a:pt x="0" y="0"/>
                    </a:lnTo>
                    <a:lnTo>
                      <a:pt x="3"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6" name="Freeform 296"/>
              <p:cNvSpPr>
                <a:spLocks/>
              </p:cNvSpPr>
              <p:nvPr/>
            </p:nvSpPr>
            <p:spPr bwMode="auto">
              <a:xfrm>
                <a:off x="2624932" y="3524250"/>
                <a:ext cx="17463" cy="14287"/>
              </a:xfrm>
              <a:custGeom>
                <a:avLst/>
                <a:gdLst/>
                <a:ahLst/>
                <a:cxnLst>
                  <a:cxn ang="0">
                    <a:pos x="0" y="5"/>
                  </a:cxn>
                  <a:cxn ang="0">
                    <a:pos x="0" y="9"/>
                  </a:cxn>
                  <a:cxn ang="0">
                    <a:pos x="2" y="9"/>
                  </a:cxn>
                  <a:cxn ang="0">
                    <a:pos x="6" y="7"/>
                  </a:cxn>
                  <a:cxn ang="0">
                    <a:pos x="11" y="5"/>
                  </a:cxn>
                  <a:cxn ang="0">
                    <a:pos x="11" y="0"/>
                  </a:cxn>
                  <a:cxn ang="0">
                    <a:pos x="6" y="4"/>
                  </a:cxn>
                  <a:cxn ang="0">
                    <a:pos x="0" y="5"/>
                  </a:cxn>
                </a:cxnLst>
                <a:rect l="0" t="0" r="r" b="b"/>
                <a:pathLst>
                  <a:path w="11" h="9">
                    <a:moveTo>
                      <a:pt x="0" y="5"/>
                    </a:moveTo>
                    <a:lnTo>
                      <a:pt x="0" y="9"/>
                    </a:lnTo>
                    <a:lnTo>
                      <a:pt x="2" y="9"/>
                    </a:lnTo>
                    <a:lnTo>
                      <a:pt x="6" y="7"/>
                    </a:lnTo>
                    <a:lnTo>
                      <a:pt x="11" y="5"/>
                    </a:lnTo>
                    <a:lnTo>
                      <a:pt x="11" y="0"/>
                    </a:lnTo>
                    <a:lnTo>
                      <a:pt x="6" y="4"/>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7" name="Freeform 297"/>
              <p:cNvSpPr>
                <a:spLocks/>
              </p:cNvSpPr>
              <p:nvPr/>
            </p:nvSpPr>
            <p:spPr bwMode="auto">
              <a:xfrm>
                <a:off x="1456532" y="2787650"/>
                <a:ext cx="1323975" cy="649287"/>
              </a:xfrm>
              <a:custGeom>
                <a:avLst/>
                <a:gdLst/>
                <a:ahLst/>
                <a:cxnLst>
                  <a:cxn ang="0">
                    <a:pos x="642" y="289"/>
                  </a:cxn>
                  <a:cxn ang="0">
                    <a:pos x="626" y="337"/>
                  </a:cxn>
                  <a:cxn ang="0">
                    <a:pos x="638" y="368"/>
                  </a:cxn>
                  <a:cxn ang="0">
                    <a:pos x="626" y="404"/>
                  </a:cxn>
                  <a:cxn ang="0">
                    <a:pos x="600" y="347"/>
                  </a:cxn>
                  <a:cxn ang="0">
                    <a:pos x="559" y="330"/>
                  </a:cxn>
                  <a:cxn ang="0">
                    <a:pos x="530" y="325"/>
                  </a:cxn>
                  <a:cxn ang="0">
                    <a:pos x="506" y="339"/>
                  </a:cxn>
                  <a:cxn ang="0">
                    <a:pos x="473" y="335"/>
                  </a:cxn>
                  <a:cxn ang="0">
                    <a:pos x="441" y="335"/>
                  </a:cxn>
                  <a:cxn ang="0">
                    <a:pos x="410" y="356"/>
                  </a:cxn>
                  <a:cxn ang="0">
                    <a:pos x="392" y="390"/>
                  </a:cxn>
                  <a:cxn ang="0">
                    <a:pos x="358" y="370"/>
                  </a:cxn>
                  <a:cxn ang="0">
                    <a:pos x="332" y="332"/>
                  </a:cxn>
                  <a:cxn ang="0">
                    <a:pos x="306" y="347"/>
                  </a:cxn>
                  <a:cxn ang="0">
                    <a:pos x="275" y="313"/>
                  </a:cxn>
                  <a:cxn ang="0">
                    <a:pos x="238" y="308"/>
                  </a:cxn>
                  <a:cxn ang="0">
                    <a:pos x="86" y="270"/>
                  </a:cxn>
                  <a:cxn ang="0">
                    <a:pos x="47" y="234"/>
                  </a:cxn>
                  <a:cxn ang="0">
                    <a:pos x="17" y="186"/>
                  </a:cxn>
                  <a:cxn ang="0">
                    <a:pos x="5" y="141"/>
                  </a:cxn>
                  <a:cxn ang="0">
                    <a:pos x="5" y="82"/>
                  </a:cxn>
                  <a:cxn ang="0">
                    <a:pos x="2" y="22"/>
                  </a:cxn>
                  <a:cxn ang="0">
                    <a:pos x="29" y="17"/>
                  </a:cxn>
                  <a:cxn ang="0">
                    <a:pos x="435" y="5"/>
                  </a:cxn>
                  <a:cxn ang="0">
                    <a:pos x="494" y="20"/>
                  </a:cxn>
                  <a:cxn ang="0">
                    <a:pos x="470" y="51"/>
                  </a:cxn>
                  <a:cxn ang="0">
                    <a:pos x="494" y="53"/>
                  </a:cxn>
                  <a:cxn ang="0">
                    <a:pos x="527" y="41"/>
                  </a:cxn>
                  <a:cxn ang="0">
                    <a:pos x="551" y="50"/>
                  </a:cxn>
                  <a:cxn ang="0">
                    <a:pos x="573" y="62"/>
                  </a:cxn>
                  <a:cxn ang="0">
                    <a:pos x="530" y="86"/>
                  </a:cxn>
                  <a:cxn ang="0">
                    <a:pos x="530" y="115"/>
                  </a:cxn>
                  <a:cxn ang="0">
                    <a:pos x="549" y="131"/>
                  </a:cxn>
                  <a:cxn ang="0">
                    <a:pos x="552" y="94"/>
                  </a:cxn>
                  <a:cxn ang="0">
                    <a:pos x="570" y="70"/>
                  </a:cxn>
                  <a:cxn ang="0">
                    <a:pos x="595" y="74"/>
                  </a:cxn>
                  <a:cxn ang="0">
                    <a:pos x="604" y="96"/>
                  </a:cxn>
                  <a:cxn ang="0">
                    <a:pos x="599" y="136"/>
                  </a:cxn>
                  <a:cxn ang="0">
                    <a:pos x="654" y="124"/>
                  </a:cxn>
                  <a:cxn ang="0">
                    <a:pos x="668" y="110"/>
                  </a:cxn>
                  <a:cxn ang="0">
                    <a:pos x="712" y="86"/>
                  </a:cxn>
                  <a:cxn ang="0">
                    <a:pos x="757" y="74"/>
                  </a:cxn>
                  <a:cxn ang="0">
                    <a:pos x="783" y="67"/>
                  </a:cxn>
                  <a:cxn ang="0">
                    <a:pos x="814" y="34"/>
                  </a:cxn>
                  <a:cxn ang="0">
                    <a:pos x="834" y="82"/>
                  </a:cxn>
                  <a:cxn ang="0">
                    <a:pos x="798" y="96"/>
                  </a:cxn>
                  <a:cxn ang="0">
                    <a:pos x="783" y="129"/>
                  </a:cxn>
                  <a:cxn ang="0">
                    <a:pos x="795" y="139"/>
                  </a:cxn>
                  <a:cxn ang="0">
                    <a:pos x="748" y="146"/>
                  </a:cxn>
                  <a:cxn ang="0">
                    <a:pos x="747" y="151"/>
                  </a:cxn>
                  <a:cxn ang="0">
                    <a:pos x="733" y="160"/>
                  </a:cxn>
                  <a:cxn ang="0">
                    <a:pos x="721" y="184"/>
                  </a:cxn>
                  <a:cxn ang="0">
                    <a:pos x="719" y="192"/>
                  </a:cxn>
                  <a:cxn ang="0">
                    <a:pos x="705" y="211"/>
                  </a:cxn>
                  <a:cxn ang="0">
                    <a:pos x="700" y="187"/>
                  </a:cxn>
                  <a:cxn ang="0">
                    <a:pos x="700" y="217"/>
                  </a:cxn>
                  <a:cxn ang="0">
                    <a:pos x="705" y="225"/>
                  </a:cxn>
                  <a:cxn ang="0">
                    <a:pos x="704" y="239"/>
                  </a:cxn>
                  <a:cxn ang="0">
                    <a:pos x="699" y="254"/>
                  </a:cxn>
                  <a:cxn ang="0">
                    <a:pos x="678" y="268"/>
                  </a:cxn>
                </a:cxnLst>
                <a:rect l="0" t="0" r="r" b="b"/>
                <a:pathLst>
                  <a:path w="834" h="409">
                    <a:moveTo>
                      <a:pt x="678" y="268"/>
                    </a:moveTo>
                    <a:lnTo>
                      <a:pt x="668" y="272"/>
                    </a:lnTo>
                    <a:lnTo>
                      <a:pt x="659" y="277"/>
                    </a:lnTo>
                    <a:lnTo>
                      <a:pt x="649" y="282"/>
                    </a:lnTo>
                    <a:lnTo>
                      <a:pt x="642" y="289"/>
                    </a:lnTo>
                    <a:lnTo>
                      <a:pt x="633" y="294"/>
                    </a:lnTo>
                    <a:lnTo>
                      <a:pt x="628" y="304"/>
                    </a:lnTo>
                    <a:lnTo>
                      <a:pt x="625" y="315"/>
                    </a:lnTo>
                    <a:lnTo>
                      <a:pt x="625" y="328"/>
                    </a:lnTo>
                    <a:lnTo>
                      <a:pt x="626" y="337"/>
                    </a:lnTo>
                    <a:lnTo>
                      <a:pt x="631" y="345"/>
                    </a:lnTo>
                    <a:lnTo>
                      <a:pt x="635" y="354"/>
                    </a:lnTo>
                    <a:lnTo>
                      <a:pt x="638" y="366"/>
                    </a:lnTo>
                    <a:lnTo>
                      <a:pt x="638" y="364"/>
                    </a:lnTo>
                    <a:lnTo>
                      <a:pt x="638" y="368"/>
                    </a:lnTo>
                    <a:lnTo>
                      <a:pt x="642" y="376"/>
                    </a:lnTo>
                    <a:lnTo>
                      <a:pt x="645" y="388"/>
                    </a:lnTo>
                    <a:lnTo>
                      <a:pt x="642" y="402"/>
                    </a:lnTo>
                    <a:lnTo>
                      <a:pt x="633" y="409"/>
                    </a:lnTo>
                    <a:lnTo>
                      <a:pt x="626" y="404"/>
                    </a:lnTo>
                    <a:lnTo>
                      <a:pt x="623" y="395"/>
                    </a:lnTo>
                    <a:lnTo>
                      <a:pt x="614" y="385"/>
                    </a:lnTo>
                    <a:lnTo>
                      <a:pt x="607" y="376"/>
                    </a:lnTo>
                    <a:lnTo>
                      <a:pt x="602" y="361"/>
                    </a:lnTo>
                    <a:lnTo>
                      <a:pt x="600" y="347"/>
                    </a:lnTo>
                    <a:lnTo>
                      <a:pt x="594" y="333"/>
                    </a:lnTo>
                    <a:lnTo>
                      <a:pt x="583" y="330"/>
                    </a:lnTo>
                    <a:lnTo>
                      <a:pt x="578" y="333"/>
                    </a:lnTo>
                    <a:lnTo>
                      <a:pt x="573" y="337"/>
                    </a:lnTo>
                    <a:lnTo>
                      <a:pt x="559" y="330"/>
                    </a:lnTo>
                    <a:lnTo>
                      <a:pt x="545" y="325"/>
                    </a:lnTo>
                    <a:lnTo>
                      <a:pt x="537" y="327"/>
                    </a:lnTo>
                    <a:lnTo>
                      <a:pt x="533" y="328"/>
                    </a:lnTo>
                    <a:lnTo>
                      <a:pt x="530" y="327"/>
                    </a:lnTo>
                    <a:lnTo>
                      <a:pt x="530" y="325"/>
                    </a:lnTo>
                    <a:lnTo>
                      <a:pt x="516" y="327"/>
                    </a:lnTo>
                    <a:lnTo>
                      <a:pt x="502" y="328"/>
                    </a:lnTo>
                    <a:lnTo>
                      <a:pt x="506" y="328"/>
                    </a:lnTo>
                    <a:lnTo>
                      <a:pt x="509" y="328"/>
                    </a:lnTo>
                    <a:lnTo>
                      <a:pt x="506" y="339"/>
                    </a:lnTo>
                    <a:lnTo>
                      <a:pt x="509" y="345"/>
                    </a:lnTo>
                    <a:lnTo>
                      <a:pt x="499" y="345"/>
                    </a:lnTo>
                    <a:lnTo>
                      <a:pt x="489" y="342"/>
                    </a:lnTo>
                    <a:lnTo>
                      <a:pt x="480" y="337"/>
                    </a:lnTo>
                    <a:lnTo>
                      <a:pt x="473" y="335"/>
                    </a:lnTo>
                    <a:lnTo>
                      <a:pt x="468" y="337"/>
                    </a:lnTo>
                    <a:lnTo>
                      <a:pt x="466" y="339"/>
                    </a:lnTo>
                    <a:lnTo>
                      <a:pt x="458" y="335"/>
                    </a:lnTo>
                    <a:lnTo>
                      <a:pt x="451" y="333"/>
                    </a:lnTo>
                    <a:lnTo>
                      <a:pt x="441" y="335"/>
                    </a:lnTo>
                    <a:lnTo>
                      <a:pt x="434" y="340"/>
                    </a:lnTo>
                    <a:lnTo>
                      <a:pt x="428" y="345"/>
                    </a:lnTo>
                    <a:lnTo>
                      <a:pt x="423" y="352"/>
                    </a:lnTo>
                    <a:lnTo>
                      <a:pt x="416" y="354"/>
                    </a:lnTo>
                    <a:lnTo>
                      <a:pt x="410" y="356"/>
                    </a:lnTo>
                    <a:lnTo>
                      <a:pt x="401" y="359"/>
                    </a:lnTo>
                    <a:lnTo>
                      <a:pt x="396" y="366"/>
                    </a:lnTo>
                    <a:lnTo>
                      <a:pt x="392" y="376"/>
                    </a:lnTo>
                    <a:lnTo>
                      <a:pt x="392" y="388"/>
                    </a:lnTo>
                    <a:lnTo>
                      <a:pt x="392" y="390"/>
                    </a:lnTo>
                    <a:lnTo>
                      <a:pt x="394" y="394"/>
                    </a:lnTo>
                    <a:lnTo>
                      <a:pt x="379" y="390"/>
                    </a:lnTo>
                    <a:lnTo>
                      <a:pt x="370" y="387"/>
                    </a:lnTo>
                    <a:lnTo>
                      <a:pt x="363" y="378"/>
                    </a:lnTo>
                    <a:lnTo>
                      <a:pt x="358" y="370"/>
                    </a:lnTo>
                    <a:lnTo>
                      <a:pt x="355" y="361"/>
                    </a:lnTo>
                    <a:lnTo>
                      <a:pt x="351" y="352"/>
                    </a:lnTo>
                    <a:lnTo>
                      <a:pt x="346" y="342"/>
                    </a:lnTo>
                    <a:lnTo>
                      <a:pt x="341" y="337"/>
                    </a:lnTo>
                    <a:lnTo>
                      <a:pt x="332" y="332"/>
                    </a:lnTo>
                    <a:lnTo>
                      <a:pt x="324" y="332"/>
                    </a:lnTo>
                    <a:lnTo>
                      <a:pt x="317" y="333"/>
                    </a:lnTo>
                    <a:lnTo>
                      <a:pt x="313" y="339"/>
                    </a:lnTo>
                    <a:lnTo>
                      <a:pt x="310" y="344"/>
                    </a:lnTo>
                    <a:lnTo>
                      <a:pt x="306" y="347"/>
                    </a:lnTo>
                    <a:lnTo>
                      <a:pt x="298" y="344"/>
                    </a:lnTo>
                    <a:lnTo>
                      <a:pt x="291" y="337"/>
                    </a:lnTo>
                    <a:lnTo>
                      <a:pt x="286" y="328"/>
                    </a:lnTo>
                    <a:lnTo>
                      <a:pt x="282" y="323"/>
                    </a:lnTo>
                    <a:lnTo>
                      <a:pt x="275" y="313"/>
                    </a:lnTo>
                    <a:lnTo>
                      <a:pt x="269" y="308"/>
                    </a:lnTo>
                    <a:lnTo>
                      <a:pt x="258" y="302"/>
                    </a:lnTo>
                    <a:lnTo>
                      <a:pt x="248" y="301"/>
                    </a:lnTo>
                    <a:lnTo>
                      <a:pt x="238" y="301"/>
                    </a:lnTo>
                    <a:lnTo>
                      <a:pt x="238" y="308"/>
                    </a:lnTo>
                    <a:lnTo>
                      <a:pt x="196" y="308"/>
                    </a:lnTo>
                    <a:lnTo>
                      <a:pt x="141" y="290"/>
                    </a:lnTo>
                    <a:lnTo>
                      <a:pt x="109" y="290"/>
                    </a:lnTo>
                    <a:lnTo>
                      <a:pt x="100" y="278"/>
                    </a:lnTo>
                    <a:lnTo>
                      <a:pt x="86" y="270"/>
                    </a:lnTo>
                    <a:lnTo>
                      <a:pt x="71" y="261"/>
                    </a:lnTo>
                    <a:lnTo>
                      <a:pt x="57" y="256"/>
                    </a:lnTo>
                    <a:lnTo>
                      <a:pt x="54" y="251"/>
                    </a:lnTo>
                    <a:lnTo>
                      <a:pt x="54" y="246"/>
                    </a:lnTo>
                    <a:lnTo>
                      <a:pt x="47" y="234"/>
                    </a:lnTo>
                    <a:lnTo>
                      <a:pt x="40" y="223"/>
                    </a:lnTo>
                    <a:lnTo>
                      <a:pt x="35" y="213"/>
                    </a:lnTo>
                    <a:lnTo>
                      <a:pt x="35" y="201"/>
                    </a:lnTo>
                    <a:lnTo>
                      <a:pt x="26" y="196"/>
                    </a:lnTo>
                    <a:lnTo>
                      <a:pt x="17" y="186"/>
                    </a:lnTo>
                    <a:lnTo>
                      <a:pt x="9" y="174"/>
                    </a:lnTo>
                    <a:lnTo>
                      <a:pt x="4" y="161"/>
                    </a:lnTo>
                    <a:lnTo>
                      <a:pt x="4" y="156"/>
                    </a:lnTo>
                    <a:lnTo>
                      <a:pt x="9" y="153"/>
                    </a:lnTo>
                    <a:lnTo>
                      <a:pt x="5" y="141"/>
                    </a:lnTo>
                    <a:lnTo>
                      <a:pt x="5" y="131"/>
                    </a:lnTo>
                    <a:lnTo>
                      <a:pt x="4" y="119"/>
                    </a:lnTo>
                    <a:lnTo>
                      <a:pt x="4" y="110"/>
                    </a:lnTo>
                    <a:lnTo>
                      <a:pt x="2" y="96"/>
                    </a:lnTo>
                    <a:lnTo>
                      <a:pt x="5" y="82"/>
                    </a:lnTo>
                    <a:lnTo>
                      <a:pt x="9" y="65"/>
                    </a:lnTo>
                    <a:lnTo>
                      <a:pt x="12" y="53"/>
                    </a:lnTo>
                    <a:lnTo>
                      <a:pt x="5" y="39"/>
                    </a:lnTo>
                    <a:lnTo>
                      <a:pt x="0" y="26"/>
                    </a:lnTo>
                    <a:lnTo>
                      <a:pt x="2" y="22"/>
                    </a:lnTo>
                    <a:lnTo>
                      <a:pt x="7" y="22"/>
                    </a:lnTo>
                    <a:lnTo>
                      <a:pt x="16" y="24"/>
                    </a:lnTo>
                    <a:lnTo>
                      <a:pt x="23" y="31"/>
                    </a:lnTo>
                    <a:lnTo>
                      <a:pt x="26" y="24"/>
                    </a:lnTo>
                    <a:lnTo>
                      <a:pt x="29" y="17"/>
                    </a:lnTo>
                    <a:lnTo>
                      <a:pt x="26" y="10"/>
                    </a:lnTo>
                    <a:lnTo>
                      <a:pt x="23" y="5"/>
                    </a:lnTo>
                    <a:lnTo>
                      <a:pt x="428" y="5"/>
                    </a:lnTo>
                    <a:lnTo>
                      <a:pt x="428" y="0"/>
                    </a:lnTo>
                    <a:lnTo>
                      <a:pt x="435" y="5"/>
                    </a:lnTo>
                    <a:lnTo>
                      <a:pt x="442" y="12"/>
                    </a:lnTo>
                    <a:lnTo>
                      <a:pt x="466" y="12"/>
                    </a:lnTo>
                    <a:lnTo>
                      <a:pt x="473" y="17"/>
                    </a:lnTo>
                    <a:lnTo>
                      <a:pt x="484" y="20"/>
                    </a:lnTo>
                    <a:lnTo>
                      <a:pt x="494" y="20"/>
                    </a:lnTo>
                    <a:lnTo>
                      <a:pt x="509" y="22"/>
                    </a:lnTo>
                    <a:lnTo>
                      <a:pt x="499" y="27"/>
                    </a:lnTo>
                    <a:lnTo>
                      <a:pt x="489" y="34"/>
                    </a:lnTo>
                    <a:lnTo>
                      <a:pt x="478" y="39"/>
                    </a:lnTo>
                    <a:lnTo>
                      <a:pt x="470" y="51"/>
                    </a:lnTo>
                    <a:lnTo>
                      <a:pt x="477" y="51"/>
                    </a:lnTo>
                    <a:lnTo>
                      <a:pt x="480" y="48"/>
                    </a:lnTo>
                    <a:lnTo>
                      <a:pt x="487" y="48"/>
                    </a:lnTo>
                    <a:lnTo>
                      <a:pt x="489" y="51"/>
                    </a:lnTo>
                    <a:lnTo>
                      <a:pt x="494" y="53"/>
                    </a:lnTo>
                    <a:lnTo>
                      <a:pt x="501" y="50"/>
                    </a:lnTo>
                    <a:lnTo>
                      <a:pt x="508" y="46"/>
                    </a:lnTo>
                    <a:lnTo>
                      <a:pt x="516" y="39"/>
                    </a:lnTo>
                    <a:lnTo>
                      <a:pt x="530" y="34"/>
                    </a:lnTo>
                    <a:lnTo>
                      <a:pt x="527" y="41"/>
                    </a:lnTo>
                    <a:lnTo>
                      <a:pt x="525" y="48"/>
                    </a:lnTo>
                    <a:lnTo>
                      <a:pt x="535" y="48"/>
                    </a:lnTo>
                    <a:lnTo>
                      <a:pt x="537" y="51"/>
                    </a:lnTo>
                    <a:lnTo>
                      <a:pt x="544" y="53"/>
                    </a:lnTo>
                    <a:lnTo>
                      <a:pt x="551" y="50"/>
                    </a:lnTo>
                    <a:lnTo>
                      <a:pt x="557" y="48"/>
                    </a:lnTo>
                    <a:lnTo>
                      <a:pt x="571" y="51"/>
                    </a:lnTo>
                    <a:lnTo>
                      <a:pt x="587" y="55"/>
                    </a:lnTo>
                    <a:lnTo>
                      <a:pt x="587" y="62"/>
                    </a:lnTo>
                    <a:lnTo>
                      <a:pt x="573" y="62"/>
                    </a:lnTo>
                    <a:lnTo>
                      <a:pt x="563" y="62"/>
                    </a:lnTo>
                    <a:lnTo>
                      <a:pt x="552" y="63"/>
                    </a:lnTo>
                    <a:lnTo>
                      <a:pt x="542" y="69"/>
                    </a:lnTo>
                    <a:lnTo>
                      <a:pt x="533" y="77"/>
                    </a:lnTo>
                    <a:lnTo>
                      <a:pt x="530" y="86"/>
                    </a:lnTo>
                    <a:lnTo>
                      <a:pt x="537" y="81"/>
                    </a:lnTo>
                    <a:lnTo>
                      <a:pt x="544" y="79"/>
                    </a:lnTo>
                    <a:lnTo>
                      <a:pt x="537" y="88"/>
                    </a:lnTo>
                    <a:lnTo>
                      <a:pt x="533" y="101"/>
                    </a:lnTo>
                    <a:lnTo>
                      <a:pt x="530" y="115"/>
                    </a:lnTo>
                    <a:lnTo>
                      <a:pt x="530" y="129"/>
                    </a:lnTo>
                    <a:lnTo>
                      <a:pt x="533" y="136"/>
                    </a:lnTo>
                    <a:lnTo>
                      <a:pt x="542" y="139"/>
                    </a:lnTo>
                    <a:lnTo>
                      <a:pt x="545" y="136"/>
                    </a:lnTo>
                    <a:lnTo>
                      <a:pt x="549" y="131"/>
                    </a:lnTo>
                    <a:lnTo>
                      <a:pt x="551" y="122"/>
                    </a:lnTo>
                    <a:lnTo>
                      <a:pt x="552" y="117"/>
                    </a:lnTo>
                    <a:lnTo>
                      <a:pt x="552" y="106"/>
                    </a:lnTo>
                    <a:lnTo>
                      <a:pt x="552" y="101"/>
                    </a:lnTo>
                    <a:lnTo>
                      <a:pt x="552" y="94"/>
                    </a:lnTo>
                    <a:lnTo>
                      <a:pt x="552" y="88"/>
                    </a:lnTo>
                    <a:lnTo>
                      <a:pt x="552" y="81"/>
                    </a:lnTo>
                    <a:lnTo>
                      <a:pt x="557" y="79"/>
                    </a:lnTo>
                    <a:lnTo>
                      <a:pt x="566" y="74"/>
                    </a:lnTo>
                    <a:lnTo>
                      <a:pt x="570" y="70"/>
                    </a:lnTo>
                    <a:lnTo>
                      <a:pt x="571" y="65"/>
                    </a:lnTo>
                    <a:lnTo>
                      <a:pt x="576" y="65"/>
                    </a:lnTo>
                    <a:lnTo>
                      <a:pt x="580" y="65"/>
                    </a:lnTo>
                    <a:lnTo>
                      <a:pt x="588" y="70"/>
                    </a:lnTo>
                    <a:lnTo>
                      <a:pt x="595" y="74"/>
                    </a:lnTo>
                    <a:lnTo>
                      <a:pt x="599" y="81"/>
                    </a:lnTo>
                    <a:lnTo>
                      <a:pt x="595" y="89"/>
                    </a:lnTo>
                    <a:lnTo>
                      <a:pt x="594" y="100"/>
                    </a:lnTo>
                    <a:lnTo>
                      <a:pt x="599" y="98"/>
                    </a:lnTo>
                    <a:lnTo>
                      <a:pt x="604" y="96"/>
                    </a:lnTo>
                    <a:lnTo>
                      <a:pt x="606" y="105"/>
                    </a:lnTo>
                    <a:lnTo>
                      <a:pt x="611" y="112"/>
                    </a:lnTo>
                    <a:lnTo>
                      <a:pt x="602" y="120"/>
                    </a:lnTo>
                    <a:lnTo>
                      <a:pt x="599" y="129"/>
                    </a:lnTo>
                    <a:lnTo>
                      <a:pt x="599" y="136"/>
                    </a:lnTo>
                    <a:lnTo>
                      <a:pt x="606" y="141"/>
                    </a:lnTo>
                    <a:lnTo>
                      <a:pt x="616" y="137"/>
                    </a:lnTo>
                    <a:lnTo>
                      <a:pt x="630" y="134"/>
                    </a:lnTo>
                    <a:lnTo>
                      <a:pt x="643" y="127"/>
                    </a:lnTo>
                    <a:lnTo>
                      <a:pt x="654" y="124"/>
                    </a:lnTo>
                    <a:lnTo>
                      <a:pt x="650" y="115"/>
                    </a:lnTo>
                    <a:lnTo>
                      <a:pt x="649" y="112"/>
                    </a:lnTo>
                    <a:lnTo>
                      <a:pt x="652" y="112"/>
                    </a:lnTo>
                    <a:lnTo>
                      <a:pt x="656" y="112"/>
                    </a:lnTo>
                    <a:lnTo>
                      <a:pt x="668" y="110"/>
                    </a:lnTo>
                    <a:lnTo>
                      <a:pt x="683" y="110"/>
                    </a:lnTo>
                    <a:lnTo>
                      <a:pt x="695" y="105"/>
                    </a:lnTo>
                    <a:lnTo>
                      <a:pt x="702" y="96"/>
                    </a:lnTo>
                    <a:lnTo>
                      <a:pt x="704" y="93"/>
                    </a:lnTo>
                    <a:lnTo>
                      <a:pt x="712" y="86"/>
                    </a:lnTo>
                    <a:lnTo>
                      <a:pt x="719" y="77"/>
                    </a:lnTo>
                    <a:lnTo>
                      <a:pt x="724" y="76"/>
                    </a:lnTo>
                    <a:lnTo>
                      <a:pt x="735" y="74"/>
                    </a:lnTo>
                    <a:lnTo>
                      <a:pt x="752" y="74"/>
                    </a:lnTo>
                    <a:lnTo>
                      <a:pt x="757" y="74"/>
                    </a:lnTo>
                    <a:lnTo>
                      <a:pt x="764" y="74"/>
                    </a:lnTo>
                    <a:lnTo>
                      <a:pt x="769" y="72"/>
                    </a:lnTo>
                    <a:lnTo>
                      <a:pt x="776" y="72"/>
                    </a:lnTo>
                    <a:lnTo>
                      <a:pt x="779" y="70"/>
                    </a:lnTo>
                    <a:lnTo>
                      <a:pt x="783" y="67"/>
                    </a:lnTo>
                    <a:lnTo>
                      <a:pt x="786" y="58"/>
                    </a:lnTo>
                    <a:lnTo>
                      <a:pt x="791" y="50"/>
                    </a:lnTo>
                    <a:lnTo>
                      <a:pt x="795" y="39"/>
                    </a:lnTo>
                    <a:lnTo>
                      <a:pt x="803" y="33"/>
                    </a:lnTo>
                    <a:lnTo>
                      <a:pt x="814" y="34"/>
                    </a:lnTo>
                    <a:lnTo>
                      <a:pt x="824" y="36"/>
                    </a:lnTo>
                    <a:lnTo>
                      <a:pt x="826" y="46"/>
                    </a:lnTo>
                    <a:lnTo>
                      <a:pt x="828" y="58"/>
                    </a:lnTo>
                    <a:lnTo>
                      <a:pt x="829" y="70"/>
                    </a:lnTo>
                    <a:lnTo>
                      <a:pt x="834" y="82"/>
                    </a:lnTo>
                    <a:lnTo>
                      <a:pt x="828" y="89"/>
                    </a:lnTo>
                    <a:lnTo>
                      <a:pt x="819" y="91"/>
                    </a:lnTo>
                    <a:lnTo>
                      <a:pt x="812" y="89"/>
                    </a:lnTo>
                    <a:lnTo>
                      <a:pt x="807" y="91"/>
                    </a:lnTo>
                    <a:lnTo>
                      <a:pt x="798" y="96"/>
                    </a:lnTo>
                    <a:lnTo>
                      <a:pt x="790" y="103"/>
                    </a:lnTo>
                    <a:lnTo>
                      <a:pt x="783" y="112"/>
                    </a:lnTo>
                    <a:lnTo>
                      <a:pt x="781" y="125"/>
                    </a:lnTo>
                    <a:lnTo>
                      <a:pt x="781" y="127"/>
                    </a:lnTo>
                    <a:lnTo>
                      <a:pt x="783" y="129"/>
                    </a:lnTo>
                    <a:lnTo>
                      <a:pt x="785" y="134"/>
                    </a:lnTo>
                    <a:lnTo>
                      <a:pt x="788" y="139"/>
                    </a:lnTo>
                    <a:lnTo>
                      <a:pt x="791" y="137"/>
                    </a:lnTo>
                    <a:lnTo>
                      <a:pt x="795" y="136"/>
                    </a:lnTo>
                    <a:lnTo>
                      <a:pt x="795" y="139"/>
                    </a:lnTo>
                    <a:lnTo>
                      <a:pt x="783" y="139"/>
                    </a:lnTo>
                    <a:lnTo>
                      <a:pt x="778" y="139"/>
                    </a:lnTo>
                    <a:lnTo>
                      <a:pt x="767" y="143"/>
                    </a:lnTo>
                    <a:lnTo>
                      <a:pt x="759" y="144"/>
                    </a:lnTo>
                    <a:lnTo>
                      <a:pt x="748" y="146"/>
                    </a:lnTo>
                    <a:lnTo>
                      <a:pt x="740" y="151"/>
                    </a:lnTo>
                    <a:lnTo>
                      <a:pt x="745" y="151"/>
                    </a:lnTo>
                    <a:lnTo>
                      <a:pt x="750" y="149"/>
                    </a:lnTo>
                    <a:lnTo>
                      <a:pt x="757" y="151"/>
                    </a:lnTo>
                    <a:lnTo>
                      <a:pt x="747" y="151"/>
                    </a:lnTo>
                    <a:lnTo>
                      <a:pt x="738" y="153"/>
                    </a:lnTo>
                    <a:lnTo>
                      <a:pt x="735" y="153"/>
                    </a:lnTo>
                    <a:lnTo>
                      <a:pt x="731" y="153"/>
                    </a:lnTo>
                    <a:lnTo>
                      <a:pt x="731" y="156"/>
                    </a:lnTo>
                    <a:lnTo>
                      <a:pt x="733" y="160"/>
                    </a:lnTo>
                    <a:lnTo>
                      <a:pt x="735" y="163"/>
                    </a:lnTo>
                    <a:lnTo>
                      <a:pt x="731" y="167"/>
                    </a:lnTo>
                    <a:lnTo>
                      <a:pt x="728" y="174"/>
                    </a:lnTo>
                    <a:lnTo>
                      <a:pt x="724" y="180"/>
                    </a:lnTo>
                    <a:lnTo>
                      <a:pt x="721" y="184"/>
                    </a:lnTo>
                    <a:lnTo>
                      <a:pt x="719" y="182"/>
                    </a:lnTo>
                    <a:lnTo>
                      <a:pt x="717" y="180"/>
                    </a:lnTo>
                    <a:lnTo>
                      <a:pt x="716" y="184"/>
                    </a:lnTo>
                    <a:lnTo>
                      <a:pt x="717" y="187"/>
                    </a:lnTo>
                    <a:lnTo>
                      <a:pt x="719" y="192"/>
                    </a:lnTo>
                    <a:lnTo>
                      <a:pt x="716" y="196"/>
                    </a:lnTo>
                    <a:lnTo>
                      <a:pt x="712" y="203"/>
                    </a:lnTo>
                    <a:lnTo>
                      <a:pt x="709" y="210"/>
                    </a:lnTo>
                    <a:lnTo>
                      <a:pt x="707" y="213"/>
                    </a:lnTo>
                    <a:lnTo>
                      <a:pt x="705" y="211"/>
                    </a:lnTo>
                    <a:lnTo>
                      <a:pt x="705" y="210"/>
                    </a:lnTo>
                    <a:lnTo>
                      <a:pt x="705" y="206"/>
                    </a:lnTo>
                    <a:lnTo>
                      <a:pt x="705" y="204"/>
                    </a:lnTo>
                    <a:lnTo>
                      <a:pt x="702" y="196"/>
                    </a:lnTo>
                    <a:lnTo>
                      <a:pt x="700" y="187"/>
                    </a:lnTo>
                    <a:lnTo>
                      <a:pt x="699" y="191"/>
                    </a:lnTo>
                    <a:lnTo>
                      <a:pt x="700" y="194"/>
                    </a:lnTo>
                    <a:lnTo>
                      <a:pt x="700" y="203"/>
                    </a:lnTo>
                    <a:lnTo>
                      <a:pt x="702" y="213"/>
                    </a:lnTo>
                    <a:lnTo>
                      <a:pt x="700" y="217"/>
                    </a:lnTo>
                    <a:lnTo>
                      <a:pt x="702" y="220"/>
                    </a:lnTo>
                    <a:lnTo>
                      <a:pt x="704" y="220"/>
                    </a:lnTo>
                    <a:lnTo>
                      <a:pt x="705" y="220"/>
                    </a:lnTo>
                    <a:lnTo>
                      <a:pt x="705" y="222"/>
                    </a:lnTo>
                    <a:lnTo>
                      <a:pt x="705" y="225"/>
                    </a:lnTo>
                    <a:lnTo>
                      <a:pt x="702" y="229"/>
                    </a:lnTo>
                    <a:lnTo>
                      <a:pt x="699" y="232"/>
                    </a:lnTo>
                    <a:lnTo>
                      <a:pt x="702" y="234"/>
                    </a:lnTo>
                    <a:lnTo>
                      <a:pt x="705" y="235"/>
                    </a:lnTo>
                    <a:lnTo>
                      <a:pt x="704" y="239"/>
                    </a:lnTo>
                    <a:lnTo>
                      <a:pt x="699" y="241"/>
                    </a:lnTo>
                    <a:lnTo>
                      <a:pt x="699" y="246"/>
                    </a:lnTo>
                    <a:lnTo>
                      <a:pt x="704" y="249"/>
                    </a:lnTo>
                    <a:lnTo>
                      <a:pt x="700" y="251"/>
                    </a:lnTo>
                    <a:lnTo>
                      <a:pt x="699" y="254"/>
                    </a:lnTo>
                    <a:lnTo>
                      <a:pt x="690" y="256"/>
                    </a:lnTo>
                    <a:lnTo>
                      <a:pt x="686" y="260"/>
                    </a:lnTo>
                    <a:lnTo>
                      <a:pt x="680" y="263"/>
                    </a:lnTo>
                    <a:lnTo>
                      <a:pt x="676" y="266"/>
                    </a:lnTo>
                    <a:lnTo>
                      <a:pt x="678" y="26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8" name="Freeform 298"/>
              <p:cNvSpPr>
                <a:spLocks/>
              </p:cNvSpPr>
              <p:nvPr/>
            </p:nvSpPr>
            <p:spPr bwMode="auto">
              <a:xfrm>
                <a:off x="1085057" y="1992313"/>
                <a:ext cx="1955800" cy="1011237"/>
              </a:xfrm>
              <a:custGeom>
                <a:avLst/>
                <a:gdLst/>
                <a:ahLst/>
                <a:cxnLst>
                  <a:cxn ang="0">
                    <a:pos x="1096" y="570"/>
                  </a:cxn>
                  <a:cxn ang="0">
                    <a:pos x="1091" y="607"/>
                  </a:cxn>
                  <a:cxn ang="0">
                    <a:pos x="1149" y="568"/>
                  </a:cxn>
                  <a:cxn ang="0">
                    <a:pos x="1103" y="527"/>
                  </a:cxn>
                  <a:cxn ang="0">
                    <a:pos x="1092" y="499"/>
                  </a:cxn>
                  <a:cxn ang="0">
                    <a:pos x="1067" y="499"/>
                  </a:cxn>
                  <a:cxn ang="0">
                    <a:pos x="1172" y="479"/>
                  </a:cxn>
                  <a:cxn ang="0">
                    <a:pos x="1218" y="410"/>
                  </a:cxn>
                  <a:cxn ang="0">
                    <a:pos x="1187" y="408"/>
                  </a:cxn>
                  <a:cxn ang="0">
                    <a:pos x="1165" y="370"/>
                  </a:cxn>
                  <a:cxn ang="0">
                    <a:pos x="1127" y="319"/>
                  </a:cxn>
                  <a:cxn ang="0">
                    <a:pos x="1089" y="293"/>
                  </a:cxn>
                  <a:cxn ang="0">
                    <a:pos x="1031" y="281"/>
                  </a:cxn>
                  <a:cxn ang="0">
                    <a:pos x="969" y="231"/>
                  </a:cxn>
                  <a:cxn ang="0">
                    <a:pos x="903" y="243"/>
                  </a:cxn>
                  <a:cxn ang="0">
                    <a:pos x="907" y="300"/>
                  </a:cxn>
                  <a:cxn ang="0">
                    <a:pos x="917" y="374"/>
                  </a:cxn>
                  <a:cxn ang="0">
                    <a:pos x="891" y="458"/>
                  </a:cxn>
                  <a:cxn ang="0">
                    <a:pos x="841" y="391"/>
                  </a:cxn>
                  <a:cxn ang="0">
                    <a:pos x="705" y="348"/>
                  </a:cxn>
                  <a:cxn ang="0">
                    <a:pos x="666" y="308"/>
                  </a:cxn>
                  <a:cxn ang="0">
                    <a:pos x="695" y="227"/>
                  </a:cxn>
                  <a:cxn ang="0">
                    <a:pos x="697" y="202"/>
                  </a:cxn>
                  <a:cxn ang="0">
                    <a:pos x="738" y="195"/>
                  </a:cxn>
                  <a:cxn ang="0">
                    <a:pos x="733" y="152"/>
                  </a:cxn>
                  <a:cxn ang="0">
                    <a:pos x="785" y="140"/>
                  </a:cxn>
                  <a:cxn ang="0">
                    <a:pos x="845" y="131"/>
                  </a:cxn>
                  <a:cxn ang="0">
                    <a:pos x="857" y="78"/>
                  </a:cxn>
                  <a:cxn ang="0">
                    <a:pos x="798" y="64"/>
                  </a:cxn>
                  <a:cxn ang="0">
                    <a:pos x="757" y="104"/>
                  </a:cxn>
                  <a:cxn ang="0">
                    <a:pos x="735" y="78"/>
                  </a:cxn>
                  <a:cxn ang="0">
                    <a:pos x="700" y="50"/>
                  </a:cxn>
                  <a:cxn ang="0">
                    <a:pos x="659" y="0"/>
                  </a:cxn>
                  <a:cxn ang="0">
                    <a:pos x="642" y="52"/>
                  </a:cxn>
                  <a:cxn ang="0">
                    <a:pos x="668" y="93"/>
                  </a:cxn>
                  <a:cxn ang="0">
                    <a:pos x="638" y="92"/>
                  </a:cxn>
                  <a:cxn ang="0">
                    <a:pos x="582" y="105"/>
                  </a:cxn>
                  <a:cxn ang="0">
                    <a:pos x="487" y="76"/>
                  </a:cxn>
                  <a:cxn ang="0">
                    <a:pos x="482" y="97"/>
                  </a:cxn>
                  <a:cxn ang="0">
                    <a:pos x="427" y="102"/>
                  </a:cxn>
                  <a:cxn ang="0">
                    <a:pos x="367" y="95"/>
                  </a:cxn>
                  <a:cxn ang="0">
                    <a:pos x="343" y="80"/>
                  </a:cxn>
                  <a:cxn ang="0">
                    <a:pos x="253" y="59"/>
                  </a:cxn>
                  <a:cxn ang="0">
                    <a:pos x="184" y="40"/>
                  </a:cxn>
                  <a:cxn ang="0">
                    <a:pos x="131" y="52"/>
                  </a:cxn>
                  <a:cxn ang="0">
                    <a:pos x="85" y="68"/>
                  </a:cxn>
                  <a:cxn ang="0">
                    <a:pos x="28" y="71"/>
                  </a:cxn>
                  <a:cxn ang="0">
                    <a:pos x="19" y="281"/>
                  </a:cxn>
                  <a:cxn ang="0">
                    <a:pos x="78" y="291"/>
                  </a:cxn>
                  <a:cxn ang="0">
                    <a:pos x="134" y="360"/>
                  </a:cxn>
                  <a:cxn ang="0">
                    <a:pos x="150" y="411"/>
                  </a:cxn>
                  <a:cxn ang="0">
                    <a:pos x="183" y="448"/>
                  </a:cxn>
                  <a:cxn ang="0">
                    <a:pos x="232" y="492"/>
                  </a:cxn>
                  <a:cxn ang="0">
                    <a:pos x="700" y="513"/>
                  </a:cxn>
                  <a:cxn ang="0">
                    <a:pos x="771" y="515"/>
                  </a:cxn>
                  <a:cxn ang="0">
                    <a:pos x="807" y="540"/>
                  </a:cxn>
                  <a:cxn ang="0">
                    <a:pos x="876" y="587"/>
                  </a:cxn>
                  <a:cxn ang="0">
                    <a:pos x="833" y="630"/>
                  </a:cxn>
                  <a:cxn ang="0">
                    <a:pos x="883" y="626"/>
                  </a:cxn>
                  <a:cxn ang="0">
                    <a:pos x="912" y="601"/>
                  </a:cxn>
                  <a:cxn ang="0">
                    <a:pos x="991" y="575"/>
                  </a:cxn>
                  <a:cxn ang="0">
                    <a:pos x="1037" y="534"/>
                  </a:cxn>
                </a:cxnLst>
                <a:rect l="0" t="0" r="r" b="b"/>
                <a:pathLst>
                  <a:path w="1232" h="637">
                    <a:moveTo>
                      <a:pt x="1067" y="580"/>
                    </a:moveTo>
                    <a:lnTo>
                      <a:pt x="1067" y="578"/>
                    </a:lnTo>
                    <a:lnTo>
                      <a:pt x="1068" y="578"/>
                    </a:lnTo>
                    <a:lnTo>
                      <a:pt x="1072" y="578"/>
                    </a:lnTo>
                    <a:lnTo>
                      <a:pt x="1074" y="578"/>
                    </a:lnTo>
                    <a:lnTo>
                      <a:pt x="1080" y="578"/>
                    </a:lnTo>
                    <a:lnTo>
                      <a:pt x="1086" y="577"/>
                    </a:lnTo>
                    <a:lnTo>
                      <a:pt x="1091" y="577"/>
                    </a:lnTo>
                    <a:lnTo>
                      <a:pt x="1096" y="570"/>
                    </a:lnTo>
                    <a:lnTo>
                      <a:pt x="1105" y="566"/>
                    </a:lnTo>
                    <a:lnTo>
                      <a:pt x="1105" y="573"/>
                    </a:lnTo>
                    <a:lnTo>
                      <a:pt x="1111" y="575"/>
                    </a:lnTo>
                    <a:lnTo>
                      <a:pt x="1101" y="575"/>
                    </a:lnTo>
                    <a:lnTo>
                      <a:pt x="1091" y="580"/>
                    </a:lnTo>
                    <a:lnTo>
                      <a:pt x="1084" y="585"/>
                    </a:lnTo>
                    <a:lnTo>
                      <a:pt x="1082" y="594"/>
                    </a:lnTo>
                    <a:lnTo>
                      <a:pt x="1086" y="602"/>
                    </a:lnTo>
                    <a:lnTo>
                      <a:pt x="1091" y="607"/>
                    </a:lnTo>
                    <a:lnTo>
                      <a:pt x="1094" y="604"/>
                    </a:lnTo>
                    <a:lnTo>
                      <a:pt x="1099" y="599"/>
                    </a:lnTo>
                    <a:lnTo>
                      <a:pt x="1106" y="594"/>
                    </a:lnTo>
                    <a:lnTo>
                      <a:pt x="1115" y="590"/>
                    </a:lnTo>
                    <a:lnTo>
                      <a:pt x="1122" y="587"/>
                    </a:lnTo>
                    <a:lnTo>
                      <a:pt x="1134" y="582"/>
                    </a:lnTo>
                    <a:lnTo>
                      <a:pt x="1146" y="577"/>
                    </a:lnTo>
                    <a:lnTo>
                      <a:pt x="1153" y="573"/>
                    </a:lnTo>
                    <a:lnTo>
                      <a:pt x="1149" y="568"/>
                    </a:lnTo>
                    <a:lnTo>
                      <a:pt x="1144" y="566"/>
                    </a:lnTo>
                    <a:lnTo>
                      <a:pt x="1139" y="566"/>
                    </a:lnTo>
                    <a:lnTo>
                      <a:pt x="1135" y="566"/>
                    </a:lnTo>
                    <a:lnTo>
                      <a:pt x="1123" y="563"/>
                    </a:lnTo>
                    <a:lnTo>
                      <a:pt x="1111" y="558"/>
                    </a:lnTo>
                    <a:lnTo>
                      <a:pt x="1101" y="549"/>
                    </a:lnTo>
                    <a:lnTo>
                      <a:pt x="1098" y="540"/>
                    </a:lnTo>
                    <a:lnTo>
                      <a:pt x="1099" y="534"/>
                    </a:lnTo>
                    <a:lnTo>
                      <a:pt x="1103" y="527"/>
                    </a:lnTo>
                    <a:lnTo>
                      <a:pt x="1098" y="527"/>
                    </a:lnTo>
                    <a:lnTo>
                      <a:pt x="1091" y="527"/>
                    </a:lnTo>
                    <a:lnTo>
                      <a:pt x="1094" y="521"/>
                    </a:lnTo>
                    <a:lnTo>
                      <a:pt x="1101" y="520"/>
                    </a:lnTo>
                    <a:lnTo>
                      <a:pt x="1108" y="515"/>
                    </a:lnTo>
                    <a:lnTo>
                      <a:pt x="1111" y="509"/>
                    </a:lnTo>
                    <a:lnTo>
                      <a:pt x="1108" y="503"/>
                    </a:lnTo>
                    <a:lnTo>
                      <a:pt x="1101" y="501"/>
                    </a:lnTo>
                    <a:lnTo>
                      <a:pt x="1092" y="499"/>
                    </a:lnTo>
                    <a:lnTo>
                      <a:pt x="1086" y="501"/>
                    </a:lnTo>
                    <a:lnTo>
                      <a:pt x="1068" y="503"/>
                    </a:lnTo>
                    <a:lnTo>
                      <a:pt x="1058" y="509"/>
                    </a:lnTo>
                    <a:lnTo>
                      <a:pt x="1048" y="515"/>
                    </a:lnTo>
                    <a:lnTo>
                      <a:pt x="1037" y="520"/>
                    </a:lnTo>
                    <a:lnTo>
                      <a:pt x="1043" y="511"/>
                    </a:lnTo>
                    <a:lnTo>
                      <a:pt x="1049" y="508"/>
                    </a:lnTo>
                    <a:lnTo>
                      <a:pt x="1056" y="504"/>
                    </a:lnTo>
                    <a:lnTo>
                      <a:pt x="1067" y="499"/>
                    </a:lnTo>
                    <a:lnTo>
                      <a:pt x="1070" y="489"/>
                    </a:lnTo>
                    <a:lnTo>
                      <a:pt x="1079" y="484"/>
                    </a:lnTo>
                    <a:lnTo>
                      <a:pt x="1091" y="480"/>
                    </a:lnTo>
                    <a:lnTo>
                      <a:pt x="1103" y="480"/>
                    </a:lnTo>
                    <a:lnTo>
                      <a:pt x="1115" y="480"/>
                    </a:lnTo>
                    <a:lnTo>
                      <a:pt x="1129" y="482"/>
                    </a:lnTo>
                    <a:lnTo>
                      <a:pt x="1144" y="482"/>
                    </a:lnTo>
                    <a:lnTo>
                      <a:pt x="1160" y="482"/>
                    </a:lnTo>
                    <a:lnTo>
                      <a:pt x="1172" y="479"/>
                    </a:lnTo>
                    <a:lnTo>
                      <a:pt x="1184" y="470"/>
                    </a:lnTo>
                    <a:lnTo>
                      <a:pt x="1194" y="463"/>
                    </a:lnTo>
                    <a:lnTo>
                      <a:pt x="1209" y="458"/>
                    </a:lnTo>
                    <a:lnTo>
                      <a:pt x="1225" y="451"/>
                    </a:lnTo>
                    <a:lnTo>
                      <a:pt x="1232" y="442"/>
                    </a:lnTo>
                    <a:lnTo>
                      <a:pt x="1228" y="427"/>
                    </a:lnTo>
                    <a:lnTo>
                      <a:pt x="1223" y="418"/>
                    </a:lnTo>
                    <a:lnTo>
                      <a:pt x="1220" y="415"/>
                    </a:lnTo>
                    <a:lnTo>
                      <a:pt x="1218" y="410"/>
                    </a:lnTo>
                    <a:lnTo>
                      <a:pt x="1218" y="405"/>
                    </a:lnTo>
                    <a:lnTo>
                      <a:pt x="1206" y="410"/>
                    </a:lnTo>
                    <a:lnTo>
                      <a:pt x="1194" y="415"/>
                    </a:lnTo>
                    <a:lnTo>
                      <a:pt x="1178" y="417"/>
                    </a:lnTo>
                    <a:lnTo>
                      <a:pt x="1170" y="420"/>
                    </a:lnTo>
                    <a:lnTo>
                      <a:pt x="1166" y="418"/>
                    </a:lnTo>
                    <a:lnTo>
                      <a:pt x="1165" y="417"/>
                    </a:lnTo>
                    <a:lnTo>
                      <a:pt x="1173" y="411"/>
                    </a:lnTo>
                    <a:lnTo>
                      <a:pt x="1187" y="408"/>
                    </a:lnTo>
                    <a:lnTo>
                      <a:pt x="1199" y="403"/>
                    </a:lnTo>
                    <a:lnTo>
                      <a:pt x="1206" y="398"/>
                    </a:lnTo>
                    <a:lnTo>
                      <a:pt x="1204" y="394"/>
                    </a:lnTo>
                    <a:lnTo>
                      <a:pt x="1203" y="393"/>
                    </a:lnTo>
                    <a:lnTo>
                      <a:pt x="1190" y="391"/>
                    </a:lnTo>
                    <a:lnTo>
                      <a:pt x="1178" y="389"/>
                    </a:lnTo>
                    <a:lnTo>
                      <a:pt x="1168" y="382"/>
                    </a:lnTo>
                    <a:lnTo>
                      <a:pt x="1165" y="372"/>
                    </a:lnTo>
                    <a:lnTo>
                      <a:pt x="1165" y="370"/>
                    </a:lnTo>
                    <a:lnTo>
                      <a:pt x="1149" y="365"/>
                    </a:lnTo>
                    <a:lnTo>
                      <a:pt x="1139" y="358"/>
                    </a:lnTo>
                    <a:lnTo>
                      <a:pt x="1144" y="355"/>
                    </a:lnTo>
                    <a:lnTo>
                      <a:pt x="1148" y="348"/>
                    </a:lnTo>
                    <a:lnTo>
                      <a:pt x="1144" y="341"/>
                    </a:lnTo>
                    <a:lnTo>
                      <a:pt x="1144" y="334"/>
                    </a:lnTo>
                    <a:lnTo>
                      <a:pt x="1137" y="329"/>
                    </a:lnTo>
                    <a:lnTo>
                      <a:pt x="1132" y="325"/>
                    </a:lnTo>
                    <a:lnTo>
                      <a:pt x="1127" y="319"/>
                    </a:lnTo>
                    <a:lnTo>
                      <a:pt x="1127" y="313"/>
                    </a:lnTo>
                    <a:lnTo>
                      <a:pt x="1125" y="305"/>
                    </a:lnTo>
                    <a:lnTo>
                      <a:pt x="1120" y="298"/>
                    </a:lnTo>
                    <a:lnTo>
                      <a:pt x="1111" y="291"/>
                    </a:lnTo>
                    <a:lnTo>
                      <a:pt x="1110" y="284"/>
                    </a:lnTo>
                    <a:lnTo>
                      <a:pt x="1105" y="281"/>
                    </a:lnTo>
                    <a:lnTo>
                      <a:pt x="1101" y="279"/>
                    </a:lnTo>
                    <a:lnTo>
                      <a:pt x="1092" y="282"/>
                    </a:lnTo>
                    <a:lnTo>
                      <a:pt x="1089" y="293"/>
                    </a:lnTo>
                    <a:lnTo>
                      <a:pt x="1086" y="298"/>
                    </a:lnTo>
                    <a:lnTo>
                      <a:pt x="1079" y="308"/>
                    </a:lnTo>
                    <a:lnTo>
                      <a:pt x="1068" y="315"/>
                    </a:lnTo>
                    <a:lnTo>
                      <a:pt x="1060" y="319"/>
                    </a:lnTo>
                    <a:lnTo>
                      <a:pt x="1049" y="313"/>
                    </a:lnTo>
                    <a:lnTo>
                      <a:pt x="1043" y="308"/>
                    </a:lnTo>
                    <a:lnTo>
                      <a:pt x="1036" y="303"/>
                    </a:lnTo>
                    <a:lnTo>
                      <a:pt x="1032" y="293"/>
                    </a:lnTo>
                    <a:lnTo>
                      <a:pt x="1031" y="281"/>
                    </a:lnTo>
                    <a:lnTo>
                      <a:pt x="1031" y="272"/>
                    </a:lnTo>
                    <a:lnTo>
                      <a:pt x="1024" y="264"/>
                    </a:lnTo>
                    <a:lnTo>
                      <a:pt x="1013" y="262"/>
                    </a:lnTo>
                    <a:lnTo>
                      <a:pt x="1003" y="258"/>
                    </a:lnTo>
                    <a:lnTo>
                      <a:pt x="1000" y="250"/>
                    </a:lnTo>
                    <a:lnTo>
                      <a:pt x="989" y="245"/>
                    </a:lnTo>
                    <a:lnTo>
                      <a:pt x="984" y="239"/>
                    </a:lnTo>
                    <a:lnTo>
                      <a:pt x="976" y="233"/>
                    </a:lnTo>
                    <a:lnTo>
                      <a:pt x="969" y="231"/>
                    </a:lnTo>
                    <a:lnTo>
                      <a:pt x="962" y="233"/>
                    </a:lnTo>
                    <a:lnTo>
                      <a:pt x="955" y="236"/>
                    </a:lnTo>
                    <a:lnTo>
                      <a:pt x="943" y="233"/>
                    </a:lnTo>
                    <a:lnTo>
                      <a:pt x="934" y="231"/>
                    </a:lnTo>
                    <a:lnTo>
                      <a:pt x="926" y="227"/>
                    </a:lnTo>
                    <a:lnTo>
                      <a:pt x="917" y="227"/>
                    </a:lnTo>
                    <a:lnTo>
                      <a:pt x="905" y="229"/>
                    </a:lnTo>
                    <a:lnTo>
                      <a:pt x="902" y="239"/>
                    </a:lnTo>
                    <a:lnTo>
                      <a:pt x="903" y="243"/>
                    </a:lnTo>
                    <a:lnTo>
                      <a:pt x="907" y="248"/>
                    </a:lnTo>
                    <a:lnTo>
                      <a:pt x="908" y="253"/>
                    </a:lnTo>
                    <a:lnTo>
                      <a:pt x="903" y="262"/>
                    </a:lnTo>
                    <a:lnTo>
                      <a:pt x="902" y="265"/>
                    </a:lnTo>
                    <a:lnTo>
                      <a:pt x="905" y="272"/>
                    </a:lnTo>
                    <a:lnTo>
                      <a:pt x="908" y="277"/>
                    </a:lnTo>
                    <a:lnTo>
                      <a:pt x="914" y="284"/>
                    </a:lnTo>
                    <a:lnTo>
                      <a:pt x="910" y="293"/>
                    </a:lnTo>
                    <a:lnTo>
                      <a:pt x="907" y="300"/>
                    </a:lnTo>
                    <a:lnTo>
                      <a:pt x="898" y="303"/>
                    </a:lnTo>
                    <a:lnTo>
                      <a:pt x="895" y="307"/>
                    </a:lnTo>
                    <a:lnTo>
                      <a:pt x="903" y="319"/>
                    </a:lnTo>
                    <a:lnTo>
                      <a:pt x="912" y="331"/>
                    </a:lnTo>
                    <a:lnTo>
                      <a:pt x="915" y="336"/>
                    </a:lnTo>
                    <a:lnTo>
                      <a:pt x="920" y="344"/>
                    </a:lnTo>
                    <a:lnTo>
                      <a:pt x="922" y="355"/>
                    </a:lnTo>
                    <a:lnTo>
                      <a:pt x="924" y="367"/>
                    </a:lnTo>
                    <a:lnTo>
                      <a:pt x="917" y="374"/>
                    </a:lnTo>
                    <a:lnTo>
                      <a:pt x="907" y="386"/>
                    </a:lnTo>
                    <a:lnTo>
                      <a:pt x="893" y="394"/>
                    </a:lnTo>
                    <a:lnTo>
                      <a:pt x="883" y="399"/>
                    </a:lnTo>
                    <a:lnTo>
                      <a:pt x="891" y="408"/>
                    </a:lnTo>
                    <a:lnTo>
                      <a:pt x="895" y="422"/>
                    </a:lnTo>
                    <a:lnTo>
                      <a:pt x="896" y="436"/>
                    </a:lnTo>
                    <a:lnTo>
                      <a:pt x="900" y="446"/>
                    </a:lnTo>
                    <a:lnTo>
                      <a:pt x="895" y="449"/>
                    </a:lnTo>
                    <a:lnTo>
                      <a:pt x="891" y="458"/>
                    </a:lnTo>
                    <a:lnTo>
                      <a:pt x="883" y="461"/>
                    </a:lnTo>
                    <a:lnTo>
                      <a:pt x="876" y="463"/>
                    </a:lnTo>
                    <a:lnTo>
                      <a:pt x="865" y="453"/>
                    </a:lnTo>
                    <a:lnTo>
                      <a:pt x="855" y="444"/>
                    </a:lnTo>
                    <a:lnTo>
                      <a:pt x="847" y="434"/>
                    </a:lnTo>
                    <a:lnTo>
                      <a:pt x="845" y="423"/>
                    </a:lnTo>
                    <a:lnTo>
                      <a:pt x="845" y="410"/>
                    </a:lnTo>
                    <a:lnTo>
                      <a:pt x="845" y="401"/>
                    </a:lnTo>
                    <a:lnTo>
                      <a:pt x="841" y="391"/>
                    </a:lnTo>
                    <a:lnTo>
                      <a:pt x="834" y="386"/>
                    </a:lnTo>
                    <a:lnTo>
                      <a:pt x="802" y="386"/>
                    </a:lnTo>
                    <a:lnTo>
                      <a:pt x="786" y="375"/>
                    </a:lnTo>
                    <a:lnTo>
                      <a:pt x="771" y="367"/>
                    </a:lnTo>
                    <a:lnTo>
                      <a:pt x="754" y="360"/>
                    </a:lnTo>
                    <a:lnTo>
                      <a:pt x="738" y="355"/>
                    </a:lnTo>
                    <a:lnTo>
                      <a:pt x="728" y="348"/>
                    </a:lnTo>
                    <a:lnTo>
                      <a:pt x="716" y="344"/>
                    </a:lnTo>
                    <a:lnTo>
                      <a:pt x="705" y="348"/>
                    </a:lnTo>
                    <a:lnTo>
                      <a:pt x="697" y="351"/>
                    </a:lnTo>
                    <a:lnTo>
                      <a:pt x="695" y="338"/>
                    </a:lnTo>
                    <a:lnTo>
                      <a:pt x="692" y="325"/>
                    </a:lnTo>
                    <a:lnTo>
                      <a:pt x="685" y="315"/>
                    </a:lnTo>
                    <a:lnTo>
                      <a:pt x="678" y="312"/>
                    </a:lnTo>
                    <a:lnTo>
                      <a:pt x="671" y="313"/>
                    </a:lnTo>
                    <a:lnTo>
                      <a:pt x="666" y="317"/>
                    </a:lnTo>
                    <a:lnTo>
                      <a:pt x="666" y="312"/>
                    </a:lnTo>
                    <a:lnTo>
                      <a:pt x="666" y="308"/>
                    </a:lnTo>
                    <a:lnTo>
                      <a:pt x="666" y="301"/>
                    </a:lnTo>
                    <a:lnTo>
                      <a:pt x="666" y="295"/>
                    </a:lnTo>
                    <a:lnTo>
                      <a:pt x="666" y="279"/>
                    </a:lnTo>
                    <a:lnTo>
                      <a:pt x="669" y="269"/>
                    </a:lnTo>
                    <a:lnTo>
                      <a:pt x="675" y="258"/>
                    </a:lnTo>
                    <a:lnTo>
                      <a:pt x="683" y="250"/>
                    </a:lnTo>
                    <a:lnTo>
                      <a:pt x="685" y="243"/>
                    </a:lnTo>
                    <a:lnTo>
                      <a:pt x="690" y="236"/>
                    </a:lnTo>
                    <a:lnTo>
                      <a:pt x="695" y="227"/>
                    </a:lnTo>
                    <a:lnTo>
                      <a:pt x="700" y="224"/>
                    </a:lnTo>
                    <a:lnTo>
                      <a:pt x="707" y="222"/>
                    </a:lnTo>
                    <a:lnTo>
                      <a:pt x="714" y="221"/>
                    </a:lnTo>
                    <a:lnTo>
                      <a:pt x="721" y="219"/>
                    </a:lnTo>
                    <a:lnTo>
                      <a:pt x="724" y="214"/>
                    </a:lnTo>
                    <a:lnTo>
                      <a:pt x="721" y="209"/>
                    </a:lnTo>
                    <a:lnTo>
                      <a:pt x="712" y="205"/>
                    </a:lnTo>
                    <a:lnTo>
                      <a:pt x="704" y="203"/>
                    </a:lnTo>
                    <a:lnTo>
                      <a:pt x="697" y="202"/>
                    </a:lnTo>
                    <a:lnTo>
                      <a:pt x="697" y="200"/>
                    </a:lnTo>
                    <a:lnTo>
                      <a:pt x="699" y="198"/>
                    </a:lnTo>
                    <a:lnTo>
                      <a:pt x="705" y="198"/>
                    </a:lnTo>
                    <a:lnTo>
                      <a:pt x="714" y="200"/>
                    </a:lnTo>
                    <a:lnTo>
                      <a:pt x="728" y="205"/>
                    </a:lnTo>
                    <a:lnTo>
                      <a:pt x="731" y="203"/>
                    </a:lnTo>
                    <a:lnTo>
                      <a:pt x="733" y="200"/>
                    </a:lnTo>
                    <a:lnTo>
                      <a:pt x="735" y="197"/>
                    </a:lnTo>
                    <a:lnTo>
                      <a:pt x="738" y="195"/>
                    </a:lnTo>
                    <a:lnTo>
                      <a:pt x="740" y="195"/>
                    </a:lnTo>
                    <a:lnTo>
                      <a:pt x="748" y="195"/>
                    </a:lnTo>
                    <a:lnTo>
                      <a:pt x="762" y="188"/>
                    </a:lnTo>
                    <a:lnTo>
                      <a:pt x="776" y="176"/>
                    </a:lnTo>
                    <a:lnTo>
                      <a:pt x="776" y="169"/>
                    </a:lnTo>
                    <a:lnTo>
                      <a:pt x="762" y="166"/>
                    </a:lnTo>
                    <a:lnTo>
                      <a:pt x="750" y="164"/>
                    </a:lnTo>
                    <a:lnTo>
                      <a:pt x="740" y="159"/>
                    </a:lnTo>
                    <a:lnTo>
                      <a:pt x="733" y="152"/>
                    </a:lnTo>
                    <a:lnTo>
                      <a:pt x="736" y="152"/>
                    </a:lnTo>
                    <a:lnTo>
                      <a:pt x="743" y="152"/>
                    </a:lnTo>
                    <a:lnTo>
                      <a:pt x="752" y="159"/>
                    </a:lnTo>
                    <a:lnTo>
                      <a:pt x="766" y="164"/>
                    </a:lnTo>
                    <a:lnTo>
                      <a:pt x="771" y="160"/>
                    </a:lnTo>
                    <a:lnTo>
                      <a:pt x="779" y="157"/>
                    </a:lnTo>
                    <a:lnTo>
                      <a:pt x="785" y="152"/>
                    </a:lnTo>
                    <a:lnTo>
                      <a:pt x="788" y="147"/>
                    </a:lnTo>
                    <a:lnTo>
                      <a:pt x="785" y="140"/>
                    </a:lnTo>
                    <a:lnTo>
                      <a:pt x="785" y="136"/>
                    </a:lnTo>
                    <a:lnTo>
                      <a:pt x="797" y="141"/>
                    </a:lnTo>
                    <a:lnTo>
                      <a:pt x="807" y="147"/>
                    </a:lnTo>
                    <a:lnTo>
                      <a:pt x="814" y="143"/>
                    </a:lnTo>
                    <a:lnTo>
                      <a:pt x="824" y="141"/>
                    </a:lnTo>
                    <a:lnTo>
                      <a:pt x="824" y="135"/>
                    </a:lnTo>
                    <a:lnTo>
                      <a:pt x="831" y="140"/>
                    </a:lnTo>
                    <a:lnTo>
                      <a:pt x="834" y="138"/>
                    </a:lnTo>
                    <a:lnTo>
                      <a:pt x="845" y="131"/>
                    </a:lnTo>
                    <a:lnTo>
                      <a:pt x="855" y="123"/>
                    </a:lnTo>
                    <a:lnTo>
                      <a:pt x="860" y="116"/>
                    </a:lnTo>
                    <a:lnTo>
                      <a:pt x="853" y="107"/>
                    </a:lnTo>
                    <a:lnTo>
                      <a:pt x="848" y="102"/>
                    </a:lnTo>
                    <a:lnTo>
                      <a:pt x="847" y="97"/>
                    </a:lnTo>
                    <a:lnTo>
                      <a:pt x="847" y="93"/>
                    </a:lnTo>
                    <a:lnTo>
                      <a:pt x="848" y="88"/>
                    </a:lnTo>
                    <a:lnTo>
                      <a:pt x="857" y="83"/>
                    </a:lnTo>
                    <a:lnTo>
                      <a:pt x="857" y="78"/>
                    </a:lnTo>
                    <a:lnTo>
                      <a:pt x="857" y="71"/>
                    </a:lnTo>
                    <a:lnTo>
                      <a:pt x="847" y="68"/>
                    </a:lnTo>
                    <a:lnTo>
                      <a:pt x="841" y="64"/>
                    </a:lnTo>
                    <a:lnTo>
                      <a:pt x="834" y="59"/>
                    </a:lnTo>
                    <a:lnTo>
                      <a:pt x="824" y="57"/>
                    </a:lnTo>
                    <a:lnTo>
                      <a:pt x="817" y="56"/>
                    </a:lnTo>
                    <a:lnTo>
                      <a:pt x="812" y="54"/>
                    </a:lnTo>
                    <a:lnTo>
                      <a:pt x="802" y="56"/>
                    </a:lnTo>
                    <a:lnTo>
                      <a:pt x="798" y="64"/>
                    </a:lnTo>
                    <a:lnTo>
                      <a:pt x="802" y="71"/>
                    </a:lnTo>
                    <a:lnTo>
                      <a:pt x="807" y="78"/>
                    </a:lnTo>
                    <a:lnTo>
                      <a:pt x="800" y="83"/>
                    </a:lnTo>
                    <a:lnTo>
                      <a:pt x="791" y="88"/>
                    </a:lnTo>
                    <a:lnTo>
                      <a:pt x="788" y="100"/>
                    </a:lnTo>
                    <a:lnTo>
                      <a:pt x="783" y="114"/>
                    </a:lnTo>
                    <a:lnTo>
                      <a:pt x="773" y="117"/>
                    </a:lnTo>
                    <a:lnTo>
                      <a:pt x="764" y="112"/>
                    </a:lnTo>
                    <a:lnTo>
                      <a:pt x="757" y="104"/>
                    </a:lnTo>
                    <a:lnTo>
                      <a:pt x="755" y="98"/>
                    </a:lnTo>
                    <a:lnTo>
                      <a:pt x="759" y="92"/>
                    </a:lnTo>
                    <a:lnTo>
                      <a:pt x="764" y="86"/>
                    </a:lnTo>
                    <a:lnTo>
                      <a:pt x="761" y="81"/>
                    </a:lnTo>
                    <a:lnTo>
                      <a:pt x="755" y="74"/>
                    </a:lnTo>
                    <a:lnTo>
                      <a:pt x="748" y="69"/>
                    </a:lnTo>
                    <a:lnTo>
                      <a:pt x="745" y="68"/>
                    </a:lnTo>
                    <a:lnTo>
                      <a:pt x="736" y="69"/>
                    </a:lnTo>
                    <a:lnTo>
                      <a:pt x="735" y="78"/>
                    </a:lnTo>
                    <a:lnTo>
                      <a:pt x="731" y="85"/>
                    </a:lnTo>
                    <a:lnTo>
                      <a:pt x="724" y="90"/>
                    </a:lnTo>
                    <a:lnTo>
                      <a:pt x="723" y="78"/>
                    </a:lnTo>
                    <a:lnTo>
                      <a:pt x="714" y="71"/>
                    </a:lnTo>
                    <a:lnTo>
                      <a:pt x="716" y="66"/>
                    </a:lnTo>
                    <a:lnTo>
                      <a:pt x="719" y="64"/>
                    </a:lnTo>
                    <a:lnTo>
                      <a:pt x="704" y="61"/>
                    </a:lnTo>
                    <a:lnTo>
                      <a:pt x="693" y="57"/>
                    </a:lnTo>
                    <a:lnTo>
                      <a:pt x="700" y="50"/>
                    </a:lnTo>
                    <a:lnTo>
                      <a:pt x="705" y="43"/>
                    </a:lnTo>
                    <a:lnTo>
                      <a:pt x="702" y="37"/>
                    </a:lnTo>
                    <a:lnTo>
                      <a:pt x="697" y="35"/>
                    </a:lnTo>
                    <a:lnTo>
                      <a:pt x="692" y="31"/>
                    </a:lnTo>
                    <a:lnTo>
                      <a:pt x="690" y="28"/>
                    </a:lnTo>
                    <a:lnTo>
                      <a:pt x="687" y="16"/>
                    </a:lnTo>
                    <a:lnTo>
                      <a:pt x="681" y="9"/>
                    </a:lnTo>
                    <a:lnTo>
                      <a:pt x="671" y="2"/>
                    </a:lnTo>
                    <a:lnTo>
                      <a:pt x="659" y="0"/>
                    </a:lnTo>
                    <a:lnTo>
                      <a:pt x="652" y="4"/>
                    </a:lnTo>
                    <a:lnTo>
                      <a:pt x="654" y="13"/>
                    </a:lnTo>
                    <a:lnTo>
                      <a:pt x="644" y="13"/>
                    </a:lnTo>
                    <a:lnTo>
                      <a:pt x="640" y="19"/>
                    </a:lnTo>
                    <a:lnTo>
                      <a:pt x="642" y="26"/>
                    </a:lnTo>
                    <a:lnTo>
                      <a:pt x="644" y="33"/>
                    </a:lnTo>
                    <a:lnTo>
                      <a:pt x="640" y="37"/>
                    </a:lnTo>
                    <a:lnTo>
                      <a:pt x="637" y="43"/>
                    </a:lnTo>
                    <a:lnTo>
                      <a:pt x="642" y="52"/>
                    </a:lnTo>
                    <a:lnTo>
                      <a:pt x="654" y="56"/>
                    </a:lnTo>
                    <a:lnTo>
                      <a:pt x="664" y="59"/>
                    </a:lnTo>
                    <a:lnTo>
                      <a:pt x="671" y="68"/>
                    </a:lnTo>
                    <a:lnTo>
                      <a:pt x="669" y="76"/>
                    </a:lnTo>
                    <a:lnTo>
                      <a:pt x="668" y="83"/>
                    </a:lnTo>
                    <a:lnTo>
                      <a:pt x="673" y="80"/>
                    </a:lnTo>
                    <a:lnTo>
                      <a:pt x="678" y="78"/>
                    </a:lnTo>
                    <a:lnTo>
                      <a:pt x="676" y="88"/>
                    </a:lnTo>
                    <a:lnTo>
                      <a:pt x="668" y="93"/>
                    </a:lnTo>
                    <a:lnTo>
                      <a:pt x="661" y="95"/>
                    </a:lnTo>
                    <a:lnTo>
                      <a:pt x="656" y="98"/>
                    </a:lnTo>
                    <a:lnTo>
                      <a:pt x="652" y="104"/>
                    </a:lnTo>
                    <a:lnTo>
                      <a:pt x="652" y="114"/>
                    </a:lnTo>
                    <a:lnTo>
                      <a:pt x="644" y="112"/>
                    </a:lnTo>
                    <a:lnTo>
                      <a:pt x="642" y="107"/>
                    </a:lnTo>
                    <a:lnTo>
                      <a:pt x="644" y="100"/>
                    </a:lnTo>
                    <a:lnTo>
                      <a:pt x="644" y="95"/>
                    </a:lnTo>
                    <a:lnTo>
                      <a:pt x="638" y="92"/>
                    </a:lnTo>
                    <a:lnTo>
                      <a:pt x="633" y="92"/>
                    </a:lnTo>
                    <a:lnTo>
                      <a:pt x="626" y="90"/>
                    </a:lnTo>
                    <a:lnTo>
                      <a:pt x="621" y="90"/>
                    </a:lnTo>
                    <a:lnTo>
                      <a:pt x="611" y="93"/>
                    </a:lnTo>
                    <a:lnTo>
                      <a:pt x="609" y="105"/>
                    </a:lnTo>
                    <a:lnTo>
                      <a:pt x="601" y="105"/>
                    </a:lnTo>
                    <a:lnTo>
                      <a:pt x="594" y="105"/>
                    </a:lnTo>
                    <a:lnTo>
                      <a:pt x="587" y="105"/>
                    </a:lnTo>
                    <a:lnTo>
                      <a:pt x="582" y="105"/>
                    </a:lnTo>
                    <a:lnTo>
                      <a:pt x="573" y="105"/>
                    </a:lnTo>
                    <a:lnTo>
                      <a:pt x="564" y="105"/>
                    </a:lnTo>
                    <a:lnTo>
                      <a:pt x="554" y="104"/>
                    </a:lnTo>
                    <a:lnTo>
                      <a:pt x="544" y="102"/>
                    </a:lnTo>
                    <a:lnTo>
                      <a:pt x="533" y="100"/>
                    </a:lnTo>
                    <a:lnTo>
                      <a:pt x="523" y="98"/>
                    </a:lnTo>
                    <a:lnTo>
                      <a:pt x="508" y="88"/>
                    </a:lnTo>
                    <a:lnTo>
                      <a:pt x="499" y="76"/>
                    </a:lnTo>
                    <a:lnTo>
                      <a:pt x="487" y="76"/>
                    </a:lnTo>
                    <a:lnTo>
                      <a:pt x="475" y="78"/>
                    </a:lnTo>
                    <a:lnTo>
                      <a:pt x="463" y="81"/>
                    </a:lnTo>
                    <a:lnTo>
                      <a:pt x="460" y="90"/>
                    </a:lnTo>
                    <a:lnTo>
                      <a:pt x="461" y="93"/>
                    </a:lnTo>
                    <a:lnTo>
                      <a:pt x="466" y="95"/>
                    </a:lnTo>
                    <a:lnTo>
                      <a:pt x="480" y="92"/>
                    </a:lnTo>
                    <a:lnTo>
                      <a:pt x="494" y="88"/>
                    </a:lnTo>
                    <a:lnTo>
                      <a:pt x="490" y="93"/>
                    </a:lnTo>
                    <a:lnTo>
                      <a:pt x="482" y="97"/>
                    </a:lnTo>
                    <a:lnTo>
                      <a:pt x="473" y="98"/>
                    </a:lnTo>
                    <a:lnTo>
                      <a:pt x="470" y="107"/>
                    </a:lnTo>
                    <a:lnTo>
                      <a:pt x="472" y="116"/>
                    </a:lnTo>
                    <a:lnTo>
                      <a:pt x="473" y="123"/>
                    </a:lnTo>
                    <a:lnTo>
                      <a:pt x="461" y="116"/>
                    </a:lnTo>
                    <a:lnTo>
                      <a:pt x="453" y="105"/>
                    </a:lnTo>
                    <a:lnTo>
                      <a:pt x="444" y="102"/>
                    </a:lnTo>
                    <a:lnTo>
                      <a:pt x="434" y="102"/>
                    </a:lnTo>
                    <a:lnTo>
                      <a:pt x="427" y="102"/>
                    </a:lnTo>
                    <a:lnTo>
                      <a:pt x="420" y="102"/>
                    </a:lnTo>
                    <a:lnTo>
                      <a:pt x="411" y="102"/>
                    </a:lnTo>
                    <a:lnTo>
                      <a:pt x="398" y="104"/>
                    </a:lnTo>
                    <a:lnTo>
                      <a:pt x="384" y="107"/>
                    </a:lnTo>
                    <a:lnTo>
                      <a:pt x="372" y="105"/>
                    </a:lnTo>
                    <a:lnTo>
                      <a:pt x="367" y="104"/>
                    </a:lnTo>
                    <a:lnTo>
                      <a:pt x="365" y="100"/>
                    </a:lnTo>
                    <a:lnTo>
                      <a:pt x="365" y="98"/>
                    </a:lnTo>
                    <a:lnTo>
                      <a:pt x="367" y="95"/>
                    </a:lnTo>
                    <a:lnTo>
                      <a:pt x="372" y="95"/>
                    </a:lnTo>
                    <a:lnTo>
                      <a:pt x="377" y="93"/>
                    </a:lnTo>
                    <a:lnTo>
                      <a:pt x="382" y="93"/>
                    </a:lnTo>
                    <a:lnTo>
                      <a:pt x="374" y="81"/>
                    </a:lnTo>
                    <a:lnTo>
                      <a:pt x="367" y="78"/>
                    </a:lnTo>
                    <a:lnTo>
                      <a:pt x="361" y="76"/>
                    </a:lnTo>
                    <a:lnTo>
                      <a:pt x="358" y="76"/>
                    </a:lnTo>
                    <a:lnTo>
                      <a:pt x="351" y="78"/>
                    </a:lnTo>
                    <a:lnTo>
                      <a:pt x="343" y="80"/>
                    </a:lnTo>
                    <a:lnTo>
                      <a:pt x="331" y="78"/>
                    </a:lnTo>
                    <a:lnTo>
                      <a:pt x="320" y="76"/>
                    </a:lnTo>
                    <a:lnTo>
                      <a:pt x="312" y="71"/>
                    </a:lnTo>
                    <a:lnTo>
                      <a:pt x="303" y="68"/>
                    </a:lnTo>
                    <a:lnTo>
                      <a:pt x="293" y="62"/>
                    </a:lnTo>
                    <a:lnTo>
                      <a:pt x="284" y="59"/>
                    </a:lnTo>
                    <a:lnTo>
                      <a:pt x="274" y="57"/>
                    </a:lnTo>
                    <a:lnTo>
                      <a:pt x="265" y="57"/>
                    </a:lnTo>
                    <a:lnTo>
                      <a:pt x="253" y="59"/>
                    </a:lnTo>
                    <a:lnTo>
                      <a:pt x="243" y="62"/>
                    </a:lnTo>
                    <a:lnTo>
                      <a:pt x="234" y="57"/>
                    </a:lnTo>
                    <a:lnTo>
                      <a:pt x="231" y="49"/>
                    </a:lnTo>
                    <a:lnTo>
                      <a:pt x="220" y="56"/>
                    </a:lnTo>
                    <a:lnTo>
                      <a:pt x="212" y="62"/>
                    </a:lnTo>
                    <a:lnTo>
                      <a:pt x="203" y="57"/>
                    </a:lnTo>
                    <a:lnTo>
                      <a:pt x="195" y="50"/>
                    </a:lnTo>
                    <a:lnTo>
                      <a:pt x="188" y="42"/>
                    </a:lnTo>
                    <a:lnTo>
                      <a:pt x="184" y="40"/>
                    </a:lnTo>
                    <a:lnTo>
                      <a:pt x="177" y="42"/>
                    </a:lnTo>
                    <a:lnTo>
                      <a:pt x="176" y="47"/>
                    </a:lnTo>
                    <a:lnTo>
                      <a:pt x="172" y="50"/>
                    </a:lnTo>
                    <a:lnTo>
                      <a:pt x="167" y="54"/>
                    </a:lnTo>
                    <a:lnTo>
                      <a:pt x="162" y="52"/>
                    </a:lnTo>
                    <a:lnTo>
                      <a:pt x="159" y="47"/>
                    </a:lnTo>
                    <a:lnTo>
                      <a:pt x="146" y="49"/>
                    </a:lnTo>
                    <a:lnTo>
                      <a:pt x="140" y="50"/>
                    </a:lnTo>
                    <a:lnTo>
                      <a:pt x="131" y="52"/>
                    </a:lnTo>
                    <a:lnTo>
                      <a:pt x="122" y="57"/>
                    </a:lnTo>
                    <a:lnTo>
                      <a:pt x="116" y="59"/>
                    </a:lnTo>
                    <a:lnTo>
                      <a:pt x="110" y="62"/>
                    </a:lnTo>
                    <a:lnTo>
                      <a:pt x="104" y="64"/>
                    </a:lnTo>
                    <a:lnTo>
                      <a:pt x="100" y="64"/>
                    </a:lnTo>
                    <a:lnTo>
                      <a:pt x="91" y="59"/>
                    </a:lnTo>
                    <a:lnTo>
                      <a:pt x="88" y="61"/>
                    </a:lnTo>
                    <a:lnTo>
                      <a:pt x="86" y="64"/>
                    </a:lnTo>
                    <a:lnTo>
                      <a:pt x="85" y="68"/>
                    </a:lnTo>
                    <a:lnTo>
                      <a:pt x="73" y="68"/>
                    </a:lnTo>
                    <a:lnTo>
                      <a:pt x="67" y="69"/>
                    </a:lnTo>
                    <a:lnTo>
                      <a:pt x="64" y="71"/>
                    </a:lnTo>
                    <a:lnTo>
                      <a:pt x="66" y="74"/>
                    </a:lnTo>
                    <a:lnTo>
                      <a:pt x="67" y="78"/>
                    </a:lnTo>
                    <a:lnTo>
                      <a:pt x="69" y="81"/>
                    </a:lnTo>
                    <a:lnTo>
                      <a:pt x="57" y="80"/>
                    </a:lnTo>
                    <a:lnTo>
                      <a:pt x="43" y="78"/>
                    </a:lnTo>
                    <a:lnTo>
                      <a:pt x="28" y="71"/>
                    </a:lnTo>
                    <a:lnTo>
                      <a:pt x="12" y="66"/>
                    </a:lnTo>
                    <a:lnTo>
                      <a:pt x="9" y="62"/>
                    </a:lnTo>
                    <a:lnTo>
                      <a:pt x="5" y="59"/>
                    </a:lnTo>
                    <a:lnTo>
                      <a:pt x="2" y="59"/>
                    </a:lnTo>
                    <a:lnTo>
                      <a:pt x="0" y="59"/>
                    </a:lnTo>
                    <a:lnTo>
                      <a:pt x="0" y="279"/>
                    </a:lnTo>
                    <a:lnTo>
                      <a:pt x="4" y="279"/>
                    </a:lnTo>
                    <a:lnTo>
                      <a:pt x="12" y="281"/>
                    </a:lnTo>
                    <a:lnTo>
                      <a:pt x="19" y="281"/>
                    </a:lnTo>
                    <a:lnTo>
                      <a:pt x="28" y="286"/>
                    </a:lnTo>
                    <a:lnTo>
                      <a:pt x="31" y="291"/>
                    </a:lnTo>
                    <a:lnTo>
                      <a:pt x="38" y="298"/>
                    </a:lnTo>
                    <a:lnTo>
                      <a:pt x="45" y="303"/>
                    </a:lnTo>
                    <a:lnTo>
                      <a:pt x="54" y="307"/>
                    </a:lnTo>
                    <a:lnTo>
                      <a:pt x="61" y="300"/>
                    </a:lnTo>
                    <a:lnTo>
                      <a:pt x="67" y="295"/>
                    </a:lnTo>
                    <a:lnTo>
                      <a:pt x="71" y="293"/>
                    </a:lnTo>
                    <a:lnTo>
                      <a:pt x="78" y="291"/>
                    </a:lnTo>
                    <a:lnTo>
                      <a:pt x="86" y="300"/>
                    </a:lnTo>
                    <a:lnTo>
                      <a:pt x="95" y="308"/>
                    </a:lnTo>
                    <a:lnTo>
                      <a:pt x="102" y="319"/>
                    </a:lnTo>
                    <a:lnTo>
                      <a:pt x="112" y="332"/>
                    </a:lnTo>
                    <a:lnTo>
                      <a:pt x="116" y="334"/>
                    </a:lnTo>
                    <a:lnTo>
                      <a:pt x="119" y="339"/>
                    </a:lnTo>
                    <a:lnTo>
                      <a:pt x="122" y="348"/>
                    </a:lnTo>
                    <a:lnTo>
                      <a:pt x="129" y="358"/>
                    </a:lnTo>
                    <a:lnTo>
                      <a:pt x="134" y="360"/>
                    </a:lnTo>
                    <a:lnTo>
                      <a:pt x="141" y="363"/>
                    </a:lnTo>
                    <a:lnTo>
                      <a:pt x="150" y="370"/>
                    </a:lnTo>
                    <a:lnTo>
                      <a:pt x="155" y="382"/>
                    </a:lnTo>
                    <a:lnTo>
                      <a:pt x="152" y="387"/>
                    </a:lnTo>
                    <a:lnTo>
                      <a:pt x="148" y="393"/>
                    </a:lnTo>
                    <a:lnTo>
                      <a:pt x="148" y="394"/>
                    </a:lnTo>
                    <a:lnTo>
                      <a:pt x="150" y="399"/>
                    </a:lnTo>
                    <a:lnTo>
                      <a:pt x="148" y="405"/>
                    </a:lnTo>
                    <a:lnTo>
                      <a:pt x="150" y="411"/>
                    </a:lnTo>
                    <a:lnTo>
                      <a:pt x="150" y="417"/>
                    </a:lnTo>
                    <a:lnTo>
                      <a:pt x="157" y="422"/>
                    </a:lnTo>
                    <a:lnTo>
                      <a:pt x="162" y="422"/>
                    </a:lnTo>
                    <a:lnTo>
                      <a:pt x="167" y="425"/>
                    </a:lnTo>
                    <a:lnTo>
                      <a:pt x="169" y="432"/>
                    </a:lnTo>
                    <a:lnTo>
                      <a:pt x="172" y="441"/>
                    </a:lnTo>
                    <a:lnTo>
                      <a:pt x="174" y="441"/>
                    </a:lnTo>
                    <a:lnTo>
                      <a:pt x="179" y="444"/>
                    </a:lnTo>
                    <a:lnTo>
                      <a:pt x="183" y="448"/>
                    </a:lnTo>
                    <a:lnTo>
                      <a:pt x="186" y="451"/>
                    </a:lnTo>
                    <a:lnTo>
                      <a:pt x="188" y="458"/>
                    </a:lnTo>
                    <a:lnTo>
                      <a:pt x="191" y="466"/>
                    </a:lnTo>
                    <a:lnTo>
                      <a:pt x="196" y="472"/>
                    </a:lnTo>
                    <a:lnTo>
                      <a:pt x="208" y="475"/>
                    </a:lnTo>
                    <a:lnTo>
                      <a:pt x="210" y="479"/>
                    </a:lnTo>
                    <a:lnTo>
                      <a:pt x="219" y="482"/>
                    </a:lnTo>
                    <a:lnTo>
                      <a:pt x="226" y="484"/>
                    </a:lnTo>
                    <a:lnTo>
                      <a:pt x="232" y="492"/>
                    </a:lnTo>
                    <a:lnTo>
                      <a:pt x="239" y="497"/>
                    </a:lnTo>
                    <a:lnTo>
                      <a:pt x="251" y="504"/>
                    </a:lnTo>
                    <a:lnTo>
                      <a:pt x="253" y="504"/>
                    </a:lnTo>
                    <a:lnTo>
                      <a:pt x="257" y="506"/>
                    </a:lnTo>
                    <a:lnTo>
                      <a:pt x="662" y="506"/>
                    </a:lnTo>
                    <a:lnTo>
                      <a:pt x="662" y="501"/>
                    </a:lnTo>
                    <a:lnTo>
                      <a:pt x="669" y="506"/>
                    </a:lnTo>
                    <a:lnTo>
                      <a:pt x="676" y="513"/>
                    </a:lnTo>
                    <a:lnTo>
                      <a:pt x="700" y="513"/>
                    </a:lnTo>
                    <a:lnTo>
                      <a:pt x="707" y="518"/>
                    </a:lnTo>
                    <a:lnTo>
                      <a:pt x="718" y="521"/>
                    </a:lnTo>
                    <a:lnTo>
                      <a:pt x="728" y="521"/>
                    </a:lnTo>
                    <a:lnTo>
                      <a:pt x="743" y="523"/>
                    </a:lnTo>
                    <a:lnTo>
                      <a:pt x="748" y="521"/>
                    </a:lnTo>
                    <a:lnTo>
                      <a:pt x="755" y="521"/>
                    </a:lnTo>
                    <a:lnTo>
                      <a:pt x="759" y="513"/>
                    </a:lnTo>
                    <a:lnTo>
                      <a:pt x="764" y="509"/>
                    </a:lnTo>
                    <a:lnTo>
                      <a:pt x="771" y="515"/>
                    </a:lnTo>
                    <a:lnTo>
                      <a:pt x="776" y="521"/>
                    </a:lnTo>
                    <a:lnTo>
                      <a:pt x="776" y="516"/>
                    </a:lnTo>
                    <a:lnTo>
                      <a:pt x="778" y="515"/>
                    </a:lnTo>
                    <a:lnTo>
                      <a:pt x="781" y="515"/>
                    </a:lnTo>
                    <a:lnTo>
                      <a:pt x="785" y="516"/>
                    </a:lnTo>
                    <a:lnTo>
                      <a:pt x="793" y="523"/>
                    </a:lnTo>
                    <a:lnTo>
                      <a:pt x="802" y="528"/>
                    </a:lnTo>
                    <a:lnTo>
                      <a:pt x="807" y="534"/>
                    </a:lnTo>
                    <a:lnTo>
                      <a:pt x="807" y="540"/>
                    </a:lnTo>
                    <a:lnTo>
                      <a:pt x="810" y="549"/>
                    </a:lnTo>
                    <a:lnTo>
                      <a:pt x="819" y="554"/>
                    </a:lnTo>
                    <a:lnTo>
                      <a:pt x="829" y="558"/>
                    </a:lnTo>
                    <a:lnTo>
                      <a:pt x="840" y="559"/>
                    </a:lnTo>
                    <a:lnTo>
                      <a:pt x="850" y="566"/>
                    </a:lnTo>
                    <a:lnTo>
                      <a:pt x="864" y="566"/>
                    </a:lnTo>
                    <a:lnTo>
                      <a:pt x="872" y="571"/>
                    </a:lnTo>
                    <a:lnTo>
                      <a:pt x="877" y="583"/>
                    </a:lnTo>
                    <a:lnTo>
                      <a:pt x="876" y="587"/>
                    </a:lnTo>
                    <a:lnTo>
                      <a:pt x="872" y="589"/>
                    </a:lnTo>
                    <a:lnTo>
                      <a:pt x="862" y="583"/>
                    </a:lnTo>
                    <a:lnTo>
                      <a:pt x="859" y="580"/>
                    </a:lnTo>
                    <a:lnTo>
                      <a:pt x="855" y="587"/>
                    </a:lnTo>
                    <a:lnTo>
                      <a:pt x="853" y="599"/>
                    </a:lnTo>
                    <a:lnTo>
                      <a:pt x="848" y="607"/>
                    </a:lnTo>
                    <a:lnTo>
                      <a:pt x="845" y="613"/>
                    </a:lnTo>
                    <a:lnTo>
                      <a:pt x="836" y="621"/>
                    </a:lnTo>
                    <a:lnTo>
                      <a:pt x="833" y="630"/>
                    </a:lnTo>
                    <a:lnTo>
                      <a:pt x="836" y="633"/>
                    </a:lnTo>
                    <a:lnTo>
                      <a:pt x="841" y="637"/>
                    </a:lnTo>
                    <a:lnTo>
                      <a:pt x="845" y="633"/>
                    </a:lnTo>
                    <a:lnTo>
                      <a:pt x="848" y="632"/>
                    </a:lnTo>
                    <a:lnTo>
                      <a:pt x="855" y="626"/>
                    </a:lnTo>
                    <a:lnTo>
                      <a:pt x="867" y="626"/>
                    </a:lnTo>
                    <a:lnTo>
                      <a:pt x="874" y="626"/>
                    </a:lnTo>
                    <a:lnTo>
                      <a:pt x="879" y="628"/>
                    </a:lnTo>
                    <a:lnTo>
                      <a:pt x="883" y="626"/>
                    </a:lnTo>
                    <a:lnTo>
                      <a:pt x="888" y="625"/>
                    </a:lnTo>
                    <a:lnTo>
                      <a:pt x="886" y="620"/>
                    </a:lnTo>
                    <a:lnTo>
                      <a:pt x="884" y="616"/>
                    </a:lnTo>
                    <a:lnTo>
                      <a:pt x="883" y="613"/>
                    </a:lnTo>
                    <a:lnTo>
                      <a:pt x="881" y="611"/>
                    </a:lnTo>
                    <a:lnTo>
                      <a:pt x="883" y="607"/>
                    </a:lnTo>
                    <a:lnTo>
                      <a:pt x="888" y="607"/>
                    </a:lnTo>
                    <a:lnTo>
                      <a:pt x="896" y="604"/>
                    </a:lnTo>
                    <a:lnTo>
                      <a:pt x="912" y="601"/>
                    </a:lnTo>
                    <a:lnTo>
                      <a:pt x="924" y="597"/>
                    </a:lnTo>
                    <a:lnTo>
                      <a:pt x="936" y="597"/>
                    </a:lnTo>
                    <a:lnTo>
                      <a:pt x="938" y="594"/>
                    </a:lnTo>
                    <a:lnTo>
                      <a:pt x="946" y="587"/>
                    </a:lnTo>
                    <a:lnTo>
                      <a:pt x="953" y="578"/>
                    </a:lnTo>
                    <a:lnTo>
                      <a:pt x="958" y="577"/>
                    </a:lnTo>
                    <a:lnTo>
                      <a:pt x="969" y="575"/>
                    </a:lnTo>
                    <a:lnTo>
                      <a:pt x="986" y="575"/>
                    </a:lnTo>
                    <a:lnTo>
                      <a:pt x="991" y="575"/>
                    </a:lnTo>
                    <a:lnTo>
                      <a:pt x="998" y="575"/>
                    </a:lnTo>
                    <a:lnTo>
                      <a:pt x="1003" y="573"/>
                    </a:lnTo>
                    <a:lnTo>
                      <a:pt x="1010" y="573"/>
                    </a:lnTo>
                    <a:lnTo>
                      <a:pt x="1013" y="571"/>
                    </a:lnTo>
                    <a:lnTo>
                      <a:pt x="1017" y="568"/>
                    </a:lnTo>
                    <a:lnTo>
                      <a:pt x="1020" y="559"/>
                    </a:lnTo>
                    <a:lnTo>
                      <a:pt x="1025" y="551"/>
                    </a:lnTo>
                    <a:lnTo>
                      <a:pt x="1029" y="540"/>
                    </a:lnTo>
                    <a:lnTo>
                      <a:pt x="1037" y="534"/>
                    </a:lnTo>
                    <a:lnTo>
                      <a:pt x="1048" y="535"/>
                    </a:lnTo>
                    <a:lnTo>
                      <a:pt x="1058" y="537"/>
                    </a:lnTo>
                    <a:lnTo>
                      <a:pt x="1060" y="547"/>
                    </a:lnTo>
                    <a:lnTo>
                      <a:pt x="1062" y="558"/>
                    </a:lnTo>
                    <a:lnTo>
                      <a:pt x="1062" y="568"/>
                    </a:lnTo>
                    <a:lnTo>
                      <a:pt x="1067" y="580"/>
                    </a:lnTo>
                    <a:lnTo>
                      <a:pt x="1067" y="5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9" name="Freeform 299"/>
              <p:cNvSpPr>
                <a:spLocks/>
              </p:cNvSpPr>
              <p:nvPr/>
            </p:nvSpPr>
            <p:spPr bwMode="auto">
              <a:xfrm>
                <a:off x="473869" y="2020888"/>
                <a:ext cx="857250" cy="614362"/>
              </a:xfrm>
              <a:custGeom>
                <a:avLst/>
                <a:gdLst/>
                <a:ahLst/>
                <a:cxnLst>
                  <a:cxn ang="0">
                    <a:pos x="397" y="263"/>
                  </a:cxn>
                  <a:cxn ang="0">
                    <a:pos x="423" y="280"/>
                  </a:cxn>
                  <a:cxn ang="0">
                    <a:pos x="452" y="277"/>
                  </a:cxn>
                  <a:cxn ang="0">
                    <a:pos x="480" y="290"/>
                  </a:cxn>
                  <a:cxn ang="0">
                    <a:pos x="504" y="321"/>
                  </a:cxn>
                  <a:cxn ang="0">
                    <a:pos x="526" y="345"/>
                  </a:cxn>
                  <a:cxn ang="0">
                    <a:pos x="533" y="375"/>
                  </a:cxn>
                  <a:cxn ang="0">
                    <a:pos x="513" y="368"/>
                  </a:cxn>
                  <a:cxn ang="0">
                    <a:pos x="506" y="352"/>
                  </a:cxn>
                  <a:cxn ang="0">
                    <a:pos x="482" y="337"/>
                  </a:cxn>
                  <a:cxn ang="0">
                    <a:pos x="490" y="321"/>
                  </a:cxn>
                  <a:cxn ang="0">
                    <a:pos x="468" y="321"/>
                  </a:cxn>
                  <a:cxn ang="0">
                    <a:pos x="464" y="306"/>
                  </a:cxn>
                  <a:cxn ang="0">
                    <a:pos x="442" y="307"/>
                  </a:cxn>
                  <a:cxn ang="0">
                    <a:pos x="418" y="289"/>
                  </a:cxn>
                  <a:cxn ang="0">
                    <a:pos x="372" y="271"/>
                  </a:cxn>
                  <a:cxn ang="0">
                    <a:pos x="303" y="254"/>
                  </a:cxn>
                  <a:cxn ang="0">
                    <a:pos x="277" y="256"/>
                  </a:cxn>
                  <a:cxn ang="0">
                    <a:pos x="241" y="285"/>
                  </a:cxn>
                  <a:cxn ang="0">
                    <a:pos x="225" y="282"/>
                  </a:cxn>
                  <a:cxn ang="0">
                    <a:pos x="229" y="264"/>
                  </a:cxn>
                  <a:cxn ang="0">
                    <a:pos x="251" y="247"/>
                  </a:cxn>
                  <a:cxn ang="0">
                    <a:pos x="231" y="249"/>
                  </a:cxn>
                  <a:cxn ang="0">
                    <a:pos x="200" y="294"/>
                  </a:cxn>
                  <a:cxn ang="0">
                    <a:pos x="169" y="323"/>
                  </a:cxn>
                  <a:cxn ang="0">
                    <a:pos x="138" y="347"/>
                  </a:cxn>
                  <a:cxn ang="0">
                    <a:pos x="100" y="366"/>
                  </a:cxn>
                  <a:cxn ang="0">
                    <a:pos x="53" y="385"/>
                  </a:cxn>
                  <a:cxn ang="0">
                    <a:pos x="72" y="368"/>
                  </a:cxn>
                  <a:cxn ang="0">
                    <a:pos x="112" y="342"/>
                  </a:cxn>
                  <a:cxn ang="0">
                    <a:pos x="151" y="316"/>
                  </a:cxn>
                  <a:cxn ang="0">
                    <a:pos x="162" y="294"/>
                  </a:cxn>
                  <a:cxn ang="0">
                    <a:pos x="131" y="295"/>
                  </a:cxn>
                  <a:cxn ang="0">
                    <a:pos x="112" y="297"/>
                  </a:cxn>
                  <a:cxn ang="0">
                    <a:pos x="102" y="299"/>
                  </a:cxn>
                  <a:cxn ang="0">
                    <a:pos x="83" y="297"/>
                  </a:cxn>
                  <a:cxn ang="0">
                    <a:pos x="81" y="275"/>
                  </a:cxn>
                  <a:cxn ang="0">
                    <a:pos x="60" y="277"/>
                  </a:cxn>
                  <a:cxn ang="0">
                    <a:pos x="38" y="256"/>
                  </a:cxn>
                  <a:cxn ang="0">
                    <a:pos x="24" y="239"/>
                  </a:cxn>
                  <a:cxn ang="0">
                    <a:pos x="48" y="206"/>
                  </a:cxn>
                  <a:cxn ang="0">
                    <a:pos x="93" y="191"/>
                  </a:cxn>
                  <a:cxn ang="0">
                    <a:pos x="95" y="170"/>
                  </a:cxn>
                  <a:cxn ang="0">
                    <a:pos x="89" y="166"/>
                  </a:cxn>
                  <a:cxn ang="0">
                    <a:pos x="46" y="170"/>
                  </a:cxn>
                  <a:cxn ang="0">
                    <a:pos x="14" y="156"/>
                  </a:cxn>
                  <a:cxn ang="0">
                    <a:pos x="0" y="144"/>
                  </a:cxn>
                  <a:cxn ang="0">
                    <a:pos x="46" y="122"/>
                  </a:cxn>
                  <a:cxn ang="0">
                    <a:pos x="65" y="132"/>
                  </a:cxn>
                  <a:cxn ang="0">
                    <a:pos x="81" y="122"/>
                  </a:cxn>
                  <a:cxn ang="0">
                    <a:pos x="52" y="103"/>
                  </a:cxn>
                  <a:cxn ang="0">
                    <a:pos x="33" y="84"/>
                  </a:cxn>
                  <a:cxn ang="0">
                    <a:pos x="19" y="70"/>
                  </a:cxn>
                  <a:cxn ang="0">
                    <a:pos x="77" y="34"/>
                  </a:cxn>
                  <a:cxn ang="0">
                    <a:pos x="115" y="15"/>
                  </a:cxn>
                  <a:cxn ang="0">
                    <a:pos x="157" y="0"/>
                  </a:cxn>
                  <a:cxn ang="0">
                    <a:pos x="167" y="13"/>
                  </a:cxn>
                  <a:cxn ang="0">
                    <a:pos x="193" y="12"/>
                  </a:cxn>
                  <a:cxn ang="0">
                    <a:pos x="272" y="22"/>
                  </a:cxn>
                  <a:cxn ang="0">
                    <a:pos x="329" y="36"/>
                  </a:cxn>
                  <a:cxn ang="0">
                    <a:pos x="368" y="34"/>
                  </a:cxn>
                  <a:cxn ang="0">
                    <a:pos x="385" y="41"/>
                  </a:cxn>
                </a:cxnLst>
                <a:rect l="0" t="0" r="r" b="b"/>
                <a:pathLst>
                  <a:path w="540" h="387">
                    <a:moveTo>
                      <a:pt x="385" y="41"/>
                    </a:moveTo>
                    <a:lnTo>
                      <a:pt x="385" y="261"/>
                    </a:lnTo>
                    <a:lnTo>
                      <a:pt x="389" y="261"/>
                    </a:lnTo>
                    <a:lnTo>
                      <a:pt x="397" y="263"/>
                    </a:lnTo>
                    <a:lnTo>
                      <a:pt x="404" y="263"/>
                    </a:lnTo>
                    <a:lnTo>
                      <a:pt x="413" y="268"/>
                    </a:lnTo>
                    <a:lnTo>
                      <a:pt x="416" y="273"/>
                    </a:lnTo>
                    <a:lnTo>
                      <a:pt x="423" y="280"/>
                    </a:lnTo>
                    <a:lnTo>
                      <a:pt x="430" y="285"/>
                    </a:lnTo>
                    <a:lnTo>
                      <a:pt x="439" y="289"/>
                    </a:lnTo>
                    <a:lnTo>
                      <a:pt x="446" y="282"/>
                    </a:lnTo>
                    <a:lnTo>
                      <a:pt x="452" y="277"/>
                    </a:lnTo>
                    <a:lnTo>
                      <a:pt x="456" y="275"/>
                    </a:lnTo>
                    <a:lnTo>
                      <a:pt x="463" y="273"/>
                    </a:lnTo>
                    <a:lnTo>
                      <a:pt x="471" y="282"/>
                    </a:lnTo>
                    <a:lnTo>
                      <a:pt x="480" y="290"/>
                    </a:lnTo>
                    <a:lnTo>
                      <a:pt x="487" y="301"/>
                    </a:lnTo>
                    <a:lnTo>
                      <a:pt x="497" y="314"/>
                    </a:lnTo>
                    <a:lnTo>
                      <a:pt x="501" y="316"/>
                    </a:lnTo>
                    <a:lnTo>
                      <a:pt x="504" y="321"/>
                    </a:lnTo>
                    <a:lnTo>
                      <a:pt x="507" y="330"/>
                    </a:lnTo>
                    <a:lnTo>
                      <a:pt x="514" y="340"/>
                    </a:lnTo>
                    <a:lnTo>
                      <a:pt x="519" y="342"/>
                    </a:lnTo>
                    <a:lnTo>
                      <a:pt x="526" y="345"/>
                    </a:lnTo>
                    <a:lnTo>
                      <a:pt x="535" y="352"/>
                    </a:lnTo>
                    <a:lnTo>
                      <a:pt x="540" y="364"/>
                    </a:lnTo>
                    <a:lnTo>
                      <a:pt x="537" y="369"/>
                    </a:lnTo>
                    <a:lnTo>
                      <a:pt x="533" y="375"/>
                    </a:lnTo>
                    <a:lnTo>
                      <a:pt x="530" y="375"/>
                    </a:lnTo>
                    <a:lnTo>
                      <a:pt x="528" y="375"/>
                    </a:lnTo>
                    <a:lnTo>
                      <a:pt x="519" y="371"/>
                    </a:lnTo>
                    <a:lnTo>
                      <a:pt x="513" y="368"/>
                    </a:lnTo>
                    <a:lnTo>
                      <a:pt x="507" y="362"/>
                    </a:lnTo>
                    <a:lnTo>
                      <a:pt x="506" y="359"/>
                    </a:lnTo>
                    <a:lnTo>
                      <a:pt x="506" y="356"/>
                    </a:lnTo>
                    <a:lnTo>
                      <a:pt x="506" y="352"/>
                    </a:lnTo>
                    <a:lnTo>
                      <a:pt x="501" y="344"/>
                    </a:lnTo>
                    <a:lnTo>
                      <a:pt x="492" y="344"/>
                    </a:lnTo>
                    <a:lnTo>
                      <a:pt x="483" y="340"/>
                    </a:lnTo>
                    <a:lnTo>
                      <a:pt x="482" y="337"/>
                    </a:lnTo>
                    <a:lnTo>
                      <a:pt x="485" y="332"/>
                    </a:lnTo>
                    <a:lnTo>
                      <a:pt x="490" y="328"/>
                    </a:lnTo>
                    <a:lnTo>
                      <a:pt x="490" y="323"/>
                    </a:lnTo>
                    <a:lnTo>
                      <a:pt x="490" y="321"/>
                    </a:lnTo>
                    <a:lnTo>
                      <a:pt x="482" y="325"/>
                    </a:lnTo>
                    <a:lnTo>
                      <a:pt x="476" y="328"/>
                    </a:lnTo>
                    <a:lnTo>
                      <a:pt x="471" y="325"/>
                    </a:lnTo>
                    <a:lnTo>
                      <a:pt x="468" y="321"/>
                    </a:lnTo>
                    <a:lnTo>
                      <a:pt x="470" y="313"/>
                    </a:lnTo>
                    <a:lnTo>
                      <a:pt x="473" y="309"/>
                    </a:lnTo>
                    <a:lnTo>
                      <a:pt x="468" y="304"/>
                    </a:lnTo>
                    <a:lnTo>
                      <a:pt x="464" y="306"/>
                    </a:lnTo>
                    <a:lnTo>
                      <a:pt x="454" y="302"/>
                    </a:lnTo>
                    <a:lnTo>
                      <a:pt x="449" y="299"/>
                    </a:lnTo>
                    <a:lnTo>
                      <a:pt x="446" y="304"/>
                    </a:lnTo>
                    <a:lnTo>
                      <a:pt x="442" y="307"/>
                    </a:lnTo>
                    <a:lnTo>
                      <a:pt x="432" y="304"/>
                    </a:lnTo>
                    <a:lnTo>
                      <a:pt x="427" y="299"/>
                    </a:lnTo>
                    <a:lnTo>
                      <a:pt x="421" y="292"/>
                    </a:lnTo>
                    <a:lnTo>
                      <a:pt x="418" y="289"/>
                    </a:lnTo>
                    <a:lnTo>
                      <a:pt x="406" y="282"/>
                    </a:lnTo>
                    <a:lnTo>
                      <a:pt x="394" y="278"/>
                    </a:lnTo>
                    <a:lnTo>
                      <a:pt x="382" y="275"/>
                    </a:lnTo>
                    <a:lnTo>
                      <a:pt x="372" y="271"/>
                    </a:lnTo>
                    <a:lnTo>
                      <a:pt x="344" y="271"/>
                    </a:lnTo>
                    <a:lnTo>
                      <a:pt x="330" y="266"/>
                    </a:lnTo>
                    <a:lnTo>
                      <a:pt x="317" y="261"/>
                    </a:lnTo>
                    <a:lnTo>
                      <a:pt x="303" y="254"/>
                    </a:lnTo>
                    <a:lnTo>
                      <a:pt x="296" y="246"/>
                    </a:lnTo>
                    <a:lnTo>
                      <a:pt x="286" y="249"/>
                    </a:lnTo>
                    <a:lnTo>
                      <a:pt x="275" y="252"/>
                    </a:lnTo>
                    <a:lnTo>
                      <a:pt x="277" y="256"/>
                    </a:lnTo>
                    <a:lnTo>
                      <a:pt x="280" y="259"/>
                    </a:lnTo>
                    <a:lnTo>
                      <a:pt x="270" y="268"/>
                    </a:lnTo>
                    <a:lnTo>
                      <a:pt x="256" y="277"/>
                    </a:lnTo>
                    <a:lnTo>
                      <a:pt x="241" y="285"/>
                    </a:lnTo>
                    <a:lnTo>
                      <a:pt x="231" y="289"/>
                    </a:lnTo>
                    <a:lnTo>
                      <a:pt x="225" y="287"/>
                    </a:lnTo>
                    <a:lnTo>
                      <a:pt x="225" y="285"/>
                    </a:lnTo>
                    <a:lnTo>
                      <a:pt x="225" y="282"/>
                    </a:lnTo>
                    <a:lnTo>
                      <a:pt x="229" y="280"/>
                    </a:lnTo>
                    <a:lnTo>
                      <a:pt x="227" y="277"/>
                    </a:lnTo>
                    <a:lnTo>
                      <a:pt x="229" y="275"/>
                    </a:lnTo>
                    <a:lnTo>
                      <a:pt x="229" y="264"/>
                    </a:lnTo>
                    <a:lnTo>
                      <a:pt x="234" y="259"/>
                    </a:lnTo>
                    <a:lnTo>
                      <a:pt x="239" y="252"/>
                    </a:lnTo>
                    <a:lnTo>
                      <a:pt x="251" y="251"/>
                    </a:lnTo>
                    <a:lnTo>
                      <a:pt x="251" y="247"/>
                    </a:lnTo>
                    <a:lnTo>
                      <a:pt x="251" y="246"/>
                    </a:lnTo>
                    <a:lnTo>
                      <a:pt x="246" y="246"/>
                    </a:lnTo>
                    <a:lnTo>
                      <a:pt x="244" y="246"/>
                    </a:lnTo>
                    <a:lnTo>
                      <a:pt x="231" y="249"/>
                    </a:lnTo>
                    <a:lnTo>
                      <a:pt x="217" y="261"/>
                    </a:lnTo>
                    <a:lnTo>
                      <a:pt x="203" y="275"/>
                    </a:lnTo>
                    <a:lnTo>
                      <a:pt x="200" y="290"/>
                    </a:lnTo>
                    <a:lnTo>
                      <a:pt x="200" y="294"/>
                    </a:lnTo>
                    <a:lnTo>
                      <a:pt x="200" y="297"/>
                    </a:lnTo>
                    <a:lnTo>
                      <a:pt x="193" y="309"/>
                    </a:lnTo>
                    <a:lnTo>
                      <a:pt x="177" y="318"/>
                    </a:lnTo>
                    <a:lnTo>
                      <a:pt x="169" y="323"/>
                    </a:lnTo>
                    <a:lnTo>
                      <a:pt x="163" y="330"/>
                    </a:lnTo>
                    <a:lnTo>
                      <a:pt x="155" y="335"/>
                    </a:lnTo>
                    <a:lnTo>
                      <a:pt x="146" y="342"/>
                    </a:lnTo>
                    <a:lnTo>
                      <a:pt x="138" y="347"/>
                    </a:lnTo>
                    <a:lnTo>
                      <a:pt x="131" y="354"/>
                    </a:lnTo>
                    <a:lnTo>
                      <a:pt x="122" y="357"/>
                    </a:lnTo>
                    <a:lnTo>
                      <a:pt x="112" y="362"/>
                    </a:lnTo>
                    <a:lnTo>
                      <a:pt x="100" y="366"/>
                    </a:lnTo>
                    <a:lnTo>
                      <a:pt x="89" y="369"/>
                    </a:lnTo>
                    <a:lnTo>
                      <a:pt x="77" y="373"/>
                    </a:lnTo>
                    <a:lnTo>
                      <a:pt x="65" y="380"/>
                    </a:lnTo>
                    <a:lnTo>
                      <a:pt x="53" y="385"/>
                    </a:lnTo>
                    <a:lnTo>
                      <a:pt x="41" y="387"/>
                    </a:lnTo>
                    <a:lnTo>
                      <a:pt x="52" y="378"/>
                    </a:lnTo>
                    <a:lnTo>
                      <a:pt x="65" y="376"/>
                    </a:lnTo>
                    <a:lnTo>
                      <a:pt x="72" y="368"/>
                    </a:lnTo>
                    <a:lnTo>
                      <a:pt x="81" y="359"/>
                    </a:lnTo>
                    <a:lnTo>
                      <a:pt x="93" y="356"/>
                    </a:lnTo>
                    <a:lnTo>
                      <a:pt x="105" y="352"/>
                    </a:lnTo>
                    <a:lnTo>
                      <a:pt x="112" y="342"/>
                    </a:lnTo>
                    <a:lnTo>
                      <a:pt x="124" y="335"/>
                    </a:lnTo>
                    <a:lnTo>
                      <a:pt x="134" y="330"/>
                    </a:lnTo>
                    <a:lnTo>
                      <a:pt x="146" y="325"/>
                    </a:lnTo>
                    <a:lnTo>
                      <a:pt x="151" y="316"/>
                    </a:lnTo>
                    <a:lnTo>
                      <a:pt x="158" y="307"/>
                    </a:lnTo>
                    <a:lnTo>
                      <a:pt x="162" y="299"/>
                    </a:lnTo>
                    <a:lnTo>
                      <a:pt x="170" y="294"/>
                    </a:lnTo>
                    <a:lnTo>
                      <a:pt x="162" y="294"/>
                    </a:lnTo>
                    <a:lnTo>
                      <a:pt x="153" y="297"/>
                    </a:lnTo>
                    <a:lnTo>
                      <a:pt x="145" y="301"/>
                    </a:lnTo>
                    <a:lnTo>
                      <a:pt x="136" y="297"/>
                    </a:lnTo>
                    <a:lnTo>
                      <a:pt x="131" y="295"/>
                    </a:lnTo>
                    <a:lnTo>
                      <a:pt x="127" y="301"/>
                    </a:lnTo>
                    <a:lnTo>
                      <a:pt x="127" y="306"/>
                    </a:lnTo>
                    <a:lnTo>
                      <a:pt x="117" y="301"/>
                    </a:lnTo>
                    <a:lnTo>
                      <a:pt x="112" y="297"/>
                    </a:lnTo>
                    <a:lnTo>
                      <a:pt x="107" y="294"/>
                    </a:lnTo>
                    <a:lnTo>
                      <a:pt x="102" y="290"/>
                    </a:lnTo>
                    <a:lnTo>
                      <a:pt x="102" y="294"/>
                    </a:lnTo>
                    <a:lnTo>
                      <a:pt x="102" y="299"/>
                    </a:lnTo>
                    <a:lnTo>
                      <a:pt x="96" y="299"/>
                    </a:lnTo>
                    <a:lnTo>
                      <a:pt x="91" y="301"/>
                    </a:lnTo>
                    <a:lnTo>
                      <a:pt x="88" y="302"/>
                    </a:lnTo>
                    <a:lnTo>
                      <a:pt x="83" y="297"/>
                    </a:lnTo>
                    <a:lnTo>
                      <a:pt x="83" y="290"/>
                    </a:lnTo>
                    <a:lnTo>
                      <a:pt x="83" y="283"/>
                    </a:lnTo>
                    <a:lnTo>
                      <a:pt x="83" y="280"/>
                    </a:lnTo>
                    <a:lnTo>
                      <a:pt x="81" y="275"/>
                    </a:lnTo>
                    <a:lnTo>
                      <a:pt x="79" y="273"/>
                    </a:lnTo>
                    <a:lnTo>
                      <a:pt x="72" y="277"/>
                    </a:lnTo>
                    <a:lnTo>
                      <a:pt x="69" y="280"/>
                    </a:lnTo>
                    <a:lnTo>
                      <a:pt x="60" y="277"/>
                    </a:lnTo>
                    <a:lnTo>
                      <a:pt x="50" y="270"/>
                    </a:lnTo>
                    <a:lnTo>
                      <a:pt x="40" y="261"/>
                    </a:lnTo>
                    <a:lnTo>
                      <a:pt x="34" y="258"/>
                    </a:lnTo>
                    <a:lnTo>
                      <a:pt x="38" y="256"/>
                    </a:lnTo>
                    <a:lnTo>
                      <a:pt x="41" y="256"/>
                    </a:lnTo>
                    <a:lnTo>
                      <a:pt x="36" y="249"/>
                    </a:lnTo>
                    <a:lnTo>
                      <a:pt x="29" y="244"/>
                    </a:lnTo>
                    <a:lnTo>
                      <a:pt x="24" y="239"/>
                    </a:lnTo>
                    <a:lnTo>
                      <a:pt x="22" y="234"/>
                    </a:lnTo>
                    <a:lnTo>
                      <a:pt x="26" y="221"/>
                    </a:lnTo>
                    <a:lnTo>
                      <a:pt x="36" y="213"/>
                    </a:lnTo>
                    <a:lnTo>
                      <a:pt x="48" y="206"/>
                    </a:lnTo>
                    <a:lnTo>
                      <a:pt x="60" y="206"/>
                    </a:lnTo>
                    <a:lnTo>
                      <a:pt x="67" y="203"/>
                    </a:lnTo>
                    <a:lnTo>
                      <a:pt x="81" y="197"/>
                    </a:lnTo>
                    <a:lnTo>
                      <a:pt x="93" y="191"/>
                    </a:lnTo>
                    <a:lnTo>
                      <a:pt x="100" y="185"/>
                    </a:lnTo>
                    <a:lnTo>
                      <a:pt x="95" y="179"/>
                    </a:lnTo>
                    <a:lnTo>
                      <a:pt x="89" y="173"/>
                    </a:lnTo>
                    <a:lnTo>
                      <a:pt x="95" y="170"/>
                    </a:lnTo>
                    <a:lnTo>
                      <a:pt x="98" y="173"/>
                    </a:lnTo>
                    <a:lnTo>
                      <a:pt x="98" y="166"/>
                    </a:lnTo>
                    <a:lnTo>
                      <a:pt x="93" y="165"/>
                    </a:lnTo>
                    <a:lnTo>
                      <a:pt x="89" y="166"/>
                    </a:lnTo>
                    <a:lnTo>
                      <a:pt x="79" y="170"/>
                    </a:lnTo>
                    <a:lnTo>
                      <a:pt x="69" y="175"/>
                    </a:lnTo>
                    <a:lnTo>
                      <a:pt x="57" y="172"/>
                    </a:lnTo>
                    <a:lnTo>
                      <a:pt x="46" y="170"/>
                    </a:lnTo>
                    <a:lnTo>
                      <a:pt x="31" y="170"/>
                    </a:lnTo>
                    <a:lnTo>
                      <a:pt x="21" y="170"/>
                    </a:lnTo>
                    <a:lnTo>
                      <a:pt x="17" y="161"/>
                    </a:lnTo>
                    <a:lnTo>
                      <a:pt x="14" y="156"/>
                    </a:lnTo>
                    <a:lnTo>
                      <a:pt x="14" y="153"/>
                    </a:lnTo>
                    <a:lnTo>
                      <a:pt x="16" y="151"/>
                    </a:lnTo>
                    <a:lnTo>
                      <a:pt x="5" y="149"/>
                    </a:lnTo>
                    <a:lnTo>
                      <a:pt x="0" y="144"/>
                    </a:lnTo>
                    <a:lnTo>
                      <a:pt x="9" y="137"/>
                    </a:lnTo>
                    <a:lnTo>
                      <a:pt x="22" y="132"/>
                    </a:lnTo>
                    <a:lnTo>
                      <a:pt x="34" y="127"/>
                    </a:lnTo>
                    <a:lnTo>
                      <a:pt x="46" y="122"/>
                    </a:lnTo>
                    <a:lnTo>
                      <a:pt x="55" y="122"/>
                    </a:lnTo>
                    <a:lnTo>
                      <a:pt x="55" y="129"/>
                    </a:lnTo>
                    <a:lnTo>
                      <a:pt x="60" y="132"/>
                    </a:lnTo>
                    <a:lnTo>
                      <a:pt x="65" y="132"/>
                    </a:lnTo>
                    <a:lnTo>
                      <a:pt x="74" y="132"/>
                    </a:lnTo>
                    <a:lnTo>
                      <a:pt x="81" y="132"/>
                    </a:lnTo>
                    <a:lnTo>
                      <a:pt x="88" y="132"/>
                    </a:lnTo>
                    <a:lnTo>
                      <a:pt x="81" y="122"/>
                    </a:lnTo>
                    <a:lnTo>
                      <a:pt x="76" y="117"/>
                    </a:lnTo>
                    <a:lnTo>
                      <a:pt x="65" y="111"/>
                    </a:lnTo>
                    <a:lnTo>
                      <a:pt x="57" y="108"/>
                    </a:lnTo>
                    <a:lnTo>
                      <a:pt x="52" y="103"/>
                    </a:lnTo>
                    <a:lnTo>
                      <a:pt x="48" y="98"/>
                    </a:lnTo>
                    <a:lnTo>
                      <a:pt x="45" y="91"/>
                    </a:lnTo>
                    <a:lnTo>
                      <a:pt x="41" y="87"/>
                    </a:lnTo>
                    <a:lnTo>
                      <a:pt x="33" y="84"/>
                    </a:lnTo>
                    <a:lnTo>
                      <a:pt x="26" y="82"/>
                    </a:lnTo>
                    <a:lnTo>
                      <a:pt x="17" y="79"/>
                    </a:lnTo>
                    <a:lnTo>
                      <a:pt x="16" y="77"/>
                    </a:lnTo>
                    <a:lnTo>
                      <a:pt x="19" y="70"/>
                    </a:lnTo>
                    <a:lnTo>
                      <a:pt x="22" y="63"/>
                    </a:lnTo>
                    <a:lnTo>
                      <a:pt x="52" y="63"/>
                    </a:lnTo>
                    <a:lnTo>
                      <a:pt x="62" y="48"/>
                    </a:lnTo>
                    <a:lnTo>
                      <a:pt x="77" y="34"/>
                    </a:lnTo>
                    <a:lnTo>
                      <a:pt x="86" y="27"/>
                    </a:lnTo>
                    <a:lnTo>
                      <a:pt x="95" y="22"/>
                    </a:lnTo>
                    <a:lnTo>
                      <a:pt x="105" y="17"/>
                    </a:lnTo>
                    <a:lnTo>
                      <a:pt x="115" y="15"/>
                    </a:lnTo>
                    <a:lnTo>
                      <a:pt x="124" y="13"/>
                    </a:lnTo>
                    <a:lnTo>
                      <a:pt x="134" y="13"/>
                    </a:lnTo>
                    <a:lnTo>
                      <a:pt x="145" y="5"/>
                    </a:lnTo>
                    <a:lnTo>
                      <a:pt x="157" y="0"/>
                    </a:lnTo>
                    <a:lnTo>
                      <a:pt x="163" y="1"/>
                    </a:lnTo>
                    <a:lnTo>
                      <a:pt x="172" y="7"/>
                    </a:lnTo>
                    <a:lnTo>
                      <a:pt x="169" y="10"/>
                    </a:lnTo>
                    <a:lnTo>
                      <a:pt x="167" y="13"/>
                    </a:lnTo>
                    <a:lnTo>
                      <a:pt x="174" y="12"/>
                    </a:lnTo>
                    <a:lnTo>
                      <a:pt x="181" y="7"/>
                    </a:lnTo>
                    <a:lnTo>
                      <a:pt x="186" y="8"/>
                    </a:lnTo>
                    <a:lnTo>
                      <a:pt x="193" y="12"/>
                    </a:lnTo>
                    <a:lnTo>
                      <a:pt x="217" y="12"/>
                    </a:lnTo>
                    <a:lnTo>
                      <a:pt x="224" y="17"/>
                    </a:lnTo>
                    <a:lnTo>
                      <a:pt x="232" y="22"/>
                    </a:lnTo>
                    <a:lnTo>
                      <a:pt x="272" y="22"/>
                    </a:lnTo>
                    <a:lnTo>
                      <a:pt x="282" y="27"/>
                    </a:lnTo>
                    <a:lnTo>
                      <a:pt x="298" y="32"/>
                    </a:lnTo>
                    <a:lnTo>
                      <a:pt x="313" y="34"/>
                    </a:lnTo>
                    <a:lnTo>
                      <a:pt x="329" y="36"/>
                    </a:lnTo>
                    <a:lnTo>
                      <a:pt x="341" y="32"/>
                    </a:lnTo>
                    <a:lnTo>
                      <a:pt x="353" y="31"/>
                    </a:lnTo>
                    <a:lnTo>
                      <a:pt x="361" y="31"/>
                    </a:lnTo>
                    <a:lnTo>
                      <a:pt x="368" y="34"/>
                    </a:lnTo>
                    <a:lnTo>
                      <a:pt x="375" y="38"/>
                    </a:lnTo>
                    <a:lnTo>
                      <a:pt x="385" y="41"/>
                    </a:lnTo>
                    <a:lnTo>
                      <a:pt x="385" y="39"/>
                    </a:lnTo>
                    <a:lnTo>
                      <a:pt x="385"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0" name="Freeform 300"/>
              <p:cNvSpPr>
                <a:spLocks/>
              </p:cNvSpPr>
              <p:nvPr/>
            </p:nvSpPr>
            <p:spPr bwMode="auto">
              <a:xfrm>
                <a:off x="1246982" y="2568575"/>
                <a:ext cx="38100" cy="55562"/>
              </a:xfrm>
              <a:custGeom>
                <a:avLst/>
                <a:gdLst/>
                <a:ahLst/>
                <a:cxnLst>
                  <a:cxn ang="0">
                    <a:pos x="10" y="14"/>
                  </a:cxn>
                  <a:cxn ang="0">
                    <a:pos x="3" y="11"/>
                  </a:cxn>
                  <a:cxn ang="0">
                    <a:pos x="0" y="14"/>
                  </a:cxn>
                  <a:cxn ang="0">
                    <a:pos x="0" y="5"/>
                  </a:cxn>
                  <a:cxn ang="0">
                    <a:pos x="2" y="2"/>
                  </a:cxn>
                  <a:cxn ang="0">
                    <a:pos x="5" y="0"/>
                  </a:cxn>
                  <a:cxn ang="0">
                    <a:pos x="12" y="4"/>
                  </a:cxn>
                  <a:cxn ang="0">
                    <a:pos x="12" y="11"/>
                  </a:cxn>
                  <a:cxn ang="0">
                    <a:pos x="17" y="17"/>
                  </a:cxn>
                  <a:cxn ang="0">
                    <a:pos x="20" y="23"/>
                  </a:cxn>
                  <a:cxn ang="0">
                    <a:pos x="24" y="30"/>
                  </a:cxn>
                  <a:cxn ang="0">
                    <a:pos x="22" y="33"/>
                  </a:cxn>
                  <a:cxn ang="0">
                    <a:pos x="20" y="35"/>
                  </a:cxn>
                  <a:cxn ang="0">
                    <a:pos x="12" y="30"/>
                  </a:cxn>
                  <a:cxn ang="0">
                    <a:pos x="10" y="24"/>
                  </a:cxn>
                  <a:cxn ang="0">
                    <a:pos x="8" y="17"/>
                  </a:cxn>
                  <a:cxn ang="0">
                    <a:pos x="10" y="14"/>
                  </a:cxn>
                </a:cxnLst>
                <a:rect l="0" t="0" r="r" b="b"/>
                <a:pathLst>
                  <a:path w="24" h="35">
                    <a:moveTo>
                      <a:pt x="10" y="14"/>
                    </a:moveTo>
                    <a:lnTo>
                      <a:pt x="3" y="11"/>
                    </a:lnTo>
                    <a:lnTo>
                      <a:pt x="0" y="14"/>
                    </a:lnTo>
                    <a:lnTo>
                      <a:pt x="0" y="5"/>
                    </a:lnTo>
                    <a:lnTo>
                      <a:pt x="2" y="2"/>
                    </a:lnTo>
                    <a:lnTo>
                      <a:pt x="5" y="0"/>
                    </a:lnTo>
                    <a:lnTo>
                      <a:pt x="12" y="4"/>
                    </a:lnTo>
                    <a:lnTo>
                      <a:pt x="12" y="11"/>
                    </a:lnTo>
                    <a:lnTo>
                      <a:pt x="17" y="17"/>
                    </a:lnTo>
                    <a:lnTo>
                      <a:pt x="20" y="23"/>
                    </a:lnTo>
                    <a:lnTo>
                      <a:pt x="24" y="30"/>
                    </a:lnTo>
                    <a:lnTo>
                      <a:pt x="22" y="33"/>
                    </a:lnTo>
                    <a:lnTo>
                      <a:pt x="20" y="35"/>
                    </a:lnTo>
                    <a:lnTo>
                      <a:pt x="12" y="30"/>
                    </a:lnTo>
                    <a:lnTo>
                      <a:pt x="10" y="24"/>
                    </a:lnTo>
                    <a:lnTo>
                      <a:pt x="8" y="17"/>
                    </a:lnTo>
                    <a:lnTo>
                      <a:pt x="1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1" name="Freeform 301"/>
              <p:cNvSpPr>
                <a:spLocks/>
              </p:cNvSpPr>
              <p:nvPr/>
            </p:nvSpPr>
            <p:spPr bwMode="auto">
              <a:xfrm>
                <a:off x="1186657" y="2508250"/>
                <a:ext cx="34925" cy="66675"/>
              </a:xfrm>
              <a:custGeom>
                <a:avLst/>
                <a:gdLst/>
                <a:ahLst/>
                <a:cxnLst>
                  <a:cxn ang="0">
                    <a:pos x="17" y="21"/>
                  </a:cxn>
                  <a:cxn ang="0">
                    <a:pos x="19" y="21"/>
                  </a:cxn>
                  <a:cxn ang="0">
                    <a:pos x="22" y="21"/>
                  </a:cxn>
                  <a:cxn ang="0">
                    <a:pos x="22" y="31"/>
                  </a:cxn>
                  <a:cxn ang="0">
                    <a:pos x="21" y="42"/>
                  </a:cxn>
                  <a:cxn ang="0">
                    <a:pos x="14" y="31"/>
                  </a:cxn>
                  <a:cxn ang="0">
                    <a:pos x="14" y="21"/>
                  </a:cxn>
                  <a:cxn ang="0">
                    <a:pos x="3" y="16"/>
                  </a:cxn>
                  <a:cxn ang="0">
                    <a:pos x="0" y="6"/>
                  </a:cxn>
                  <a:cxn ang="0">
                    <a:pos x="2" y="0"/>
                  </a:cxn>
                  <a:cxn ang="0">
                    <a:pos x="5" y="0"/>
                  </a:cxn>
                  <a:cxn ang="0">
                    <a:pos x="10" y="0"/>
                  </a:cxn>
                  <a:cxn ang="0">
                    <a:pos x="17" y="0"/>
                  </a:cxn>
                  <a:cxn ang="0">
                    <a:pos x="15" y="7"/>
                  </a:cxn>
                  <a:cxn ang="0">
                    <a:pos x="15" y="13"/>
                  </a:cxn>
                  <a:cxn ang="0">
                    <a:pos x="15" y="16"/>
                  </a:cxn>
                  <a:cxn ang="0">
                    <a:pos x="17" y="21"/>
                  </a:cxn>
                </a:cxnLst>
                <a:rect l="0" t="0" r="r" b="b"/>
                <a:pathLst>
                  <a:path w="22" h="42">
                    <a:moveTo>
                      <a:pt x="17" y="21"/>
                    </a:moveTo>
                    <a:lnTo>
                      <a:pt x="19" y="21"/>
                    </a:lnTo>
                    <a:lnTo>
                      <a:pt x="22" y="21"/>
                    </a:lnTo>
                    <a:lnTo>
                      <a:pt x="22" y="31"/>
                    </a:lnTo>
                    <a:lnTo>
                      <a:pt x="21" y="42"/>
                    </a:lnTo>
                    <a:lnTo>
                      <a:pt x="14" y="31"/>
                    </a:lnTo>
                    <a:lnTo>
                      <a:pt x="14" y="21"/>
                    </a:lnTo>
                    <a:lnTo>
                      <a:pt x="3" y="16"/>
                    </a:lnTo>
                    <a:lnTo>
                      <a:pt x="0" y="6"/>
                    </a:lnTo>
                    <a:lnTo>
                      <a:pt x="2" y="0"/>
                    </a:lnTo>
                    <a:lnTo>
                      <a:pt x="5" y="0"/>
                    </a:lnTo>
                    <a:lnTo>
                      <a:pt x="10" y="0"/>
                    </a:lnTo>
                    <a:lnTo>
                      <a:pt x="17" y="0"/>
                    </a:lnTo>
                    <a:lnTo>
                      <a:pt x="15" y="7"/>
                    </a:lnTo>
                    <a:lnTo>
                      <a:pt x="15" y="13"/>
                    </a:lnTo>
                    <a:lnTo>
                      <a:pt x="15" y="16"/>
                    </a:lnTo>
                    <a:lnTo>
                      <a:pt x="17"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2" name="Freeform 302"/>
              <p:cNvSpPr>
                <a:spLocks/>
              </p:cNvSpPr>
              <p:nvPr/>
            </p:nvSpPr>
            <p:spPr bwMode="auto">
              <a:xfrm>
                <a:off x="1577182" y="1905000"/>
                <a:ext cx="420688" cy="222250"/>
              </a:xfrm>
              <a:custGeom>
                <a:avLst/>
                <a:gdLst/>
                <a:ahLst/>
                <a:cxnLst>
                  <a:cxn ang="0">
                    <a:pos x="239" y="111"/>
                  </a:cxn>
                  <a:cxn ang="0">
                    <a:pos x="241" y="117"/>
                  </a:cxn>
                  <a:cxn ang="0">
                    <a:pos x="248" y="124"/>
                  </a:cxn>
                  <a:cxn ang="0">
                    <a:pos x="246" y="131"/>
                  </a:cxn>
                  <a:cxn ang="0">
                    <a:pos x="230" y="135"/>
                  </a:cxn>
                  <a:cxn ang="0">
                    <a:pos x="208" y="133"/>
                  </a:cxn>
                  <a:cxn ang="0">
                    <a:pos x="189" y="123"/>
                  </a:cxn>
                  <a:cxn ang="0">
                    <a:pos x="174" y="123"/>
                  </a:cxn>
                  <a:cxn ang="0">
                    <a:pos x="158" y="131"/>
                  </a:cxn>
                  <a:cxn ang="0">
                    <a:pos x="137" y="135"/>
                  </a:cxn>
                  <a:cxn ang="0">
                    <a:pos x="115" y="140"/>
                  </a:cxn>
                  <a:cxn ang="0">
                    <a:pos x="94" y="140"/>
                  </a:cxn>
                  <a:cxn ang="0">
                    <a:pos x="79" y="135"/>
                  </a:cxn>
                  <a:cxn ang="0">
                    <a:pos x="69" y="124"/>
                  </a:cxn>
                  <a:cxn ang="0">
                    <a:pos x="53" y="123"/>
                  </a:cxn>
                  <a:cxn ang="0">
                    <a:pos x="33" y="117"/>
                  </a:cxn>
                  <a:cxn ang="0">
                    <a:pos x="33" y="100"/>
                  </a:cxn>
                  <a:cxn ang="0">
                    <a:pos x="58" y="95"/>
                  </a:cxn>
                  <a:cxn ang="0">
                    <a:pos x="82" y="95"/>
                  </a:cxn>
                  <a:cxn ang="0">
                    <a:pos x="84" y="90"/>
                  </a:cxn>
                  <a:cxn ang="0">
                    <a:pos x="62" y="90"/>
                  </a:cxn>
                  <a:cxn ang="0">
                    <a:pos x="38" y="90"/>
                  </a:cxn>
                  <a:cxn ang="0">
                    <a:pos x="15" y="86"/>
                  </a:cxn>
                  <a:cxn ang="0">
                    <a:pos x="14" y="73"/>
                  </a:cxn>
                  <a:cxn ang="0">
                    <a:pos x="26" y="69"/>
                  </a:cxn>
                  <a:cxn ang="0">
                    <a:pos x="22" y="68"/>
                  </a:cxn>
                  <a:cxn ang="0">
                    <a:pos x="3" y="64"/>
                  </a:cxn>
                  <a:cxn ang="0">
                    <a:pos x="0" y="49"/>
                  </a:cxn>
                  <a:cxn ang="0">
                    <a:pos x="14" y="31"/>
                  </a:cxn>
                  <a:cxn ang="0">
                    <a:pos x="34" y="21"/>
                  </a:cxn>
                  <a:cxn ang="0">
                    <a:pos x="53" y="16"/>
                  </a:cxn>
                  <a:cxn ang="0">
                    <a:pos x="67" y="18"/>
                  </a:cxn>
                  <a:cxn ang="0">
                    <a:pos x="70" y="28"/>
                  </a:cxn>
                  <a:cxn ang="0">
                    <a:pos x="77" y="28"/>
                  </a:cxn>
                  <a:cxn ang="0">
                    <a:pos x="94" y="25"/>
                  </a:cxn>
                  <a:cxn ang="0">
                    <a:pos x="105" y="31"/>
                  </a:cxn>
                  <a:cxn ang="0">
                    <a:pos x="117" y="37"/>
                  </a:cxn>
                  <a:cxn ang="0">
                    <a:pos x="124" y="30"/>
                  </a:cxn>
                  <a:cxn ang="0">
                    <a:pos x="134" y="26"/>
                  </a:cxn>
                  <a:cxn ang="0">
                    <a:pos x="151" y="42"/>
                  </a:cxn>
                  <a:cxn ang="0">
                    <a:pos x="153" y="52"/>
                  </a:cxn>
                  <a:cxn ang="0">
                    <a:pos x="160" y="61"/>
                  </a:cxn>
                  <a:cxn ang="0">
                    <a:pos x="167" y="55"/>
                  </a:cxn>
                  <a:cxn ang="0">
                    <a:pos x="158" y="37"/>
                  </a:cxn>
                  <a:cxn ang="0">
                    <a:pos x="155" y="21"/>
                  </a:cxn>
                  <a:cxn ang="0">
                    <a:pos x="163" y="14"/>
                  </a:cxn>
                  <a:cxn ang="0">
                    <a:pos x="179" y="14"/>
                  </a:cxn>
                  <a:cxn ang="0">
                    <a:pos x="177" y="9"/>
                  </a:cxn>
                  <a:cxn ang="0">
                    <a:pos x="193" y="0"/>
                  </a:cxn>
                  <a:cxn ang="0">
                    <a:pos x="211" y="12"/>
                  </a:cxn>
                  <a:cxn ang="0">
                    <a:pos x="199" y="28"/>
                  </a:cxn>
                  <a:cxn ang="0">
                    <a:pos x="206" y="52"/>
                  </a:cxn>
                  <a:cxn ang="0">
                    <a:pos x="213" y="71"/>
                  </a:cxn>
                  <a:cxn ang="0">
                    <a:pos x="236" y="92"/>
                  </a:cxn>
                  <a:cxn ang="0">
                    <a:pos x="265" y="107"/>
                  </a:cxn>
                  <a:cxn ang="0">
                    <a:pos x="246" y="111"/>
                  </a:cxn>
                </a:cxnLst>
                <a:rect l="0" t="0" r="r" b="b"/>
                <a:pathLst>
                  <a:path w="265" h="140">
                    <a:moveTo>
                      <a:pt x="246" y="111"/>
                    </a:moveTo>
                    <a:lnTo>
                      <a:pt x="239" y="111"/>
                    </a:lnTo>
                    <a:lnTo>
                      <a:pt x="239" y="116"/>
                    </a:lnTo>
                    <a:lnTo>
                      <a:pt x="241" y="117"/>
                    </a:lnTo>
                    <a:lnTo>
                      <a:pt x="246" y="119"/>
                    </a:lnTo>
                    <a:lnTo>
                      <a:pt x="248" y="124"/>
                    </a:lnTo>
                    <a:lnTo>
                      <a:pt x="251" y="126"/>
                    </a:lnTo>
                    <a:lnTo>
                      <a:pt x="246" y="131"/>
                    </a:lnTo>
                    <a:lnTo>
                      <a:pt x="239" y="135"/>
                    </a:lnTo>
                    <a:lnTo>
                      <a:pt x="230" y="135"/>
                    </a:lnTo>
                    <a:lnTo>
                      <a:pt x="222" y="136"/>
                    </a:lnTo>
                    <a:lnTo>
                      <a:pt x="208" y="133"/>
                    </a:lnTo>
                    <a:lnTo>
                      <a:pt x="199" y="128"/>
                    </a:lnTo>
                    <a:lnTo>
                      <a:pt x="189" y="123"/>
                    </a:lnTo>
                    <a:lnTo>
                      <a:pt x="180" y="121"/>
                    </a:lnTo>
                    <a:lnTo>
                      <a:pt x="174" y="123"/>
                    </a:lnTo>
                    <a:lnTo>
                      <a:pt x="168" y="129"/>
                    </a:lnTo>
                    <a:lnTo>
                      <a:pt x="158" y="131"/>
                    </a:lnTo>
                    <a:lnTo>
                      <a:pt x="148" y="135"/>
                    </a:lnTo>
                    <a:lnTo>
                      <a:pt x="137" y="135"/>
                    </a:lnTo>
                    <a:lnTo>
                      <a:pt x="131" y="140"/>
                    </a:lnTo>
                    <a:lnTo>
                      <a:pt x="115" y="140"/>
                    </a:lnTo>
                    <a:lnTo>
                      <a:pt x="105" y="140"/>
                    </a:lnTo>
                    <a:lnTo>
                      <a:pt x="94" y="140"/>
                    </a:lnTo>
                    <a:lnTo>
                      <a:pt x="86" y="140"/>
                    </a:lnTo>
                    <a:lnTo>
                      <a:pt x="79" y="135"/>
                    </a:lnTo>
                    <a:lnTo>
                      <a:pt x="76" y="128"/>
                    </a:lnTo>
                    <a:lnTo>
                      <a:pt x="69" y="124"/>
                    </a:lnTo>
                    <a:lnTo>
                      <a:pt x="62" y="123"/>
                    </a:lnTo>
                    <a:lnTo>
                      <a:pt x="53" y="123"/>
                    </a:lnTo>
                    <a:lnTo>
                      <a:pt x="48" y="124"/>
                    </a:lnTo>
                    <a:lnTo>
                      <a:pt x="33" y="117"/>
                    </a:lnTo>
                    <a:lnTo>
                      <a:pt x="24" y="107"/>
                    </a:lnTo>
                    <a:lnTo>
                      <a:pt x="33" y="100"/>
                    </a:lnTo>
                    <a:lnTo>
                      <a:pt x="45" y="97"/>
                    </a:lnTo>
                    <a:lnTo>
                      <a:pt x="58" y="95"/>
                    </a:lnTo>
                    <a:lnTo>
                      <a:pt x="74" y="95"/>
                    </a:lnTo>
                    <a:lnTo>
                      <a:pt x="82" y="95"/>
                    </a:lnTo>
                    <a:lnTo>
                      <a:pt x="91" y="95"/>
                    </a:lnTo>
                    <a:lnTo>
                      <a:pt x="84" y="90"/>
                    </a:lnTo>
                    <a:lnTo>
                      <a:pt x="77" y="90"/>
                    </a:lnTo>
                    <a:lnTo>
                      <a:pt x="62" y="90"/>
                    </a:lnTo>
                    <a:lnTo>
                      <a:pt x="51" y="90"/>
                    </a:lnTo>
                    <a:lnTo>
                      <a:pt x="38" y="90"/>
                    </a:lnTo>
                    <a:lnTo>
                      <a:pt x="26" y="90"/>
                    </a:lnTo>
                    <a:lnTo>
                      <a:pt x="15" y="86"/>
                    </a:lnTo>
                    <a:lnTo>
                      <a:pt x="12" y="80"/>
                    </a:lnTo>
                    <a:lnTo>
                      <a:pt x="14" y="73"/>
                    </a:lnTo>
                    <a:lnTo>
                      <a:pt x="19" y="71"/>
                    </a:lnTo>
                    <a:lnTo>
                      <a:pt x="26" y="69"/>
                    </a:lnTo>
                    <a:lnTo>
                      <a:pt x="33" y="69"/>
                    </a:lnTo>
                    <a:lnTo>
                      <a:pt x="22" y="68"/>
                    </a:lnTo>
                    <a:lnTo>
                      <a:pt x="14" y="69"/>
                    </a:lnTo>
                    <a:lnTo>
                      <a:pt x="3" y="64"/>
                    </a:lnTo>
                    <a:lnTo>
                      <a:pt x="0" y="59"/>
                    </a:lnTo>
                    <a:lnTo>
                      <a:pt x="0" y="49"/>
                    </a:lnTo>
                    <a:lnTo>
                      <a:pt x="7" y="40"/>
                    </a:lnTo>
                    <a:lnTo>
                      <a:pt x="14" y="31"/>
                    </a:lnTo>
                    <a:lnTo>
                      <a:pt x="24" y="26"/>
                    </a:lnTo>
                    <a:lnTo>
                      <a:pt x="34" y="21"/>
                    </a:lnTo>
                    <a:lnTo>
                      <a:pt x="45" y="18"/>
                    </a:lnTo>
                    <a:lnTo>
                      <a:pt x="53" y="16"/>
                    </a:lnTo>
                    <a:lnTo>
                      <a:pt x="64" y="16"/>
                    </a:lnTo>
                    <a:lnTo>
                      <a:pt x="67" y="18"/>
                    </a:lnTo>
                    <a:lnTo>
                      <a:pt x="69" y="23"/>
                    </a:lnTo>
                    <a:lnTo>
                      <a:pt x="70" y="28"/>
                    </a:lnTo>
                    <a:lnTo>
                      <a:pt x="72" y="33"/>
                    </a:lnTo>
                    <a:lnTo>
                      <a:pt x="77" y="28"/>
                    </a:lnTo>
                    <a:lnTo>
                      <a:pt x="88" y="25"/>
                    </a:lnTo>
                    <a:lnTo>
                      <a:pt x="94" y="25"/>
                    </a:lnTo>
                    <a:lnTo>
                      <a:pt x="101" y="28"/>
                    </a:lnTo>
                    <a:lnTo>
                      <a:pt x="105" y="31"/>
                    </a:lnTo>
                    <a:lnTo>
                      <a:pt x="110" y="40"/>
                    </a:lnTo>
                    <a:lnTo>
                      <a:pt x="117" y="37"/>
                    </a:lnTo>
                    <a:lnTo>
                      <a:pt x="125" y="37"/>
                    </a:lnTo>
                    <a:lnTo>
                      <a:pt x="124" y="30"/>
                    </a:lnTo>
                    <a:lnTo>
                      <a:pt x="124" y="26"/>
                    </a:lnTo>
                    <a:lnTo>
                      <a:pt x="134" y="26"/>
                    </a:lnTo>
                    <a:lnTo>
                      <a:pt x="144" y="31"/>
                    </a:lnTo>
                    <a:lnTo>
                      <a:pt x="151" y="42"/>
                    </a:lnTo>
                    <a:lnTo>
                      <a:pt x="151" y="45"/>
                    </a:lnTo>
                    <a:lnTo>
                      <a:pt x="153" y="52"/>
                    </a:lnTo>
                    <a:lnTo>
                      <a:pt x="153" y="57"/>
                    </a:lnTo>
                    <a:lnTo>
                      <a:pt x="160" y="61"/>
                    </a:lnTo>
                    <a:lnTo>
                      <a:pt x="163" y="57"/>
                    </a:lnTo>
                    <a:lnTo>
                      <a:pt x="167" y="55"/>
                    </a:lnTo>
                    <a:lnTo>
                      <a:pt x="162" y="47"/>
                    </a:lnTo>
                    <a:lnTo>
                      <a:pt x="158" y="37"/>
                    </a:lnTo>
                    <a:lnTo>
                      <a:pt x="155" y="26"/>
                    </a:lnTo>
                    <a:lnTo>
                      <a:pt x="155" y="21"/>
                    </a:lnTo>
                    <a:lnTo>
                      <a:pt x="156" y="14"/>
                    </a:lnTo>
                    <a:lnTo>
                      <a:pt x="163" y="14"/>
                    </a:lnTo>
                    <a:lnTo>
                      <a:pt x="170" y="14"/>
                    </a:lnTo>
                    <a:lnTo>
                      <a:pt x="179" y="14"/>
                    </a:lnTo>
                    <a:lnTo>
                      <a:pt x="177" y="11"/>
                    </a:lnTo>
                    <a:lnTo>
                      <a:pt x="177" y="9"/>
                    </a:lnTo>
                    <a:lnTo>
                      <a:pt x="182" y="2"/>
                    </a:lnTo>
                    <a:lnTo>
                      <a:pt x="193" y="0"/>
                    </a:lnTo>
                    <a:lnTo>
                      <a:pt x="205" y="2"/>
                    </a:lnTo>
                    <a:lnTo>
                      <a:pt x="211" y="12"/>
                    </a:lnTo>
                    <a:lnTo>
                      <a:pt x="205" y="19"/>
                    </a:lnTo>
                    <a:lnTo>
                      <a:pt x="199" y="28"/>
                    </a:lnTo>
                    <a:lnTo>
                      <a:pt x="201" y="40"/>
                    </a:lnTo>
                    <a:lnTo>
                      <a:pt x="206" y="52"/>
                    </a:lnTo>
                    <a:lnTo>
                      <a:pt x="210" y="61"/>
                    </a:lnTo>
                    <a:lnTo>
                      <a:pt x="213" y="71"/>
                    </a:lnTo>
                    <a:lnTo>
                      <a:pt x="218" y="81"/>
                    </a:lnTo>
                    <a:lnTo>
                      <a:pt x="236" y="92"/>
                    </a:lnTo>
                    <a:lnTo>
                      <a:pt x="253" y="98"/>
                    </a:lnTo>
                    <a:lnTo>
                      <a:pt x="265" y="107"/>
                    </a:lnTo>
                    <a:lnTo>
                      <a:pt x="254" y="111"/>
                    </a:lnTo>
                    <a:lnTo>
                      <a:pt x="246" y="1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3" name="Freeform 303"/>
              <p:cNvSpPr>
                <a:spLocks/>
              </p:cNvSpPr>
              <p:nvPr/>
            </p:nvSpPr>
            <p:spPr bwMode="auto">
              <a:xfrm>
                <a:off x="1421607" y="1873250"/>
                <a:ext cx="234950" cy="152400"/>
              </a:xfrm>
              <a:custGeom>
                <a:avLst/>
                <a:gdLst/>
                <a:ahLst/>
                <a:cxnLst>
                  <a:cxn ang="0">
                    <a:pos x="31" y="91"/>
                  </a:cxn>
                  <a:cxn ang="0">
                    <a:pos x="27" y="86"/>
                  </a:cxn>
                  <a:cxn ang="0">
                    <a:pos x="24" y="81"/>
                  </a:cxn>
                  <a:cxn ang="0">
                    <a:pos x="17" y="77"/>
                  </a:cxn>
                  <a:cxn ang="0">
                    <a:pos x="10" y="75"/>
                  </a:cxn>
                  <a:cxn ang="0">
                    <a:pos x="2" y="72"/>
                  </a:cxn>
                  <a:cxn ang="0">
                    <a:pos x="0" y="70"/>
                  </a:cxn>
                  <a:cxn ang="0">
                    <a:pos x="3" y="57"/>
                  </a:cxn>
                  <a:cxn ang="0">
                    <a:pos x="12" y="46"/>
                  </a:cxn>
                  <a:cxn ang="0">
                    <a:pos x="19" y="34"/>
                  </a:cxn>
                  <a:cxn ang="0">
                    <a:pos x="24" y="22"/>
                  </a:cxn>
                  <a:cxn ang="0">
                    <a:pos x="20" y="12"/>
                  </a:cxn>
                  <a:cxn ang="0">
                    <a:pos x="17" y="3"/>
                  </a:cxn>
                  <a:cxn ang="0">
                    <a:pos x="33" y="0"/>
                  </a:cxn>
                  <a:cxn ang="0">
                    <a:pos x="48" y="3"/>
                  </a:cxn>
                  <a:cxn ang="0">
                    <a:pos x="55" y="0"/>
                  </a:cxn>
                  <a:cxn ang="0">
                    <a:pos x="69" y="0"/>
                  </a:cxn>
                  <a:cxn ang="0">
                    <a:pos x="81" y="5"/>
                  </a:cxn>
                  <a:cxn ang="0">
                    <a:pos x="94" y="10"/>
                  </a:cxn>
                  <a:cxn ang="0">
                    <a:pos x="103" y="10"/>
                  </a:cxn>
                  <a:cxn ang="0">
                    <a:pos x="112" y="8"/>
                  </a:cxn>
                  <a:cxn ang="0">
                    <a:pos x="120" y="8"/>
                  </a:cxn>
                  <a:cxn ang="0">
                    <a:pos x="134" y="14"/>
                  </a:cxn>
                  <a:cxn ang="0">
                    <a:pos x="143" y="20"/>
                  </a:cxn>
                  <a:cxn ang="0">
                    <a:pos x="148" y="31"/>
                  </a:cxn>
                  <a:cxn ang="0">
                    <a:pos x="143" y="32"/>
                  </a:cxn>
                  <a:cxn ang="0">
                    <a:pos x="132" y="36"/>
                  </a:cxn>
                  <a:cxn ang="0">
                    <a:pos x="122" y="38"/>
                  </a:cxn>
                  <a:cxn ang="0">
                    <a:pos x="117" y="41"/>
                  </a:cxn>
                  <a:cxn ang="0">
                    <a:pos x="103" y="46"/>
                  </a:cxn>
                  <a:cxn ang="0">
                    <a:pos x="89" y="58"/>
                  </a:cxn>
                  <a:cxn ang="0">
                    <a:pos x="81" y="69"/>
                  </a:cxn>
                  <a:cxn ang="0">
                    <a:pos x="77" y="81"/>
                  </a:cxn>
                  <a:cxn ang="0">
                    <a:pos x="70" y="84"/>
                  </a:cxn>
                  <a:cxn ang="0">
                    <a:pos x="58" y="89"/>
                  </a:cxn>
                  <a:cxn ang="0">
                    <a:pos x="46" y="93"/>
                  </a:cxn>
                  <a:cxn ang="0">
                    <a:pos x="39" y="96"/>
                  </a:cxn>
                  <a:cxn ang="0">
                    <a:pos x="34" y="93"/>
                  </a:cxn>
                  <a:cxn ang="0">
                    <a:pos x="31" y="91"/>
                  </a:cxn>
                </a:cxnLst>
                <a:rect l="0" t="0" r="r" b="b"/>
                <a:pathLst>
                  <a:path w="148" h="96">
                    <a:moveTo>
                      <a:pt x="31" y="91"/>
                    </a:moveTo>
                    <a:lnTo>
                      <a:pt x="27" y="86"/>
                    </a:lnTo>
                    <a:lnTo>
                      <a:pt x="24" y="81"/>
                    </a:lnTo>
                    <a:lnTo>
                      <a:pt x="17" y="77"/>
                    </a:lnTo>
                    <a:lnTo>
                      <a:pt x="10" y="75"/>
                    </a:lnTo>
                    <a:lnTo>
                      <a:pt x="2" y="72"/>
                    </a:lnTo>
                    <a:lnTo>
                      <a:pt x="0" y="70"/>
                    </a:lnTo>
                    <a:lnTo>
                      <a:pt x="3" y="57"/>
                    </a:lnTo>
                    <a:lnTo>
                      <a:pt x="12" y="46"/>
                    </a:lnTo>
                    <a:lnTo>
                      <a:pt x="19" y="34"/>
                    </a:lnTo>
                    <a:lnTo>
                      <a:pt x="24" y="22"/>
                    </a:lnTo>
                    <a:lnTo>
                      <a:pt x="20" y="12"/>
                    </a:lnTo>
                    <a:lnTo>
                      <a:pt x="17" y="3"/>
                    </a:lnTo>
                    <a:lnTo>
                      <a:pt x="33" y="0"/>
                    </a:lnTo>
                    <a:lnTo>
                      <a:pt x="48" y="3"/>
                    </a:lnTo>
                    <a:lnTo>
                      <a:pt x="55" y="0"/>
                    </a:lnTo>
                    <a:lnTo>
                      <a:pt x="69" y="0"/>
                    </a:lnTo>
                    <a:lnTo>
                      <a:pt x="81" y="5"/>
                    </a:lnTo>
                    <a:lnTo>
                      <a:pt x="94" y="10"/>
                    </a:lnTo>
                    <a:lnTo>
                      <a:pt x="103" y="10"/>
                    </a:lnTo>
                    <a:lnTo>
                      <a:pt x="112" y="8"/>
                    </a:lnTo>
                    <a:lnTo>
                      <a:pt x="120" y="8"/>
                    </a:lnTo>
                    <a:lnTo>
                      <a:pt x="134" y="14"/>
                    </a:lnTo>
                    <a:lnTo>
                      <a:pt x="143" y="20"/>
                    </a:lnTo>
                    <a:lnTo>
                      <a:pt x="148" y="31"/>
                    </a:lnTo>
                    <a:lnTo>
                      <a:pt x="143" y="32"/>
                    </a:lnTo>
                    <a:lnTo>
                      <a:pt x="132" y="36"/>
                    </a:lnTo>
                    <a:lnTo>
                      <a:pt x="122" y="38"/>
                    </a:lnTo>
                    <a:lnTo>
                      <a:pt x="117" y="41"/>
                    </a:lnTo>
                    <a:lnTo>
                      <a:pt x="103" y="46"/>
                    </a:lnTo>
                    <a:lnTo>
                      <a:pt x="89" y="58"/>
                    </a:lnTo>
                    <a:lnTo>
                      <a:pt x="81" y="69"/>
                    </a:lnTo>
                    <a:lnTo>
                      <a:pt x="77" y="81"/>
                    </a:lnTo>
                    <a:lnTo>
                      <a:pt x="70" y="84"/>
                    </a:lnTo>
                    <a:lnTo>
                      <a:pt x="58" y="89"/>
                    </a:lnTo>
                    <a:lnTo>
                      <a:pt x="46" y="93"/>
                    </a:lnTo>
                    <a:lnTo>
                      <a:pt x="39" y="96"/>
                    </a:lnTo>
                    <a:lnTo>
                      <a:pt x="34" y="93"/>
                    </a:lnTo>
                    <a:lnTo>
                      <a:pt x="31"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4" name="Freeform 304"/>
              <p:cNvSpPr>
                <a:spLocks/>
              </p:cNvSpPr>
              <p:nvPr/>
            </p:nvSpPr>
            <p:spPr bwMode="auto">
              <a:xfrm>
                <a:off x="1607344" y="1760538"/>
                <a:ext cx="284163" cy="117475"/>
              </a:xfrm>
              <a:custGeom>
                <a:avLst/>
                <a:gdLst/>
                <a:ahLst/>
                <a:cxnLst>
                  <a:cxn ang="0">
                    <a:pos x="51" y="71"/>
                  </a:cxn>
                  <a:cxn ang="0">
                    <a:pos x="51" y="61"/>
                  </a:cxn>
                  <a:cxn ang="0">
                    <a:pos x="55" y="55"/>
                  </a:cxn>
                  <a:cxn ang="0">
                    <a:pos x="48" y="52"/>
                  </a:cxn>
                  <a:cxn ang="0">
                    <a:pos x="34" y="57"/>
                  </a:cxn>
                  <a:cxn ang="0">
                    <a:pos x="15" y="57"/>
                  </a:cxn>
                  <a:cxn ang="0">
                    <a:pos x="2" y="52"/>
                  </a:cxn>
                  <a:cxn ang="0">
                    <a:pos x="0" y="43"/>
                  </a:cxn>
                  <a:cxn ang="0">
                    <a:pos x="7" y="38"/>
                  </a:cxn>
                  <a:cxn ang="0">
                    <a:pos x="26" y="38"/>
                  </a:cxn>
                  <a:cxn ang="0">
                    <a:pos x="24" y="38"/>
                  </a:cxn>
                  <a:cxn ang="0">
                    <a:pos x="14" y="26"/>
                  </a:cxn>
                  <a:cxn ang="0">
                    <a:pos x="22" y="26"/>
                  </a:cxn>
                  <a:cxn ang="0">
                    <a:pos x="31" y="28"/>
                  </a:cxn>
                  <a:cxn ang="0">
                    <a:pos x="45" y="30"/>
                  </a:cxn>
                  <a:cxn ang="0">
                    <a:pos x="19" y="24"/>
                  </a:cxn>
                  <a:cxn ang="0">
                    <a:pos x="29" y="19"/>
                  </a:cxn>
                  <a:cxn ang="0">
                    <a:pos x="43" y="21"/>
                  </a:cxn>
                  <a:cxn ang="0">
                    <a:pos x="27" y="14"/>
                  </a:cxn>
                  <a:cxn ang="0">
                    <a:pos x="43" y="14"/>
                  </a:cxn>
                  <a:cxn ang="0">
                    <a:pos x="51" y="21"/>
                  </a:cxn>
                  <a:cxn ang="0">
                    <a:pos x="63" y="21"/>
                  </a:cxn>
                  <a:cxn ang="0">
                    <a:pos x="84" y="31"/>
                  </a:cxn>
                  <a:cxn ang="0">
                    <a:pos x="112" y="42"/>
                  </a:cxn>
                  <a:cxn ang="0">
                    <a:pos x="124" y="35"/>
                  </a:cxn>
                  <a:cxn ang="0">
                    <a:pos x="113" y="33"/>
                  </a:cxn>
                  <a:cxn ang="0">
                    <a:pos x="118" y="31"/>
                  </a:cxn>
                  <a:cxn ang="0">
                    <a:pos x="110" y="21"/>
                  </a:cxn>
                  <a:cxn ang="0">
                    <a:pos x="106" y="11"/>
                  </a:cxn>
                  <a:cxn ang="0">
                    <a:pos x="117" y="2"/>
                  </a:cxn>
                  <a:cxn ang="0">
                    <a:pos x="129" y="2"/>
                  </a:cxn>
                  <a:cxn ang="0">
                    <a:pos x="132" y="7"/>
                  </a:cxn>
                  <a:cxn ang="0">
                    <a:pos x="139" y="23"/>
                  </a:cxn>
                  <a:cxn ang="0">
                    <a:pos x="158" y="26"/>
                  </a:cxn>
                  <a:cxn ang="0">
                    <a:pos x="174" y="26"/>
                  </a:cxn>
                  <a:cxn ang="0">
                    <a:pos x="175" y="42"/>
                  </a:cxn>
                  <a:cxn ang="0">
                    <a:pos x="165" y="55"/>
                  </a:cxn>
                  <a:cxn ang="0">
                    <a:pos x="155" y="59"/>
                  </a:cxn>
                  <a:cxn ang="0">
                    <a:pos x="132" y="57"/>
                  </a:cxn>
                  <a:cxn ang="0">
                    <a:pos x="122" y="59"/>
                  </a:cxn>
                  <a:cxn ang="0">
                    <a:pos x="100" y="64"/>
                  </a:cxn>
                  <a:cxn ang="0">
                    <a:pos x="77" y="71"/>
                  </a:cxn>
                </a:cxnLst>
                <a:rect l="0" t="0" r="r" b="b"/>
                <a:pathLst>
                  <a:path w="179" h="74">
                    <a:moveTo>
                      <a:pt x="62" y="74"/>
                    </a:moveTo>
                    <a:lnTo>
                      <a:pt x="51" y="71"/>
                    </a:lnTo>
                    <a:lnTo>
                      <a:pt x="48" y="67"/>
                    </a:lnTo>
                    <a:lnTo>
                      <a:pt x="51" y="61"/>
                    </a:lnTo>
                    <a:lnTo>
                      <a:pt x="62" y="61"/>
                    </a:lnTo>
                    <a:lnTo>
                      <a:pt x="55" y="55"/>
                    </a:lnTo>
                    <a:lnTo>
                      <a:pt x="53" y="48"/>
                    </a:lnTo>
                    <a:lnTo>
                      <a:pt x="48" y="52"/>
                    </a:lnTo>
                    <a:lnTo>
                      <a:pt x="48" y="55"/>
                    </a:lnTo>
                    <a:lnTo>
                      <a:pt x="34" y="57"/>
                    </a:lnTo>
                    <a:lnTo>
                      <a:pt x="26" y="59"/>
                    </a:lnTo>
                    <a:lnTo>
                      <a:pt x="15" y="57"/>
                    </a:lnTo>
                    <a:lnTo>
                      <a:pt x="8" y="55"/>
                    </a:lnTo>
                    <a:lnTo>
                      <a:pt x="2" y="52"/>
                    </a:lnTo>
                    <a:lnTo>
                      <a:pt x="0" y="48"/>
                    </a:lnTo>
                    <a:lnTo>
                      <a:pt x="0" y="43"/>
                    </a:lnTo>
                    <a:lnTo>
                      <a:pt x="0" y="42"/>
                    </a:lnTo>
                    <a:lnTo>
                      <a:pt x="7" y="38"/>
                    </a:lnTo>
                    <a:lnTo>
                      <a:pt x="14" y="36"/>
                    </a:lnTo>
                    <a:lnTo>
                      <a:pt x="26" y="38"/>
                    </a:lnTo>
                    <a:lnTo>
                      <a:pt x="36" y="42"/>
                    </a:lnTo>
                    <a:lnTo>
                      <a:pt x="24" y="38"/>
                    </a:lnTo>
                    <a:lnTo>
                      <a:pt x="14" y="35"/>
                    </a:lnTo>
                    <a:lnTo>
                      <a:pt x="14" y="26"/>
                    </a:lnTo>
                    <a:lnTo>
                      <a:pt x="19" y="26"/>
                    </a:lnTo>
                    <a:lnTo>
                      <a:pt x="22" y="26"/>
                    </a:lnTo>
                    <a:lnTo>
                      <a:pt x="24" y="26"/>
                    </a:lnTo>
                    <a:lnTo>
                      <a:pt x="31" y="28"/>
                    </a:lnTo>
                    <a:lnTo>
                      <a:pt x="38" y="28"/>
                    </a:lnTo>
                    <a:lnTo>
                      <a:pt x="45" y="30"/>
                    </a:lnTo>
                    <a:lnTo>
                      <a:pt x="29" y="28"/>
                    </a:lnTo>
                    <a:lnTo>
                      <a:pt x="19" y="24"/>
                    </a:lnTo>
                    <a:lnTo>
                      <a:pt x="22" y="19"/>
                    </a:lnTo>
                    <a:lnTo>
                      <a:pt x="29" y="19"/>
                    </a:lnTo>
                    <a:lnTo>
                      <a:pt x="36" y="19"/>
                    </a:lnTo>
                    <a:lnTo>
                      <a:pt x="43" y="21"/>
                    </a:lnTo>
                    <a:lnTo>
                      <a:pt x="32" y="19"/>
                    </a:lnTo>
                    <a:lnTo>
                      <a:pt x="27" y="14"/>
                    </a:lnTo>
                    <a:lnTo>
                      <a:pt x="36" y="12"/>
                    </a:lnTo>
                    <a:lnTo>
                      <a:pt x="43" y="14"/>
                    </a:lnTo>
                    <a:lnTo>
                      <a:pt x="48" y="14"/>
                    </a:lnTo>
                    <a:lnTo>
                      <a:pt x="51" y="21"/>
                    </a:lnTo>
                    <a:lnTo>
                      <a:pt x="60" y="21"/>
                    </a:lnTo>
                    <a:lnTo>
                      <a:pt x="63" y="21"/>
                    </a:lnTo>
                    <a:lnTo>
                      <a:pt x="74" y="23"/>
                    </a:lnTo>
                    <a:lnTo>
                      <a:pt x="84" y="31"/>
                    </a:lnTo>
                    <a:lnTo>
                      <a:pt x="94" y="38"/>
                    </a:lnTo>
                    <a:lnTo>
                      <a:pt x="112" y="42"/>
                    </a:lnTo>
                    <a:lnTo>
                      <a:pt x="118" y="38"/>
                    </a:lnTo>
                    <a:lnTo>
                      <a:pt x="124" y="35"/>
                    </a:lnTo>
                    <a:lnTo>
                      <a:pt x="117" y="33"/>
                    </a:lnTo>
                    <a:lnTo>
                      <a:pt x="113" y="33"/>
                    </a:lnTo>
                    <a:lnTo>
                      <a:pt x="115" y="31"/>
                    </a:lnTo>
                    <a:lnTo>
                      <a:pt x="118" y="31"/>
                    </a:lnTo>
                    <a:lnTo>
                      <a:pt x="118" y="24"/>
                    </a:lnTo>
                    <a:lnTo>
                      <a:pt x="110" y="21"/>
                    </a:lnTo>
                    <a:lnTo>
                      <a:pt x="105" y="16"/>
                    </a:lnTo>
                    <a:lnTo>
                      <a:pt x="106" y="11"/>
                    </a:lnTo>
                    <a:lnTo>
                      <a:pt x="112" y="5"/>
                    </a:lnTo>
                    <a:lnTo>
                      <a:pt x="117" y="2"/>
                    </a:lnTo>
                    <a:lnTo>
                      <a:pt x="124" y="0"/>
                    </a:lnTo>
                    <a:lnTo>
                      <a:pt x="129" y="2"/>
                    </a:lnTo>
                    <a:lnTo>
                      <a:pt x="134" y="4"/>
                    </a:lnTo>
                    <a:lnTo>
                      <a:pt x="132" y="7"/>
                    </a:lnTo>
                    <a:lnTo>
                      <a:pt x="134" y="11"/>
                    </a:lnTo>
                    <a:lnTo>
                      <a:pt x="139" y="23"/>
                    </a:lnTo>
                    <a:lnTo>
                      <a:pt x="153" y="30"/>
                    </a:lnTo>
                    <a:lnTo>
                      <a:pt x="158" y="26"/>
                    </a:lnTo>
                    <a:lnTo>
                      <a:pt x="167" y="23"/>
                    </a:lnTo>
                    <a:lnTo>
                      <a:pt x="174" y="26"/>
                    </a:lnTo>
                    <a:lnTo>
                      <a:pt x="179" y="36"/>
                    </a:lnTo>
                    <a:lnTo>
                      <a:pt x="175" y="42"/>
                    </a:lnTo>
                    <a:lnTo>
                      <a:pt x="172" y="50"/>
                    </a:lnTo>
                    <a:lnTo>
                      <a:pt x="165" y="55"/>
                    </a:lnTo>
                    <a:lnTo>
                      <a:pt x="161" y="59"/>
                    </a:lnTo>
                    <a:lnTo>
                      <a:pt x="155" y="59"/>
                    </a:lnTo>
                    <a:lnTo>
                      <a:pt x="143" y="59"/>
                    </a:lnTo>
                    <a:lnTo>
                      <a:pt x="132" y="57"/>
                    </a:lnTo>
                    <a:lnTo>
                      <a:pt x="129" y="59"/>
                    </a:lnTo>
                    <a:lnTo>
                      <a:pt x="122" y="59"/>
                    </a:lnTo>
                    <a:lnTo>
                      <a:pt x="112" y="62"/>
                    </a:lnTo>
                    <a:lnTo>
                      <a:pt x="100" y="64"/>
                    </a:lnTo>
                    <a:lnTo>
                      <a:pt x="94" y="67"/>
                    </a:lnTo>
                    <a:lnTo>
                      <a:pt x="77" y="71"/>
                    </a:lnTo>
                    <a:lnTo>
                      <a:pt x="62" y="7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5" name="Freeform 305"/>
              <p:cNvSpPr>
                <a:spLocks/>
              </p:cNvSpPr>
              <p:nvPr/>
            </p:nvSpPr>
            <p:spPr bwMode="auto">
              <a:xfrm>
                <a:off x="1569244" y="1801813"/>
                <a:ext cx="38100" cy="30162"/>
              </a:xfrm>
              <a:custGeom>
                <a:avLst/>
                <a:gdLst/>
                <a:ahLst/>
                <a:cxnLst>
                  <a:cxn ang="0">
                    <a:pos x="8" y="19"/>
                  </a:cxn>
                  <a:cxn ang="0">
                    <a:pos x="1" y="16"/>
                  </a:cxn>
                  <a:cxn ang="0">
                    <a:pos x="0" y="12"/>
                  </a:cxn>
                  <a:cxn ang="0">
                    <a:pos x="1" y="5"/>
                  </a:cxn>
                  <a:cxn ang="0">
                    <a:pos x="8" y="2"/>
                  </a:cxn>
                  <a:cxn ang="0">
                    <a:pos x="17" y="0"/>
                  </a:cxn>
                  <a:cxn ang="0">
                    <a:pos x="24" y="0"/>
                  </a:cxn>
                  <a:cxn ang="0">
                    <a:pos x="17" y="12"/>
                  </a:cxn>
                  <a:cxn ang="0">
                    <a:pos x="8" y="19"/>
                  </a:cxn>
                </a:cxnLst>
                <a:rect l="0" t="0" r="r" b="b"/>
                <a:pathLst>
                  <a:path w="24" h="19">
                    <a:moveTo>
                      <a:pt x="8" y="19"/>
                    </a:moveTo>
                    <a:lnTo>
                      <a:pt x="1" y="16"/>
                    </a:lnTo>
                    <a:lnTo>
                      <a:pt x="0" y="12"/>
                    </a:lnTo>
                    <a:lnTo>
                      <a:pt x="1" y="5"/>
                    </a:lnTo>
                    <a:lnTo>
                      <a:pt x="8" y="2"/>
                    </a:lnTo>
                    <a:lnTo>
                      <a:pt x="17" y="0"/>
                    </a:lnTo>
                    <a:lnTo>
                      <a:pt x="24" y="0"/>
                    </a:lnTo>
                    <a:lnTo>
                      <a:pt x="17" y="12"/>
                    </a:lnTo>
                    <a:lnTo>
                      <a:pt x="8"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6" name="Freeform 306"/>
              <p:cNvSpPr>
                <a:spLocks/>
              </p:cNvSpPr>
              <p:nvPr/>
            </p:nvSpPr>
            <p:spPr bwMode="auto">
              <a:xfrm>
                <a:off x="1669257" y="1760538"/>
                <a:ext cx="28575" cy="11112"/>
              </a:xfrm>
              <a:custGeom>
                <a:avLst/>
                <a:gdLst/>
                <a:ahLst/>
                <a:cxnLst>
                  <a:cxn ang="0">
                    <a:pos x="7" y="7"/>
                  </a:cxn>
                  <a:cxn ang="0">
                    <a:pos x="2" y="5"/>
                  </a:cxn>
                  <a:cxn ang="0">
                    <a:pos x="0" y="0"/>
                  </a:cxn>
                  <a:cxn ang="0">
                    <a:pos x="18" y="0"/>
                  </a:cxn>
                  <a:cxn ang="0">
                    <a:pos x="18" y="7"/>
                  </a:cxn>
                  <a:cxn ang="0">
                    <a:pos x="11" y="7"/>
                  </a:cxn>
                  <a:cxn ang="0">
                    <a:pos x="7" y="7"/>
                  </a:cxn>
                </a:cxnLst>
                <a:rect l="0" t="0" r="r" b="b"/>
                <a:pathLst>
                  <a:path w="18" h="7">
                    <a:moveTo>
                      <a:pt x="7" y="7"/>
                    </a:moveTo>
                    <a:lnTo>
                      <a:pt x="2" y="5"/>
                    </a:lnTo>
                    <a:lnTo>
                      <a:pt x="0" y="0"/>
                    </a:lnTo>
                    <a:lnTo>
                      <a:pt x="18" y="0"/>
                    </a:lnTo>
                    <a:lnTo>
                      <a:pt x="18" y="7"/>
                    </a:lnTo>
                    <a:lnTo>
                      <a:pt x="11" y="7"/>
                    </a:lnTo>
                    <a:lnTo>
                      <a:pt x="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7" name="Freeform 307"/>
              <p:cNvSpPr>
                <a:spLocks/>
              </p:cNvSpPr>
              <p:nvPr/>
            </p:nvSpPr>
            <p:spPr bwMode="auto">
              <a:xfrm>
                <a:off x="1486694" y="1730375"/>
                <a:ext cx="161925" cy="85725"/>
              </a:xfrm>
              <a:custGeom>
                <a:avLst/>
                <a:gdLst/>
                <a:ahLst/>
                <a:cxnLst>
                  <a:cxn ang="0">
                    <a:pos x="102" y="6"/>
                  </a:cxn>
                  <a:cxn ang="0">
                    <a:pos x="98" y="9"/>
                  </a:cxn>
                  <a:cxn ang="0">
                    <a:pos x="95" y="14"/>
                  </a:cxn>
                  <a:cxn ang="0">
                    <a:pos x="96" y="19"/>
                  </a:cxn>
                  <a:cxn ang="0">
                    <a:pos x="100" y="24"/>
                  </a:cxn>
                  <a:cxn ang="0">
                    <a:pos x="78" y="40"/>
                  </a:cxn>
                  <a:cxn ang="0">
                    <a:pos x="69" y="33"/>
                  </a:cxn>
                  <a:cxn ang="0">
                    <a:pos x="65" y="26"/>
                  </a:cxn>
                  <a:cxn ang="0">
                    <a:pos x="59" y="37"/>
                  </a:cxn>
                  <a:cxn ang="0">
                    <a:pos x="48" y="42"/>
                  </a:cxn>
                  <a:cxn ang="0">
                    <a:pos x="43" y="49"/>
                  </a:cxn>
                  <a:cxn ang="0">
                    <a:pos x="36" y="54"/>
                  </a:cxn>
                  <a:cxn ang="0">
                    <a:pos x="31" y="49"/>
                  </a:cxn>
                  <a:cxn ang="0">
                    <a:pos x="28" y="45"/>
                  </a:cxn>
                  <a:cxn ang="0">
                    <a:pos x="21" y="45"/>
                  </a:cxn>
                  <a:cxn ang="0">
                    <a:pos x="14" y="45"/>
                  </a:cxn>
                  <a:cxn ang="0">
                    <a:pos x="9" y="47"/>
                  </a:cxn>
                  <a:cxn ang="0">
                    <a:pos x="5" y="50"/>
                  </a:cxn>
                  <a:cxn ang="0">
                    <a:pos x="2" y="45"/>
                  </a:cxn>
                  <a:cxn ang="0">
                    <a:pos x="0" y="42"/>
                  </a:cxn>
                  <a:cxn ang="0">
                    <a:pos x="4" y="37"/>
                  </a:cxn>
                  <a:cxn ang="0">
                    <a:pos x="12" y="33"/>
                  </a:cxn>
                  <a:cxn ang="0">
                    <a:pos x="22" y="28"/>
                  </a:cxn>
                  <a:cxn ang="0">
                    <a:pos x="36" y="23"/>
                  </a:cxn>
                  <a:cxn ang="0">
                    <a:pos x="41" y="16"/>
                  </a:cxn>
                  <a:cxn ang="0">
                    <a:pos x="47" y="11"/>
                  </a:cxn>
                  <a:cxn ang="0">
                    <a:pos x="52" y="6"/>
                  </a:cxn>
                  <a:cxn ang="0">
                    <a:pos x="62" y="4"/>
                  </a:cxn>
                  <a:cxn ang="0">
                    <a:pos x="65" y="4"/>
                  </a:cxn>
                  <a:cxn ang="0">
                    <a:pos x="71" y="6"/>
                  </a:cxn>
                  <a:cxn ang="0">
                    <a:pos x="74" y="4"/>
                  </a:cxn>
                  <a:cxn ang="0">
                    <a:pos x="86" y="2"/>
                  </a:cxn>
                  <a:cxn ang="0">
                    <a:pos x="96" y="0"/>
                  </a:cxn>
                  <a:cxn ang="0">
                    <a:pos x="102" y="6"/>
                  </a:cxn>
                </a:cxnLst>
                <a:rect l="0" t="0" r="r" b="b"/>
                <a:pathLst>
                  <a:path w="102" h="54">
                    <a:moveTo>
                      <a:pt x="102" y="6"/>
                    </a:moveTo>
                    <a:lnTo>
                      <a:pt x="98" y="9"/>
                    </a:lnTo>
                    <a:lnTo>
                      <a:pt x="95" y="14"/>
                    </a:lnTo>
                    <a:lnTo>
                      <a:pt x="96" y="19"/>
                    </a:lnTo>
                    <a:lnTo>
                      <a:pt x="100" y="24"/>
                    </a:lnTo>
                    <a:lnTo>
                      <a:pt x="78" y="40"/>
                    </a:lnTo>
                    <a:lnTo>
                      <a:pt x="69" y="33"/>
                    </a:lnTo>
                    <a:lnTo>
                      <a:pt x="65" y="26"/>
                    </a:lnTo>
                    <a:lnTo>
                      <a:pt x="59" y="37"/>
                    </a:lnTo>
                    <a:lnTo>
                      <a:pt x="48" y="42"/>
                    </a:lnTo>
                    <a:lnTo>
                      <a:pt x="43" y="49"/>
                    </a:lnTo>
                    <a:lnTo>
                      <a:pt x="36" y="54"/>
                    </a:lnTo>
                    <a:lnTo>
                      <a:pt x="31" y="49"/>
                    </a:lnTo>
                    <a:lnTo>
                      <a:pt x="28" y="45"/>
                    </a:lnTo>
                    <a:lnTo>
                      <a:pt x="21" y="45"/>
                    </a:lnTo>
                    <a:lnTo>
                      <a:pt x="14" y="45"/>
                    </a:lnTo>
                    <a:lnTo>
                      <a:pt x="9" y="47"/>
                    </a:lnTo>
                    <a:lnTo>
                      <a:pt x="5" y="50"/>
                    </a:lnTo>
                    <a:lnTo>
                      <a:pt x="2" y="45"/>
                    </a:lnTo>
                    <a:lnTo>
                      <a:pt x="0" y="42"/>
                    </a:lnTo>
                    <a:lnTo>
                      <a:pt x="4" y="37"/>
                    </a:lnTo>
                    <a:lnTo>
                      <a:pt x="12" y="33"/>
                    </a:lnTo>
                    <a:lnTo>
                      <a:pt x="22" y="28"/>
                    </a:lnTo>
                    <a:lnTo>
                      <a:pt x="36" y="23"/>
                    </a:lnTo>
                    <a:lnTo>
                      <a:pt x="41" y="16"/>
                    </a:lnTo>
                    <a:lnTo>
                      <a:pt x="47" y="11"/>
                    </a:lnTo>
                    <a:lnTo>
                      <a:pt x="52" y="6"/>
                    </a:lnTo>
                    <a:lnTo>
                      <a:pt x="62" y="4"/>
                    </a:lnTo>
                    <a:lnTo>
                      <a:pt x="65" y="4"/>
                    </a:lnTo>
                    <a:lnTo>
                      <a:pt x="71" y="6"/>
                    </a:lnTo>
                    <a:lnTo>
                      <a:pt x="74" y="4"/>
                    </a:lnTo>
                    <a:lnTo>
                      <a:pt x="86" y="2"/>
                    </a:lnTo>
                    <a:lnTo>
                      <a:pt x="96" y="0"/>
                    </a:lnTo>
                    <a:lnTo>
                      <a:pt x="102"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8" name="Freeform 308"/>
              <p:cNvSpPr>
                <a:spLocks/>
              </p:cNvSpPr>
              <p:nvPr/>
            </p:nvSpPr>
            <p:spPr bwMode="auto">
              <a:xfrm>
                <a:off x="1702594" y="1668463"/>
                <a:ext cx="92075" cy="26987"/>
              </a:xfrm>
              <a:custGeom>
                <a:avLst/>
                <a:gdLst/>
                <a:ahLst/>
                <a:cxnLst>
                  <a:cxn ang="0">
                    <a:pos x="22" y="17"/>
                  </a:cxn>
                  <a:cxn ang="0">
                    <a:pos x="15" y="15"/>
                  </a:cxn>
                  <a:cxn ang="0">
                    <a:pos x="10" y="14"/>
                  </a:cxn>
                  <a:cxn ang="0">
                    <a:pos x="3" y="15"/>
                  </a:cxn>
                  <a:cxn ang="0">
                    <a:pos x="0" y="17"/>
                  </a:cxn>
                  <a:cxn ang="0">
                    <a:pos x="3" y="10"/>
                  </a:cxn>
                  <a:cxn ang="0">
                    <a:pos x="15" y="5"/>
                  </a:cxn>
                  <a:cxn ang="0">
                    <a:pos x="28" y="0"/>
                  </a:cxn>
                  <a:cxn ang="0">
                    <a:pos x="36" y="0"/>
                  </a:cxn>
                  <a:cxn ang="0">
                    <a:pos x="50" y="3"/>
                  </a:cxn>
                  <a:cxn ang="0">
                    <a:pos x="58" y="12"/>
                  </a:cxn>
                  <a:cxn ang="0">
                    <a:pos x="52" y="15"/>
                  </a:cxn>
                  <a:cxn ang="0">
                    <a:pos x="45" y="17"/>
                  </a:cxn>
                  <a:cxn ang="0">
                    <a:pos x="36" y="17"/>
                  </a:cxn>
                  <a:cxn ang="0">
                    <a:pos x="33" y="17"/>
                  </a:cxn>
                  <a:cxn ang="0">
                    <a:pos x="28" y="17"/>
                  </a:cxn>
                  <a:cxn ang="0">
                    <a:pos x="22" y="17"/>
                  </a:cxn>
                </a:cxnLst>
                <a:rect l="0" t="0" r="r" b="b"/>
                <a:pathLst>
                  <a:path w="58" h="17">
                    <a:moveTo>
                      <a:pt x="22" y="17"/>
                    </a:moveTo>
                    <a:lnTo>
                      <a:pt x="15" y="15"/>
                    </a:lnTo>
                    <a:lnTo>
                      <a:pt x="10" y="14"/>
                    </a:lnTo>
                    <a:lnTo>
                      <a:pt x="3" y="15"/>
                    </a:lnTo>
                    <a:lnTo>
                      <a:pt x="0" y="17"/>
                    </a:lnTo>
                    <a:lnTo>
                      <a:pt x="3" y="10"/>
                    </a:lnTo>
                    <a:lnTo>
                      <a:pt x="15" y="5"/>
                    </a:lnTo>
                    <a:lnTo>
                      <a:pt x="28" y="0"/>
                    </a:lnTo>
                    <a:lnTo>
                      <a:pt x="36" y="0"/>
                    </a:lnTo>
                    <a:lnTo>
                      <a:pt x="50" y="3"/>
                    </a:lnTo>
                    <a:lnTo>
                      <a:pt x="58" y="12"/>
                    </a:lnTo>
                    <a:lnTo>
                      <a:pt x="52" y="15"/>
                    </a:lnTo>
                    <a:lnTo>
                      <a:pt x="45" y="17"/>
                    </a:lnTo>
                    <a:lnTo>
                      <a:pt x="36" y="17"/>
                    </a:lnTo>
                    <a:lnTo>
                      <a:pt x="33" y="17"/>
                    </a:lnTo>
                    <a:lnTo>
                      <a:pt x="28" y="17"/>
                    </a:lnTo>
                    <a:lnTo>
                      <a:pt x="22"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9" name="Freeform 309"/>
              <p:cNvSpPr>
                <a:spLocks/>
              </p:cNvSpPr>
              <p:nvPr/>
            </p:nvSpPr>
            <p:spPr bwMode="auto">
              <a:xfrm>
                <a:off x="1705769" y="1700213"/>
                <a:ext cx="79375" cy="41275"/>
              </a:xfrm>
              <a:custGeom>
                <a:avLst/>
                <a:gdLst/>
                <a:ahLst/>
                <a:cxnLst>
                  <a:cxn ang="0">
                    <a:pos x="43" y="11"/>
                  </a:cxn>
                  <a:cxn ang="0">
                    <a:pos x="39" y="16"/>
                  </a:cxn>
                  <a:cxn ang="0">
                    <a:pos x="32" y="21"/>
                  </a:cxn>
                  <a:cxn ang="0">
                    <a:pos x="24" y="25"/>
                  </a:cxn>
                  <a:cxn ang="0">
                    <a:pos x="15" y="26"/>
                  </a:cxn>
                  <a:cxn ang="0">
                    <a:pos x="5" y="21"/>
                  </a:cxn>
                  <a:cxn ang="0">
                    <a:pos x="0" y="13"/>
                  </a:cxn>
                  <a:cxn ang="0">
                    <a:pos x="3" y="4"/>
                  </a:cxn>
                  <a:cxn ang="0">
                    <a:pos x="15" y="0"/>
                  </a:cxn>
                  <a:cxn ang="0">
                    <a:pos x="29" y="0"/>
                  </a:cxn>
                  <a:cxn ang="0">
                    <a:pos x="41" y="0"/>
                  </a:cxn>
                  <a:cxn ang="0">
                    <a:pos x="46" y="2"/>
                  </a:cxn>
                  <a:cxn ang="0">
                    <a:pos x="50" y="6"/>
                  </a:cxn>
                  <a:cxn ang="0">
                    <a:pos x="39" y="9"/>
                  </a:cxn>
                  <a:cxn ang="0">
                    <a:pos x="29" y="11"/>
                  </a:cxn>
                  <a:cxn ang="0">
                    <a:pos x="43" y="11"/>
                  </a:cxn>
                </a:cxnLst>
                <a:rect l="0" t="0" r="r" b="b"/>
                <a:pathLst>
                  <a:path w="50" h="26">
                    <a:moveTo>
                      <a:pt x="43" y="11"/>
                    </a:moveTo>
                    <a:lnTo>
                      <a:pt x="39" y="16"/>
                    </a:lnTo>
                    <a:lnTo>
                      <a:pt x="32" y="21"/>
                    </a:lnTo>
                    <a:lnTo>
                      <a:pt x="24" y="25"/>
                    </a:lnTo>
                    <a:lnTo>
                      <a:pt x="15" y="26"/>
                    </a:lnTo>
                    <a:lnTo>
                      <a:pt x="5" y="21"/>
                    </a:lnTo>
                    <a:lnTo>
                      <a:pt x="0" y="13"/>
                    </a:lnTo>
                    <a:lnTo>
                      <a:pt x="3" y="4"/>
                    </a:lnTo>
                    <a:lnTo>
                      <a:pt x="15" y="0"/>
                    </a:lnTo>
                    <a:lnTo>
                      <a:pt x="29" y="0"/>
                    </a:lnTo>
                    <a:lnTo>
                      <a:pt x="41" y="0"/>
                    </a:lnTo>
                    <a:lnTo>
                      <a:pt x="46" y="2"/>
                    </a:lnTo>
                    <a:lnTo>
                      <a:pt x="50" y="6"/>
                    </a:lnTo>
                    <a:lnTo>
                      <a:pt x="39" y="9"/>
                    </a:lnTo>
                    <a:lnTo>
                      <a:pt x="29" y="11"/>
                    </a:lnTo>
                    <a:lnTo>
                      <a:pt x="43"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0" name="Freeform 310"/>
              <p:cNvSpPr>
                <a:spLocks/>
              </p:cNvSpPr>
              <p:nvPr/>
            </p:nvSpPr>
            <p:spPr bwMode="auto">
              <a:xfrm>
                <a:off x="1667669" y="1703388"/>
                <a:ext cx="26988" cy="22225"/>
              </a:xfrm>
              <a:custGeom>
                <a:avLst/>
                <a:gdLst/>
                <a:ahLst/>
                <a:cxnLst>
                  <a:cxn ang="0">
                    <a:pos x="17" y="9"/>
                  </a:cxn>
                  <a:cxn ang="0">
                    <a:pos x="13" y="12"/>
                  </a:cxn>
                  <a:cxn ang="0">
                    <a:pos x="10" y="14"/>
                  </a:cxn>
                  <a:cxn ang="0">
                    <a:pos x="1" y="11"/>
                  </a:cxn>
                  <a:cxn ang="0">
                    <a:pos x="0" y="7"/>
                  </a:cxn>
                  <a:cxn ang="0">
                    <a:pos x="1" y="0"/>
                  </a:cxn>
                  <a:cxn ang="0">
                    <a:pos x="7" y="2"/>
                  </a:cxn>
                  <a:cxn ang="0">
                    <a:pos x="12" y="5"/>
                  </a:cxn>
                  <a:cxn ang="0">
                    <a:pos x="17" y="9"/>
                  </a:cxn>
                </a:cxnLst>
                <a:rect l="0" t="0" r="r" b="b"/>
                <a:pathLst>
                  <a:path w="17" h="14">
                    <a:moveTo>
                      <a:pt x="17" y="9"/>
                    </a:moveTo>
                    <a:lnTo>
                      <a:pt x="13" y="12"/>
                    </a:lnTo>
                    <a:lnTo>
                      <a:pt x="10" y="14"/>
                    </a:lnTo>
                    <a:lnTo>
                      <a:pt x="1" y="11"/>
                    </a:lnTo>
                    <a:lnTo>
                      <a:pt x="0" y="7"/>
                    </a:lnTo>
                    <a:lnTo>
                      <a:pt x="1" y="0"/>
                    </a:lnTo>
                    <a:lnTo>
                      <a:pt x="7" y="2"/>
                    </a:lnTo>
                    <a:lnTo>
                      <a:pt x="12" y="5"/>
                    </a:lnTo>
                    <a:lnTo>
                      <a:pt x="17" y="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1" name="Freeform 311"/>
              <p:cNvSpPr>
                <a:spLocks/>
              </p:cNvSpPr>
              <p:nvPr/>
            </p:nvSpPr>
            <p:spPr bwMode="auto">
              <a:xfrm>
                <a:off x="1964532" y="1905000"/>
                <a:ext cx="136525" cy="109537"/>
              </a:xfrm>
              <a:custGeom>
                <a:avLst/>
                <a:gdLst/>
                <a:ahLst/>
                <a:cxnLst>
                  <a:cxn ang="0">
                    <a:pos x="76" y="26"/>
                  </a:cxn>
                  <a:cxn ang="0">
                    <a:pos x="74" y="30"/>
                  </a:cxn>
                  <a:cxn ang="0">
                    <a:pos x="74" y="33"/>
                  </a:cxn>
                  <a:cxn ang="0">
                    <a:pos x="79" y="33"/>
                  </a:cxn>
                  <a:cxn ang="0">
                    <a:pos x="86" y="37"/>
                  </a:cxn>
                  <a:cxn ang="0">
                    <a:pos x="84" y="43"/>
                  </a:cxn>
                  <a:cxn ang="0">
                    <a:pos x="83" y="50"/>
                  </a:cxn>
                  <a:cxn ang="0">
                    <a:pos x="81" y="54"/>
                  </a:cxn>
                  <a:cxn ang="0">
                    <a:pos x="81" y="57"/>
                  </a:cxn>
                  <a:cxn ang="0">
                    <a:pos x="74" y="59"/>
                  </a:cxn>
                  <a:cxn ang="0">
                    <a:pos x="65" y="62"/>
                  </a:cxn>
                  <a:cxn ang="0">
                    <a:pos x="60" y="66"/>
                  </a:cxn>
                  <a:cxn ang="0">
                    <a:pos x="55" y="69"/>
                  </a:cxn>
                  <a:cxn ang="0">
                    <a:pos x="48" y="66"/>
                  </a:cxn>
                  <a:cxn ang="0">
                    <a:pos x="45" y="61"/>
                  </a:cxn>
                  <a:cxn ang="0">
                    <a:pos x="33" y="52"/>
                  </a:cxn>
                  <a:cxn ang="0">
                    <a:pos x="22" y="47"/>
                  </a:cxn>
                  <a:cxn ang="0">
                    <a:pos x="10" y="42"/>
                  </a:cxn>
                  <a:cxn ang="0">
                    <a:pos x="0" y="35"/>
                  </a:cxn>
                  <a:cxn ang="0">
                    <a:pos x="0" y="26"/>
                  </a:cxn>
                  <a:cxn ang="0">
                    <a:pos x="10" y="28"/>
                  </a:cxn>
                  <a:cxn ang="0">
                    <a:pos x="22" y="31"/>
                  </a:cxn>
                  <a:cxn ang="0">
                    <a:pos x="26" y="31"/>
                  </a:cxn>
                  <a:cxn ang="0">
                    <a:pos x="31" y="31"/>
                  </a:cxn>
                  <a:cxn ang="0">
                    <a:pos x="31" y="18"/>
                  </a:cxn>
                  <a:cxn ang="0">
                    <a:pos x="19" y="16"/>
                  </a:cxn>
                  <a:cxn ang="0">
                    <a:pos x="14" y="12"/>
                  </a:cxn>
                  <a:cxn ang="0">
                    <a:pos x="16" y="9"/>
                  </a:cxn>
                  <a:cxn ang="0">
                    <a:pos x="17" y="7"/>
                  </a:cxn>
                  <a:cxn ang="0">
                    <a:pos x="31" y="0"/>
                  </a:cxn>
                  <a:cxn ang="0">
                    <a:pos x="48" y="2"/>
                  </a:cxn>
                  <a:cxn ang="0">
                    <a:pos x="60" y="2"/>
                  </a:cxn>
                  <a:cxn ang="0">
                    <a:pos x="69" y="2"/>
                  </a:cxn>
                  <a:cxn ang="0">
                    <a:pos x="71" y="2"/>
                  </a:cxn>
                  <a:cxn ang="0">
                    <a:pos x="72" y="6"/>
                  </a:cxn>
                  <a:cxn ang="0">
                    <a:pos x="65" y="18"/>
                  </a:cxn>
                  <a:cxn ang="0">
                    <a:pos x="57" y="25"/>
                  </a:cxn>
                  <a:cxn ang="0">
                    <a:pos x="60" y="23"/>
                  </a:cxn>
                  <a:cxn ang="0">
                    <a:pos x="67" y="23"/>
                  </a:cxn>
                  <a:cxn ang="0">
                    <a:pos x="72" y="21"/>
                  </a:cxn>
                  <a:cxn ang="0">
                    <a:pos x="76" y="26"/>
                  </a:cxn>
                </a:cxnLst>
                <a:rect l="0" t="0" r="r" b="b"/>
                <a:pathLst>
                  <a:path w="86" h="69">
                    <a:moveTo>
                      <a:pt x="76" y="26"/>
                    </a:moveTo>
                    <a:lnTo>
                      <a:pt x="74" y="30"/>
                    </a:lnTo>
                    <a:lnTo>
                      <a:pt x="74" y="33"/>
                    </a:lnTo>
                    <a:lnTo>
                      <a:pt x="79" y="33"/>
                    </a:lnTo>
                    <a:lnTo>
                      <a:pt x="86" y="37"/>
                    </a:lnTo>
                    <a:lnTo>
                      <a:pt x="84" y="43"/>
                    </a:lnTo>
                    <a:lnTo>
                      <a:pt x="83" y="50"/>
                    </a:lnTo>
                    <a:lnTo>
                      <a:pt x="81" y="54"/>
                    </a:lnTo>
                    <a:lnTo>
                      <a:pt x="81" y="57"/>
                    </a:lnTo>
                    <a:lnTo>
                      <a:pt x="74" y="59"/>
                    </a:lnTo>
                    <a:lnTo>
                      <a:pt x="65" y="62"/>
                    </a:lnTo>
                    <a:lnTo>
                      <a:pt x="60" y="66"/>
                    </a:lnTo>
                    <a:lnTo>
                      <a:pt x="55" y="69"/>
                    </a:lnTo>
                    <a:lnTo>
                      <a:pt x="48" y="66"/>
                    </a:lnTo>
                    <a:lnTo>
                      <a:pt x="45" y="61"/>
                    </a:lnTo>
                    <a:lnTo>
                      <a:pt x="33" y="52"/>
                    </a:lnTo>
                    <a:lnTo>
                      <a:pt x="22" y="47"/>
                    </a:lnTo>
                    <a:lnTo>
                      <a:pt x="10" y="42"/>
                    </a:lnTo>
                    <a:lnTo>
                      <a:pt x="0" y="35"/>
                    </a:lnTo>
                    <a:lnTo>
                      <a:pt x="0" y="26"/>
                    </a:lnTo>
                    <a:lnTo>
                      <a:pt x="10" y="28"/>
                    </a:lnTo>
                    <a:lnTo>
                      <a:pt x="22" y="31"/>
                    </a:lnTo>
                    <a:lnTo>
                      <a:pt x="26" y="31"/>
                    </a:lnTo>
                    <a:lnTo>
                      <a:pt x="31" y="31"/>
                    </a:lnTo>
                    <a:lnTo>
                      <a:pt x="31" y="18"/>
                    </a:lnTo>
                    <a:lnTo>
                      <a:pt x="19" y="16"/>
                    </a:lnTo>
                    <a:lnTo>
                      <a:pt x="14" y="12"/>
                    </a:lnTo>
                    <a:lnTo>
                      <a:pt x="16" y="9"/>
                    </a:lnTo>
                    <a:lnTo>
                      <a:pt x="17" y="7"/>
                    </a:lnTo>
                    <a:lnTo>
                      <a:pt x="31" y="0"/>
                    </a:lnTo>
                    <a:lnTo>
                      <a:pt x="48" y="2"/>
                    </a:lnTo>
                    <a:lnTo>
                      <a:pt x="60" y="2"/>
                    </a:lnTo>
                    <a:lnTo>
                      <a:pt x="69" y="2"/>
                    </a:lnTo>
                    <a:lnTo>
                      <a:pt x="71" y="2"/>
                    </a:lnTo>
                    <a:lnTo>
                      <a:pt x="72" y="6"/>
                    </a:lnTo>
                    <a:lnTo>
                      <a:pt x="65" y="18"/>
                    </a:lnTo>
                    <a:lnTo>
                      <a:pt x="57" y="25"/>
                    </a:lnTo>
                    <a:lnTo>
                      <a:pt x="60" y="23"/>
                    </a:lnTo>
                    <a:lnTo>
                      <a:pt x="67" y="23"/>
                    </a:lnTo>
                    <a:lnTo>
                      <a:pt x="72" y="21"/>
                    </a:lnTo>
                    <a:lnTo>
                      <a:pt x="76"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2" name="Freeform 312"/>
              <p:cNvSpPr>
                <a:spLocks/>
              </p:cNvSpPr>
              <p:nvPr/>
            </p:nvSpPr>
            <p:spPr bwMode="auto">
              <a:xfrm>
                <a:off x="1915319" y="1771650"/>
                <a:ext cx="152400" cy="76200"/>
              </a:xfrm>
              <a:custGeom>
                <a:avLst/>
                <a:gdLst/>
                <a:ahLst/>
                <a:cxnLst>
                  <a:cxn ang="0">
                    <a:pos x="4" y="12"/>
                  </a:cxn>
                  <a:cxn ang="0">
                    <a:pos x="0" y="7"/>
                  </a:cxn>
                  <a:cxn ang="0">
                    <a:pos x="0" y="2"/>
                  </a:cxn>
                  <a:cxn ang="0">
                    <a:pos x="2" y="2"/>
                  </a:cxn>
                  <a:cxn ang="0">
                    <a:pos x="5" y="2"/>
                  </a:cxn>
                  <a:cxn ang="0">
                    <a:pos x="14" y="5"/>
                  </a:cxn>
                  <a:cxn ang="0">
                    <a:pos x="24" y="14"/>
                  </a:cxn>
                  <a:cxn ang="0">
                    <a:pos x="31" y="21"/>
                  </a:cxn>
                  <a:cxn ang="0">
                    <a:pos x="43" y="23"/>
                  </a:cxn>
                  <a:cxn ang="0">
                    <a:pos x="36" y="17"/>
                  </a:cxn>
                  <a:cxn ang="0">
                    <a:pos x="33" y="14"/>
                  </a:cxn>
                  <a:cxn ang="0">
                    <a:pos x="33" y="9"/>
                  </a:cxn>
                  <a:cxn ang="0">
                    <a:pos x="40" y="9"/>
                  </a:cxn>
                  <a:cxn ang="0">
                    <a:pos x="47" y="14"/>
                  </a:cxn>
                  <a:cxn ang="0">
                    <a:pos x="52" y="16"/>
                  </a:cxn>
                  <a:cxn ang="0">
                    <a:pos x="62" y="19"/>
                  </a:cxn>
                  <a:cxn ang="0">
                    <a:pos x="62" y="9"/>
                  </a:cxn>
                  <a:cxn ang="0">
                    <a:pos x="48" y="7"/>
                  </a:cxn>
                  <a:cxn ang="0">
                    <a:pos x="43" y="2"/>
                  </a:cxn>
                  <a:cxn ang="0">
                    <a:pos x="47" y="0"/>
                  </a:cxn>
                  <a:cxn ang="0">
                    <a:pos x="52" y="0"/>
                  </a:cxn>
                  <a:cxn ang="0">
                    <a:pos x="62" y="2"/>
                  </a:cxn>
                  <a:cxn ang="0">
                    <a:pos x="76" y="5"/>
                  </a:cxn>
                  <a:cxn ang="0">
                    <a:pos x="79" y="4"/>
                  </a:cxn>
                  <a:cxn ang="0">
                    <a:pos x="86" y="2"/>
                  </a:cxn>
                  <a:cxn ang="0">
                    <a:pos x="93" y="5"/>
                  </a:cxn>
                  <a:cxn ang="0">
                    <a:pos x="96" y="14"/>
                  </a:cxn>
                  <a:cxn ang="0">
                    <a:pos x="95" y="21"/>
                  </a:cxn>
                  <a:cxn ang="0">
                    <a:pos x="93" y="29"/>
                  </a:cxn>
                  <a:cxn ang="0">
                    <a:pos x="90" y="36"/>
                  </a:cxn>
                  <a:cxn ang="0">
                    <a:pos x="91" y="47"/>
                  </a:cxn>
                  <a:cxn ang="0">
                    <a:pos x="78" y="47"/>
                  </a:cxn>
                  <a:cxn ang="0">
                    <a:pos x="71" y="48"/>
                  </a:cxn>
                  <a:cxn ang="0">
                    <a:pos x="66" y="48"/>
                  </a:cxn>
                  <a:cxn ang="0">
                    <a:pos x="62" y="48"/>
                  </a:cxn>
                  <a:cxn ang="0">
                    <a:pos x="57" y="47"/>
                  </a:cxn>
                  <a:cxn ang="0">
                    <a:pos x="55" y="47"/>
                  </a:cxn>
                  <a:cxn ang="0">
                    <a:pos x="55" y="43"/>
                  </a:cxn>
                  <a:cxn ang="0">
                    <a:pos x="59" y="41"/>
                  </a:cxn>
                  <a:cxn ang="0">
                    <a:pos x="59" y="38"/>
                  </a:cxn>
                  <a:cxn ang="0">
                    <a:pos x="59" y="36"/>
                  </a:cxn>
                  <a:cxn ang="0">
                    <a:pos x="64" y="31"/>
                  </a:cxn>
                  <a:cxn ang="0">
                    <a:pos x="71" y="29"/>
                  </a:cxn>
                  <a:cxn ang="0">
                    <a:pos x="67" y="28"/>
                  </a:cxn>
                  <a:cxn ang="0">
                    <a:pos x="66" y="28"/>
                  </a:cxn>
                  <a:cxn ang="0">
                    <a:pos x="55" y="28"/>
                  </a:cxn>
                  <a:cxn ang="0">
                    <a:pos x="47" y="29"/>
                  </a:cxn>
                  <a:cxn ang="0">
                    <a:pos x="36" y="31"/>
                  </a:cxn>
                  <a:cxn ang="0">
                    <a:pos x="28" y="33"/>
                  </a:cxn>
                  <a:cxn ang="0">
                    <a:pos x="23" y="29"/>
                  </a:cxn>
                  <a:cxn ang="0">
                    <a:pos x="23" y="26"/>
                  </a:cxn>
                  <a:cxn ang="0">
                    <a:pos x="14" y="26"/>
                  </a:cxn>
                  <a:cxn ang="0">
                    <a:pos x="14" y="21"/>
                  </a:cxn>
                  <a:cxn ang="0">
                    <a:pos x="5" y="19"/>
                  </a:cxn>
                  <a:cxn ang="0">
                    <a:pos x="0" y="16"/>
                  </a:cxn>
                  <a:cxn ang="0">
                    <a:pos x="0" y="7"/>
                  </a:cxn>
                  <a:cxn ang="0">
                    <a:pos x="4" y="12"/>
                  </a:cxn>
                </a:cxnLst>
                <a:rect l="0" t="0" r="r" b="b"/>
                <a:pathLst>
                  <a:path w="96" h="48">
                    <a:moveTo>
                      <a:pt x="4" y="12"/>
                    </a:moveTo>
                    <a:lnTo>
                      <a:pt x="0" y="7"/>
                    </a:lnTo>
                    <a:lnTo>
                      <a:pt x="0" y="2"/>
                    </a:lnTo>
                    <a:lnTo>
                      <a:pt x="2" y="2"/>
                    </a:lnTo>
                    <a:lnTo>
                      <a:pt x="5" y="2"/>
                    </a:lnTo>
                    <a:lnTo>
                      <a:pt x="14" y="5"/>
                    </a:lnTo>
                    <a:lnTo>
                      <a:pt x="24" y="14"/>
                    </a:lnTo>
                    <a:lnTo>
                      <a:pt x="31" y="21"/>
                    </a:lnTo>
                    <a:lnTo>
                      <a:pt x="43" y="23"/>
                    </a:lnTo>
                    <a:lnTo>
                      <a:pt x="36" y="17"/>
                    </a:lnTo>
                    <a:lnTo>
                      <a:pt x="33" y="14"/>
                    </a:lnTo>
                    <a:lnTo>
                      <a:pt x="33" y="9"/>
                    </a:lnTo>
                    <a:lnTo>
                      <a:pt x="40" y="9"/>
                    </a:lnTo>
                    <a:lnTo>
                      <a:pt x="47" y="14"/>
                    </a:lnTo>
                    <a:lnTo>
                      <a:pt x="52" y="16"/>
                    </a:lnTo>
                    <a:lnTo>
                      <a:pt x="62" y="19"/>
                    </a:lnTo>
                    <a:lnTo>
                      <a:pt x="62" y="9"/>
                    </a:lnTo>
                    <a:lnTo>
                      <a:pt x="48" y="7"/>
                    </a:lnTo>
                    <a:lnTo>
                      <a:pt x="43" y="2"/>
                    </a:lnTo>
                    <a:lnTo>
                      <a:pt x="47" y="0"/>
                    </a:lnTo>
                    <a:lnTo>
                      <a:pt x="52" y="0"/>
                    </a:lnTo>
                    <a:lnTo>
                      <a:pt x="62" y="2"/>
                    </a:lnTo>
                    <a:lnTo>
                      <a:pt x="76" y="5"/>
                    </a:lnTo>
                    <a:lnTo>
                      <a:pt x="79" y="4"/>
                    </a:lnTo>
                    <a:lnTo>
                      <a:pt x="86" y="2"/>
                    </a:lnTo>
                    <a:lnTo>
                      <a:pt x="93" y="5"/>
                    </a:lnTo>
                    <a:lnTo>
                      <a:pt x="96" y="14"/>
                    </a:lnTo>
                    <a:lnTo>
                      <a:pt x="95" y="21"/>
                    </a:lnTo>
                    <a:lnTo>
                      <a:pt x="93" y="29"/>
                    </a:lnTo>
                    <a:lnTo>
                      <a:pt x="90" y="36"/>
                    </a:lnTo>
                    <a:lnTo>
                      <a:pt x="91" y="47"/>
                    </a:lnTo>
                    <a:lnTo>
                      <a:pt x="78" y="47"/>
                    </a:lnTo>
                    <a:lnTo>
                      <a:pt x="71" y="48"/>
                    </a:lnTo>
                    <a:lnTo>
                      <a:pt x="66" y="48"/>
                    </a:lnTo>
                    <a:lnTo>
                      <a:pt x="62" y="48"/>
                    </a:lnTo>
                    <a:lnTo>
                      <a:pt x="57" y="47"/>
                    </a:lnTo>
                    <a:lnTo>
                      <a:pt x="55" y="47"/>
                    </a:lnTo>
                    <a:lnTo>
                      <a:pt x="55" y="43"/>
                    </a:lnTo>
                    <a:lnTo>
                      <a:pt x="59" y="41"/>
                    </a:lnTo>
                    <a:lnTo>
                      <a:pt x="59" y="38"/>
                    </a:lnTo>
                    <a:lnTo>
                      <a:pt x="59" y="36"/>
                    </a:lnTo>
                    <a:lnTo>
                      <a:pt x="64" y="31"/>
                    </a:lnTo>
                    <a:lnTo>
                      <a:pt x="71" y="29"/>
                    </a:lnTo>
                    <a:lnTo>
                      <a:pt x="67" y="28"/>
                    </a:lnTo>
                    <a:lnTo>
                      <a:pt x="66" y="28"/>
                    </a:lnTo>
                    <a:lnTo>
                      <a:pt x="55" y="28"/>
                    </a:lnTo>
                    <a:lnTo>
                      <a:pt x="47" y="29"/>
                    </a:lnTo>
                    <a:lnTo>
                      <a:pt x="36" y="31"/>
                    </a:lnTo>
                    <a:lnTo>
                      <a:pt x="28" y="33"/>
                    </a:lnTo>
                    <a:lnTo>
                      <a:pt x="23" y="29"/>
                    </a:lnTo>
                    <a:lnTo>
                      <a:pt x="23" y="26"/>
                    </a:lnTo>
                    <a:lnTo>
                      <a:pt x="14" y="26"/>
                    </a:lnTo>
                    <a:lnTo>
                      <a:pt x="14" y="21"/>
                    </a:lnTo>
                    <a:lnTo>
                      <a:pt x="5" y="19"/>
                    </a:lnTo>
                    <a:lnTo>
                      <a:pt x="0" y="16"/>
                    </a:lnTo>
                    <a:lnTo>
                      <a:pt x="0" y="7"/>
                    </a:lnTo>
                    <a:lnTo>
                      <a:pt x="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3" name="Freeform 313"/>
              <p:cNvSpPr>
                <a:spLocks/>
              </p:cNvSpPr>
              <p:nvPr/>
            </p:nvSpPr>
            <p:spPr bwMode="auto">
              <a:xfrm>
                <a:off x="2029619" y="2078038"/>
                <a:ext cx="90488" cy="53975"/>
              </a:xfrm>
              <a:custGeom>
                <a:avLst/>
                <a:gdLst/>
                <a:ahLst/>
                <a:cxnLst>
                  <a:cxn ang="0">
                    <a:pos x="45" y="34"/>
                  </a:cxn>
                  <a:cxn ang="0">
                    <a:pos x="35" y="31"/>
                  </a:cxn>
                  <a:cxn ang="0">
                    <a:pos x="19" y="26"/>
                  </a:cxn>
                  <a:cxn ang="0">
                    <a:pos x="6" y="20"/>
                  </a:cxn>
                  <a:cxn ang="0">
                    <a:pos x="0" y="19"/>
                  </a:cxn>
                  <a:cxn ang="0">
                    <a:pos x="6" y="15"/>
                  </a:cxn>
                  <a:cxn ang="0">
                    <a:pos x="12" y="17"/>
                  </a:cxn>
                  <a:cxn ang="0">
                    <a:pos x="14" y="12"/>
                  </a:cxn>
                  <a:cxn ang="0">
                    <a:pos x="16" y="7"/>
                  </a:cxn>
                  <a:cxn ang="0">
                    <a:pos x="19" y="2"/>
                  </a:cxn>
                  <a:cxn ang="0">
                    <a:pos x="26" y="0"/>
                  </a:cxn>
                  <a:cxn ang="0">
                    <a:pos x="33" y="2"/>
                  </a:cxn>
                  <a:cxn ang="0">
                    <a:pos x="43" y="10"/>
                  </a:cxn>
                  <a:cxn ang="0">
                    <a:pos x="52" y="17"/>
                  </a:cxn>
                  <a:cxn ang="0">
                    <a:pos x="57" y="26"/>
                  </a:cxn>
                  <a:cxn ang="0">
                    <a:pos x="50" y="31"/>
                  </a:cxn>
                  <a:cxn ang="0">
                    <a:pos x="45" y="34"/>
                  </a:cxn>
                </a:cxnLst>
                <a:rect l="0" t="0" r="r" b="b"/>
                <a:pathLst>
                  <a:path w="57" h="34">
                    <a:moveTo>
                      <a:pt x="45" y="34"/>
                    </a:moveTo>
                    <a:lnTo>
                      <a:pt x="35" y="31"/>
                    </a:lnTo>
                    <a:lnTo>
                      <a:pt x="19" y="26"/>
                    </a:lnTo>
                    <a:lnTo>
                      <a:pt x="6" y="20"/>
                    </a:lnTo>
                    <a:lnTo>
                      <a:pt x="0" y="19"/>
                    </a:lnTo>
                    <a:lnTo>
                      <a:pt x="6" y="15"/>
                    </a:lnTo>
                    <a:lnTo>
                      <a:pt x="12" y="17"/>
                    </a:lnTo>
                    <a:lnTo>
                      <a:pt x="14" y="12"/>
                    </a:lnTo>
                    <a:lnTo>
                      <a:pt x="16" y="7"/>
                    </a:lnTo>
                    <a:lnTo>
                      <a:pt x="19" y="2"/>
                    </a:lnTo>
                    <a:lnTo>
                      <a:pt x="26" y="0"/>
                    </a:lnTo>
                    <a:lnTo>
                      <a:pt x="33" y="2"/>
                    </a:lnTo>
                    <a:lnTo>
                      <a:pt x="43" y="10"/>
                    </a:lnTo>
                    <a:lnTo>
                      <a:pt x="52" y="17"/>
                    </a:lnTo>
                    <a:lnTo>
                      <a:pt x="57" y="26"/>
                    </a:lnTo>
                    <a:lnTo>
                      <a:pt x="50" y="31"/>
                    </a:lnTo>
                    <a:lnTo>
                      <a:pt x="45" y="3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4" name="Freeform 314"/>
              <p:cNvSpPr>
                <a:spLocks/>
              </p:cNvSpPr>
              <p:nvPr/>
            </p:nvSpPr>
            <p:spPr bwMode="auto">
              <a:xfrm>
                <a:off x="2116932" y="1889125"/>
                <a:ext cx="117475" cy="95250"/>
              </a:xfrm>
              <a:custGeom>
                <a:avLst/>
                <a:gdLst/>
                <a:ahLst/>
                <a:cxnLst>
                  <a:cxn ang="0">
                    <a:pos x="74" y="12"/>
                  </a:cxn>
                  <a:cxn ang="0">
                    <a:pos x="69" y="16"/>
                  </a:cxn>
                  <a:cxn ang="0">
                    <a:pos x="66" y="21"/>
                  </a:cxn>
                  <a:cxn ang="0">
                    <a:pos x="59" y="26"/>
                  </a:cxn>
                  <a:cxn ang="0">
                    <a:pos x="54" y="33"/>
                  </a:cxn>
                  <a:cxn ang="0">
                    <a:pos x="45" y="38"/>
                  </a:cxn>
                  <a:cxn ang="0">
                    <a:pos x="37" y="41"/>
                  </a:cxn>
                  <a:cxn ang="0">
                    <a:pos x="26" y="38"/>
                  </a:cxn>
                  <a:cxn ang="0">
                    <a:pos x="23" y="45"/>
                  </a:cxn>
                  <a:cxn ang="0">
                    <a:pos x="30" y="45"/>
                  </a:cxn>
                  <a:cxn ang="0">
                    <a:pos x="25" y="53"/>
                  </a:cxn>
                  <a:cxn ang="0">
                    <a:pos x="18" y="60"/>
                  </a:cxn>
                  <a:cxn ang="0">
                    <a:pos x="7" y="60"/>
                  </a:cxn>
                  <a:cxn ang="0">
                    <a:pos x="7" y="52"/>
                  </a:cxn>
                  <a:cxn ang="0">
                    <a:pos x="7" y="47"/>
                  </a:cxn>
                  <a:cxn ang="0">
                    <a:pos x="2" y="35"/>
                  </a:cxn>
                  <a:cxn ang="0">
                    <a:pos x="0" y="22"/>
                  </a:cxn>
                  <a:cxn ang="0">
                    <a:pos x="0" y="12"/>
                  </a:cxn>
                  <a:cxn ang="0">
                    <a:pos x="6" y="12"/>
                  </a:cxn>
                  <a:cxn ang="0">
                    <a:pos x="12" y="12"/>
                  </a:cxn>
                  <a:cxn ang="0">
                    <a:pos x="11" y="10"/>
                  </a:cxn>
                  <a:cxn ang="0">
                    <a:pos x="12" y="9"/>
                  </a:cxn>
                  <a:cxn ang="0">
                    <a:pos x="14" y="4"/>
                  </a:cxn>
                  <a:cxn ang="0">
                    <a:pos x="26" y="0"/>
                  </a:cxn>
                  <a:cxn ang="0">
                    <a:pos x="38" y="0"/>
                  </a:cxn>
                  <a:cxn ang="0">
                    <a:pos x="50" y="4"/>
                  </a:cxn>
                  <a:cxn ang="0">
                    <a:pos x="61" y="5"/>
                  </a:cxn>
                  <a:cxn ang="0">
                    <a:pos x="74" y="7"/>
                  </a:cxn>
                  <a:cxn ang="0">
                    <a:pos x="74" y="9"/>
                  </a:cxn>
                  <a:cxn ang="0">
                    <a:pos x="74" y="12"/>
                  </a:cxn>
                </a:cxnLst>
                <a:rect l="0" t="0" r="r" b="b"/>
                <a:pathLst>
                  <a:path w="74" h="60">
                    <a:moveTo>
                      <a:pt x="74" y="12"/>
                    </a:moveTo>
                    <a:lnTo>
                      <a:pt x="69" y="16"/>
                    </a:lnTo>
                    <a:lnTo>
                      <a:pt x="66" y="21"/>
                    </a:lnTo>
                    <a:lnTo>
                      <a:pt x="59" y="26"/>
                    </a:lnTo>
                    <a:lnTo>
                      <a:pt x="54" y="33"/>
                    </a:lnTo>
                    <a:lnTo>
                      <a:pt x="45" y="38"/>
                    </a:lnTo>
                    <a:lnTo>
                      <a:pt x="37" y="41"/>
                    </a:lnTo>
                    <a:lnTo>
                      <a:pt x="26" y="38"/>
                    </a:lnTo>
                    <a:lnTo>
                      <a:pt x="23" y="45"/>
                    </a:lnTo>
                    <a:lnTo>
                      <a:pt x="30" y="45"/>
                    </a:lnTo>
                    <a:lnTo>
                      <a:pt x="25" y="53"/>
                    </a:lnTo>
                    <a:lnTo>
                      <a:pt x="18" y="60"/>
                    </a:lnTo>
                    <a:lnTo>
                      <a:pt x="7" y="60"/>
                    </a:lnTo>
                    <a:lnTo>
                      <a:pt x="7" y="52"/>
                    </a:lnTo>
                    <a:lnTo>
                      <a:pt x="7" y="47"/>
                    </a:lnTo>
                    <a:lnTo>
                      <a:pt x="2" y="35"/>
                    </a:lnTo>
                    <a:lnTo>
                      <a:pt x="0" y="22"/>
                    </a:lnTo>
                    <a:lnTo>
                      <a:pt x="0" y="12"/>
                    </a:lnTo>
                    <a:lnTo>
                      <a:pt x="6" y="12"/>
                    </a:lnTo>
                    <a:lnTo>
                      <a:pt x="12" y="12"/>
                    </a:lnTo>
                    <a:lnTo>
                      <a:pt x="11" y="10"/>
                    </a:lnTo>
                    <a:lnTo>
                      <a:pt x="12" y="9"/>
                    </a:lnTo>
                    <a:lnTo>
                      <a:pt x="14" y="4"/>
                    </a:lnTo>
                    <a:lnTo>
                      <a:pt x="26" y="0"/>
                    </a:lnTo>
                    <a:lnTo>
                      <a:pt x="38" y="0"/>
                    </a:lnTo>
                    <a:lnTo>
                      <a:pt x="50" y="4"/>
                    </a:lnTo>
                    <a:lnTo>
                      <a:pt x="61" y="5"/>
                    </a:lnTo>
                    <a:lnTo>
                      <a:pt x="74" y="7"/>
                    </a:lnTo>
                    <a:lnTo>
                      <a:pt x="74" y="9"/>
                    </a:lnTo>
                    <a:lnTo>
                      <a:pt x="7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5" name="Freeform 315"/>
              <p:cNvSpPr>
                <a:spLocks/>
              </p:cNvSpPr>
              <p:nvPr/>
            </p:nvSpPr>
            <p:spPr bwMode="auto">
              <a:xfrm>
                <a:off x="1874044" y="1717675"/>
                <a:ext cx="41275" cy="31750"/>
              </a:xfrm>
              <a:custGeom>
                <a:avLst/>
                <a:gdLst/>
                <a:ahLst/>
                <a:cxnLst>
                  <a:cxn ang="0">
                    <a:pos x="26" y="15"/>
                  </a:cxn>
                  <a:cxn ang="0">
                    <a:pos x="23" y="19"/>
                  </a:cxn>
                  <a:cxn ang="0">
                    <a:pos x="19" y="20"/>
                  </a:cxn>
                  <a:cxn ang="0">
                    <a:pos x="12" y="17"/>
                  </a:cxn>
                  <a:cxn ang="0">
                    <a:pos x="7" y="12"/>
                  </a:cxn>
                  <a:cxn ang="0">
                    <a:pos x="0" y="5"/>
                  </a:cxn>
                  <a:cxn ang="0">
                    <a:pos x="0" y="0"/>
                  </a:cxn>
                  <a:cxn ang="0">
                    <a:pos x="7" y="0"/>
                  </a:cxn>
                  <a:cxn ang="0">
                    <a:pos x="14" y="5"/>
                  </a:cxn>
                  <a:cxn ang="0">
                    <a:pos x="19" y="10"/>
                  </a:cxn>
                  <a:cxn ang="0">
                    <a:pos x="26" y="15"/>
                  </a:cxn>
                </a:cxnLst>
                <a:rect l="0" t="0" r="r" b="b"/>
                <a:pathLst>
                  <a:path w="26" h="20">
                    <a:moveTo>
                      <a:pt x="26" y="15"/>
                    </a:moveTo>
                    <a:lnTo>
                      <a:pt x="23" y="19"/>
                    </a:lnTo>
                    <a:lnTo>
                      <a:pt x="19" y="20"/>
                    </a:lnTo>
                    <a:lnTo>
                      <a:pt x="12" y="17"/>
                    </a:lnTo>
                    <a:lnTo>
                      <a:pt x="7" y="12"/>
                    </a:lnTo>
                    <a:lnTo>
                      <a:pt x="0" y="5"/>
                    </a:lnTo>
                    <a:lnTo>
                      <a:pt x="0" y="0"/>
                    </a:lnTo>
                    <a:lnTo>
                      <a:pt x="7" y="0"/>
                    </a:lnTo>
                    <a:lnTo>
                      <a:pt x="14" y="5"/>
                    </a:lnTo>
                    <a:lnTo>
                      <a:pt x="19" y="10"/>
                    </a:lnTo>
                    <a:lnTo>
                      <a:pt x="26" y="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6" name="Freeform 316"/>
              <p:cNvSpPr>
                <a:spLocks/>
              </p:cNvSpPr>
              <p:nvPr/>
            </p:nvSpPr>
            <p:spPr bwMode="auto">
              <a:xfrm>
                <a:off x="1899444" y="1827213"/>
                <a:ext cx="26988" cy="20637"/>
              </a:xfrm>
              <a:custGeom>
                <a:avLst/>
                <a:gdLst/>
                <a:ahLst/>
                <a:cxnLst>
                  <a:cxn ang="0">
                    <a:pos x="14" y="0"/>
                  </a:cxn>
                  <a:cxn ang="0">
                    <a:pos x="15" y="3"/>
                  </a:cxn>
                  <a:cxn ang="0">
                    <a:pos x="17" y="6"/>
                  </a:cxn>
                  <a:cxn ang="0">
                    <a:pos x="14" y="12"/>
                  </a:cxn>
                  <a:cxn ang="0">
                    <a:pos x="10" y="13"/>
                  </a:cxn>
                  <a:cxn ang="0">
                    <a:pos x="3" y="13"/>
                  </a:cxn>
                  <a:cxn ang="0">
                    <a:pos x="0" y="13"/>
                  </a:cxn>
                  <a:cxn ang="0">
                    <a:pos x="3" y="3"/>
                  </a:cxn>
                  <a:cxn ang="0">
                    <a:pos x="14" y="0"/>
                  </a:cxn>
                </a:cxnLst>
                <a:rect l="0" t="0" r="r" b="b"/>
                <a:pathLst>
                  <a:path w="17" h="13">
                    <a:moveTo>
                      <a:pt x="14" y="0"/>
                    </a:moveTo>
                    <a:lnTo>
                      <a:pt x="15" y="3"/>
                    </a:lnTo>
                    <a:lnTo>
                      <a:pt x="17" y="6"/>
                    </a:lnTo>
                    <a:lnTo>
                      <a:pt x="14" y="12"/>
                    </a:lnTo>
                    <a:lnTo>
                      <a:pt x="10" y="13"/>
                    </a:lnTo>
                    <a:lnTo>
                      <a:pt x="3" y="13"/>
                    </a:lnTo>
                    <a:lnTo>
                      <a:pt x="0" y="13"/>
                    </a:lnTo>
                    <a:lnTo>
                      <a:pt x="3" y="3"/>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7" name="Freeform 317"/>
              <p:cNvSpPr>
                <a:spLocks/>
              </p:cNvSpPr>
              <p:nvPr/>
            </p:nvSpPr>
            <p:spPr bwMode="auto">
              <a:xfrm>
                <a:off x="1885157" y="1638300"/>
                <a:ext cx="150813" cy="79375"/>
              </a:xfrm>
              <a:custGeom>
                <a:avLst/>
                <a:gdLst/>
                <a:ahLst/>
                <a:cxnLst>
                  <a:cxn ang="0">
                    <a:pos x="62" y="36"/>
                  </a:cxn>
                  <a:cxn ang="0">
                    <a:pos x="50" y="34"/>
                  </a:cxn>
                  <a:cxn ang="0">
                    <a:pos x="38" y="34"/>
                  </a:cxn>
                  <a:cxn ang="0">
                    <a:pos x="31" y="31"/>
                  </a:cxn>
                  <a:cxn ang="0">
                    <a:pos x="23" y="33"/>
                  </a:cxn>
                  <a:cxn ang="0">
                    <a:pos x="12" y="31"/>
                  </a:cxn>
                  <a:cxn ang="0">
                    <a:pos x="9" y="29"/>
                  </a:cxn>
                  <a:cxn ang="0">
                    <a:pos x="14" y="24"/>
                  </a:cxn>
                  <a:cxn ang="0">
                    <a:pos x="23" y="22"/>
                  </a:cxn>
                  <a:cxn ang="0">
                    <a:pos x="23" y="19"/>
                  </a:cxn>
                  <a:cxn ang="0">
                    <a:pos x="23" y="17"/>
                  </a:cxn>
                  <a:cxn ang="0">
                    <a:pos x="11" y="17"/>
                  </a:cxn>
                  <a:cxn ang="0">
                    <a:pos x="5" y="17"/>
                  </a:cxn>
                  <a:cxn ang="0">
                    <a:pos x="7" y="14"/>
                  </a:cxn>
                  <a:cxn ang="0">
                    <a:pos x="9" y="12"/>
                  </a:cxn>
                  <a:cxn ang="0">
                    <a:pos x="2" y="10"/>
                  </a:cxn>
                  <a:cxn ang="0">
                    <a:pos x="0" y="3"/>
                  </a:cxn>
                  <a:cxn ang="0">
                    <a:pos x="9" y="2"/>
                  </a:cxn>
                  <a:cxn ang="0">
                    <a:pos x="17" y="0"/>
                  </a:cxn>
                  <a:cxn ang="0">
                    <a:pos x="28" y="3"/>
                  </a:cxn>
                  <a:cxn ang="0">
                    <a:pos x="36" y="9"/>
                  </a:cxn>
                  <a:cxn ang="0">
                    <a:pos x="40" y="7"/>
                  </a:cxn>
                  <a:cxn ang="0">
                    <a:pos x="47" y="5"/>
                  </a:cxn>
                  <a:cxn ang="0">
                    <a:pos x="55" y="10"/>
                  </a:cxn>
                  <a:cxn ang="0">
                    <a:pos x="60" y="17"/>
                  </a:cxn>
                  <a:cxn ang="0">
                    <a:pos x="64" y="14"/>
                  </a:cxn>
                  <a:cxn ang="0">
                    <a:pos x="69" y="12"/>
                  </a:cxn>
                  <a:cxn ang="0">
                    <a:pos x="78" y="17"/>
                  </a:cxn>
                  <a:cxn ang="0">
                    <a:pos x="85" y="24"/>
                  </a:cxn>
                  <a:cxn ang="0">
                    <a:pos x="81" y="26"/>
                  </a:cxn>
                  <a:cxn ang="0">
                    <a:pos x="81" y="29"/>
                  </a:cxn>
                  <a:cxn ang="0">
                    <a:pos x="88" y="34"/>
                  </a:cxn>
                  <a:cxn ang="0">
                    <a:pos x="95" y="43"/>
                  </a:cxn>
                  <a:cxn ang="0">
                    <a:pos x="91" y="48"/>
                  </a:cxn>
                  <a:cxn ang="0">
                    <a:pos x="85" y="50"/>
                  </a:cxn>
                  <a:cxn ang="0">
                    <a:pos x="76" y="46"/>
                  </a:cxn>
                  <a:cxn ang="0">
                    <a:pos x="72" y="43"/>
                  </a:cxn>
                  <a:cxn ang="0">
                    <a:pos x="67" y="38"/>
                  </a:cxn>
                  <a:cxn ang="0">
                    <a:pos x="62" y="36"/>
                  </a:cxn>
                </a:cxnLst>
                <a:rect l="0" t="0" r="r" b="b"/>
                <a:pathLst>
                  <a:path w="95" h="50">
                    <a:moveTo>
                      <a:pt x="62" y="36"/>
                    </a:moveTo>
                    <a:lnTo>
                      <a:pt x="50" y="34"/>
                    </a:lnTo>
                    <a:lnTo>
                      <a:pt x="38" y="34"/>
                    </a:lnTo>
                    <a:lnTo>
                      <a:pt x="31" y="31"/>
                    </a:lnTo>
                    <a:lnTo>
                      <a:pt x="23" y="33"/>
                    </a:lnTo>
                    <a:lnTo>
                      <a:pt x="12" y="31"/>
                    </a:lnTo>
                    <a:lnTo>
                      <a:pt x="9" y="29"/>
                    </a:lnTo>
                    <a:lnTo>
                      <a:pt x="14" y="24"/>
                    </a:lnTo>
                    <a:lnTo>
                      <a:pt x="23" y="22"/>
                    </a:lnTo>
                    <a:lnTo>
                      <a:pt x="23" y="19"/>
                    </a:lnTo>
                    <a:lnTo>
                      <a:pt x="23" y="17"/>
                    </a:lnTo>
                    <a:lnTo>
                      <a:pt x="11" y="17"/>
                    </a:lnTo>
                    <a:lnTo>
                      <a:pt x="5" y="17"/>
                    </a:lnTo>
                    <a:lnTo>
                      <a:pt x="7" y="14"/>
                    </a:lnTo>
                    <a:lnTo>
                      <a:pt x="9" y="12"/>
                    </a:lnTo>
                    <a:lnTo>
                      <a:pt x="2" y="10"/>
                    </a:lnTo>
                    <a:lnTo>
                      <a:pt x="0" y="3"/>
                    </a:lnTo>
                    <a:lnTo>
                      <a:pt x="9" y="2"/>
                    </a:lnTo>
                    <a:lnTo>
                      <a:pt x="17" y="0"/>
                    </a:lnTo>
                    <a:lnTo>
                      <a:pt x="28" y="3"/>
                    </a:lnTo>
                    <a:lnTo>
                      <a:pt x="36" y="9"/>
                    </a:lnTo>
                    <a:lnTo>
                      <a:pt x="40" y="7"/>
                    </a:lnTo>
                    <a:lnTo>
                      <a:pt x="47" y="5"/>
                    </a:lnTo>
                    <a:lnTo>
                      <a:pt x="55" y="10"/>
                    </a:lnTo>
                    <a:lnTo>
                      <a:pt x="60" y="17"/>
                    </a:lnTo>
                    <a:lnTo>
                      <a:pt x="64" y="14"/>
                    </a:lnTo>
                    <a:lnTo>
                      <a:pt x="69" y="12"/>
                    </a:lnTo>
                    <a:lnTo>
                      <a:pt x="78" y="17"/>
                    </a:lnTo>
                    <a:lnTo>
                      <a:pt x="85" y="24"/>
                    </a:lnTo>
                    <a:lnTo>
                      <a:pt x="81" y="26"/>
                    </a:lnTo>
                    <a:lnTo>
                      <a:pt x="81" y="29"/>
                    </a:lnTo>
                    <a:lnTo>
                      <a:pt x="88" y="34"/>
                    </a:lnTo>
                    <a:lnTo>
                      <a:pt x="95" y="43"/>
                    </a:lnTo>
                    <a:lnTo>
                      <a:pt x="91" y="48"/>
                    </a:lnTo>
                    <a:lnTo>
                      <a:pt x="85" y="50"/>
                    </a:lnTo>
                    <a:lnTo>
                      <a:pt x="76" y="46"/>
                    </a:lnTo>
                    <a:lnTo>
                      <a:pt x="72" y="43"/>
                    </a:lnTo>
                    <a:lnTo>
                      <a:pt x="67" y="38"/>
                    </a:lnTo>
                    <a:lnTo>
                      <a:pt x="62"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8" name="Freeform 318"/>
              <p:cNvSpPr>
                <a:spLocks/>
              </p:cNvSpPr>
              <p:nvPr/>
            </p:nvSpPr>
            <p:spPr bwMode="auto">
              <a:xfrm>
                <a:off x="1956594" y="1706563"/>
                <a:ext cx="30163" cy="11112"/>
              </a:xfrm>
              <a:custGeom>
                <a:avLst/>
                <a:gdLst/>
                <a:ahLst/>
                <a:cxnLst>
                  <a:cxn ang="0">
                    <a:pos x="2" y="7"/>
                  </a:cxn>
                  <a:cxn ang="0">
                    <a:pos x="0" y="3"/>
                  </a:cxn>
                  <a:cxn ang="0">
                    <a:pos x="7" y="0"/>
                  </a:cxn>
                  <a:cxn ang="0">
                    <a:pos x="12" y="0"/>
                  </a:cxn>
                  <a:cxn ang="0">
                    <a:pos x="19" y="3"/>
                  </a:cxn>
                  <a:cxn ang="0">
                    <a:pos x="10" y="5"/>
                  </a:cxn>
                  <a:cxn ang="0">
                    <a:pos x="2" y="7"/>
                  </a:cxn>
                </a:cxnLst>
                <a:rect l="0" t="0" r="r" b="b"/>
                <a:pathLst>
                  <a:path w="19" h="7">
                    <a:moveTo>
                      <a:pt x="2" y="7"/>
                    </a:moveTo>
                    <a:lnTo>
                      <a:pt x="0" y="3"/>
                    </a:lnTo>
                    <a:lnTo>
                      <a:pt x="7" y="0"/>
                    </a:lnTo>
                    <a:lnTo>
                      <a:pt x="12" y="0"/>
                    </a:lnTo>
                    <a:lnTo>
                      <a:pt x="19" y="3"/>
                    </a:lnTo>
                    <a:lnTo>
                      <a:pt x="10" y="5"/>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9" name="Freeform 319"/>
              <p:cNvSpPr>
                <a:spLocks/>
              </p:cNvSpPr>
              <p:nvPr/>
            </p:nvSpPr>
            <p:spPr bwMode="auto">
              <a:xfrm>
                <a:off x="2089944" y="1752600"/>
                <a:ext cx="396875" cy="123825"/>
              </a:xfrm>
              <a:custGeom>
                <a:avLst/>
                <a:gdLst/>
                <a:ahLst/>
                <a:cxnLst>
                  <a:cxn ang="0">
                    <a:pos x="244" y="53"/>
                  </a:cxn>
                  <a:cxn ang="0">
                    <a:pos x="246" y="59"/>
                  </a:cxn>
                  <a:cxn ang="0">
                    <a:pos x="244" y="69"/>
                  </a:cxn>
                  <a:cxn ang="0">
                    <a:pos x="220" y="76"/>
                  </a:cxn>
                  <a:cxn ang="0">
                    <a:pos x="200" y="74"/>
                  </a:cxn>
                  <a:cxn ang="0">
                    <a:pos x="189" y="71"/>
                  </a:cxn>
                  <a:cxn ang="0">
                    <a:pos x="145" y="76"/>
                  </a:cxn>
                  <a:cxn ang="0">
                    <a:pos x="126" y="76"/>
                  </a:cxn>
                  <a:cxn ang="0">
                    <a:pos x="119" y="69"/>
                  </a:cxn>
                  <a:cxn ang="0">
                    <a:pos x="105" y="72"/>
                  </a:cxn>
                  <a:cxn ang="0">
                    <a:pos x="86" y="74"/>
                  </a:cxn>
                  <a:cxn ang="0">
                    <a:pos x="66" y="60"/>
                  </a:cxn>
                  <a:cxn ang="0">
                    <a:pos x="64" y="48"/>
                  </a:cxn>
                  <a:cxn ang="0">
                    <a:pos x="57" y="33"/>
                  </a:cxn>
                  <a:cxn ang="0">
                    <a:pos x="43" y="23"/>
                  </a:cxn>
                  <a:cxn ang="0">
                    <a:pos x="28" y="23"/>
                  </a:cxn>
                  <a:cxn ang="0">
                    <a:pos x="4" y="10"/>
                  </a:cxn>
                  <a:cxn ang="0">
                    <a:pos x="5" y="0"/>
                  </a:cxn>
                  <a:cxn ang="0">
                    <a:pos x="28" y="2"/>
                  </a:cxn>
                  <a:cxn ang="0">
                    <a:pos x="48" y="14"/>
                  </a:cxn>
                  <a:cxn ang="0">
                    <a:pos x="66" y="16"/>
                  </a:cxn>
                  <a:cxn ang="0">
                    <a:pos x="76" y="14"/>
                  </a:cxn>
                  <a:cxn ang="0">
                    <a:pos x="79" y="19"/>
                  </a:cxn>
                  <a:cxn ang="0">
                    <a:pos x="95" y="24"/>
                  </a:cxn>
                  <a:cxn ang="0">
                    <a:pos x="83" y="29"/>
                  </a:cxn>
                  <a:cxn ang="0">
                    <a:pos x="91" y="38"/>
                  </a:cxn>
                  <a:cxn ang="0">
                    <a:pos x="105" y="41"/>
                  </a:cxn>
                  <a:cxn ang="0">
                    <a:pos x="102" y="43"/>
                  </a:cxn>
                  <a:cxn ang="0">
                    <a:pos x="110" y="47"/>
                  </a:cxn>
                  <a:cxn ang="0">
                    <a:pos x="145" y="52"/>
                  </a:cxn>
                  <a:cxn ang="0">
                    <a:pos x="162" y="48"/>
                  </a:cxn>
                  <a:cxn ang="0">
                    <a:pos x="177" y="45"/>
                  </a:cxn>
                  <a:cxn ang="0">
                    <a:pos x="189" y="40"/>
                  </a:cxn>
                  <a:cxn ang="0">
                    <a:pos x="208" y="40"/>
                  </a:cxn>
                  <a:cxn ang="0">
                    <a:pos x="234" y="41"/>
                  </a:cxn>
                  <a:cxn ang="0">
                    <a:pos x="250" y="53"/>
                  </a:cxn>
                  <a:cxn ang="0">
                    <a:pos x="244" y="53"/>
                  </a:cxn>
                </a:cxnLst>
                <a:rect l="0" t="0" r="r" b="b"/>
                <a:pathLst>
                  <a:path w="250" h="78">
                    <a:moveTo>
                      <a:pt x="248" y="52"/>
                    </a:moveTo>
                    <a:lnTo>
                      <a:pt x="244" y="53"/>
                    </a:lnTo>
                    <a:lnTo>
                      <a:pt x="243" y="59"/>
                    </a:lnTo>
                    <a:lnTo>
                      <a:pt x="246" y="59"/>
                    </a:lnTo>
                    <a:lnTo>
                      <a:pt x="250" y="60"/>
                    </a:lnTo>
                    <a:lnTo>
                      <a:pt x="244" y="69"/>
                    </a:lnTo>
                    <a:lnTo>
                      <a:pt x="234" y="74"/>
                    </a:lnTo>
                    <a:lnTo>
                      <a:pt x="220" y="76"/>
                    </a:lnTo>
                    <a:lnTo>
                      <a:pt x="207" y="78"/>
                    </a:lnTo>
                    <a:lnTo>
                      <a:pt x="200" y="74"/>
                    </a:lnTo>
                    <a:lnTo>
                      <a:pt x="198" y="69"/>
                    </a:lnTo>
                    <a:lnTo>
                      <a:pt x="189" y="71"/>
                    </a:lnTo>
                    <a:lnTo>
                      <a:pt x="184" y="76"/>
                    </a:lnTo>
                    <a:lnTo>
                      <a:pt x="145" y="76"/>
                    </a:lnTo>
                    <a:lnTo>
                      <a:pt x="134" y="76"/>
                    </a:lnTo>
                    <a:lnTo>
                      <a:pt x="126" y="76"/>
                    </a:lnTo>
                    <a:lnTo>
                      <a:pt x="119" y="72"/>
                    </a:lnTo>
                    <a:lnTo>
                      <a:pt x="119" y="69"/>
                    </a:lnTo>
                    <a:lnTo>
                      <a:pt x="112" y="69"/>
                    </a:lnTo>
                    <a:lnTo>
                      <a:pt x="105" y="72"/>
                    </a:lnTo>
                    <a:lnTo>
                      <a:pt x="98" y="78"/>
                    </a:lnTo>
                    <a:lnTo>
                      <a:pt x="86" y="74"/>
                    </a:lnTo>
                    <a:lnTo>
                      <a:pt x="76" y="69"/>
                    </a:lnTo>
                    <a:lnTo>
                      <a:pt x="66" y="60"/>
                    </a:lnTo>
                    <a:lnTo>
                      <a:pt x="62" y="53"/>
                    </a:lnTo>
                    <a:lnTo>
                      <a:pt x="64" y="48"/>
                    </a:lnTo>
                    <a:lnTo>
                      <a:pt x="67" y="47"/>
                    </a:lnTo>
                    <a:lnTo>
                      <a:pt x="57" y="33"/>
                    </a:lnTo>
                    <a:lnTo>
                      <a:pt x="48" y="21"/>
                    </a:lnTo>
                    <a:lnTo>
                      <a:pt x="43" y="23"/>
                    </a:lnTo>
                    <a:lnTo>
                      <a:pt x="38" y="26"/>
                    </a:lnTo>
                    <a:lnTo>
                      <a:pt x="28" y="23"/>
                    </a:lnTo>
                    <a:lnTo>
                      <a:pt x="16" y="17"/>
                    </a:lnTo>
                    <a:lnTo>
                      <a:pt x="4" y="10"/>
                    </a:lnTo>
                    <a:lnTo>
                      <a:pt x="0" y="7"/>
                    </a:lnTo>
                    <a:lnTo>
                      <a:pt x="5" y="0"/>
                    </a:lnTo>
                    <a:lnTo>
                      <a:pt x="16" y="0"/>
                    </a:lnTo>
                    <a:lnTo>
                      <a:pt x="28" y="2"/>
                    </a:lnTo>
                    <a:lnTo>
                      <a:pt x="40" y="9"/>
                    </a:lnTo>
                    <a:lnTo>
                      <a:pt x="48" y="14"/>
                    </a:lnTo>
                    <a:lnTo>
                      <a:pt x="60" y="17"/>
                    </a:lnTo>
                    <a:lnTo>
                      <a:pt x="66" y="16"/>
                    </a:lnTo>
                    <a:lnTo>
                      <a:pt x="71" y="14"/>
                    </a:lnTo>
                    <a:lnTo>
                      <a:pt x="76" y="14"/>
                    </a:lnTo>
                    <a:lnTo>
                      <a:pt x="79" y="14"/>
                    </a:lnTo>
                    <a:lnTo>
                      <a:pt x="79" y="19"/>
                    </a:lnTo>
                    <a:lnTo>
                      <a:pt x="88" y="23"/>
                    </a:lnTo>
                    <a:lnTo>
                      <a:pt x="95" y="24"/>
                    </a:lnTo>
                    <a:lnTo>
                      <a:pt x="103" y="29"/>
                    </a:lnTo>
                    <a:lnTo>
                      <a:pt x="83" y="29"/>
                    </a:lnTo>
                    <a:lnTo>
                      <a:pt x="86" y="35"/>
                    </a:lnTo>
                    <a:lnTo>
                      <a:pt x="91" y="38"/>
                    </a:lnTo>
                    <a:lnTo>
                      <a:pt x="98" y="38"/>
                    </a:lnTo>
                    <a:lnTo>
                      <a:pt x="105" y="41"/>
                    </a:lnTo>
                    <a:lnTo>
                      <a:pt x="103" y="41"/>
                    </a:lnTo>
                    <a:lnTo>
                      <a:pt x="102" y="43"/>
                    </a:lnTo>
                    <a:lnTo>
                      <a:pt x="105" y="47"/>
                    </a:lnTo>
                    <a:lnTo>
                      <a:pt x="110" y="47"/>
                    </a:lnTo>
                    <a:lnTo>
                      <a:pt x="128" y="48"/>
                    </a:lnTo>
                    <a:lnTo>
                      <a:pt x="145" y="52"/>
                    </a:lnTo>
                    <a:lnTo>
                      <a:pt x="153" y="50"/>
                    </a:lnTo>
                    <a:lnTo>
                      <a:pt x="162" y="48"/>
                    </a:lnTo>
                    <a:lnTo>
                      <a:pt x="169" y="47"/>
                    </a:lnTo>
                    <a:lnTo>
                      <a:pt x="177" y="45"/>
                    </a:lnTo>
                    <a:lnTo>
                      <a:pt x="183" y="41"/>
                    </a:lnTo>
                    <a:lnTo>
                      <a:pt x="189" y="40"/>
                    </a:lnTo>
                    <a:lnTo>
                      <a:pt x="198" y="40"/>
                    </a:lnTo>
                    <a:lnTo>
                      <a:pt x="208" y="40"/>
                    </a:lnTo>
                    <a:lnTo>
                      <a:pt x="222" y="40"/>
                    </a:lnTo>
                    <a:lnTo>
                      <a:pt x="234" y="41"/>
                    </a:lnTo>
                    <a:lnTo>
                      <a:pt x="243" y="45"/>
                    </a:lnTo>
                    <a:lnTo>
                      <a:pt x="250" y="53"/>
                    </a:lnTo>
                    <a:lnTo>
                      <a:pt x="246" y="53"/>
                    </a:lnTo>
                    <a:lnTo>
                      <a:pt x="244" y="53"/>
                    </a:lnTo>
                    <a:lnTo>
                      <a:pt x="248" y="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0" name="Freeform 320"/>
              <p:cNvSpPr>
                <a:spLocks/>
              </p:cNvSpPr>
              <p:nvPr/>
            </p:nvSpPr>
            <p:spPr bwMode="auto">
              <a:xfrm>
                <a:off x="2096294" y="1817688"/>
                <a:ext cx="69850" cy="52387"/>
              </a:xfrm>
              <a:custGeom>
                <a:avLst/>
                <a:gdLst/>
                <a:ahLst/>
                <a:cxnLst>
                  <a:cxn ang="0">
                    <a:pos x="7" y="12"/>
                  </a:cxn>
                  <a:cxn ang="0">
                    <a:pos x="12" y="6"/>
                  </a:cxn>
                  <a:cxn ang="0">
                    <a:pos x="22" y="0"/>
                  </a:cxn>
                  <a:cxn ang="0">
                    <a:pos x="27" y="0"/>
                  </a:cxn>
                  <a:cxn ang="0">
                    <a:pos x="36" y="6"/>
                  </a:cxn>
                  <a:cxn ang="0">
                    <a:pos x="41" y="11"/>
                  </a:cxn>
                  <a:cxn ang="0">
                    <a:pos x="44" y="18"/>
                  </a:cxn>
                  <a:cxn ang="0">
                    <a:pos x="41" y="28"/>
                  </a:cxn>
                  <a:cxn ang="0">
                    <a:pos x="34" y="33"/>
                  </a:cxn>
                  <a:cxn ang="0">
                    <a:pos x="27" y="30"/>
                  </a:cxn>
                  <a:cxn ang="0">
                    <a:pos x="15" y="26"/>
                  </a:cxn>
                  <a:cxn ang="0">
                    <a:pos x="3" y="21"/>
                  </a:cxn>
                  <a:cxn ang="0">
                    <a:pos x="0" y="19"/>
                  </a:cxn>
                  <a:cxn ang="0">
                    <a:pos x="3" y="12"/>
                  </a:cxn>
                  <a:cxn ang="0">
                    <a:pos x="7" y="12"/>
                  </a:cxn>
                </a:cxnLst>
                <a:rect l="0" t="0" r="r" b="b"/>
                <a:pathLst>
                  <a:path w="44" h="33">
                    <a:moveTo>
                      <a:pt x="7" y="12"/>
                    </a:moveTo>
                    <a:lnTo>
                      <a:pt x="12" y="6"/>
                    </a:lnTo>
                    <a:lnTo>
                      <a:pt x="22" y="0"/>
                    </a:lnTo>
                    <a:lnTo>
                      <a:pt x="27" y="0"/>
                    </a:lnTo>
                    <a:lnTo>
                      <a:pt x="36" y="6"/>
                    </a:lnTo>
                    <a:lnTo>
                      <a:pt x="41" y="11"/>
                    </a:lnTo>
                    <a:lnTo>
                      <a:pt x="44" y="18"/>
                    </a:lnTo>
                    <a:lnTo>
                      <a:pt x="41" y="28"/>
                    </a:lnTo>
                    <a:lnTo>
                      <a:pt x="34" y="33"/>
                    </a:lnTo>
                    <a:lnTo>
                      <a:pt x="27" y="30"/>
                    </a:lnTo>
                    <a:lnTo>
                      <a:pt x="15" y="26"/>
                    </a:lnTo>
                    <a:lnTo>
                      <a:pt x="3" y="21"/>
                    </a:lnTo>
                    <a:lnTo>
                      <a:pt x="0" y="19"/>
                    </a:lnTo>
                    <a:lnTo>
                      <a:pt x="3" y="12"/>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1" name="Freeform 321"/>
              <p:cNvSpPr>
                <a:spLocks/>
              </p:cNvSpPr>
              <p:nvPr/>
            </p:nvSpPr>
            <p:spPr bwMode="auto">
              <a:xfrm>
                <a:off x="2104232" y="1717675"/>
                <a:ext cx="61913" cy="19050"/>
              </a:xfrm>
              <a:custGeom>
                <a:avLst/>
                <a:gdLst/>
                <a:ahLst/>
                <a:cxnLst>
                  <a:cxn ang="0">
                    <a:pos x="34" y="0"/>
                  </a:cxn>
                  <a:cxn ang="0">
                    <a:pos x="36" y="0"/>
                  </a:cxn>
                  <a:cxn ang="0">
                    <a:pos x="39" y="0"/>
                  </a:cxn>
                  <a:cxn ang="0">
                    <a:pos x="39" y="3"/>
                  </a:cxn>
                  <a:cxn ang="0">
                    <a:pos x="39" y="7"/>
                  </a:cxn>
                  <a:cxn ang="0">
                    <a:pos x="38" y="10"/>
                  </a:cxn>
                  <a:cxn ang="0">
                    <a:pos x="33" y="12"/>
                  </a:cxn>
                  <a:cxn ang="0">
                    <a:pos x="26" y="10"/>
                  </a:cxn>
                  <a:cxn ang="0">
                    <a:pos x="14" y="8"/>
                  </a:cxn>
                  <a:cxn ang="0">
                    <a:pos x="3" y="7"/>
                  </a:cxn>
                  <a:cxn ang="0">
                    <a:pos x="0" y="7"/>
                  </a:cxn>
                  <a:cxn ang="0">
                    <a:pos x="5" y="2"/>
                  </a:cxn>
                  <a:cxn ang="0">
                    <a:pos x="14" y="0"/>
                  </a:cxn>
                  <a:cxn ang="0">
                    <a:pos x="24" y="0"/>
                  </a:cxn>
                  <a:cxn ang="0">
                    <a:pos x="34" y="0"/>
                  </a:cxn>
                </a:cxnLst>
                <a:rect l="0" t="0" r="r" b="b"/>
                <a:pathLst>
                  <a:path w="39" h="12">
                    <a:moveTo>
                      <a:pt x="34" y="0"/>
                    </a:moveTo>
                    <a:lnTo>
                      <a:pt x="36" y="0"/>
                    </a:lnTo>
                    <a:lnTo>
                      <a:pt x="39" y="0"/>
                    </a:lnTo>
                    <a:lnTo>
                      <a:pt x="39" y="3"/>
                    </a:lnTo>
                    <a:lnTo>
                      <a:pt x="39" y="7"/>
                    </a:lnTo>
                    <a:lnTo>
                      <a:pt x="38" y="10"/>
                    </a:lnTo>
                    <a:lnTo>
                      <a:pt x="33" y="12"/>
                    </a:lnTo>
                    <a:lnTo>
                      <a:pt x="26" y="10"/>
                    </a:lnTo>
                    <a:lnTo>
                      <a:pt x="14" y="8"/>
                    </a:lnTo>
                    <a:lnTo>
                      <a:pt x="3" y="7"/>
                    </a:lnTo>
                    <a:lnTo>
                      <a:pt x="0" y="7"/>
                    </a:lnTo>
                    <a:lnTo>
                      <a:pt x="5" y="2"/>
                    </a:lnTo>
                    <a:lnTo>
                      <a:pt x="14" y="0"/>
                    </a:lnTo>
                    <a:lnTo>
                      <a:pt x="24" y="0"/>
                    </a:lnTo>
                    <a:lnTo>
                      <a:pt x="3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2" name="Freeform 322"/>
              <p:cNvSpPr>
                <a:spLocks/>
              </p:cNvSpPr>
              <p:nvPr/>
            </p:nvSpPr>
            <p:spPr bwMode="auto">
              <a:xfrm>
                <a:off x="2058194" y="1657350"/>
                <a:ext cx="73025" cy="53975"/>
              </a:xfrm>
              <a:custGeom>
                <a:avLst/>
                <a:gdLst/>
                <a:ahLst/>
                <a:cxnLst>
                  <a:cxn ang="0">
                    <a:pos x="10" y="33"/>
                  </a:cxn>
                  <a:cxn ang="0">
                    <a:pos x="12" y="27"/>
                  </a:cxn>
                  <a:cxn ang="0">
                    <a:pos x="15" y="27"/>
                  </a:cxn>
                  <a:cxn ang="0">
                    <a:pos x="5" y="17"/>
                  </a:cxn>
                  <a:cxn ang="0">
                    <a:pos x="0" y="9"/>
                  </a:cxn>
                  <a:cxn ang="0">
                    <a:pos x="3" y="2"/>
                  </a:cxn>
                  <a:cxn ang="0">
                    <a:pos x="10" y="0"/>
                  </a:cxn>
                  <a:cxn ang="0">
                    <a:pos x="17" y="5"/>
                  </a:cxn>
                  <a:cxn ang="0">
                    <a:pos x="29" y="9"/>
                  </a:cxn>
                  <a:cxn ang="0">
                    <a:pos x="31" y="12"/>
                  </a:cxn>
                  <a:cxn ang="0">
                    <a:pos x="37" y="14"/>
                  </a:cxn>
                  <a:cxn ang="0">
                    <a:pos x="43" y="14"/>
                  </a:cxn>
                  <a:cxn ang="0">
                    <a:pos x="46" y="19"/>
                  </a:cxn>
                  <a:cxn ang="0">
                    <a:pos x="44" y="24"/>
                  </a:cxn>
                  <a:cxn ang="0">
                    <a:pos x="46" y="33"/>
                  </a:cxn>
                  <a:cxn ang="0">
                    <a:pos x="32" y="33"/>
                  </a:cxn>
                  <a:cxn ang="0">
                    <a:pos x="20" y="34"/>
                  </a:cxn>
                  <a:cxn ang="0">
                    <a:pos x="12" y="34"/>
                  </a:cxn>
                  <a:cxn ang="0">
                    <a:pos x="10" y="33"/>
                  </a:cxn>
                </a:cxnLst>
                <a:rect l="0" t="0" r="r" b="b"/>
                <a:pathLst>
                  <a:path w="46" h="34">
                    <a:moveTo>
                      <a:pt x="10" y="33"/>
                    </a:moveTo>
                    <a:lnTo>
                      <a:pt x="12" y="27"/>
                    </a:lnTo>
                    <a:lnTo>
                      <a:pt x="15" y="27"/>
                    </a:lnTo>
                    <a:lnTo>
                      <a:pt x="5" y="17"/>
                    </a:lnTo>
                    <a:lnTo>
                      <a:pt x="0" y="9"/>
                    </a:lnTo>
                    <a:lnTo>
                      <a:pt x="3" y="2"/>
                    </a:lnTo>
                    <a:lnTo>
                      <a:pt x="10" y="0"/>
                    </a:lnTo>
                    <a:lnTo>
                      <a:pt x="17" y="5"/>
                    </a:lnTo>
                    <a:lnTo>
                      <a:pt x="29" y="9"/>
                    </a:lnTo>
                    <a:lnTo>
                      <a:pt x="31" y="12"/>
                    </a:lnTo>
                    <a:lnTo>
                      <a:pt x="37" y="14"/>
                    </a:lnTo>
                    <a:lnTo>
                      <a:pt x="43" y="14"/>
                    </a:lnTo>
                    <a:lnTo>
                      <a:pt x="46" y="19"/>
                    </a:lnTo>
                    <a:lnTo>
                      <a:pt x="44" y="24"/>
                    </a:lnTo>
                    <a:lnTo>
                      <a:pt x="46" y="33"/>
                    </a:lnTo>
                    <a:lnTo>
                      <a:pt x="32" y="33"/>
                    </a:lnTo>
                    <a:lnTo>
                      <a:pt x="20" y="34"/>
                    </a:lnTo>
                    <a:lnTo>
                      <a:pt x="12" y="34"/>
                    </a:lnTo>
                    <a:lnTo>
                      <a:pt x="10"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3" name="Freeform 323"/>
              <p:cNvSpPr>
                <a:spLocks/>
              </p:cNvSpPr>
              <p:nvPr/>
            </p:nvSpPr>
            <p:spPr bwMode="auto">
              <a:xfrm>
                <a:off x="2028032" y="1603375"/>
                <a:ext cx="30163" cy="15875"/>
              </a:xfrm>
              <a:custGeom>
                <a:avLst/>
                <a:gdLst/>
                <a:ahLst/>
                <a:cxnLst>
                  <a:cxn ang="0">
                    <a:pos x="19" y="0"/>
                  </a:cxn>
                  <a:cxn ang="0">
                    <a:pos x="19" y="10"/>
                  </a:cxn>
                  <a:cxn ang="0">
                    <a:pos x="10" y="10"/>
                  </a:cxn>
                  <a:cxn ang="0">
                    <a:pos x="3" y="6"/>
                  </a:cxn>
                  <a:cxn ang="0">
                    <a:pos x="0" y="0"/>
                  </a:cxn>
                  <a:cxn ang="0">
                    <a:pos x="10" y="0"/>
                  </a:cxn>
                  <a:cxn ang="0">
                    <a:pos x="19" y="0"/>
                  </a:cxn>
                </a:cxnLst>
                <a:rect l="0" t="0" r="r" b="b"/>
                <a:pathLst>
                  <a:path w="19" h="10">
                    <a:moveTo>
                      <a:pt x="19" y="0"/>
                    </a:moveTo>
                    <a:lnTo>
                      <a:pt x="19" y="10"/>
                    </a:lnTo>
                    <a:lnTo>
                      <a:pt x="10" y="10"/>
                    </a:lnTo>
                    <a:lnTo>
                      <a:pt x="3" y="6"/>
                    </a:lnTo>
                    <a:lnTo>
                      <a:pt x="0" y="0"/>
                    </a:lnTo>
                    <a:lnTo>
                      <a:pt x="10"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4" name="Freeform 324"/>
              <p:cNvSpPr>
                <a:spLocks/>
              </p:cNvSpPr>
              <p:nvPr/>
            </p:nvSpPr>
            <p:spPr bwMode="auto">
              <a:xfrm>
                <a:off x="2108994" y="1531938"/>
                <a:ext cx="249238" cy="168275"/>
              </a:xfrm>
              <a:custGeom>
                <a:avLst/>
                <a:gdLst/>
                <a:ahLst/>
                <a:cxnLst>
                  <a:cxn ang="0">
                    <a:pos x="112" y="43"/>
                  </a:cxn>
                  <a:cxn ang="0">
                    <a:pos x="109" y="33"/>
                  </a:cxn>
                  <a:cxn ang="0">
                    <a:pos x="114" y="33"/>
                  </a:cxn>
                  <a:cxn ang="0">
                    <a:pos x="121" y="41"/>
                  </a:cxn>
                  <a:cxn ang="0">
                    <a:pos x="128" y="48"/>
                  </a:cxn>
                  <a:cxn ang="0">
                    <a:pos x="124" y="57"/>
                  </a:cxn>
                  <a:cxn ang="0">
                    <a:pos x="133" y="57"/>
                  </a:cxn>
                  <a:cxn ang="0">
                    <a:pos x="157" y="64"/>
                  </a:cxn>
                  <a:cxn ang="0">
                    <a:pos x="157" y="70"/>
                  </a:cxn>
                  <a:cxn ang="0">
                    <a:pos x="145" y="74"/>
                  </a:cxn>
                  <a:cxn ang="0">
                    <a:pos x="131" y="81"/>
                  </a:cxn>
                  <a:cxn ang="0">
                    <a:pos x="121" y="89"/>
                  </a:cxn>
                  <a:cxn ang="0">
                    <a:pos x="112" y="79"/>
                  </a:cxn>
                  <a:cxn ang="0">
                    <a:pos x="107" y="88"/>
                  </a:cxn>
                  <a:cxn ang="0">
                    <a:pos x="114" y="96"/>
                  </a:cxn>
                  <a:cxn ang="0">
                    <a:pos x="103" y="103"/>
                  </a:cxn>
                  <a:cxn ang="0">
                    <a:pos x="86" y="94"/>
                  </a:cxn>
                  <a:cxn ang="0">
                    <a:pos x="74" y="106"/>
                  </a:cxn>
                  <a:cxn ang="0">
                    <a:pos x="54" y="96"/>
                  </a:cxn>
                  <a:cxn ang="0">
                    <a:pos x="60" y="93"/>
                  </a:cxn>
                  <a:cxn ang="0">
                    <a:pos x="45" y="89"/>
                  </a:cxn>
                  <a:cxn ang="0">
                    <a:pos x="36" y="81"/>
                  </a:cxn>
                  <a:cxn ang="0">
                    <a:pos x="54" y="72"/>
                  </a:cxn>
                  <a:cxn ang="0">
                    <a:pos x="76" y="70"/>
                  </a:cxn>
                  <a:cxn ang="0">
                    <a:pos x="55" y="67"/>
                  </a:cxn>
                  <a:cxn ang="0">
                    <a:pos x="40" y="70"/>
                  </a:cxn>
                  <a:cxn ang="0">
                    <a:pos x="33" y="64"/>
                  </a:cxn>
                  <a:cxn ang="0">
                    <a:pos x="23" y="69"/>
                  </a:cxn>
                  <a:cxn ang="0">
                    <a:pos x="17" y="64"/>
                  </a:cxn>
                  <a:cxn ang="0">
                    <a:pos x="30" y="57"/>
                  </a:cxn>
                  <a:cxn ang="0">
                    <a:pos x="9" y="53"/>
                  </a:cxn>
                  <a:cxn ang="0">
                    <a:pos x="0" y="41"/>
                  </a:cxn>
                  <a:cxn ang="0">
                    <a:pos x="14" y="43"/>
                  </a:cxn>
                  <a:cxn ang="0">
                    <a:pos x="24" y="43"/>
                  </a:cxn>
                  <a:cxn ang="0">
                    <a:pos x="21" y="38"/>
                  </a:cxn>
                  <a:cxn ang="0">
                    <a:pos x="7" y="33"/>
                  </a:cxn>
                  <a:cxn ang="0">
                    <a:pos x="9" y="26"/>
                  </a:cxn>
                  <a:cxn ang="0">
                    <a:pos x="24" y="27"/>
                  </a:cxn>
                  <a:cxn ang="0">
                    <a:pos x="33" y="26"/>
                  </a:cxn>
                  <a:cxn ang="0">
                    <a:pos x="28" y="22"/>
                  </a:cxn>
                  <a:cxn ang="0">
                    <a:pos x="17" y="19"/>
                  </a:cxn>
                  <a:cxn ang="0">
                    <a:pos x="23" y="10"/>
                  </a:cxn>
                  <a:cxn ang="0">
                    <a:pos x="43" y="10"/>
                  </a:cxn>
                  <a:cxn ang="0">
                    <a:pos x="28" y="0"/>
                  </a:cxn>
                  <a:cxn ang="0">
                    <a:pos x="60" y="5"/>
                  </a:cxn>
                  <a:cxn ang="0">
                    <a:pos x="67" y="15"/>
                  </a:cxn>
                  <a:cxn ang="0">
                    <a:pos x="76" y="27"/>
                  </a:cxn>
                  <a:cxn ang="0">
                    <a:pos x="97" y="29"/>
                  </a:cxn>
                  <a:cxn ang="0">
                    <a:pos x="105" y="43"/>
                  </a:cxn>
                </a:cxnLst>
                <a:rect l="0" t="0" r="r" b="b"/>
                <a:pathLst>
                  <a:path w="157" h="106">
                    <a:moveTo>
                      <a:pt x="105" y="43"/>
                    </a:moveTo>
                    <a:lnTo>
                      <a:pt x="112" y="43"/>
                    </a:lnTo>
                    <a:lnTo>
                      <a:pt x="112" y="36"/>
                    </a:lnTo>
                    <a:lnTo>
                      <a:pt x="109" y="33"/>
                    </a:lnTo>
                    <a:lnTo>
                      <a:pt x="110" y="33"/>
                    </a:lnTo>
                    <a:lnTo>
                      <a:pt x="114" y="33"/>
                    </a:lnTo>
                    <a:lnTo>
                      <a:pt x="119" y="34"/>
                    </a:lnTo>
                    <a:lnTo>
                      <a:pt x="121" y="41"/>
                    </a:lnTo>
                    <a:lnTo>
                      <a:pt x="124" y="45"/>
                    </a:lnTo>
                    <a:lnTo>
                      <a:pt x="128" y="48"/>
                    </a:lnTo>
                    <a:lnTo>
                      <a:pt x="126" y="51"/>
                    </a:lnTo>
                    <a:lnTo>
                      <a:pt x="124" y="57"/>
                    </a:lnTo>
                    <a:lnTo>
                      <a:pt x="128" y="58"/>
                    </a:lnTo>
                    <a:lnTo>
                      <a:pt x="133" y="57"/>
                    </a:lnTo>
                    <a:lnTo>
                      <a:pt x="143" y="58"/>
                    </a:lnTo>
                    <a:lnTo>
                      <a:pt x="157" y="64"/>
                    </a:lnTo>
                    <a:lnTo>
                      <a:pt x="157" y="67"/>
                    </a:lnTo>
                    <a:lnTo>
                      <a:pt x="157" y="70"/>
                    </a:lnTo>
                    <a:lnTo>
                      <a:pt x="150" y="72"/>
                    </a:lnTo>
                    <a:lnTo>
                      <a:pt x="145" y="74"/>
                    </a:lnTo>
                    <a:lnTo>
                      <a:pt x="136" y="76"/>
                    </a:lnTo>
                    <a:lnTo>
                      <a:pt x="131" y="81"/>
                    </a:lnTo>
                    <a:lnTo>
                      <a:pt x="126" y="86"/>
                    </a:lnTo>
                    <a:lnTo>
                      <a:pt x="121" y="89"/>
                    </a:lnTo>
                    <a:lnTo>
                      <a:pt x="114" y="86"/>
                    </a:lnTo>
                    <a:lnTo>
                      <a:pt x="112" y="79"/>
                    </a:lnTo>
                    <a:lnTo>
                      <a:pt x="109" y="82"/>
                    </a:lnTo>
                    <a:lnTo>
                      <a:pt x="107" y="88"/>
                    </a:lnTo>
                    <a:lnTo>
                      <a:pt x="110" y="91"/>
                    </a:lnTo>
                    <a:lnTo>
                      <a:pt x="114" y="96"/>
                    </a:lnTo>
                    <a:lnTo>
                      <a:pt x="103" y="96"/>
                    </a:lnTo>
                    <a:lnTo>
                      <a:pt x="103" y="103"/>
                    </a:lnTo>
                    <a:lnTo>
                      <a:pt x="95" y="100"/>
                    </a:lnTo>
                    <a:lnTo>
                      <a:pt x="86" y="94"/>
                    </a:lnTo>
                    <a:lnTo>
                      <a:pt x="83" y="103"/>
                    </a:lnTo>
                    <a:lnTo>
                      <a:pt x="74" y="106"/>
                    </a:lnTo>
                    <a:lnTo>
                      <a:pt x="60" y="103"/>
                    </a:lnTo>
                    <a:lnTo>
                      <a:pt x="54" y="96"/>
                    </a:lnTo>
                    <a:lnTo>
                      <a:pt x="57" y="94"/>
                    </a:lnTo>
                    <a:lnTo>
                      <a:pt x="60" y="93"/>
                    </a:lnTo>
                    <a:lnTo>
                      <a:pt x="52" y="91"/>
                    </a:lnTo>
                    <a:lnTo>
                      <a:pt x="45" y="89"/>
                    </a:lnTo>
                    <a:lnTo>
                      <a:pt x="38" y="84"/>
                    </a:lnTo>
                    <a:lnTo>
                      <a:pt x="36" y="81"/>
                    </a:lnTo>
                    <a:lnTo>
                      <a:pt x="40" y="74"/>
                    </a:lnTo>
                    <a:lnTo>
                      <a:pt x="54" y="72"/>
                    </a:lnTo>
                    <a:lnTo>
                      <a:pt x="66" y="70"/>
                    </a:lnTo>
                    <a:lnTo>
                      <a:pt x="76" y="70"/>
                    </a:lnTo>
                    <a:lnTo>
                      <a:pt x="64" y="67"/>
                    </a:lnTo>
                    <a:lnTo>
                      <a:pt x="55" y="67"/>
                    </a:lnTo>
                    <a:lnTo>
                      <a:pt x="45" y="69"/>
                    </a:lnTo>
                    <a:lnTo>
                      <a:pt x="40" y="70"/>
                    </a:lnTo>
                    <a:lnTo>
                      <a:pt x="35" y="67"/>
                    </a:lnTo>
                    <a:lnTo>
                      <a:pt x="33" y="64"/>
                    </a:lnTo>
                    <a:lnTo>
                      <a:pt x="26" y="65"/>
                    </a:lnTo>
                    <a:lnTo>
                      <a:pt x="23" y="69"/>
                    </a:lnTo>
                    <a:lnTo>
                      <a:pt x="17" y="65"/>
                    </a:lnTo>
                    <a:lnTo>
                      <a:pt x="17" y="64"/>
                    </a:lnTo>
                    <a:lnTo>
                      <a:pt x="23" y="60"/>
                    </a:lnTo>
                    <a:lnTo>
                      <a:pt x="30" y="57"/>
                    </a:lnTo>
                    <a:lnTo>
                      <a:pt x="17" y="55"/>
                    </a:lnTo>
                    <a:lnTo>
                      <a:pt x="9" y="53"/>
                    </a:lnTo>
                    <a:lnTo>
                      <a:pt x="2" y="48"/>
                    </a:lnTo>
                    <a:lnTo>
                      <a:pt x="0" y="41"/>
                    </a:lnTo>
                    <a:lnTo>
                      <a:pt x="7" y="41"/>
                    </a:lnTo>
                    <a:lnTo>
                      <a:pt x="14" y="43"/>
                    </a:lnTo>
                    <a:lnTo>
                      <a:pt x="23" y="45"/>
                    </a:lnTo>
                    <a:lnTo>
                      <a:pt x="24" y="43"/>
                    </a:lnTo>
                    <a:lnTo>
                      <a:pt x="28" y="41"/>
                    </a:lnTo>
                    <a:lnTo>
                      <a:pt x="21" y="38"/>
                    </a:lnTo>
                    <a:lnTo>
                      <a:pt x="14" y="36"/>
                    </a:lnTo>
                    <a:lnTo>
                      <a:pt x="7" y="33"/>
                    </a:lnTo>
                    <a:lnTo>
                      <a:pt x="5" y="31"/>
                    </a:lnTo>
                    <a:lnTo>
                      <a:pt x="9" y="26"/>
                    </a:lnTo>
                    <a:lnTo>
                      <a:pt x="17" y="26"/>
                    </a:lnTo>
                    <a:lnTo>
                      <a:pt x="24" y="27"/>
                    </a:lnTo>
                    <a:lnTo>
                      <a:pt x="31" y="29"/>
                    </a:lnTo>
                    <a:lnTo>
                      <a:pt x="33" y="26"/>
                    </a:lnTo>
                    <a:lnTo>
                      <a:pt x="36" y="24"/>
                    </a:lnTo>
                    <a:lnTo>
                      <a:pt x="28" y="22"/>
                    </a:lnTo>
                    <a:lnTo>
                      <a:pt x="23" y="24"/>
                    </a:lnTo>
                    <a:lnTo>
                      <a:pt x="17" y="19"/>
                    </a:lnTo>
                    <a:lnTo>
                      <a:pt x="16" y="15"/>
                    </a:lnTo>
                    <a:lnTo>
                      <a:pt x="23" y="10"/>
                    </a:lnTo>
                    <a:lnTo>
                      <a:pt x="35" y="10"/>
                    </a:lnTo>
                    <a:lnTo>
                      <a:pt x="43" y="10"/>
                    </a:lnTo>
                    <a:lnTo>
                      <a:pt x="33" y="7"/>
                    </a:lnTo>
                    <a:lnTo>
                      <a:pt x="28" y="0"/>
                    </a:lnTo>
                    <a:lnTo>
                      <a:pt x="43" y="2"/>
                    </a:lnTo>
                    <a:lnTo>
                      <a:pt x="60" y="5"/>
                    </a:lnTo>
                    <a:lnTo>
                      <a:pt x="66" y="8"/>
                    </a:lnTo>
                    <a:lnTo>
                      <a:pt x="67" y="15"/>
                    </a:lnTo>
                    <a:lnTo>
                      <a:pt x="69" y="22"/>
                    </a:lnTo>
                    <a:lnTo>
                      <a:pt x="76" y="27"/>
                    </a:lnTo>
                    <a:lnTo>
                      <a:pt x="86" y="27"/>
                    </a:lnTo>
                    <a:lnTo>
                      <a:pt x="97" y="29"/>
                    </a:lnTo>
                    <a:lnTo>
                      <a:pt x="102" y="34"/>
                    </a:lnTo>
                    <a:lnTo>
                      <a:pt x="105"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5" name="Freeform 325"/>
              <p:cNvSpPr>
                <a:spLocks/>
              </p:cNvSpPr>
              <p:nvPr/>
            </p:nvSpPr>
            <p:spPr bwMode="auto">
              <a:xfrm>
                <a:off x="2312194" y="2233613"/>
                <a:ext cx="163513" cy="103187"/>
              </a:xfrm>
              <a:custGeom>
                <a:avLst/>
                <a:gdLst/>
                <a:ahLst/>
                <a:cxnLst>
                  <a:cxn ang="0">
                    <a:pos x="6" y="45"/>
                  </a:cxn>
                  <a:cxn ang="0">
                    <a:pos x="10" y="41"/>
                  </a:cxn>
                  <a:cxn ang="0">
                    <a:pos x="12" y="38"/>
                  </a:cxn>
                  <a:cxn ang="0">
                    <a:pos x="12" y="32"/>
                  </a:cxn>
                  <a:cxn ang="0">
                    <a:pos x="12" y="31"/>
                  </a:cxn>
                  <a:cxn ang="0">
                    <a:pos x="12" y="20"/>
                  </a:cxn>
                  <a:cxn ang="0">
                    <a:pos x="13" y="12"/>
                  </a:cxn>
                  <a:cxn ang="0">
                    <a:pos x="18" y="3"/>
                  </a:cxn>
                  <a:cxn ang="0">
                    <a:pos x="29" y="0"/>
                  </a:cxn>
                  <a:cxn ang="0">
                    <a:pos x="32" y="7"/>
                  </a:cxn>
                  <a:cxn ang="0">
                    <a:pos x="36" y="14"/>
                  </a:cxn>
                  <a:cxn ang="0">
                    <a:pos x="37" y="12"/>
                  </a:cxn>
                  <a:cxn ang="0">
                    <a:pos x="41" y="10"/>
                  </a:cxn>
                  <a:cxn ang="0">
                    <a:pos x="48" y="15"/>
                  </a:cxn>
                  <a:cxn ang="0">
                    <a:pos x="58" y="20"/>
                  </a:cxn>
                  <a:cxn ang="0">
                    <a:pos x="67" y="22"/>
                  </a:cxn>
                  <a:cxn ang="0">
                    <a:pos x="77" y="31"/>
                  </a:cxn>
                  <a:cxn ang="0">
                    <a:pos x="77" y="34"/>
                  </a:cxn>
                  <a:cxn ang="0">
                    <a:pos x="80" y="39"/>
                  </a:cxn>
                  <a:cxn ang="0">
                    <a:pos x="92" y="45"/>
                  </a:cxn>
                  <a:cxn ang="0">
                    <a:pos x="103" y="50"/>
                  </a:cxn>
                  <a:cxn ang="0">
                    <a:pos x="94" y="53"/>
                  </a:cxn>
                  <a:cxn ang="0">
                    <a:pos x="86" y="55"/>
                  </a:cxn>
                  <a:cxn ang="0">
                    <a:pos x="77" y="55"/>
                  </a:cxn>
                  <a:cxn ang="0">
                    <a:pos x="72" y="55"/>
                  </a:cxn>
                  <a:cxn ang="0">
                    <a:pos x="68" y="51"/>
                  </a:cxn>
                  <a:cxn ang="0">
                    <a:pos x="61" y="48"/>
                  </a:cxn>
                  <a:cxn ang="0">
                    <a:pos x="55" y="43"/>
                  </a:cxn>
                  <a:cxn ang="0">
                    <a:pos x="53" y="43"/>
                  </a:cxn>
                  <a:cxn ang="0">
                    <a:pos x="49" y="50"/>
                  </a:cxn>
                  <a:cxn ang="0">
                    <a:pos x="43" y="57"/>
                  </a:cxn>
                  <a:cxn ang="0">
                    <a:pos x="34" y="60"/>
                  </a:cxn>
                  <a:cxn ang="0">
                    <a:pos x="29" y="60"/>
                  </a:cxn>
                  <a:cxn ang="0">
                    <a:pos x="25" y="63"/>
                  </a:cxn>
                  <a:cxn ang="0">
                    <a:pos x="24" y="65"/>
                  </a:cxn>
                  <a:cxn ang="0">
                    <a:pos x="18" y="62"/>
                  </a:cxn>
                  <a:cxn ang="0">
                    <a:pos x="20" y="55"/>
                  </a:cxn>
                  <a:cxn ang="0">
                    <a:pos x="8" y="53"/>
                  </a:cxn>
                  <a:cxn ang="0">
                    <a:pos x="0" y="55"/>
                  </a:cxn>
                  <a:cxn ang="0">
                    <a:pos x="1" y="46"/>
                  </a:cxn>
                  <a:cxn ang="0">
                    <a:pos x="6" y="45"/>
                  </a:cxn>
                </a:cxnLst>
                <a:rect l="0" t="0" r="r" b="b"/>
                <a:pathLst>
                  <a:path w="103" h="65">
                    <a:moveTo>
                      <a:pt x="6" y="45"/>
                    </a:moveTo>
                    <a:lnTo>
                      <a:pt x="10" y="41"/>
                    </a:lnTo>
                    <a:lnTo>
                      <a:pt x="12" y="38"/>
                    </a:lnTo>
                    <a:lnTo>
                      <a:pt x="12" y="32"/>
                    </a:lnTo>
                    <a:lnTo>
                      <a:pt x="12" y="31"/>
                    </a:lnTo>
                    <a:lnTo>
                      <a:pt x="12" y="20"/>
                    </a:lnTo>
                    <a:lnTo>
                      <a:pt x="13" y="12"/>
                    </a:lnTo>
                    <a:lnTo>
                      <a:pt x="18" y="3"/>
                    </a:lnTo>
                    <a:lnTo>
                      <a:pt x="29" y="0"/>
                    </a:lnTo>
                    <a:lnTo>
                      <a:pt x="32" y="7"/>
                    </a:lnTo>
                    <a:lnTo>
                      <a:pt x="36" y="14"/>
                    </a:lnTo>
                    <a:lnTo>
                      <a:pt x="37" y="12"/>
                    </a:lnTo>
                    <a:lnTo>
                      <a:pt x="41" y="10"/>
                    </a:lnTo>
                    <a:lnTo>
                      <a:pt x="48" y="15"/>
                    </a:lnTo>
                    <a:lnTo>
                      <a:pt x="58" y="20"/>
                    </a:lnTo>
                    <a:lnTo>
                      <a:pt x="67" y="22"/>
                    </a:lnTo>
                    <a:lnTo>
                      <a:pt x="77" y="31"/>
                    </a:lnTo>
                    <a:lnTo>
                      <a:pt x="77" y="34"/>
                    </a:lnTo>
                    <a:lnTo>
                      <a:pt x="80" y="39"/>
                    </a:lnTo>
                    <a:lnTo>
                      <a:pt x="92" y="45"/>
                    </a:lnTo>
                    <a:lnTo>
                      <a:pt x="103" y="50"/>
                    </a:lnTo>
                    <a:lnTo>
                      <a:pt x="94" y="53"/>
                    </a:lnTo>
                    <a:lnTo>
                      <a:pt x="86" y="55"/>
                    </a:lnTo>
                    <a:lnTo>
                      <a:pt x="77" y="55"/>
                    </a:lnTo>
                    <a:lnTo>
                      <a:pt x="72" y="55"/>
                    </a:lnTo>
                    <a:lnTo>
                      <a:pt x="68" y="51"/>
                    </a:lnTo>
                    <a:lnTo>
                      <a:pt x="61" y="48"/>
                    </a:lnTo>
                    <a:lnTo>
                      <a:pt x="55" y="43"/>
                    </a:lnTo>
                    <a:lnTo>
                      <a:pt x="53" y="43"/>
                    </a:lnTo>
                    <a:lnTo>
                      <a:pt x="49" y="50"/>
                    </a:lnTo>
                    <a:lnTo>
                      <a:pt x="43" y="57"/>
                    </a:lnTo>
                    <a:lnTo>
                      <a:pt x="34" y="60"/>
                    </a:lnTo>
                    <a:lnTo>
                      <a:pt x="29" y="60"/>
                    </a:lnTo>
                    <a:lnTo>
                      <a:pt x="25" y="63"/>
                    </a:lnTo>
                    <a:lnTo>
                      <a:pt x="24" y="65"/>
                    </a:lnTo>
                    <a:lnTo>
                      <a:pt x="18" y="62"/>
                    </a:lnTo>
                    <a:lnTo>
                      <a:pt x="20" y="55"/>
                    </a:lnTo>
                    <a:lnTo>
                      <a:pt x="8" y="53"/>
                    </a:lnTo>
                    <a:lnTo>
                      <a:pt x="0" y="55"/>
                    </a:lnTo>
                    <a:lnTo>
                      <a:pt x="1" y="46"/>
                    </a:lnTo>
                    <a:lnTo>
                      <a:pt x="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6" name="Freeform 326"/>
              <p:cNvSpPr>
                <a:spLocks/>
              </p:cNvSpPr>
              <p:nvPr/>
            </p:nvSpPr>
            <p:spPr bwMode="auto">
              <a:xfrm>
                <a:off x="2543969" y="2139950"/>
                <a:ext cx="49213" cy="41275"/>
              </a:xfrm>
              <a:custGeom>
                <a:avLst/>
                <a:gdLst/>
                <a:ahLst/>
                <a:cxnLst>
                  <a:cxn ang="0">
                    <a:pos x="31" y="14"/>
                  </a:cxn>
                  <a:cxn ang="0">
                    <a:pos x="24" y="23"/>
                  </a:cxn>
                  <a:cxn ang="0">
                    <a:pos x="12" y="26"/>
                  </a:cxn>
                  <a:cxn ang="0">
                    <a:pos x="3" y="23"/>
                  </a:cxn>
                  <a:cxn ang="0">
                    <a:pos x="0" y="14"/>
                  </a:cxn>
                  <a:cxn ang="0">
                    <a:pos x="3" y="2"/>
                  </a:cxn>
                  <a:cxn ang="0">
                    <a:pos x="15" y="0"/>
                  </a:cxn>
                  <a:cxn ang="0">
                    <a:pos x="26" y="4"/>
                  </a:cxn>
                  <a:cxn ang="0">
                    <a:pos x="31" y="14"/>
                  </a:cxn>
                </a:cxnLst>
                <a:rect l="0" t="0" r="r" b="b"/>
                <a:pathLst>
                  <a:path w="31" h="26">
                    <a:moveTo>
                      <a:pt x="31" y="14"/>
                    </a:moveTo>
                    <a:lnTo>
                      <a:pt x="24" y="23"/>
                    </a:lnTo>
                    <a:lnTo>
                      <a:pt x="12" y="26"/>
                    </a:lnTo>
                    <a:lnTo>
                      <a:pt x="3" y="23"/>
                    </a:lnTo>
                    <a:lnTo>
                      <a:pt x="0" y="14"/>
                    </a:lnTo>
                    <a:lnTo>
                      <a:pt x="3" y="2"/>
                    </a:lnTo>
                    <a:lnTo>
                      <a:pt x="15" y="0"/>
                    </a:lnTo>
                    <a:lnTo>
                      <a:pt x="26" y="4"/>
                    </a:lnTo>
                    <a:lnTo>
                      <a:pt x="31"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7" name="Freeform 327"/>
              <p:cNvSpPr>
                <a:spLocks/>
              </p:cNvSpPr>
              <p:nvPr/>
            </p:nvSpPr>
            <p:spPr bwMode="auto">
              <a:xfrm>
                <a:off x="2393157" y="2339975"/>
                <a:ext cx="41275" cy="31750"/>
              </a:xfrm>
              <a:custGeom>
                <a:avLst/>
                <a:gdLst/>
                <a:ahLst/>
                <a:cxnLst>
                  <a:cxn ang="0">
                    <a:pos x="10" y="2"/>
                  </a:cxn>
                  <a:cxn ang="0">
                    <a:pos x="19" y="0"/>
                  </a:cxn>
                  <a:cxn ang="0">
                    <a:pos x="26" y="3"/>
                  </a:cxn>
                  <a:cxn ang="0">
                    <a:pos x="14" y="14"/>
                  </a:cxn>
                  <a:cxn ang="0">
                    <a:pos x="0" y="20"/>
                  </a:cxn>
                  <a:cxn ang="0">
                    <a:pos x="0" y="14"/>
                  </a:cxn>
                  <a:cxn ang="0">
                    <a:pos x="5" y="7"/>
                  </a:cxn>
                  <a:cxn ang="0">
                    <a:pos x="10" y="2"/>
                  </a:cxn>
                </a:cxnLst>
                <a:rect l="0" t="0" r="r" b="b"/>
                <a:pathLst>
                  <a:path w="26" h="20">
                    <a:moveTo>
                      <a:pt x="10" y="2"/>
                    </a:moveTo>
                    <a:lnTo>
                      <a:pt x="19" y="0"/>
                    </a:lnTo>
                    <a:lnTo>
                      <a:pt x="26" y="3"/>
                    </a:lnTo>
                    <a:lnTo>
                      <a:pt x="14" y="14"/>
                    </a:lnTo>
                    <a:lnTo>
                      <a:pt x="0" y="20"/>
                    </a:lnTo>
                    <a:lnTo>
                      <a:pt x="0" y="14"/>
                    </a:lnTo>
                    <a:lnTo>
                      <a:pt x="5" y="7"/>
                    </a:lnTo>
                    <a:lnTo>
                      <a:pt x="1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8" name="Freeform 328"/>
              <p:cNvSpPr>
                <a:spLocks/>
              </p:cNvSpPr>
              <p:nvPr/>
            </p:nvSpPr>
            <p:spPr bwMode="auto">
              <a:xfrm>
                <a:off x="2458244" y="1908175"/>
                <a:ext cx="107950" cy="46037"/>
              </a:xfrm>
              <a:custGeom>
                <a:avLst/>
                <a:gdLst/>
                <a:ahLst/>
                <a:cxnLst>
                  <a:cxn ang="0">
                    <a:pos x="25" y="29"/>
                  </a:cxn>
                  <a:cxn ang="0">
                    <a:pos x="11" y="26"/>
                  </a:cxn>
                  <a:cxn ang="0">
                    <a:pos x="11" y="17"/>
                  </a:cxn>
                  <a:cxn ang="0">
                    <a:pos x="2" y="12"/>
                  </a:cxn>
                  <a:cxn ang="0">
                    <a:pos x="0" y="7"/>
                  </a:cxn>
                  <a:cxn ang="0">
                    <a:pos x="2" y="0"/>
                  </a:cxn>
                  <a:cxn ang="0">
                    <a:pos x="9" y="0"/>
                  </a:cxn>
                  <a:cxn ang="0">
                    <a:pos x="21" y="2"/>
                  </a:cxn>
                  <a:cxn ang="0">
                    <a:pos x="33" y="4"/>
                  </a:cxn>
                  <a:cxn ang="0">
                    <a:pos x="42" y="4"/>
                  </a:cxn>
                  <a:cxn ang="0">
                    <a:pos x="52" y="9"/>
                  </a:cxn>
                  <a:cxn ang="0">
                    <a:pos x="59" y="14"/>
                  </a:cxn>
                  <a:cxn ang="0">
                    <a:pos x="68" y="19"/>
                  </a:cxn>
                  <a:cxn ang="0">
                    <a:pos x="64" y="24"/>
                  </a:cxn>
                  <a:cxn ang="0">
                    <a:pos x="59" y="28"/>
                  </a:cxn>
                  <a:cxn ang="0">
                    <a:pos x="50" y="26"/>
                  </a:cxn>
                  <a:cxn ang="0">
                    <a:pos x="43" y="24"/>
                  </a:cxn>
                  <a:cxn ang="0">
                    <a:pos x="35" y="26"/>
                  </a:cxn>
                  <a:cxn ang="0">
                    <a:pos x="25" y="29"/>
                  </a:cxn>
                </a:cxnLst>
                <a:rect l="0" t="0" r="r" b="b"/>
                <a:pathLst>
                  <a:path w="68" h="29">
                    <a:moveTo>
                      <a:pt x="25" y="29"/>
                    </a:moveTo>
                    <a:lnTo>
                      <a:pt x="11" y="26"/>
                    </a:lnTo>
                    <a:lnTo>
                      <a:pt x="11" y="17"/>
                    </a:lnTo>
                    <a:lnTo>
                      <a:pt x="2" y="12"/>
                    </a:lnTo>
                    <a:lnTo>
                      <a:pt x="0" y="7"/>
                    </a:lnTo>
                    <a:lnTo>
                      <a:pt x="2" y="0"/>
                    </a:lnTo>
                    <a:lnTo>
                      <a:pt x="9" y="0"/>
                    </a:lnTo>
                    <a:lnTo>
                      <a:pt x="21" y="2"/>
                    </a:lnTo>
                    <a:lnTo>
                      <a:pt x="33" y="4"/>
                    </a:lnTo>
                    <a:lnTo>
                      <a:pt x="42" y="4"/>
                    </a:lnTo>
                    <a:lnTo>
                      <a:pt x="52" y="9"/>
                    </a:lnTo>
                    <a:lnTo>
                      <a:pt x="59" y="14"/>
                    </a:lnTo>
                    <a:lnTo>
                      <a:pt x="68" y="19"/>
                    </a:lnTo>
                    <a:lnTo>
                      <a:pt x="64" y="24"/>
                    </a:lnTo>
                    <a:lnTo>
                      <a:pt x="59" y="28"/>
                    </a:lnTo>
                    <a:lnTo>
                      <a:pt x="50" y="26"/>
                    </a:lnTo>
                    <a:lnTo>
                      <a:pt x="43" y="24"/>
                    </a:lnTo>
                    <a:lnTo>
                      <a:pt x="35" y="26"/>
                    </a:lnTo>
                    <a:lnTo>
                      <a:pt x="25"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9" name="Freeform 329"/>
              <p:cNvSpPr>
                <a:spLocks/>
              </p:cNvSpPr>
              <p:nvPr/>
            </p:nvSpPr>
            <p:spPr bwMode="auto">
              <a:xfrm>
                <a:off x="2467769" y="2363788"/>
                <a:ext cx="26988" cy="25400"/>
              </a:xfrm>
              <a:custGeom>
                <a:avLst/>
                <a:gdLst/>
                <a:ahLst/>
                <a:cxnLst>
                  <a:cxn ang="0">
                    <a:pos x="17" y="4"/>
                  </a:cxn>
                  <a:cxn ang="0">
                    <a:pos x="12" y="11"/>
                  </a:cxn>
                  <a:cxn ang="0">
                    <a:pos x="8" y="16"/>
                  </a:cxn>
                  <a:cxn ang="0">
                    <a:pos x="3" y="12"/>
                  </a:cxn>
                  <a:cxn ang="0">
                    <a:pos x="0" y="9"/>
                  </a:cxn>
                  <a:cxn ang="0">
                    <a:pos x="5" y="0"/>
                  </a:cxn>
                  <a:cxn ang="0">
                    <a:pos x="17" y="4"/>
                  </a:cxn>
                </a:cxnLst>
                <a:rect l="0" t="0" r="r" b="b"/>
                <a:pathLst>
                  <a:path w="17" h="16">
                    <a:moveTo>
                      <a:pt x="17" y="4"/>
                    </a:moveTo>
                    <a:lnTo>
                      <a:pt x="12" y="11"/>
                    </a:lnTo>
                    <a:lnTo>
                      <a:pt x="8" y="16"/>
                    </a:lnTo>
                    <a:lnTo>
                      <a:pt x="3" y="12"/>
                    </a:lnTo>
                    <a:lnTo>
                      <a:pt x="0" y="9"/>
                    </a:lnTo>
                    <a:lnTo>
                      <a:pt x="5" y="0"/>
                    </a:lnTo>
                    <a:lnTo>
                      <a:pt x="17"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0" name="Freeform 330"/>
              <p:cNvSpPr>
                <a:spLocks/>
              </p:cNvSpPr>
              <p:nvPr/>
            </p:nvSpPr>
            <p:spPr bwMode="auto">
              <a:xfrm>
                <a:off x="2601119" y="2143125"/>
                <a:ext cx="26988" cy="15875"/>
              </a:xfrm>
              <a:custGeom>
                <a:avLst/>
                <a:gdLst/>
                <a:ahLst/>
                <a:cxnLst>
                  <a:cxn ang="0">
                    <a:pos x="7" y="10"/>
                  </a:cxn>
                  <a:cxn ang="0">
                    <a:pos x="2" y="9"/>
                  </a:cxn>
                  <a:cxn ang="0">
                    <a:pos x="0" y="7"/>
                  </a:cxn>
                  <a:cxn ang="0">
                    <a:pos x="2" y="2"/>
                  </a:cxn>
                  <a:cxn ang="0">
                    <a:pos x="7" y="0"/>
                  </a:cxn>
                  <a:cxn ang="0">
                    <a:pos x="12" y="3"/>
                  </a:cxn>
                  <a:cxn ang="0">
                    <a:pos x="17" y="9"/>
                  </a:cxn>
                  <a:cxn ang="0">
                    <a:pos x="10" y="9"/>
                  </a:cxn>
                  <a:cxn ang="0">
                    <a:pos x="7" y="10"/>
                  </a:cxn>
                </a:cxnLst>
                <a:rect l="0" t="0" r="r" b="b"/>
                <a:pathLst>
                  <a:path w="17" h="10">
                    <a:moveTo>
                      <a:pt x="7" y="10"/>
                    </a:moveTo>
                    <a:lnTo>
                      <a:pt x="2" y="9"/>
                    </a:lnTo>
                    <a:lnTo>
                      <a:pt x="0" y="7"/>
                    </a:lnTo>
                    <a:lnTo>
                      <a:pt x="2" y="2"/>
                    </a:lnTo>
                    <a:lnTo>
                      <a:pt x="7" y="0"/>
                    </a:lnTo>
                    <a:lnTo>
                      <a:pt x="12" y="3"/>
                    </a:lnTo>
                    <a:lnTo>
                      <a:pt x="17" y="9"/>
                    </a:lnTo>
                    <a:lnTo>
                      <a:pt x="10" y="9"/>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1" name="Freeform 331"/>
              <p:cNvSpPr>
                <a:spLocks/>
              </p:cNvSpPr>
              <p:nvPr/>
            </p:nvSpPr>
            <p:spPr bwMode="auto">
              <a:xfrm>
                <a:off x="2497932" y="2100263"/>
                <a:ext cx="15875" cy="15875"/>
              </a:xfrm>
              <a:custGeom>
                <a:avLst/>
                <a:gdLst/>
                <a:ahLst/>
                <a:cxnLst>
                  <a:cxn ang="0">
                    <a:pos x="0" y="10"/>
                  </a:cxn>
                  <a:cxn ang="0">
                    <a:pos x="0" y="5"/>
                  </a:cxn>
                  <a:cxn ang="0">
                    <a:pos x="10" y="0"/>
                  </a:cxn>
                  <a:cxn ang="0">
                    <a:pos x="5" y="6"/>
                  </a:cxn>
                  <a:cxn ang="0">
                    <a:pos x="0" y="10"/>
                  </a:cxn>
                </a:cxnLst>
                <a:rect l="0" t="0" r="r" b="b"/>
                <a:pathLst>
                  <a:path w="10" h="10">
                    <a:moveTo>
                      <a:pt x="0" y="10"/>
                    </a:moveTo>
                    <a:lnTo>
                      <a:pt x="0" y="5"/>
                    </a:lnTo>
                    <a:lnTo>
                      <a:pt x="10" y="0"/>
                    </a:lnTo>
                    <a:lnTo>
                      <a:pt x="5" y="6"/>
                    </a:lnTo>
                    <a:lnTo>
                      <a:pt x="0"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2" name="Freeform 332"/>
              <p:cNvSpPr>
                <a:spLocks/>
              </p:cNvSpPr>
              <p:nvPr/>
            </p:nvSpPr>
            <p:spPr bwMode="auto">
              <a:xfrm>
                <a:off x="2243932" y="1905000"/>
                <a:ext cx="663575" cy="477837"/>
              </a:xfrm>
              <a:custGeom>
                <a:avLst/>
                <a:gdLst/>
                <a:ahLst/>
                <a:cxnLst>
                  <a:cxn ang="0">
                    <a:pos x="375" y="222"/>
                  </a:cxn>
                  <a:cxn ang="0">
                    <a:pos x="347" y="196"/>
                  </a:cxn>
                  <a:cxn ang="0">
                    <a:pos x="328" y="198"/>
                  </a:cxn>
                  <a:cxn ang="0">
                    <a:pos x="326" y="205"/>
                  </a:cxn>
                  <a:cxn ang="0">
                    <a:pos x="344" y="231"/>
                  </a:cxn>
                  <a:cxn ang="0">
                    <a:pos x="366" y="238"/>
                  </a:cxn>
                  <a:cxn ang="0">
                    <a:pos x="376" y="258"/>
                  </a:cxn>
                  <a:cxn ang="0">
                    <a:pos x="342" y="270"/>
                  </a:cxn>
                  <a:cxn ang="0">
                    <a:pos x="321" y="265"/>
                  </a:cxn>
                  <a:cxn ang="0">
                    <a:pos x="347" y="298"/>
                  </a:cxn>
                  <a:cxn ang="0">
                    <a:pos x="328" y="289"/>
                  </a:cxn>
                  <a:cxn ang="0">
                    <a:pos x="290" y="277"/>
                  </a:cxn>
                  <a:cxn ang="0">
                    <a:pos x="258" y="253"/>
                  </a:cxn>
                  <a:cxn ang="0">
                    <a:pos x="225" y="239"/>
                  </a:cxn>
                  <a:cxn ang="0">
                    <a:pos x="203" y="243"/>
                  </a:cxn>
                  <a:cxn ang="0">
                    <a:pos x="175" y="236"/>
                  </a:cxn>
                  <a:cxn ang="0">
                    <a:pos x="187" y="219"/>
                  </a:cxn>
                  <a:cxn ang="0">
                    <a:pos x="227" y="215"/>
                  </a:cxn>
                  <a:cxn ang="0">
                    <a:pos x="233" y="195"/>
                  </a:cxn>
                  <a:cxn ang="0">
                    <a:pos x="251" y="159"/>
                  </a:cxn>
                  <a:cxn ang="0">
                    <a:pos x="206" y="135"/>
                  </a:cxn>
                  <a:cxn ang="0">
                    <a:pos x="197" y="126"/>
                  </a:cxn>
                  <a:cxn ang="0">
                    <a:pos x="175" y="100"/>
                  </a:cxn>
                  <a:cxn ang="0">
                    <a:pos x="151" y="114"/>
                  </a:cxn>
                  <a:cxn ang="0">
                    <a:pos x="132" y="104"/>
                  </a:cxn>
                  <a:cxn ang="0">
                    <a:pos x="92" y="104"/>
                  </a:cxn>
                  <a:cxn ang="0">
                    <a:pos x="55" y="100"/>
                  </a:cxn>
                  <a:cxn ang="0">
                    <a:pos x="13" y="80"/>
                  </a:cxn>
                  <a:cxn ang="0">
                    <a:pos x="27" y="71"/>
                  </a:cxn>
                  <a:cxn ang="0">
                    <a:pos x="3" y="64"/>
                  </a:cxn>
                  <a:cxn ang="0">
                    <a:pos x="5" y="35"/>
                  </a:cxn>
                  <a:cxn ang="0">
                    <a:pos x="20" y="11"/>
                  </a:cxn>
                  <a:cxn ang="0">
                    <a:pos x="56" y="0"/>
                  </a:cxn>
                  <a:cxn ang="0">
                    <a:pos x="65" y="11"/>
                  </a:cxn>
                  <a:cxn ang="0">
                    <a:pos x="49" y="35"/>
                  </a:cxn>
                  <a:cxn ang="0">
                    <a:pos x="53" y="50"/>
                  </a:cxn>
                  <a:cxn ang="0">
                    <a:pos x="65" y="38"/>
                  </a:cxn>
                  <a:cxn ang="0">
                    <a:pos x="91" y="7"/>
                  </a:cxn>
                  <a:cxn ang="0">
                    <a:pos x="127" y="7"/>
                  </a:cxn>
                  <a:cxn ang="0">
                    <a:pos x="137" y="40"/>
                  </a:cxn>
                  <a:cxn ang="0">
                    <a:pos x="154" y="42"/>
                  </a:cxn>
                  <a:cxn ang="0">
                    <a:pos x="173" y="33"/>
                  </a:cxn>
                  <a:cxn ang="0">
                    <a:pos x="209" y="35"/>
                  </a:cxn>
                  <a:cxn ang="0">
                    <a:pos x="237" y="61"/>
                  </a:cxn>
                  <a:cxn ang="0">
                    <a:pos x="266" y="64"/>
                  </a:cxn>
                  <a:cxn ang="0">
                    <a:pos x="289" y="78"/>
                  </a:cxn>
                  <a:cxn ang="0">
                    <a:pos x="314" y="98"/>
                  </a:cxn>
                  <a:cxn ang="0">
                    <a:pos x="338" y="111"/>
                  </a:cxn>
                  <a:cxn ang="0">
                    <a:pos x="335" y="117"/>
                  </a:cxn>
                  <a:cxn ang="0">
                    <a:pos x="326" y="135"/>
                  </a:cxn>
                  <a:cxn ang="0">
                    <a:pos x="349" y="150"/>
                  </a:cxn>
                  <a:cxn ang="0">
                    <a:pos x="376" y="174"/>
                  </a:cxn>
                  <a:cxn ang="0">
                    <a:pos x="404" y="179"/>
                  </a:cxn>
                  <a:cxn ang="0">
                    <a:pos x="402" y="198"/>
                  </a:cxn>
                  <a:cxn ang="0">
                    <a:pos x="392" y="212"/>
                  </a:cxn>
                </a:cxnLst>
                <a:rect l="0" t="0" r="r" b="b"/>
                <a:pathLst>
                  <a:path w="418" h="301">
                    <a:moveTo>
                      <a:pt x="392" y="212"/>
                    </a:moveTo>
                    <a:lnTo>
                      <a:pt x="390" y="221"/>
                    </a:lnTo>
                    <a:lnTo>
                      <a:pt x="385" y="226"/>
                    </a:lnTo>
                    <a:lnTo>
                      <a:pt x="375" y="222"/>
                    </a:lnTo>
                    <a:lnTo>
                      <a:pt x="368" y="219"/>
                    </a:lnTo>
                    <a:lnTo>
                      <a:pt x="362" y="214"/>
                    </a:lnTo>
                    <a:lnTo>
                      <a:pt x="357" y="209"/>
                    </a:lnTo>
                    <a:lnTo>
                      <a:pt x="347" y="196"/>
                    </a:lnTo>
                    <a:lnTo>
                      <a:pt x="333" y="191"/>
                    </a:lnTo>
                    <a:lnTo>
                      <a:pt x="328" y="193"/>
                    </a:lnTo>
                    <a:lnTo>
                      <a:pt x="323" y="196"/>
                    </a:lnTo>
                    <a:lnTo>
                      <a:pt x="328" y="198"/>
                    </a:lnTo>
                    <a:lnTo>
                      <a:pt x="333" y="198"/>
                    </a:lnTo>
                    <a:lnTo>
                      <a:pt x="333" y="205"/>
                    </a:lnTo>
                    <a:lnTo>
                      <a:pt x="330" y="205"/>
                    </a:lnTo>
                    <a:lnTo>
                      <a:pt x="326" y="205"/>
                    </a:lnTo>
                    <a:lnTo>
                      <a:pt x="326" y="212"/>
                    </a:lnTo>
                    <a:lnTo>
                      <a:pt x="333" y="212"/>
                    </a:lnTo>
                    <a:lnTo>
                      <a:pt x="337" y="222"/>
                    </a:lnTo>
                    <a:lnTo>
                      <a:pt x="344" y="231"/>
                    </a:lnTo>
                    <a:lnTo>
                      <a:pt x="354" y="231"/>
                    </a:lnTo>
                    <a:lnTo>
                      <a:pt x="357" y="238"/>
                    </a:lnTo>
                    <a:lnTo>
                      <a:pt x="361" y="238"/>
                    </a:lnTo>
                    <a:lnTo>
                      <a:pt x="366" y="238"/>
                    </a:lnTo>
                    <a:lnTo>
                      <a:pt x="366" y="243"/>
                    </a:lnTo>
                    <a:lnTo>
                      <a:pt x="366" y="248"/>
                    </a:lnTo>
                    <a:lnTo>
                      <a:pt x="371" y="252"/>
                    </a:lnTo>
                    <a:lnTo>
                      <a:pt x="376" y="258"/>
                    </a:lnTo>
                    <a:lnTo>
                      <a:pt x="371" y="269"/>
                    </a:lnTo>
                    <a:lnTo>
                      <a:pt x="368" y="279"/>
                    </a:lnTo>
                    <a:lnTo>
                      <a:pt x="356" y="276"/>
                    </a:lnTo>
                    <a:lnTo>
                      <a:pt x="342" y="270"/>
                    </a:lnTo>
                    <a:lnTo>
                      <a:pt x="328" y="264"/>
                    </a:lnTo>
                    <a:lnTo>
                      <a:pt x="321" y="258"/>
                    </a:lnTo>
                    <a:lnTo>
                      <a:pt x="313" y="258"/>
                    </a:lnTo>
                    <a:lnTo>
                      <a:pt x="321" y="265"/>
                    </a:lnTo>
                    <a:lnTo>
                      <a:pt x="333" y="276"/>
                    </a:lnTo>
                    <a:lnTo>
                      <a:pt x="344" y="284"/>
                    </a:lnTo>
                    <a:lnTo>
                      <a:pt x="350" y="294"/>
                    </a:lnTo>
                    <a:lnTo>
                      <a:pt x="347" y="298"/>
                    </a:lnTo>
                    <a:lnTo>
                      <a:pt x="345" y="301"/>
                    </a:lnTo>
                    <a:lnTo>
                      <a:pt x="342" y="298"/>
                    </a:lnTo>
                    <a:lnTo>
                      <a:pt x="340" y="294"/>
                    </a:lnTo>
                    <a:lnTo>
                      <a:pt x="328" y="289"/>
                    </a:lnTo>
                    <a:lnTo>
                      <a:pt x="319" y="288"/>
                    </a:lnTo>
                    <a:lnTo>
                      <a:pt x="311" y="286"/>
                    </a:lnTo>
                    <a:lnTo>
                      <a:pt x="304" y="282"/>
                    </a:lnTo>
                    <a:lnTo>
                      <a:pt x="290" y="277"/>
                    </a:lnTo>
                    <a:lnTo>
                      <a:pt x="278" y="274"/>
                    </a:lnTo>
                    <a:lnTo>
                      <a:pt x="268" y="267"/>
                    </a:lnTo>
                    <a:lnTo>
                      <a:pt x="270" y="260"/>
                    </a:lnTo>
                    <a:lnTo>
                      <a:pt x="258" y="253"/>
                    </a:lnTo>
                    <a:lnTo>
                      <a:pt x="247" y="246"/>
                    </a:lnTo>
                    <a:lnTo>
                      <a:pt x="239" y="239"/>
                    </a:lnTo>
                    <a:lnTo>
                      <a:pt x="230" y="234"/>
                    </a:lnTo>
                    <a:lnTo>
                      <a:pt x="225" y="239"/>
                    </a:lnTo>
                    <a:lnTo>
                      <a:pt x="220" y="243"/>
                    </a:lnTo>
                    <a:lnTo>
                      <a:pt x="215" y="241"/>
                    </a:lnTo>
                    <a:lnTo>
                      <a:pt x="211" y="239"/>
                    </a:lnTo>
                    <a:lnTo>
                      <a:pt x="203" y="243"/>
                    </a:lnTo>
                    <a:lnTo>
                      <a:pt x="196" y="246"/>
                    </a:lnTo>
                    <a:lnTo>
                      <a:pt x="189" y="245"/>
                    </a:lnTo>
                    <a:lnTo>
                      <a:pt x="182" y="241"/>
                    </a:lnTo>
                    <a:lnTo>
                      <a:pt x="175" y="236"/>
                    </a:lnTo>
                    <a:lnTo>
                      <a:pt x="173" y="233"/>
                    </a:lnTo>
                    <a:lnTo>
                      <a:pt x="175" y="227"/>
                    </a:lnTo>
                    <a:lnTo>
                      <a:pt x="180" y="222"/>
                    </a:lnTo>
                    <a:lnTo>
                      <a:pt x="187" y="219"/>
                    </a:lnTo>
                    <a:lnTo>
                      <a:pt x="194" y="219"/>
                    </a:lnTo>
                    <a:lnTo>
                      <a:pt x="206" y="219"/>
                    </a:lnTo>
                    <a:lnTo>
                      <a:pt x="216" y="219"/>
                    </a:lnTo>
                    <a:lnTo>
                      <a:pt x="227" y="215"/>
                    </a:lnTo>
                    <a:lnTo>
                      <a:pt x="239" y="212"/>
                    </a:lnTo>
                    <a:lnTo>
                      <a:pt x="233" y="207"/>
                    </a:lnTo>
                    <a:lnTo>
                      <a:pt x="230" y="202"/>
                    </a:lnTo>
                    <a:lnTo>
                      <a:pt x="233" y="195"/>
                    </a:lnTo>
                    <a:lnTo>
                      <a:pt x="242" y="193"/>
                    </a:lnTo>
                    <a:lnTo>
                      <a:pt x="251" y="181"/>
                    </a:lnTo>
                    <a:lnTo>
                      <a:pt x="258" y="171"/>
                    </a:lnTo>
                    <a:lnTo>
                      <a:pt x="251" y="159"/>
                    </a:lnTo>
                    <a:lnTo>
                      <a:pt x="239" y="147"/>
                    </a:lnTo>
                    <a:lnTo>
                      <a:pt x="225" y="136"/>
                    </a:lnTo>
                    <a:lnTo>
                      <a:pt x="215" y="133"/>
                    </a:lnTo>
                    <a:lnTo>
                      <a:pt x="206" y="135"/>
                    </a:lnTo>
                    <a:lnTo>
                      <a:pt x="197" y="138"/>
                    </a:lnTo>
                    <a:lnTo>
                      <a:pt x="194" y="135"/>
                    </a:lnTo>
                    <a:lnTo>
                      <a:pt x="194" y="133"/>
                    </a:lnTo>
                    <a:lnTo>
                      <a:pt x="197" y="126"/>
                    </a:lnTo>
                    <a:lnTo>
                      <a:pt x="206" y="126"/>
                    </a:lnTo>
                    <a:lnTo>
                      <a:pt x="197" y="117"/>
                    </a:lnTo>
                    <a:lnTo>
                      <a:pt x="187" y="109"/>
                    </a:lnTo>
                    <a:lnTo>
                      <a:pt x="175" y="100"/>
                    </a:lnTo>
                    <a:lnTo>
                      <a:pt x="168" y="98"/>
                    </a:lnTo>
                    <a:lnTo>
                      <a:pt x="163" y="100"/>
                    </a:lnTo>
                    <a:lnTo>
                      <a:pt x="158" y="107"/>
                    </a:lnTo>
                    <a:lnTo>
                      <a:pt x="151" y="114"/>
                    </a:lnTo>
                    <a:lnTo>
                      <a:pt x="146" y="117"/>
                    </a:lnTo>
                    <a:lnTo>
                      <a:pt x="141" y="112"/>
                    </a:lnTo>
                    <a:lnTo>
                      <a:pt x="141" y="105"/>
                    </a:lnTo>
                    <a:lnTo>
                      <a:pt x="132" y="104"/>
                    </a:lnTo>
                    <a:lnTo>
                      <a:pt x="123" y="104"/>
                    </a:lnTo>
                    <a:lnTo>
                      <a:pt x="113" y="104"/>
                    </a:lnTo>
                    <a:lnTo>
                      <a:pt x="104" y="104"/>
                    </a:lnTo>
                    <a:lnTo>
                      <a:pt x="92" y="104"/>
                    </a:lnTo>
                    <a:lnTo>
                      <a:pt x="82" y="104"/>
                    </a:lnTo>
                    <a:lnTo>
                      <a:pt x="72" y="104"/>
                    </a:lnTo>
                    <a:lnTo>
                      <a:pt x="63" y="105"/>
                    </a:lnTo>
                    <a:lnTo>
                      <a:pt x="55" y="100"/>
                    </a:lnTo>
                    <a:lnTo>
                      <a:pt x="48" y="95"/>
                    </a:lnTo>
                    <a:lnTo>
                      <a:pt x="24" y="95"/>
                    </a:lnTo>
                    <a:lnTo>
                      <a:pt x="17" y="86"/>
                    </a:lnTo>
                    <a:lnTo>
                      <a:pt x="13" y="80"/>
                    </a:lnTo>
                    <a:lnTo>
                      <a:pt x="24" y="80"/>
                    </a:lnTo>
                    <a:lnTo>
                      <a:pt x="36" y="81"/>
                    </a:lnTo>
                    <a:lnTo>
                      <a:pt x="36" y="74"/>
                    </a:lnTo>
                    <a:lnTo>
                      <a:pt x="27" y="71"/>
                    </a:lnTo>
                    <a:lnTo>
                      <a:pt x="18" y="71"/>
                    </a:lnTo>
                    <a:lnTo>
                      <a:pt x="10" y="69"/>
                    </a:lnTo>
                    <a:lnTo>
                      <a:pt x="8" y="69"/>
                    </a:lnTo>
                    <a:lnTo>
                      <a:pt x="3" y="64"/>
                    </a:lnTo>
                    <a:lnTo>
                      <a:pt x="0" y="55"/>
                    </a:lnTo>
                    <a:lnTo>
                      <a:pt x="0" y="45"/>
                    </a:lnTo>
                    <a:lnTo>
                      <a:pt x="1" y="40"/>
                    </a:lnTo>
                    <a:lnTo>
                      <a:pt x="5" y="35"/>
                    </a:lnTo>
                    <a:lnTo>
                      <a:pt x="10" y="33"/>
                    </a:lnTo>
                    <a:lnTo>
                      <a:pt x="12" y="25"/>
                    </a:lnTo>
                    <a:lnTo>
                      <a:pt x="13" y="19"/>
                    </a:lnTo>
                    <a:lnTo>
                      <a:pt x="20" y="11"/>
                    </a:lnTo>
                    <a:lnTo>
                      <a:pt x="31" y="6"/>
                    </a:lnTo>
                    <a:lnTo>
                      <a:pt x="41" y="0"/>
                    </a:lnTo>
                    <a:lnTo>
                      <a:pt x="55" y="0"/>
                    </a:lnTo>
                    <a:lnTo>
                      <a:pt x="56" y="0"/>
                    </a:lnTo>
                    <a:lnTo>
                      <a:pt x="61" y="2"/>
                    </a:lnTo>
                    <a:lnTo>
                      <a:pt x="67" y="4"/>
                    </a:lnTo>
                    <a:lnTo>
                      <a:pt x="72" y="6"/>
                    </a:lnTo>
                    <a:lnTo>
                      <a:pt x="65" y="11"/>
                    </a:lnTo>
                    <a:lnTo>
                      <a:pt x="58" y="16"/>
                    </a:lnTo>
                    <a:lnTo>
                      <a:pt x="51" y="21"/>
                    </a:lnTo>
                    <a:lnTo>
                      <a:pt x="49" y="31"/>
                    </a:lnTo>
                    <a:lnTo>
                      <a:pt x="49" y="35"/>
                    </a:lnTo>
                    <a:lnTo>
                      <a:pt x="53" y="37"/>
                    </a:lnTo>
                    <a:lnTo>
                      <a:pt x="53" y="42"/>
                    </a:lnTo>
                    <a:lnTo>
                      <a:pt x="53" y="47"/>
                    </a:lnTo>
                    <a:lnTo>
                      <a:pt x="53" y="50"/>
                    </a:lnTo>
                    <a:lnTo>
                      <a:pt x="58" y="54"/>
                    </a:lnTo>
                    <a:lnTo>
                      <a:pt x="63" y="50"/>
                    </a:lnTo>
                    <a:lnTo>
                      <a:pt x="68" y="45"/>
                    </a:lnTo>
                    <a:lnTo>
                      <a:pt x="65" y="38"/>
                    </a:lnTo>
                    <a:lnTo>
                      <a:pt x="63" y="31"/>
                    </a:lnTo>
                    <a:lnTo>
                      <a:pt x="68" y="18"/>
                    </a:lnTo>
                    <a:lnTo>
                      <a:pt x="82" y="11"/>
                    </a:lnTo>
                    <a:lnTo>
                      <a:pt x="91" y="7"/>
                    </a:lnTo>
                    <a:lnTo>
                      <a:pt x="99" y="6"/>
                    </a:lnTo>
                    <a:lnTo>
                      <a:pt x="108" y="6"/>
                    </a:lnTo>
                    <a:lnTo>
                      <a:pt x="118" y="6"/>
                    </a:lnTo>
                    <a:lnTo>
                      <a:pt x="127" y="7"/>
                    </a:lnTo>
                    <a:lnTo>
                      <a:pt x="134" y="14"/>
                    </a:lnTo>
                    <a:lnTo>
                      <a:pt x="137" y="25"/>
                    </a:lnTo>
                    <a:lnTo>
                      <a:pt x="139" y="35"/>
                    </a:lnTo>
                    <a:lnTo>
                      <a:pt x="137" y="40"/>
                    </a:lnTo>
                    <a:lnTo>
                      <a:pt x="139" y="45"/>
                    </a:lnTo>
                    <a:lnTo>
                      <a:pt x="142" y="42"/>
                    </a:lnTo>
                    <a:lnTo>
                      <a:pt x="149" y="40"/>
                    </a:lnTo>
                    <a:lnTo>
                      <a:pt x="154" y="42"/>
                    </a:lnTo>
                    <a:lnTo>
                      <a:pt x="160" y="45"/>
                    </a:lnTo>
                    <a:lnTo>
                      <a:pt x="165" y="42"/>
                    </a:lnTo>
                    <a:lnTo>
                      <a:pt x="170" y="38"/>
                    </a:lnTo>
                    <a:lnTo>
                      <a:pt x="173" y="33"/>
                    </a:lnTo>
                    <a:lnTo>
                      <a:pt x="180" y="31"/>
                    </a:lnTo>
                    <a:lnTo>
                      <a:pt x="189" y="31"/>
                    </a:lnTo>
                    <a:lnTo>
                      <a:pt x="199" y="33"/>
                    </a:lnTo>
                    <a:lnTo>
                      <a:pt x="209" y="35"/>
                    </a:lnTo>
                    <a:lnTo>
                      <a:pt x="218" y="40"/>
                    </a:lnTo>
                    <a:lnTo>
                      <a:pt x="225" y="45"/>
                    </a:lnTo>
                    <a:lnTo>
                      <a:pt x="232" y="54"/>
                    </a:lnTo>
                    <a:lnTo>
                      <a:pt x="237" y="61"/>
                    </a:lnTo>
                    <a:lnTo>
                      <a:pt x="249" y="64"/>
                    </a:lnTo>
                    <a:lnTo>
                      <a:pt x="258" y="64"/>
                    </a:lnTo>
                    <a:lnTo>
                      <a:pt x="263" y="64"/>
                    </a:lnTo>
                    <a:lnTo>
                      <a:pt x="266" y="64"/>
                    </a:lnTo>
                    <a:lnTo>
                      <a:pt x="273" y="66"/>
                    </a:lnTo>
                    <a:lnTo>
                      <a:pt x="276" y="68"/>
                    </a:lnTo>
                    <a:lnTo>
                      <a:pt x="280" y="74"/>
                    </a:lnTo>
                    <a:lnTo>
                      <a:pt x="289" y="78"/>
                    </a:lnTo>
                    <a:lnTo>
                      <a:pt x="297" y="83"/>
                    </a:lnTo>
                    <a:lnTo>
                      <a:pt x="304" y="86"/>
                    </a:lnTo>
                    <a:lnTo>
                      <a:pt x="314" y="90"/>
                    </a:lnTo>
                    <a:lnTo>
                      <a:pt x="314" y="98"/>
                    </a:lnTo>
                    <a:lnTo>
                      <a:pt x="319" y="98"/>
                    </a:lnTo>
                    <a:lnTo>
                      <a:pt x="323" y="98"/>
                    </a:lnTo>
                    <a:lnTo>
                      <a:pt x="332" y="100"/>
                    </a:lnTo>
                    <a:lnTo>
                      <a:pt x="338" y="111"/>
                    </a:lnTo>
                    <a:lnTo>
                      <a:pt x="328" y="111"/>
                    </a:lnTo>
                    <a:lnTo>
                      <a:pt x="319" y="117"/>
                    </a:lnTo>
                    <a:lnTo>
                      <a:pt x="328" y="117"/>
                    </a:lnTo>
                    <a:lnTo>
                      <a:pt x="335" y="117"/>
                    </a:lnTo>
                    <a:lnTo>
                      <a:pt x="338" y="117"/>
                    </a:lnTo>
                    <a:lnTo>
                      <a:pt x="344" y="123"/>
                    </a:lnTo>
                    <a:lnTo>
                      <a:pt x="333" y="126"/>
                    </a:lnTo>
                    <a:lnTo>
                      <a:pt x="326" y="135"/>
                    </a:lnTo>
                    <a:lnTo>
                      <a:pt x="332" y="136"/>
                    </a:lnTo>
                    <a:lnTo>
                      <a:pt x="340" y="138"/>
                    </a:lnTo>
                    <a:lnTo>
                      <a:pt x="342" y="145"/>
                    </a:lnTo>
                    <a:lnTo>
                      <a:pt x="349" y="150"/>
                    </a:lnTo>
                    <a:lnTo>
                      <a:pt x="357" y="153"/>
                    </a:lnTo>
                    <a:lnTo>
                      <a:pt x="366" y="157"/>
                    </a:lnTo>
                    <a:lnTo>
                      <a:pt x="368" y="167"/>
                    </a:lnTo>
                    <a:lnTo>
                      <a:pt x="376" y="174"/>
                    </a:lnTo>
                    <a:lnTo>
                      <a:pt x="388" y="171"/>
                    </a:lnTo>
                    <a:lnTo>
                      <a:pt x="395" y="176"/>
                    </a:lnTo>
                    <a:lnTo>
                      <a:pt x="399" y="178"/>
                    </a:lnTo>
                    <a:lnTo>
                      <a:pt x="404" y="179"/>
                    </a:lnTo>
                    <a:lnTo>
                      <a:pt x="414" y="181"/>
                    </a:lnTo>
                    <a:lnTo>
                      <a:pt x="418" y="191"/>
                    </a:lnTo>
                    <a:lnTo>
                      <a:pt x="412" y="196"/>
                    </a:lnTo>
                    <a:lnTo>
                      <a:pt x="402" y="198"/>
                    </a:lnTo>
                    <a:lnTo>
                      <a:pt x="402" y="203"/>
                    </a:lnTo>
                    <a:lnTo>
                      <a:pt x="402" y="205"/>
                    </a:lnTo>
                    <a:lnTo>
                      <a:pt x="399" y="209"/>
                    </a:lnTo>
                    <a:lnTo>
                      <a:pt x="392" y="2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3" name="Freeform 333"/>
              <p:cNvSpPr>
                <a:spLocks/>
              </p:cNvSpPr>
              <p:nvPr/>
            </p:nvSpPr>
            <p:spPr bwMode="auto">
              <a:xfrm>
                <a:off x="2516982" y="2320925"/>
                <a:ext cx="19050" cy="11112"/>
              </a:xfrm>
              <a:custGeom>
                <a:avLst/>
                <a:gdLst/>
                <a:ahLst/>
                <a:cxnLst>
                  <a:cxn ang="0">
                    <a:pos x="12" y="5"/>
                  </a:cxn>
                  <a:cxn ang="0">
                    <a:pos x="5" y="7"/>
                  </a:cxn>
                  <a:cxn ang="0">
                    <a:pos x="0" y="5"/>
                  </a:cxn>
                  <a:cxn ang="0">
                    <a:pos x="5" y="0"/>
                  </a:cxn>
                  <a:cxn ang="0">
                    <a:pos x="12" y="5"/>
                  </a:cxn>
                </a:cxnLst>
                <a:rect l="0" t="0" r="r" b="b"/>
                <a:pathLst>
                  <a:path w="12" h="7">
                    <a:moveTo>
                      <a:pt x="12" y="5"/>
                    </a:moveTo>
                    <a:lnTo>
                      <a:pt x="5" y="7"/>
                    </a:lnTo>
                    <a:lnTo>
                      <a:pt x="0" y="5"/>
                    </a:lnTo>
                    <a:lnTo>
                      <a:pt x="5" y="0"/>
                    </a:lnTo>
                    <a:lnTo>
                      <a:pt x="12"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4" name="Freeform 334"/>
              <p:cNvSpPr>
                <a:spLocks/>
              </p:cNvSpPr>
              <p:nvPr/>
            </p:nvSpPr>
            <p:spPr bwMode="auto">
              <a:xfrm>
                <a:off x="2382044" y="2230438"/>
                <a:ext cx="14288" cy="11112"/>
              </a:xfrm>
              <a:custGeom>
                <a:avLst/>
                <a:gdLst/>
                <a:ahLst/>
                <a:cxnLst>
                  <a:cxn ang="0">
                    <a:pos x="0" y="0"/>
                  </a:cxn>
                  <a:cxn ang="0">
                    <a:pos x="4" y="0"/>
                  </a:cxn>
                  <a:cxn ang="0">
                    <a:pos x="9" y="7"/>
                  </a:cxn>
                  <a:cxn ang="0">
                    <a:pos x="2" y="4"/>
                  </a:cxn>
                  <a:cxn ang="0">
                    <a:pos x="0" y="0"/>
                  </a:cxn>
                </a:cxnLst>
                <a:rect l="0" t="0" r="r" b="b"/>
                <a:pathLst>
                  <a:path w="9" h="7">
                    <a:moveTo>
                      <a:pt x="0" y="0"/>
                    </a:moveTo>
                    <a:lnTo>
                      <a:pt x="4" y="0"/>
                    </a:lnTo>
                    <a:lnTo>
                      <a:pt x="9" y="7"/>
                    </a:lnTo>
                    <a:lnTo>
                      <a:pt x="2" y="4"/>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5" name="Freeform 335"/>
              <p:cNvSpPr>
                <a:spLocks/>
              </p:cNvSpPr>
              <p:nvPr/>
            </p:nvSpPr>
            <p:spPr bwMode="auto">
              <a:xfrm>
                <a:off x="2204244" y="1428750"/>
                <a:ext cx="704850" cy="368300"/>
              </a:xfrm>
              <a:custGeom>
                <a:avLst/>
                <a:gdLst/>
                <a:ahLst/>
                <a:cxnLst>
                  <a:cxn ang="0">
                    <a:pos x="394" y="5"/>
                  </a:cxn>
                  <a:cxn ang="0">
                    <a:pos x="412" y="17"/>
                  </a:cxn>
                  <a:cxn ang="0">
                    <a:pos x="444" y="30"/>
                  </a:cxn>
                  <a:cxn ang="0">
                    <a:pos x="398" y="48"/>
                  </a:cxn>
                  <a:cxn ang="0">
                    <a:pos x="360" y="56"/>
                  </a:cxn>
                  <a:cxn ang="0">
                    <a:pos x="398" y="58"/>
                  </a:cxn>
                  <a:cxn ang="0">
                    <a:pos x="339" y="84"/>
                  </a:cxn>
                  <a:cxn ang="0">
                    <a:pos x="293" y="122"/>
                  </a:cxn>
                  <a:cxn ang="0">
                    <a:pos x="234" y="134"/>
                  </a:cxn>
                  <a:cxn ang="0">
                    <a:pos x="241" y="147"/>
                  </a:cxn>
                  <a:cxn ang="0">
                    <a:pos x="212" y="178"/>
                  </a:cxn>
                  <a:cxn ang="0">
                    <a:pos x="202" y="182"/>
                  </a:cxn>
                  <a:cxn ang="0">
                    <a:pos x="185" y="201"/>
                  </a:cxn>
                  <a:cxn ang="0">
                    <a:pos x="198" y="209"/>
                  </a:cxn>
                  <a:cxn ang="0">
                    <a:pos x="172" y="228"/>
                  </a:cxn>
                  <a:cxn ang="0">
                    <a:pos x="135" y="225"/>
                  </a:cxn>
                  <a:cxn ang="0">
                    <a:pos x="100" y="227"/>
                  </a:cxn>
                  <a:cxn ang="0">
                    <a:pos x="56" y="223"/>
                  </a:cxn>
                  <a:cxn ang="0">
                    <a:pos x="33" y="221"/>
                  </a:cxn>
                  <a:cxn ang="0">
                    <a:pos x="57" y="202"/>
                  </a:cxn>
                  <a:cxn ang="0">
                    <a:pos x="57" y="180"/>
                  </a:cxn>
                  <a:cxn ang="0">
                    <a:pos x="90" y="189"/>
                  </a:cxn>
                  <a:cxn ang="0">
                    <a:pos x="92" y="182"/>
                  </a:cxn>
                  <a:cxn ang="0">
                    <a:pos x="73" y="170"/>
                  </a:cxn>
                  <a:cxn ang="0">
                    <a:pos x="69" y="154"/>
                  </a:cxn>
                  <a:cxn ang="0">
                    <a:pos x="104" y="142"/>
                  </a:cxn>
                  <a:cxn ang="0">
                    <a:pos x="78" y="115"/>
                  </a:cxn>
                  <a:cxn ang="0">
                    <a:pos x="78" y="104"/>
                  </a:cxn>
                  <a:cxn ang="0">
                    <a:pos x="95" y="99"/>
                  </a:cxn>
                  <a:cxn ang="0">
                    <a:pos x="133" y="115"/>
                  </a:cxn>
                  <a:cxn ang="0">
                    <a:pos x="126" y="106"/>
                  </a:cxn>
                  <a:cxn ang="0">
                    <a:pos x="154" y="98"/>
                  </a:cxn>
                  <a:cxn ang="0">
                    <a:pos x="162" y="87"/>
                  </a:cxn>
                  <a:cxn ang="0">
                    <a:pos x="121" y="92"/>
                  </a:cxn>
                  <a:cxn ang="0">
                    <a:pos x="88" y="92"/>
                  </a:cxn>
                  <a:cxn ang="0">
                    <a:pos x="66" y="91"/>
                  </a:cxn>
                  <a:cxn ang="0">
                    <a:pos x="38" y="80"/>
                  </a:cxn>
                  <a:cxn ang="0">
                    <a:pos x="28" y="75"/>
                  </a:cxn>
                  <a:cxn ang="0">
                    <a:pos x="59" y="60"/>
                  </a:cxn>
                  <a:cxn ang="0">
                    <a:pos x="28" y="67"/>
                  </a:cxn>
                  <a:cxn ang="0">
                    <a:pos x="33" y="55"/>
                  </a:cxn>
                  <a:cxn ang="0">
                    <a:pos x="6" y="58"/>
                  </a:cxn>
                  <a:cxn ang="0">
                    <a:pos x="37" y="39"/>
                  </a:cxn>
                  <a:cxn ang="0">
                    <a:pos x="64" y="37"/>
                  </a:cxn>
                  <a:cxn ang="0">
                    <a:pos x="80" y="24"/>
                  </a:cxn>
                  <a:cxn ang="0">
                    <a:pos x="112" y="32"/>
                  </a:cxn>
                  <a:cxn ang="0">
                    <a:pos x="135" y="13"/>
                  </a:cxn>
                  <a:cxn ang="0">
                    <a:pos x="160" y="5"/>
                  </a:cxn>
                  <a:cxn ang="0">
                    <a:pos x="202" y="5"/>
                  </a:cxn>
                  <a:cxn ang="0">
                    <a:pos x="228" y="1"/>
                  </a:cxn>
                  <a:cxn ang="0">
                    <a:pos x="258" y="3"/>
                  </a:cxn>
                  <a:cxn ang="0">
                    <a:pos x="289" y="3"/>
                  </a:cxn>
                  <a:cxn ang="0">
                    <a:pos x="319" y="1"/>
                  </a:cxn>
                  <a:cxn ang="0">
                    <a:pos x="357" y="6"/>
                  </a:cxn>
                </a:cxnLst>
                <a:rect l="0" t="0" r="r" b="b"/>
                <a:pathLst>
                  <a:path w="444" h="232">
                    <a:moveTo>
                      <a:pt x="363" y="12"/>
                    </a:moveTo>
                    <a:lnTo>
                      <a:pt x="358" y="13"/>
                    </a:lnTo>
                    <a:lnTo>
                      <a:pt x="353" y="17"/>
                    </a:lnTo>
                    <a:lnTo>
                      <a:pt x="394" y="5"/>
                    </a:lnTo>
                    <a:lnTo>
                      <a:pt x="398" y="6"/>
                    </a:lnTo>
                    <a:lnTo>
                      <a:pt x="403" y="8"/>
                    </a:lnTo>
                    <a:lnTo>
                      <a:pt x="406" y="12"/>
                    </a:lnTo>
                    <a:lnTo>
                      <a:pt x="412" y="17"/>
                    </a:lnTo>
                    <a:lnTo>
                      <a:pt x="418" y="18"/>
                    </a:lnTo>
                    <a:lnTo>
                      <a:pt x="430" y="22"/>
                    </a:lnTo>
                    <a:lnTo>
                      <a:pt x="439" y="24"/>
                    </a:lnTo>
                    <a:lnTo>
                      <a:pt x="444" y="30"/>
                    </a:lnTo>
                    <a:lnTo>
                      <a:pt x="439" y="36"/>
                    </a:lnTo>
                    <a:lnTo>
                      <a:pt x="432" y="37"/>
                    </a:lnTo>
                    <a:lnTo>
                      <a:pt x="415" y="44"/>
                    </a:lnTo>
                    <a:lnTo>
                      <a:pt x="398" y="48"/>
                    </a:lnTo>
                    <a:lnTo>
                      <a:pt x="387" y="48"/>
                    </a:lnTo>
                    <a:lnTo>
                      <a:pt x="379" y="49"/>
                    </a:lnTo>
                    <a:lnTo>
                      <a:pt x="369" y="51"/>
                    </a:lnTo>
                    <a:lnTo>
                      <a:pt x="360" y="56"/>
                    </a:lnTo>
                    <a:lnTo>
                      <a:pt x="365" y="56"/>
                    </a:lnTo>
                    <a:lnTo>
                      <a:pt x="375" y="58"/>
                    </a:lnTo>
                    <a:lnTo>
                      <a:pt x="386" y="58"/>
                    </a:lnTo>
                    <a:lnTo>
                      <a:pt x="398" y="58"/>
                    </a:lnTo>
                    <a:lnTo>
                      <a:pt x="384" y="65"/>
                    </a:lnTo>
                    <a:lnTo>
                      <a:pt x="370" y="72"/>
                    </a:lnTo>
                    <a:lnTo>
                      <a:pt x="353" y="77"/>
                    </a:lnTo>
                    <a:lnTo>
                      <a:pt x="339" y="84"/>
                    </a:lnTo>
                    <a:lnTo>
                      <a:pt x="324" y="89"/>
                    </a:lnTo>
                    <a:lnTo>
                      <a:pt x="314" y="99"/>
                    </a:lnTo>
                    <a:lnTo>
                      <a:pt x="303" y="110"/>
                    </a:lnTo>
                    <a:lnTo>
                      <a:pt x="293" y="122"/>
                    </a:lnTo>
                    <a:lnTo>
                      <a:pt x="279" y="122"/>
                    </a:lnTo>
                    <a:lnTo>
                      <a:pt x="267" y="123"/>
                    </a:lnTo>
                    <a:lnTo>
                      <a:pt x="248" y="127"/>
                    </a:lnTo>
                    <a:lnTo>
                      <a:pt x="234" y="134"/>
                    </a:lnTo>
                    <a:lnTo>
                      <a:pt x="248" y="134"/>
                    </a:lnTo>
                    <a:lnTo>
                      <a:pt x="245" y="142"/>
                    </a:lnTo>
                    <a:lnTo>
                      <a:pt x="234" y="144"/>
                    </a:lnTo>
                    <a:lnTo>
                      <a:pt x="241" y="147"/>
                    </a:lnTo>
                    <a:lnTo>
                      <a:pt x="248" y="156"/>
                    </a:lnTo>
                    <a:lnTo>
                      <a:pt x="236" y="166"/>
                    </a:lnTo>
                    <a:lnTo>
                      <a:pt x="226" y="178"/>
                    </a:lnTo>
                    <a:lnTo>
                      <a:pt x="212" y="178"/>
                    </a:lnTo>
                    <a:lnTo>
                      <a:pt x="205" y="178"/>
                    </a:lnTo>
                    <a:lnTo>
                      <a:pt x="202" y="178"/>
                    </a:lnTo>
                    <a:lnTo>
                      <a:pt x="200" y="178"/>
                    </a:lnTo>
                    <a:lnTo>
                      <a:pt x="202" y="182"/>
                    </a:lnTo>
                    <a:lnTo>
                      <a:pt x="203" y="187"/>
                    </a:lnTo>
                    <a:lnTo>
                      <a:pt x="200" y="194"/>
                    </a:lnTo>
                    <a:lnTo>
                      <a:pt x="193" y="197"/>
                    </a:lnTo>
                    <a:lnTo>
                      <a:pt x="185" y="201"/>
                    </a:lnTo>
                    <a:lnTo>
                      <a:pt x="183" y="209"/>
                    </a:lnTo>
                    <a:lnTo>
                      <a:pt x="190" y="209"/>
                    </a:lnTo>
                    <a:lnTo>
                      <a:pt x="195" y="209"/>
                    </a:lnTo>
                    <a:lnTo>
                      <a:pt x="198" y="209"/>
                    </a:lnTo>
                    <a:lnTo>
                      <a:pt x="203" y="214"/>
                    </a:lnTo>
                    <a:lnTo>
                      <a:pt x="197" y="220"/>
                    </a:lnTo>
                    <a:lnTo>
                      <a:pt x="186" y="225"/>
                    </a:lnTo>
                    <a:lnTo>
                      <a:pt x="172" y="228"/>
                    </a:lnTo>
                    <a:lnTo>
                      <a:pt x="162" y="232"/>
                    </a:lnTo>
                    <a:lnTo>
                      <a:pt x="152" y="228"/>
                    </a:lnTo>
                    <a:lnTo>
                      <a:pt x="145" y="225"/>
                    </a:lnTo>
                    <a:lnTo>
                      <a:pt x="135" y="225"/>
                    </a:lnTo>
                    <a:lnTo>
                      <a:pt x="126" y="225"/>
                    </a:lnTo>
                    <a:lnTo>
                      <a:pt x="116" y="225"/>
                    </a:lnTo>
                    <a:lnTo>
                      <a:pt x="107" y="225"/>
                    </a:lnTo>
                    <a:lnTo>
                      <a:pt x="100" y="227"/>
                    </a:lnTo>
                    <a:lnTo>
                      <a:pt x="92" y="230"/>
                    </a:lnTo>
                    <a:lnTo>
                      <a:pt x="80" y="228"/>
                    </a:lnTo>
                    <a:lnTo>
                      <a:pt x="68" y="227"/>
                    </a:lnTo>
                    <a:lnTo>
                      <a:pt x="56" y="223"/>
                    </a:lnTo>
                    <a:lnTo>
                      <a:pt x="43" y="220"/>
                    </a:lnTo>
                    <a:lnTo>
                      <a:pt x="40" y="221"/>
                    </a:lnTo>
                    <a:lnTo>
                      <a:pt x="38" y="225"/>
                    </a:lnTo>
                    <a:lnTo>
                      <a:pt x="33" y="221"/>
                    </a:lnTo>
                    <a:lnTo>
                      <a:pt x="33" y="220"/>
                    </a:lnTo>
                    <a:lnTo>
                      <a:pt x="37" y="208"/>
                    </a:lnTo>
                    <a:lnTo>
                      <a:pt x="47" y="204"/>
                    </a:lnTo>
                    <a:lnTo>
                      <a:pt x="57" y="202"/>
                    </a:lnTo>
                    <a:lnTo>
                      <a:pt x="69" y="201"/>
                    </a:lnTo>
                    <a:lnTo>
                      <a:pt x="59" y="194"/>
                    </a:lnTo>
                    <a:lnTo>
                      <a:pt x="54" y="185"/>
                    </a:lnTo>
                    <a:lnTo>
                      <a:pt x="57" y="180"/>
                    </a:lnTo>
                    <a:lnTo>
                      <a:pt x="66" y="180"/>
                    </a:lnTo>
                    <a:lnTo>
                      <a:pt x="74" y="180"/>
                    </a:lnTo>
                    <a:lnTo>
                      <a:pt x="83" y="184"/>
                    </a:lnTo>
                    <a:lnTo>
                      <a:pt x="90" y="189"/>
                    </a:lnTo>
                    <a:lnTo>
                      <a:pt x="97" y="194"/>
                    </a:lnTo>
                    <a:lnTo>
                      <a:pt x="107" y="194"/>
                    </a:lnTo>
                    <a:lnTo>
                      <a:pt x="99" y="187"/>
                    </a:lnTo>
                    <a:lnTo>
                      <a:pt x="92" y="182"/>
                    </a:lnTo>
                    <a:lnTo>
                      <a:pt x="85" y="175"/>
                    </a:lnTo>
                    <a:lnTo>
                      <a:pt x="83" y="168"/>
                    </a:lnTo>
                    <a:lnTo>
                      <a:pt x="76" y="168"/>
                    </a:lnTo>
                    <a:lnTo>
                      <a:pt x="73" y="170"/>
                    </a:lnTo>
                    <a:lnTo>
                      <a:pt x="71" y="171"/>
                    </a:lnTo>
                    <a:lnTo>
                      <a:pt x="64" y="171"/>
                    </a:lnTo>
                    <a:lnTo>
                      <a:pt x="64" y="166"/>
                    </a:lnTo>
                    <a:lnTo>
                      <a:pt x="69" y="154"/>
                    </a:lnTo>
                    <a:lnTo>
                      <a:pt x="78" y="149"/>
                    </a:lnTo>
                    <a:lnTo>
                      <a:pt x="86" y="147"/>
                    </a:lnTo>
                    <a:lnTo>
                      <a:pt x="97" y="146"/>
                    </a:lnTo>
                    <a:lnTo>
                      <a:pt x="104" y="142"/>
                    </a:lnTo>
                    <a:lnTo>
                      <a:pt x="107" y="135"/>
                    </a:lnTo>
                    <a:lnTo>
                      <a:pt x="100" y="125"/>
                    </a:lnTo>
                    <a:lnTo>
                      <a:pt x="90" y="120"/>
                    </a:lnTo>
                    <a:lnTo>
                      <a:pt x="78" y="115"/>
                    </a:lnTo>
                    <a:lnTo>
                      <a:pt x="73" y="110"/>
                    </a:lnTo>
                    <a:lnTo>
                      <a:pt x="76" y="106"/>
                    </a:lnTo>
                    <a:lnTo>
                      <a:pt x="85" y="106"/>
                    </a:lnTo>
                    <a:lnTo>
                      <a:pt x="78" y="104"/>
                    </a:lnTo>
                    <a:lnTo>
                      <a:pt x="78" y="101"/>
                    </a:lnTo>
                    <a:lnTo>
                      <a:pt x="80" y="99"/>
                    </a:lnTo>
                    <a:lnTo>
                      <a:pt x="85" y="101"/>
                    </a:lnTo>
                    <a:lnTo>
                      <a:pt x="95" y="99"/>
                    </a:lnTo>
                    <a:lnTo>
                      <a:pt x="112" y="101"/>
                    </a:lnTo>
                    <a:lnTo>
                      <a:pt x="119" y="104"/>
                    </a:lnTo>
                    <a:lnTo>
                      <a:pt x="126" y="111"/>
                    </a:lnTo>
                    <a:lnTo>
                      <a:pt x="133" y="115"/>
                    </a:lnTo>
                    <a:lnTo>
                      <a:pt x="143" y="118"/>
                    </a:lnTo>
                    <a:lnTo>
                      <a:pt x="138" y="113"/>
                    </a:lnTo>
                    <a:lnTo>
                      <a:pt x="131" y="110"/>
                    </a:lnTo>
                    <a:lnTo>
                      <a:pt x="126" y="106"/>
                    </a:lnTo>
                    <a:lnTo>
                      <a:pt x="124" y="103"/>
                    </a:lnTo>
                    <a:lnTo>
                      <a:pt x="124" y="99"/>
                    </a:lnTo>
                    <a:lnTo>
                      <a:pt x="128" y="98"/>
                    </a:lnTo>
                    <a:lnTo>
                      <a:pt x="154" y="98"/>
                    </a:lnTo>
                    <a:lnTo>
                      <a:pt x="166" y="91"/>
                    </a:lnTo>
                    <a:lnTo>
                      <a:pt x="178" y="84"/>
                    </a:lnTo>
                    <a:lnTo>
                      <a:pt x="171" y="84"/>
                    </a:lnTo>
                    <a:lnTo>
                      <a:pt x="162" y="87"/>
                    </a:lnTo>
                    <a:lnTo>
                      <a:pt x="154" y="92"/>
                    </a:lnTo>
                    <a:lnTo>
                      <a:pt x="142" y="94"/>
                    </a:lnTo>
                    <a:lnTo>
                      <a:pt x="131" y="96"/>
                    </a:lnTo>
                    <a:lnTo>
                      <a:pt x="121" y="92"/>
                    </a:lnTo>
                    <a:lnTo>
                      <a:pt x="114" y="91"/>
                    </a:lnTo>
                    <a:lnTo>
                      <a:pt x="109" y="92"/>
                    </a:lnTo>
                    <a:lnTo>
                      <a:pt x="104" y="96"/>
                    </a:lnTo>
                    <a:lnTo>
                      <a:pt x="88" y="92"/>
                    </a:lnTo>
                    <a:lnTo>
                      <a:pt x="83" y="86"/>
                    </a:lnTo>
                    <a:lnTo>
                      <a:pt x="78" y="86"/>
                    </a:lnTo>
                    <a:lnTo>
                      <a:pt x="71" y="89"/>
                    </a:lnTo>
                    <a:lnTo>
                      <a:pt x="66" y="91"/>
                    </a:lnTo>
                    <a:lnTo>
                      <a:pt x="57" y="89"/>
                    </a:lnTo>
                    <a:lnTo>
                      <a:pt x="49" y="87"/>
                    </a:lnTo>
                    <a:lnTo>
                      <a:pt x="42" y="84"/>
                    </a:lnTo>
                    <a:lnTo>
                      <a:pt x="38" y="80"/>
                    </a:lnTo>
                    <a:lnTo>
                      <a:pt x="43" y="77"/>
                    </a:lnTo>
                    <a:lnTo>
                      <a:pt x="52" y="75"/>
                    </a:lnTo>
                    <a:lnTo>
                      <a:pt x="37" y="75"/>
                    </a:lnTo>
                    <a:lnTo>
                      <a:pt x="28" y="75"/>
                    </a:lnTo>
                    <a:lnTo>
                      <a:pt x="31" y="67"/>
                    </a:lnTo>
                    <a:lnTo>
                      <a:pt x="40" y="63"/>
                    </a:lnTo>
                    <a:lnTo>
                      <a:pt x="49" y="61"/>
                    </a:lnTo>
                    <a:lnTo>
                      <a:pt x="59" y="60"/>
                    </a:lnTo>
                    <a:lnTo>
                      <a:pt x="54" y="58"/>
                    </a:lnTo>
                    <a:lnTo>
                      <a:pt x="49" y="58"/>
                    </a:lnTo>
                    <a:lnTo>
                      <a:pt x="38" y="61"/>
                    </a:lnTo>
                    <a:lnTo>
                      <a:pt x="28" y="67"/>
                    </a:lnTo>
                    <a:lnTo>
                      <a:pt x="23" y="65"/>
                    </a:lnTo>
                    <a:lnTo>
                      <a:pt x="19" y="63"/>
                    </a:lnTo>
                    <a:lnTo>
                      <a:pt x="26" y="56"/>
                    </a:lnTo>
                    <a:lnTo>
                      <a:pt x="33" y="55"/>
                    </a:lnTo>
                    <a:lnTo>
                      <a:pt x="19" y="55"/>
                    </a:lnTo>
                    <a:lnTo>
                      <a:pt x="14" y="56"/>
                    </a:lnTo>
                    <a:lnTo>
                      <a:pt x="11" y="58"/>
                    </a:lnTo>
                    <a:lnTo>
                      <a:pt x="6" y="58"/>
                    </a:lnTo>
                    <a:lnTo>
                      <a:pt x="0" y="58"/>
                    </a:lnTo>
                    <a:lnTo>
                      <a:pt x="6" y="48"/>
                    </a:lnTo>
                    <a:lnTo>
                      <a:pt x="19" y="43"/>
                    </a:lnTo>
                    <a:lnTo>
                      <a:pt x="37" y="39"/>
                    </a:lnTo>
                    <a:lnTo>
                      <a:pt x="50" y="39"/>
                    </a:lnTo>
                    <a:lnTo>
                      <a:pt x="57" y="39"/>
                    </a:lnTo>
                    <a:lnTo>
                      <a:pt x="62" y="39"/>
                    </a:lnTo>
                    <a:lnTo>
                      <a:pt x="64" y="37"/>
                    </a:lnTo>
                    <a:lnTo>
                      <a:pt x="66" y="36"/>
                    </a:lnTo>
                    <a:lnTo>
                      <a:pt x="73" y="32"/>
                    </a:lnTo>
                    <a:lnTo>
                      <a:pt x="78" y="29"/>
                    </a:lnTo>
                    <a:lnTo>
                      <a:pt x="80" y="24"/>
                    </a:lnTo>
                    <a:lnTo>
                      <a:pt x="86" y="24"/>
                    </a:lnTo>
                    <a:lnTo>
                      <a:pt x="93" y="24"/>
                    </a:lnTo>
                    <a:lnTo>
                      <a:pt x="104" y="29"/>
                    </a:lnTo>
                    <a:lnTo>
                      <a:pt x="112" y="32"/>
                    </a:lnTo>
                    <a:lnTo>
                      <a:pt x="121" y="36"/>
                    </a:lnTo>
                    <a:lnTo>
                      <a:pt x="123" y="25"/>
                    </a:lnTo>
                    <a:lnTo>
                      <a:pt x="128" y="18"/>
                    </a:lnTo>
                    <a:lnTo>
                      <a:pt x="135" y="13"/>
                    </a:lnTo>
                    <a:lnTo>
                      <a:pt x="145" y="13"/>
                    </a:lnTo>
                    <a:lnTo>
                      <a:pt x="150" y="13"/>
                    </a:lnTo>
                    <a:lnTo>
                      <a:pt x="155" y="12"/>
                    </a:lnTo>
                    <a:lnTo>
                      <a:pt x="160" y="5"/>
                    </a:lnTo>
                    <a:lnTo>
                      <a:pt x="167" y="5"/>
                    </a:lnTo>
                    <a:lnTo>
                      <a:pt x="183" y="5"/>
                    </a:lnTo>
                    <a:lnTo>
                      <a:pt x="197" y="5"/>
                    </a:lnTo>
                    <a:lnTo>
                      <a:pt x="202" y="5"/>
                    </a:lnTo>
                    <a:lnTo>
                      <a:pt x="209" y="5"/>
                    </a:lnTo>
                    <a:lnTo>
                      <a:pt x="215" y="5"/>
                    </a:lnTo>
                    <a:lnTo>
                      <a:pt x="226" y="5"/>
                    </a:lnTo>
                    <a:lnTo>
                      <a:pt x="228" y="1"/>
                    </a:lnTo>
                    <a:lnTo>
                      <a:pt x="233" y="1"/>
                    </a:lnTo>
                    <a:lnTo>
                      <a:pt x="241" y="5"/>
                    </a:lnTo>
                    <a:lnTo>
                      <a:pt x="252" y="8"/>
                    </a:lnTo>
                    <a:lnTo>
                      <a:pt x="258" y="3"/>
                    </a:lnTo>
                    <a:lnTo>
                      <a:pt x="267" y="0"/>
                    </a:lnTo>
                    <a:lnTo>
                      <a:pt x="274" y="1"/>
                    </a:lnTo>
                    <a:lnTo>
                      <a:pt x="283" y="3"/>
                    </a:lnTo>
                    <a:lnTo>
                      <a:pt x="289" y="3"/>
                    </a:lnTo>
                    <a:lnTo>
                      <a:pt x="296" y="3"/>
                    </a:lnTo>
                    <a:lnTo>
                      <a:pt x="300" y="1"/>
                    </a:lnTo>
                    <a:lnTo>
                      <a:pt x="308" y="1"/>
                    </a:lnTo>
                    <a:lnTo>
                      <a:pt x="319" y="1"/>
                    </a:lnTo>
                    <a:lnTo>
                      <a:pt x="329" y="3"/>
                    </a:lnTo>
                    <a:lnTo>
                      <a:pt x="339" y="3"/>
                    </a:lnTo>
                    <a:lnTo>
                      <a:pt x="350" y="5"/>
                    </a:lnTo>
                    <a:lnTo>
                      <a:pt x="357" y="6"/>
                    </a:lnTo>
                    <a:lnTo>
                      <a:pt x="363"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6" name="Freeform 336"/>
              <p:cNvSpPr>
                <a:spLocks/>
              </p:cNvSpPr>
              <p:nvPr/>
            </p:nvSpPr>
            <p:spPr bwMode="auto">
              <a:xfrm>
                <a:off x="2647157" y="1392238"/>
                <a:ext cx="1381125" cy="1047750"/>
              </a:xfrm>
              <a:custGeom>
                <a:avLst/>
                <a:gdLst/>
                <a:ahLst/>
                <a:cxnLst>
                  <a:cxn ang="0">
                    <a:pos x="322" y="427"/>
                  </a:cxn>
                  <a:cxn ang="0">
                    <a:pos x="291" y="409"/>
                  </a:cxn>
                  <a:cxn ang="0">
                    <a:pos x="275" y="377"/>
                  </a:cxn>
                  <a:cxn ang="0">
                    <a:pos x="255" y="348"/>
                  </a:cxn>
                  <a:cxn ang="0">
                    <a:pos x="193" y="265"/>
                  </a:cxn>
                  <a:cxn ang="0">
                    <a:pos x="108" y="258"/>
                  </a:cxn>
                  <a:cxn ang="0">
                    <a:pos x="86" y="262"/>
                  </a:cxn>
                  <a:cxn ang="0">
                    <a:pos x="59" y="241"/>
                  </a:cxn>
                  <a:cxn ang="0">
                    <a:pos x="43" y="222"/>
                  </a:cxn>
                  <a:cxn ang="0">
                    <a:pos x="74" y="207"/>
                  </a:cxn>
                  <a:cxn ang="0">
                    <a:pos x="7" y="194"/>
                  </a:cxn>
                  <a:cxn ang="0">
                    <a:pos x="53" y="165"/>
                  </a:cxn>
                  <a:cxn ang="0">
                    <a:pos x="100" y="133"/>
                  </a:cxn>
                  <a:cxn ang="0">
                    <a:pos x="110" y="103"/>
                  </a:cxn>
                  <a:cxn ang="0">
                    <a:pos x="157" y="71"/>
                  </a:cxn>
                  <a:cxn ang="0">
                    <a:pos x="232" y="52"/>
                  </a:cxn>
                  <a:cxn ang="0">
                    <a:pos x="270" y="59"/>
                  </a:cxn>
                  <a:cxn ang="0">
                    <a:pos x="305" y="55"/>
                  </a:cxn>
                  <a:cxn ang="0">
                    <a:pos x="361" y="60"/>
                  </a:cxn>
                  <a:cxn ang="0">
                    <a:pos x="363" y="35"/>
                  </a:cxn>
                  <a:cxn ang="0">
                    <a:pos x="396" y="17"/>
                  </a:cxn>
                  <a:cxn ang="0">
                    <a:pos x="470" y="14"/>
                  </a:cxn>
                  <a:cxn ang="0">
                    <a:pos x="549" y="0"/>
                  </a:cxn>
                  <a:cxn ang="0">
                    <a:pos x="614" y="0"/>
                  </a:cxn>
                  <a:cxn ang="0">
                    <a:pos x="700" y="29"/>
                  </a:cxn>
                  <a:cxn ang="0">
                    <a:pos x="683" y="55"/>
                  </a:cxn>
                  <a:cxn ang="0">
                    <a:pos x="655" y="59"/>
                  </a:cxn>
                  <a:cxn ang="0">
                    <a:pos x="666" y="81"/>
                  </a:cxn>
                  <a:cxn ang="0">
                    <a:pos x="710" y="95"/>
                  </a:cxn>
                  <a:cxn ang="0">
                    <a:pos x="750" y="74"/>
                  </a:cxn>
                  <a:cxn ang="0">
                    <a:pos x="805" y="66"/>
                  </a:cxn>
                  <a:cxn ang="0">
                    <a:pos x="870" y="76"/>
                  </a:cxn>
                  <a:cxn ang="0">
                    <a:pos x="812" y="109"/>
                  </a:cxn>
                  <a:cxn ang="0">
                    <a:pos x="795" y="131"/>
                  </a:cxn>
                  <a:cxn ang="0">
                    <a:pos x="747" y="182"/>
                  </a:cxn>
                  <a:cxn ang="0">
                    <a:pos x="769" y="207"/>
                  </a:cxn>
                  <a:cxn ang="0">
                    <a:pos x="764" y="232"/>
                  </a:cxn>
                  <a:cxn ang="0">
                    <a:pos x="769" y="270"/>
                  </a:cxn>
                  <a:cxn ang="0">
                    <a:pos x="767" y="296"/>
                  </a:cxn>
                  <a:cxn ang="0">
                    <a:pos x="741" y="330"/>
                  </a:cxn>
                  <a:cxn ang="0">
                    <a:pos x="721" y="337"/>
                  </a:cxn>
                  <a:cxn ang="0">
                    <a:pos x="700" y="348"/>
                  </a:cxn>
                  <a:cxn ang="0">
                    <a:pos x="735" y="385"/>
                  </a:cxn>
                  <a:cxn ang="0">
                    <a:pos x="698" y="389"/>
                  </a:cxn>
                  <a:cxn ang="0">
                    <a:pos x="674" y="404"/>
                  </a:cxn>
                  <a:cxn ang="0">
                    <a:pos x="724" y="420"/>
                  </a:cxn>
                  <a:cxn ang="0">
                    <a:pos x="673" y="456"/>
                  </a:cxn>
                  <a:cxn ang="0">
                    <a:pos x="587" y="476"/>
                  </a:cxn>
                  <a:cxn ang="0">
                    <a:pos x="518" y="526"/>
                  </a:cxn>
                  <a:cxn ang="0">
                    <a:pos x="464" y="542"/>
                  </a:cxn>
                  <a:cxn ang="0">
                    <a:pos x="464" y="575"/>
                  </a:cxn>
                  <a:cxn ang="0">
                    <a:pos x="434" y="635"/>
                  </a:cxn>
                  <a:cxn ang="0">
                    <a:pos x="406" y="659"/>
                  </a:cxn>
                  <a:cxn ang="0">
                    <a:pos x="353" y="633"/>
                  </a:cxn>
                  <a:cxn ang="0">
                    <a:pos x="310" y="573"/>
                  </a:cxn>
                  <a:cxn ang="0">
                    <a:pos x="289" y="537"/>
                  </a:cxn>
                  <a:cxn ang="0">
                    <a:pos x="272" y="504"/>
                  </a:cxn>
                </a:cxnLst>
                <a:rect l="0" t="0" r="r" b="b"/>
                <a:pathLst>
                  <a:path w="870" h="660">
                    <a:moveTo>
                      <a:pt x="292" y="463"/>
                    </a:moveTo>
                    <a:lnTo>
                      <a:pt x="299" y="459"/>
                    </a:lnTo>
                    <a:lnTo>
                      <a:pt x="306" y="463"/>
                    </a:lnTo>
                    <a:lnTo>
                      <a:pt x="308" y="451"/>
                    </a:lnTo>
                    <a:lnTo>
                      <a:pt x="313" y="444"/>
                    </a:lnTo>
                    <a:lnTo>
                      <a:pt x="317" y="435"/>
                    </a:lnTo>
                    <a:lnTo>
                      <a:pt x="322" y="427"/>
                    </a:lnTo>
                    <a:lnTo>
                      <a:pt x="306" y="421"/>
                    </a:lnTo>
                    <a:lnTo>
                      <a:pt x="289" y="418"/>
                    </a:lnTo>
                    <a:lnTo>
                      <a:pt x="274" y="413"/>
                    </a:lnTo>
                    <a:lnTo>
                      <a:pt x="267" y="406"/>
                    </a:lnTo>
                    <a:lnTo>
                      <a:pt x="272" y="404"/>
                    </a:lnTo>
                    <a:lnTo>
                      <a:pt x="277" y="406"/>
                    </a:lnTo>
                    <a:lnTo>
                      <a:pt x="291" y="409"/>
                    </a:lnTo>
                    <a:lnTo>
                      <a:pt x="306" y="413"/>
                    </a:lnTo>
                    <a:lnTo>
                      <a:pt x="310" y="409"/>
                    </a:lnTo>
                    <a:lnTo>
                      <a:pt x="311" y="406"/>
                    </a:lnTo>
                    <a:lnTo>
                      <a:pt x="299" y="397"/>
                    </a:lnTo>
                    <a:lnTo>
                      <a:pt x="292" y="389"/>
                    </a:lnTo>
                    <a:lnTo>
                      <a:pt x="286" y="380"/>
                    </a:lnTo>
                    <a:lnTo>
                      <a:pt x="275" y="377"/>
                    </a:lnTo>
                    <a:lnTo>
                      <a:pt x="268" y="380"/>
                    </a:lnTo>
                    <a:lnTo>
                      <a:pt x="262" y="385"/>
                    </a:lnTo>
                    <a:lnTo>
                      <a:pt x="251" y="384"/>
                    </a:lnTo>
                    <a:lnTo>
                      <a:pt x="248" y="377"/>
                    </a:lnTo>
                    <a:lnTo>
                      <a:pt x="253" y="365"/>
                    </a:lnTo>
                    <a:lnTo>
                      <a:pt x="260" y="354"/>
                    </a:lnTo>
                    <a:lnTo>
                      <a:pt x="255" y="348"/>
                    </a:lnTo>
                    <a:lnTo>
                      <a:pt x="248" y="346"/>
                    </a:lnTo>
                    <a:lnTo>
                      <a:pt x="248" y="339"/>
                    </a:lnTo>
                    <a:lnTo>
                      <a:pt x="239" y="322"/>
                    </a:lnTo>
                    <a:lnTo>
                      <a:pt x="231" y="305"/>
                    </a:lnTo>
                    <a:lnTo>
                      <a:pt x="220" y="289"/>
                    </a:lnTo>
                    <a:lnTo>
                      <a:pt x="210" y="277"/>
                    </a:lnTo>
                    <a:lnTo>
                      <a:pt x="193" y="265"/>
                    </a:lnTo>
                    <a:lnTo>
                      <a:pt x="177" y="258"/>
                    </a:lnTo>
                    <a:lnTo>
                      <a:pt x="160" y="251"/>
                    </a:lnTo>
                    <a:lnTo>
                      <a:pt x="141" y="251"/>
                    </a:lnTo>
                    <a:lnTo>
                      <a:pt x="131" y="251"/>
                    </a:lnTo>
                    <a:lnTo>
                      <a:pt x="126" y="251"/>
                    </a:lnTo>
                    <a:lnTo>
                      <a:pt x="117" y="255"/>
                    </a:lnTo>
                    <a:lnTo>
                      <a:pt x="108" y="258"/>
                    </a:lnTo>
                    <a:lnTo>
                      <a:pt x="102" y="255"/>
                    </a:lnTo>
                    <a:lnTo>
                      <a:pt x="95" y="253"/>
                    </a:lnTo>
                    <a:lnTo>
                      <a:pt x="86" y="253"/>
                    </a:lnTo>
                    <a:lnTo>
                      <a:pt x="84" y="256"/>
                    </a:lnTo>
                    <a:lnTo>
                      <a:pt x="86" y="258"/>
                    </a:lnTo>
                    <a:lnTo>
                      <a:pt x="90" y="260"/>
                    </a:lnTo>
                    <a:lnTo>
                      <a:pt x="86" y="262"/>
                    </a:lnTo>
                    <a:lnTo>
                      <a:pt x="83" y="262"/>
                    </a:lnTo>
                    <a:lnTo>
                      <a:pt x="72" y="260"/>
                    </a:lnTo>
                    <a:lnTo>
                      <a:pt x="64" y="258"/>
                    </a:lnTo>
                    <a:lnTo>
                      <a:pt x="53" y="253"/>
                    </a:lnTo>
                    <a:lnTo>
                      <a:pt x="50" y="250"/>
                    </a:lnTo>
                    <a:lnTo>
                      <a:pt x="53" y="244"/>
                    </a:lnTo>
                    <a:lnTo>
                      <a:pt x="59" y="241"/>
                    </a:lnTo>
                    <a:lnTo>
                      <a:pt x="48" y="234"/>
                    </a:lnTo>
                    <a:lnTo>
                      <a:pt x="40" y="232"/>
                    </a:lnTo>
                    <a:lnTo>
                      <a:pt x="29" y="232"/>
                    </a:lnTo>
                    <a:lnTo>
                      <a:pt x="21" y="232"/>
                    </a:lnTo>
                    <a:lnTo>
                      <a:pt x="28" y="224"/>
                    </a:lnTo>
                    <a:lnTo>
                      <a:pt x="36" y="222"/>
                    </a:lnTo>
                    <a:lnTo>
                      <a:pt x="43" y="222"/>
                    </a:lnTo>
                    <a:lnTo>
                      <a:pt x="50" y="222"/>
                    </a:lnTo>
                    <a:lnTo>
                      <a:pt x="53" y="220"/>
                    </a:lnTo>
                    <a:lnTo>
                      <a:pt x="59" y="219"/>
                    </a:lnTo>
                    <a:lnTo>
                      <a:pt x="88" y="219"/>
                    </a:lnTo>
                    <a:lnTo>
                      <a:pt x="91" y="212"/>
                    </a:lnTo>
                    <a:lnTo>
                      <a:pt x="95" y="207"/>
                    </a:lnTo>
                    <a:lnTo>
                      <a:pt x="74" y="207"/>
                    </a:lnTo>
                    <a:lnTo>
                      <a:pt x="71" y="210"/>
                    </a:lnTo>
                    <a:lnTo>
                      <a:pt x="69" y="212"/>
                    </a:lnTo>
                    <a:lnTo>
                      <a:pt x="59" y="212"/>
                    </a:lnTo>
                    <a:lnTo>
                      <a:pt x="50" y="212"/>
                    </a:lnTo>
                    <a:lnTo>
                      <a:pt x="40" y="208"/>
                    </a:lnTo>
                    <a:lnTo>
                      <a:pt x="24" y="203"/>
                    </a:lnTo>
                    <a:lnTo>
                      <a:pt x="7" y="194"/>
                    </a:lnTo>
                    <a:lnTo>
                      <a:pt x="0" y="189"/>
                    </a:lnTo>
                    <a:lnTo>
                      <a:pt x="2" y="181"/>
                    </a:lnTo>
                    <a:lnTo>
                      <a:pt x="9" y="177"/>
                    </a:lnTo>
                    <a:lnTo>
                      <a:pt x="19" y="177"/>
                    </a:lnTo>
                    <a:lnTo>
                      <a:pt x="29" y="177"/>
                    </a:lnTo>
                    <a:lnTo>
                      <a:pt x="40" y="170"/>
                    </a:lnTo>
                    <a:lnTo>
                      <a:pt x="53" y="165"/>
                    </a:lnTo>
                    <a:lnTo>
                      <a:pt x="64" y="162"/>
                    </a:lnTo>
                    <a:lnTo>
                      <a:pt x="74" y="164"/>
                    </a:lnTo>
                    <a:lnTo>
                      <a:pt x="84" y="162"/>
                    </a:lnTo>
                    <a:lnTo>
                      <a:pt x="96" y="162"/>
                    </a:lnTo>
                    <a:lnTo>
                      <a:pt x="105" y="150"/>
                    </a:lnTo>
                    <a:lnTo>
                      <a:pt x="110" y="134"/>
                    </a:lnTo>
                    <a:lnTo>
                      <a:pt x="100" y="133"/>
                    </a:lnTo>
                    <a:lnTo>
                      <a:pt x="88" y="131"/>
                    </a:lnTo>
                    <a:lnTo>
                      <a:pt x="76" y="129"/>
                    </a:lnTo>
                    <a:lnTo>
                      <a:pt x="72" y="124"/>
                    </a:lnTo>
                    <a:lnTo>
                      <a:pt x="76" y="117"/>
                    </a:lnTo>
                    <a:lnTo>
                      <a:pt x="83" y="117"/>
                    </a:lnTo>
                    <a:lnTo>
                      <a:pt x="95" y="110"/>
                    </a:lnTo>
                    <a:lnTo>
                      <a:pt x="110" y="103"/>
                    </a:lnTo>
                    <a:lnTo>
                      <a:pt x="122" y="95"/>
                    </a:lnTo>
                    <a:lnTo>
                      <a:pt x="133" y="88"/>
                    </a:lnTo>
                    <a:lnTo>
                      <a:pt x="138" y="91"/>
                    </a:lnTo>
                    <a:lnTo>
                      <a:pt x="146" y="93"/>
                    </a:lnTo>
                    <a:lnTo>
                      <a:pt x="153" y="88"/>
                    </a:lnTo>
                    <a:lnTo>
                      <a:pt x="155" y="79"/>
                    </a:lnTo>
                    <a:lnTo>
                      <a:pt x="157" y="71"/>
                    </a:lnTo>
                    <a:lnTo>
                      <a:pt x="165" y="67"/>
                    </a:lnTo>
                    <a:lnTo>
                      <a:pt x="177" y="64"/>
                    </a:lnTo>
                    <a:lnTo>
                      <a:pt x="189" y="62"/>
                    </a:lnTo>
                    <a:lnTo>
                      <a:pt x="200" y="60"/>
                    </a:lnTo>
                    <a:lnTo>
                      <a:pt x="213" y="60"/>
                    </a:lnTo>
                    <a:lnTo>
                      <a:pt x="222" y="55"/>
                    </a:lnTo>
                    <a:lnTo>
                      <a:pt x="232" y="52"/>
                    </a:lnTo>
                    <a:lnTo>
                      <a:pt x="241" y="48"/>
                    </a:lnTo>
                    <a:lnTo>
                      <a:pt x="251" y="48"/>
                    </a:lnTo>
                    <a:lnTo>
                      <a:pt x="256" y="50"/>
                    </a:lnTo>
                    <a:lnTo>
                      <a:pt x="262" y="55"/>
                    </a:lnTo>
                    <a:lnTo>
                      <a:pt x="265" y="60"/>
                    </a:lnTo>
                    <a:lnTo>
                      <a:pt x="272" y="64"/>
                    </a:lnTo>
                    <a:lnTo>
                      <a:pt x="270" y="59"/>
                    </a:lnTo>
                    <a:lnTo>
                      <a:pt x="270" y="53"/>
                    </a:lnTo>
                    <a:lnTo>
                      <a:pt x="275" y="48"/>
                    </a:lnTo>
                    <a:lnTo>
                      <a:pt x="284" y="55"/>
                    </a:lnTo>
                    <a:lnTo>
                      <a:pt x="299" y="60"/>
                    </a:lnTo>
                    <a:lnTo>
                      <a:pt x="303" y="60"/>
                    </a:lnTo>
                    <a:lnTo>
                      <a:pt x="306" y="60"/>
                    </a:lnTo>
                    <a:lnTo>
                      <a:pt x="305" y="55"/>
                    </a:lnTo>
                    <a:lnTo>
                      <a:pt x="303" y="50"/>
                    </a:lnTo>
                    <a:lnTo>
                      <a:pt x="306" y="43"/>
                    </a:lnTo>
                    <a:lnTo>
                      <a:pt x="315" y="43"/>
                    </a:lnTo>
                    <a:lnTo>
                      <a:pt x="329" y="43"/>
                    </a:lnTo>
                    <a:lnTo>
                      <a:pt x="341" y="48"/>
                    </a:lnTo>
                    <a:lnTo>
                      <a:pt x="351" y="53"/>
                    </a:lnTo>
                    <a:lnTo>
                      <a:pt x="361" y="60"/>
                    </a:lnTo>
                    <a:lnTo>
                      <a:pt x="384" y="60"/>
                    </a:lnTo>
                    <a:lnTo>
                      <a:pt x="373" y="55"/>
                    </a:lnTo>
                    <a:lnTo>
                      <a:pt x="365" y="52"/>
                    </a:lnTo>
                    <a:lnTo>
                      <a:pt x="356" y="45"/>
                    </a:lnTo>
                    <a:lnTo>
                      <a:pt x="354" y="40"/>
                    </a:lnTo>
                    <a:lnTo>
                      <a:pt x="356" y="35"/>
                    </a:lnTo>
                    <a:lnTo>
                      <a:pt x="363" y="35"/>
                    </a:lnTo>
                    <a:lnTo>
                      <a:pt x="370" y="35"/>
                    </a:lnTo>
                    <a:lnTo>
                      <a:pt x="375" y="35"/>
                    </a:lnTo>
                    <a:lnTo>
                      <a:pt x="370" y="31"/>
                    </a:lnTo>
                    <a:lnTo>
                      <a:pt x="365" y="28"/>
                    </a:lnTo>
                    <a:lnTo>
                      <a:pt x="375" y="23"/>
                    </a:lnTo>
                    <a:lnTo>
                      <a:pt x="385" y="19"/>
                    </a:lnTo>
                    <a:lnTo>
                      <a:pt x="396" y="17"/>
                    </a:lnTo>
                    <a:lnTo>
                      <a:pt x="408" y="17"/>
                    </a:lnTo>
                    <a:lnTo>
                      <a:pt x="423" y="16"/>
                    </a:lnTo>
                    <a:lnTo>
                      <a:pt x="440" y="21"/>
                    </a:lnTo>
                    <a:lnTo>
                      <a:pt x="451" y="21"/>
                    </a:lnTo>
                    <a:lnTo>
                      <a:pt x="451" y="14"/>
                    </a:lnTo>
                    <a:lnTo>
                      <a:pt x="459" y="14"/>
                    </a:lnTo>
                    <a:lnTo>
                      <a:pt x="470" y="14"/>
                    </a:lnTo>
                    <a:lnTo>
                      <a:pt x="487" y="11"/>
                    </a:lnTo>
                    <a:lnTo>
                      <a:pt x="504" y="7"/>
                    </a:lnTo>
                    <a:lnTo>
                      <a:pt x="511" y="4"/>
                    </a:lnTo>
                    <a:lnTo>
                      <a:pt x="521" y="2"/>
                    </a:lnTo>
                    <a:lnTo>
                      <a:pt x="530" y="0"/>
                    </a:lnTo>
                    <a:lnTo>
                      <a:pt x="540" y="0"/>
                    </a:lnTo>
                    <a:lnTo>
                      <a:pt x="549" y="0"/>
                    </a:lnTo>
                    <a:lnTo>
                      <a:pt x="559" y="0"/>
                    </a:lnTo>
                    <a:lnTo>
                      <a:pt x="568" y="0"/>
                    </a:lnTo>
                    <a:lnTo>
                      <a:pt x="578" y="0"/>
                    </a:lnTo>
                    <a:lnTo>
                      <a:pt x="585" y="0"/>
                    </a:lnTo>
                    <a:lnTo>
                      <a:pt x="595" y="0"/>
                    </a:lnTo>
                    <a:lnTo>
                      <a:pt x="604" y="0"/>
                    </a:lnTo>
                    <a:lnTo>
                      <a:pt x="614" y="0"/>
                    </a:lnTo>
                    <a:lnTo>
                      <a:pt x="623" y="0"/>
                    </a:lnTo>
                    <a:lnTo>
                      <a:pt x="633" y="2"/>
                    </a:lnTo>
                    <a:lnTo>
                      <a:pt x="643" y="5"/>
                    </a:lnTo>
                    <a:lnTo>
                      <a:pt x="654" y="11"/>
                    </a:lnTo>
                    <a:lnTo>
                      <a:pt x="671" y="19"/>
                    </a:lnTo>
                    <a:lnTo>
                      <a:pt x="690" y="29"/>
                    </a:lnTo>
                    <a:lnTo>
                      <a:pt x="700" y="29"/>
                    </a:lnTo>
                    <a:lnTo>
                      <a:pt x="712" y="31"/>
                    </a:lnTo>
                    <a:lnTo>
                      <a:pt x="722" y="33"/>
                    </a:lnTo>
                    <a:lnTo>
                      <a:pt x="735" y="35"/>
                    </a:lnTo>
                    <a:lnTo>
                      <a:pt x="726" y="43"/>
                    </a:lnTo>
                    <a:lnTo>
                      <a:pt x="712" y="48"/>
                    </a:lnTo>
                    <a:lnTo>
                      <a:pt x="695" y="52"/>
                    </a:lnTo>
                    <a:lnTo>
                      <a:pt x="683" y="55"/>
                    </a:lnTo>
                    <a:lnTo>
                      <a:pt x="571" y="60"/>
                    </a:lnTo>
                    <a:lnTo>
                      <a:pt x="576" y="60"/>
                    </a:lnTo>
                    <a:lnTo>
                      <a:pt x="588" y="62"/>
                    </a:lnTo>
                    <a:lnTo>
                      <a:pt x="604" y="60"/>
                    </a:lnTo>
                    <a:lnTo>
                      <a:pt x="623" y="60"/>
                    </a:lnTo>
                    <a:lnTo>
                      <a:pt x="638" y="59"/>
                    </a:lnTo>
                    <a:lnTo>
                      <a:pt x="655" y="59"/>
                    </a:lnTo>
                    <a:lnTo>
                      <a:pt x="666" y="59"/>
                    </a:lnTo>
                    <a:lnTo>
                      <a:pt x="674" y="60"/>
                    </a:lnTo>
                    <a:lnTo>
                      <a:pt x="669" y="66"/>
                    </a:lnTo>
                    <a:lnTo>
                      <a:pt x="662" y="74"/>
                    </a:lnTo>
                    <a:lnTo>
                      <a:pt x="655" y="83"/>
                    </a:lnTo>
                    <a:lnTo>
                      <a:pt x="655" y="86"/>
                    </a:lnTo>
                    <a:lnTo>
                      <a:pt x="666" y="81"/>
                    </a:lnTo>
                    <a:lnTo>
                      <a:pt x="683" y="71"/>
                    </a:lnTo>
                    <a:lnTo>
                      <a:pt x="700" y="60"/>
                    </a:lnTo>
                    <a:lnTo>
                      <a:pt x="716" y="57"/>
                    </a:lnTo>
                    <a:lnTo>
                      <a:pt x="724" y="62"/>
                    </a:lnTo>
                    <a:lnTo>
                      <a:pt x="728" y="72"/>
                    </a:lnTo>
                    <a:lnTo>
                      <a:pt x="721" y="79"/>
                    </a:lnTo>
                    <a:lnTo>
                      <a:pt x="710" y="95"/>
                    </a:lnTo>
                    <a:lnTo>
                      <a:pt x="698" y="107"/>
                    </a:lnTo>
                    <a:lnTo>
                      <a:pt x="693" y="117"/>
                    </a:lnTo>
                    <a:lnTo>
                      <a:pt x="704" y="109"/>
                    </a:lnTo>
                    <a:lnTo>
                      <a:pt x="719" y="95"/>
                    </a:lnTo>
                    <a:lnTo>
                      <a:pt x="731" y="81"/>
                    </a:lnTo>
                    <a:lnTo>
                      <a:pt x="741" y="74"/>
                    </a:lnTo>
                    <a:lnTo>
                      <a:pt x="750" y="74"/>
                    </a:lnTo>
                    <a:lnTo>
                      <a:pt x="762" y="74"/>
                    </a:lnTo>
                    <a:lnTo>
                      <a:pt x="771" y="74"/>
                    </a:lnTo>
                    <a:lnTo>
                      <a:pt x="774" y="74"/>
                    </a:lnTo>
                    <a:lnTo>
                      <a:pt x="779" y="74"/>
                    </a:lnTo>
                    <a:lnTo>
                      <a:pt x="786" y="76"/>
                    </a:lnTo>
                    <a:lnTo>
                      <a:pt x="795" y="69"/>
                    </a:lnTo>
                    <a:lnTo>
                      <a:pt x="805" y="66"/>
                    </a:lnTo>
                    <a:lnTo>
                      <a:pt x="829" y="66"/>
                    </a:lnTo>
                    <a:lnTo>
                      <a:pt x="833" y="59"/>
                    </a:lnTo>
                    <a:lnTo>
                      <a:pt x="839" y="59"/>
                    </a:lnTo>
                    <a:lnTo>
                      <a:pt x="846" y="59"/>
                    </a:lnTo>
                    <a:lnTo>
                      <a:pt x="857" y="64"/>
                    </a:lnTo>
                    <a:lnTo>
                      <a:pt x="865" y="69"/>
                    </a:lnTo>
                    <a:lnTo>
                      <a:pt x="870" y="76"/>
                    </a:lnTo>
                    <a:lnTo>
                      <a:pt x="864" y="83"/>
                    </a:lnTo>
                    <a:lnTo>
                      <a:pt x="858" y="88"/>
                    </a:lnTo>
                    <a:lnTo>
                      <a:pt x="846" y="91"/>
                    </a:lnTo>
                    <a:lnTo>
                      <a:pt x="834" y="100"/>
                    </a:lnTo>
                    <a:lnTo>
                      <a:pt x="822" y="105"/>
                    </a:lnTo>
                    <a:lnTo>
                      <a:pt x="807" y="109"/>
                    </a:lnTo>
                    <a:lnTo>
                      <a:pt x="812" y="109"/>
                    </a:lnTo>
                    <a:lnTo>
                      <a:pt x="817" y="109"/>
                    </a:lnTo>
                    <a:lnTo>
                      <a:pt x="814" y="115"/>
                    </a:lnTo>
                    <a:lnTo>
                      <a:pt x="808" y="121"/>
                    </a:lnTo>
                    <a:lnTo>
                      <a:pt x="800" y="122"/>
                    </a:lnTo>
                    <a:lnTo>
                      <a:pt x="795" y="124"/>
                    </a:lnTo>
                    <a:lnTo>
                      <a:pt x="795" y="127"/>
                    </a:lnTo>
                    <a:lnTo>
                      <a:pt x="795" y="131"/>
                    </a:lnTo>
                    <a:lnTo>
                      <a:pt x="786" y="139"/>
                    </a:lnTo>
                    <a:lnTo>
                      <a:pt x="772" y="143"/>
                    </a:lnTo>
                    <a:lnTo>
                      <a:pt x="772" y="148"/>
                    </a:lnTo>
                    <a:lnTo>
                      <a:pt x="772" y="152"/>
                    </a:lnTo>
                    <a:lnTo>
                      <a:pt x="765" y="162"/>
                    </a:lnTo>
                    <a:lnTo>
                      <a:pt x="752" y="172"/>
                    </a:lnTo>
                    <a:lnTo>
                      <a:pt x="747" y="182"/>
                    </a:lnTo>
                    <a:lnTo>
                      <a:pt x="743" y="194"/>
                    </a:lnTo>
                    <a:lnTo>
                      <a:pt x="750" y="194"/>
                    </a:lnTo>
                    <a:lnTo>
                      <a:pt x="759" y="194"/>
                    </a:lnTo>
                    <a:lnTo>
                      <a:pt x="769" y="196"/>
                    </a:lnTo>
                    <a:lnTo>
                      <a:pt x="779" y="203"/>
                    </a:lnTo>
                    <a:lnTo>
                      <a:pt x="774" y="205"/>
                    </a:lnTo>
                    <a:lnTo>
                      <a:pt x="769" y="207"/>
                    </a:lnTo>
                    <a:lnTo>
                      <a:pt x="772" y="210"/>
                    </a:lnTo>
                    <a:lnTo>
                      <a:pt x="781" y="213"/>
                    </a:lnTo>
                    <a:lnTo>
                      <a:pt x="788" y="217"/>
                    </a:lnTo>
                    <a:lnTo>
                      <a:pt x="791" y="225"/>
                    </a:lnTo>
                    <a:lnTo>
                      <a:pt x="786" y="231"/>
                    </a:lnTo>
                    <a:lnTo>
                      <a:pt x="776" y="232"/>
                    </a:lnTo>
                    <a:lnTo>
                      <a:pt x="764" y="232"/>
                    </a:lnTo>
                    <a:lnTo>
                      <a:pt x="755" y="232"/>
                    </a:lnTo>
                    <a:lnTo>
                      <a:pt x="748" y="234"/>
                    </a:lnTo>
                    <a:lnTo>
                      <a:pt x="747" y="239"/>
                    </a:lnTo>
                    <a:lnTo>
                      <a:pt x="752" y="246"/>
                    </a:lnTo>
                    <a:lnTo>
                      <a:pt x="762" y="248"/>
                    </a:lnTo>
                    <a:lnTo>
                      <a:pt x="765" y="260"/>
                    </a:lnTo>
                    <a:lnTo>
                      <a:pt x="769" y="270"/>
                    </a:lnTo>
                    <a:lnTo>
                      <a:pt x="767" y="275"/>
                    </a:lnTo>
                    <a:lnTo>
                      <a:pt x="769" y="280"/>
                    </a:lnTo>
                    <a:lnTo>
                      <a:pt x="759" y="280"/>
                    </a:lnTo>
                    <a:lnTo>
                      <a:pt x="753" y="287"/>
                    </a:lnTo>
                    <a:lnTo>
                      <a:pt x="755" y="291"/>
                    </a:lnTo>
                    <a:lnTo>
                      <a:pt x="760" y="294"/>
                    </a:lnTo>
                    <a:lnTo>
                      <a:pt x="767" y="296"/>
                    </a:lnTo>
                    <a:lnTo>
                      <a:pt x="774" y="298"/>
                    </a:lnTo>
                    <a:lnTo>
                      <a:pt x="764" y="306"/>
                    </a:lnTo>
                    <a:lnTo>
                      <a:pt x="752" y="311"/>
                    </a:lnTo>
                    <a:lnTo>
                      <a:pt x="752" y="315"/>
                    </a:lnTo>
                    <a:lnTo>
                      <a:pt x="755" y="320"/>
                    </a:lnTo>
                    <a:lnTo>
                      <a:pt x="748" y="327"/>
                    </a:lnTo>
                    <a:lnTo>
                      <a:pt x="741" y="330"/>
                    </a:lnTo>
                    <a:lnTo>
                      <a:pt x="733" y="332"/>
                    </a:lnTo>
                    <a:lnTo>
                      <a:pt x="728" y="339"/>
                    </a:lnTo>
                    <a:lnTo>
                      <a:pt x="719" y="332"/>
                    </a:lnTo>
                    <a:lnTo>
                      <a:pt x="712" y="327"/>
                    </a:lnTo>
                    <a:lnTo>
                      <a:pt x="705" y="327"/>
                    </a:lnTo>
                    <a:lnTo>
                      <a:pt x="710" y="334"/>
                    </a:lnTo>
                    <a:lnTo>
                      <a:pt x="721" y="337"/>
                    </a:lnTo>
                    <a:lnTo>
                      <a:pt x="728" y="341"/>
                    </a:lnTo>
                    <a:lnTo>
                      <a:pt x="733" y="349"/>
                    </a:lnTo>
                    <a:lnTo>
                      <a:pt x="731" y="360"/>
                    </a:lnTo>
                    <a:lnTo>
                      <a:pt x="726" y="365"/>
                    </a:lnTo>
                    <a:lnTo>
                      <a:pt x="717" y="361"/>
                    </a:lnTo>
                    <a:lnTo>
                      <a:pt x="709" y="356"/>
                    </a:lnTo>
                    <a:lnTo>
                      <a:pt x="700" y="348"/>
                    </a:lnTo>
                    <a:lnTo>
                      <a:pt x="697" y="341"/>
                    </a:lnTo>
                    <a:lnTo>
                      <a:pt x="692" y="341"/>
                    </a:lnTo>
                    <a:lnTo>
                      <a:pt x="692" y="349"/>
                    </a:lnTo>
                    <a:lnTo>
                      <a:pt x="705" y="360"/>
                    </a:lnTo>
                    <a:lnTo>
                      <a:pt x="722" y="372"/>
                    </a:lnTo>
                    <a:lnTo>
                      <a:pt x="728" y="377"/>
                    </a:lnTo>
                    <a:lnTo>
                      <a:pt x="735" y="385"/>
                    </a:lnTo>
                    <a:lnTo>
                      <a:pt x="738" y="392"/>
                    </a:lnTo>
                    <a:lnTo>
                      <a:pt x="741" y="404"/>
                    </a:lnTo>
                    <a:lnTo>
                      <a:pt x="736" y="409"/>
                    </a:lnTo>
                    <a:lnTo>
                      <a:pt x="728" y="411"/>
                    </a:lnTo>
                    <a:lnTo>
                      <a:pt x="714" y="406"/>
                    </a:lnTo>
                    <a:lnTo>
                      <a:pt x="705" y="397"/>
                    </a:lnTo>
                    <a:lnTo>
                      <a:pt x="698" y="389"/>
                    </a:lnTo>
                    <a:lnTo>
                      <a:pt x="688" y="385"/>
                    </a:lnTo>
                    <a:lnTo>
                      <a:pt x="685" y="385"/>
                    </a:lnTo>
                    <a:lnTo>
                      <a:pt x="681" y="385"/>
                    </a:lnTo>
                    <a:lnTo>
                      <a:pt x="683" y="392"/>
                    </a:lnTo>
                    <a:lnTo>
                      <a:pt x="686" y="397"/>
                    </a:lnTo>
                    <a:lnTo>
                      <a:pt x="681" y="403"/>
                    </a:lnTo>
                    <a:lnTo>
                      <a:pt x="674" y="404"/>
                    </a:lnTo>
                    <a:lnTo>
                      <a:pt x="674" y="408"/>
                    </a:lnTo>
                    <a:lnTo>
                      <a:pt x="681" y="411"/>
                    </a:lnTo>
                    <a:lnTo>
                      <a:pt x="688" y="413"/>
                    </a:lnTo>
                    <a:lnTo>
                      <a:pt x="698" y="416"/>
                    </a:lnTo>
                    <a:lnTo>
                      <a:pt x="707" y="416"/>
                    </a:lnTo>
                    <a:lnTo>
                      <a:pt x="717" y="418"/>
                    </a:lnTo>
                    <a:lnTo>
                      <a:pt x="724" y="420"/>
                    </a:lnTo>
                    <a:lnTo>
                      <a:pt x="731" y="421"/>
                    </a:lnTo>
                    <a:lnTo>
                      <a:pt x="719" y="427"/>
                    </a:lnTo>
                    <a:lnTo>
                      <a:pt x="709" y="432"/>
                    </a:lnTo>
                    <a:lnTo>
                      <a:pt x="697" y="435"/>
                    </a:lnTo>
                    <a:lnTo>
                      <a:pt x="688" y="444"/>
                    </a:lnTo>
                    <a:lnTo>
                      <a:pt x="679" y="449"/>
                    </a:lnTo>
                    <a:lnTo>
                      <a:pt x="673" y="456"/>
                    </a:lnTo>
                    <a:lnTo>
                      <a:pt x="657" y="458"/>
                    </a:lnTo>
                    <a:lnTo>
                      <a:pt x="645" y="459"/>
                    </a:lnTo>
                    <a:lnTo>
                      <a:pt x="633" y="461"/>
                    </a:lnTo>
                    <a:lnTo>
                      <a:pt x="619" y="468"/>
                    </a:lnTo>
                    <a:lnTo>
                      <a:pt x="597" y="468"/>
                    </a:lnTo>
                    <a:lnTo>
                      <a:pt x="588" y="471"/>
                    </a:lnTo>
                    <a:lnTo>
                      <a:pt x="587" y="476"/>
                    </a:lnTo>
                    <a:lnTo>
                      <a:pt x="573" y="485"/>
                    </a:lnTo>
                    <a:lnTo>
                      <a:pt x="563" y="497"/>
                    </a:lnTo>
                    <a:lnTo>
                      <a:pt x="556" y="511"/>
                    </a:lnTo>
                    <a:lnTo>
                      <a:pt x="545" y="516"/>
                    </a:lnTo>
                    <a:lnTo>
                      <a:pt x="537" y="518"/>
                    </a:lnTo>
                    <a:lnTo>
                      <a:pt x="526" y="519"/>
                    </a:lnTo>
                    <a:lnTo>
                      <a:pt x="518" y="526"/>
                    </a:lnTo>
                    <a:lnTo>
                      <a:pt x="509" y="526"/>
                    </a:lnTo>
                    <a:lnTo>
                      <a:pt x="509" y="516"/>
                    </a:lnTo>
                    <a:lnTo>
                      <a:pt x="502" y="521"/>
                    </a:lnTo>
                    <a:lnTo>
                      <a:pt x="499" y="528"/>
                    </a:lnTo>
                    <a:lnTo>
                      <a:pt x="487" y="533"/>
                    </a:lnTo>
                    <a:lnTo>
                      <a:pt x="475" y="537"/>
                    </a:lnTo>
                    <a:lnTo>
                      <a:pt x="464" y="542"/>
                    </a:lnTo>
                    <a:lnTo>
                      <a:pt x="461" y="552"/>
                    </a:lnTo>
                    <a:lnTo>
                      <a:pt x="461" y="554"/>
                    </a:lnTo>
                    <a:lnTo>
                      <a:pt x="463" y="557"/>
                    </a:lnTo>
                    <a:lnTo>
                      <a:pt x="459" y="559"/>
                    </a:lnTo>
                    <a:lnTo>
                      <a:pt x="459" y="562"/>
                    </a:lnTo>
                    <a:lnTo>
                      <a:pt x="461" y="568"/>
                    </a:lnTo>
                    <a:lnTo>
                      <a:pt x="464" y="575"/>
                    </a:lnTo>
                    <a:lnTo>
                      <a:pt x="459" y="583"/>
                    </a:lnTo>
                    <a:lnTo>
                      <a:pt x="452" y="588"/>
                    </a:lnTo>
                    <a:lnTo>
                      <a:pt x="444" y="592"/>
                    </a:lnTo>
                    <a:lnTo>
                      <a:pt x="442" y="600"/>
                    </a:lnTo>
                    <a:lnTo>
                      <a:pt x="440" y="616"/>
                    </a:lnTo>
                    <a:lnTo>
                      <a:pt x="442" y="628"/>
                    </a:lnTo>
                    <a:lnTo>
                      <a:pt x="434" y="635"/>
                    </a:lnTo>
                    <a:lnTo>
                      <a:pt x="432" y="647"/>
                    </a:lnTo>
                    <a:lnTo>
                      <a:pt x="428" y="655"/>
                    </a:lnTo>
                    <a:lnTo>
                      <a:pt x="421" y="660"/>
                    </a:lnTo>
                    <a:lnTo>
                      <a:pt x="416" y="659"/>
                    </a:lnTo>
                    <a:lnTo>
                      <a:pt x="416" y="655"/>
                    </a:lnTo>
                    <a:lnTo>
                      <a:pt x="409" y="657"/>
                    </a:lnTo>
                    <a:lnTo>
                      <a:pt x="406" y="659"/>
                    </a:lnTo>
                    <a:lnTo>
                      <a:pt x="397" y="654"/>
                    </a:lnTo>
                    <a:lnTo>
                      <a:pt x="392" y="647"/>
                    </a:lnTo>
                    <a:lnTo>
                      <a:pt x="387" y="638"/>
                    </a:lnTo>
                    <a:lnTo>
                      <a:pt x="382" y="636"/>
                    </a:lnTo>
                    <a:lnTo>
                      <a:pt x="370" y="638"/>
                    </a:lnTo>
                    <a:lnTo>
                      <a:pt x="360" y="643"/>
                    </a:lnTo>
                    <a:lnTo>
                      <a:pt x="353" y="633"/>
                    </a:lnTo>
                    <a:lnTo>
                      <a:pt x="344" y="628"/>
                    </a:lnTo>
                    <a:lnTo>
                      <a:pt x="341" y="623"/>
                    </a:lnTo>
                    <a:lnTo>
                      <a:pt x="341" y="619"/>
                    </a:lnTo>
                    <a:lnTo>
                      <a:pt x="330" y="609"/>
                    </a:lnTo>
                    <a:lnTo>
                      <a:pt x="320" y="599"/>
                    </a:lnTo>
                    <a:lnTo>
                      <a:pt x="311" y="585"/>
                    </a:lnTo>
                    <a:lnTo>
                      <a:pt x="310" y="573"/>
                    </a:lnTo>
                    <a:lnTo>
                      <a:pt x="311" y="566"/>
                    </a:lnTo>
                    <a:lnTo>
                      <a:pt x="318" y="562"/>
                    </a:lnTo>
                    <a:lnTo>
                      <a:pt x="308" y="559"/>
                    </a:lnTo>
                    <a:lnTo>
                      <a:pt x="299" y="562"/>
                    </a:lnTo>
                    <a:lnTo>
                      <a:pt x="296" y="554"/>
                    </a:lnTo>
                    <a:lnTo>
                      <a:pt x="294" y="545"/>
                    </a:lnTo>
                    <a:lnTo>
                      <a:pt x="289" y="537"/>
                    </a:lnTo>
                    <a:lnTo>
                      <a:pt x="284" y="532"/>
                    </a:lnTo>
                    <a:lnTo>
                      <a:pt x="279" y="523"/>
                    </a:lnTo>
                    <a:lnTo>
                      <a:pt x="277" y="516"/>
                    </a:lnTo>
                    <a:lnTo>
                      <a:pt x="279" y="509"/>
                    </a:lnTo>
                    <a:lnTo>
                      <a:pt x="282" y="504"/>
                    </a:lnTo>
                    <a:lnTo>
                      <a:pt x="277" y="501"/>
                    </a:lnTo>
                    <a:lnTo>
                      <a:pt x="272" y="504"/>
                    </a:lnTo>
                    <a:lnTo>
                      <a:pt x="272" y="492"/>
                    </a:lnTo>
                    <a:lnTo>
                      <a:pt x="280" y="476"/>
                    </a:lnTo>
                    <a:lnTo>
                      <a:pt x="292" y="464"/>
                    </a:lnTo>
                    <a:lnTo>
                      <a:pt x="292" y="46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7" name="Freeform 337"/>
              <p:cNvSpPr>
                <a:spLocks/>
              </p:cNvSpPr>
              <p:nvPr/>
            </p:nvSpPr>
            <p:spPr bwMode="auto">
              <a:xfrm>
                <a:off x="3056732" y="2052638"/>
                <a:ext cx="68263" cy="44450"/>
              </a:xfrm>
              <a:custGeom>
                <a:avLst/>
                <a:gdLst/>
                <a:ahLst/>
                <a:cxnLst>
                  <a:cxn ang="0">
                    <a:pos x="10" y="28"/>
                  </a:cxn>
                  <a:cxn ang="0">
                    <a:pos x="4" y="21"/>
                  </a:cxn>
                  <a:cxn ang="0">
                    <a:pos x="0" y="9"/>
                  </a:cxn>
                  <a:cxn ang="0">
                    <a:pos x="4" y="2"/>
                  </a:cxn>
                  <a:cxn ang="0">
                    <a:pos x="12" y="0"/>
                  </a:cxn>
                  <a:cxn ang="0">
                    <a:pos x="19" y="2"/>
                  </a:cxn>
                  <a:cxn ang="0">
                    <a:pos x="26" y="7"/>
                  </a:cxn>
                  <a:cxn ang="0">
                    <a:pos x="33" y="12"/>
                  </a:cxn>
                  <a:cxn ang="0">
                    <a:pos x="43" y="18"/>
                  </a:cxn>
                  <a:cxn ang="0">
                    <a:pos x="34" y="24"/>
                  </a:cxn>
                  <a:cxn ang="0">
                    <a:pos x="22" y="28"/>
                  </a:cxn>
                  <a:cxn ang="0">
                    <a:pos x="10" y="28"/>
                  </a:cxn>
                </a:cxnLst>
                <a:rect l="0" t="0" r="r" b="b"/>
                <a:pathLst>
                  <a:path w="43" h="28">
                    <a:moveTo>
                      <a:pt x="10" y="28"/>
                    </a:moveTo>
                    <a:lnTo>
                      <a:pt x="4" y="21"/>
                    </a:lnTo>
                    <a:lnTo>
                      <a:pt x="0" y="9"/>
                    </a:lnTo>
                    <a:lnTo>
                      <a:pt x="4" y="2"/>
                    </a:lnTo>
                    <a:lnTo>
                      <a:pt x="12" y="0"/>
                    </a:lnTo>
                    <a:lnTo>
                      <a:pt x="19" y="2"/>
                    </a:lnTo>
                    <a:lnTo>
                      <a:pt x="26" y="7"/>
                    </a:lnTo>
                    <a:lnTo>
                      <a:pt x="33" y="12"/>
                    </a:lnTo>
                    <a:lnTo>
                      <a:pt x="43" y="18"/>
                    </a:lnTo>
                    <a:lnTo>
                      <a:pt x="34" y="24"/>
                    </a:lnTo>
                    <a:lnTo>
                      <a:pt x="22" y="28"/>
                    </a:lnTo>
                    <a:lnTo>
                      <a:pt x="10"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8" name="Freeform 338"/>
              <p:cNvSpPr>
                <a:spLocks/>
              </p:cNvSpPr>
              <p:nvPr/>
            </p:nvSpPr>
            <p:spPr bwMode="auto">
              <a:xfrm>
                <a:off x="3882232" y="1827213"/>
                <a:ext cx="34925" cy="20637"/>
              </a:xfrm>
              <a:custGeom>
                <a:avLst/>
                <a:gdLst/>
                <a:ahLst/>
                <a:cxnLst>
                  <a:cxn ang="0">
                    <a:pos x="6" y="13"/>
                  </a:cxn>
                  <a:cxn ang="0">
                    <a:pos x="1" y="10"/>
                  </a:cxn>
                  <a:cxn ang="0">
                    <a:pos x="0" y="6"/>
                  </a:cxn>
                  <a:cxn ang="0">
                    <a:pos x="1" y="1"/>
                  </a:cxn>
                  <a:cxn ang="0">
                    <a:pos x="5" y="0"/>
                  </a:cxn>
                  <a:cxn ang="0">
                    <a:pos x="13" y="0"/>
                  </a:cxn>
                  <a:cxn ang="0">
                    <a:pos x="13" y="3"/>
                  </a:cxn>
                  <a:cxn ang="0">
                    <a:pos x="13" y="6"/>
                  </a:cxn>
                  <a:cxn ang="0">
                    <a:pos x="22" y="6"/>
                  </a:cxn>
                  <a:cxn ang="0">
                    <a:pos x="15" y="10"/>
                  </a:cxn>
                  <a:cxn ang="0">
                    <a:pos x="6" y="13"/>
                  </a:cxn>
                </a:cxnLst>
                <a:rect l="0" t="0" r="r" b="b"/>
                <a:pathLst>
                  <a:path w="22" h="13">
                    <a:moveTo>
                      <a:pt x="6" y="13"/>
                    </a:moveTo>
                    <a:lnTo>
                      <a:pt x="1" y="10"/>
                    </a:lnTo>
                    <a:lnTo>
                      <a:pt x="0" y="6"/>
                    </a:lnTo>
                    <a:lnTo>
                      <a:pt x="1" y="1"/>
                    </a:lnTo>
                    <a:lnTo>
                      <a:pt x="5" y="0"/>
                    </a:lnTo>
                    <a:lnTo>
                      <a:pt x="13" y="0"/>
                    </a:lnTo>
                    <a:lnTo>
                      <a:pt x="13" y="3"/>
                    </a:lnTo>
                    <a:lnTo>
                      <a:pt x="13" y="6"/>
                    </a:lnTo>
                    <a:lnTo>
                      <a:pt x="22" y="6"/>
                    </a:lnTo>
                    <a:lnTo>
                      <a:pt x="15" y="10"/>
                    </a:lnTo>
                    <a:lnTo>
                      <a:pt x="6"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9" name="Freeform 339"/>
              <p:cNvSpPr>
                <a:spLocks/>
              </p:cNvSpPr>
              <p:nvPr/>
            </p:nvSpPr>
            <p:spPr bwMode="auto">
              <a:xfrm>
                <a:off x="2958307" y="2716213"/>
                <a:ext cx="150813" cy="147637"/>
              </a:xfrm>
              <a:custGeom>
                <a:avLst/>
                <a:gdLst/>
                <a:ahLst/>
                <a:cxnLst>
                  <a:cxn ang="0">
                    <a:pos x="2" y="74"/>
                  </a:cxn>
                  <a:cxn ang="0">
                    <a:pos x="4" y="67"/>
                  </a:cxn>
                  <a:cxn ang="0">
                    <a:pos x="9" y="60"/>
                  </a:cxn>
                  <a:cxn ang="0">
                    <a:pos x="5" y="59"/>
                  </a:cxn>
                  <a:cxn ang="0">
                    <a:pos x="21" y="38"/>
                  </a:cxn>
                  <a:cxn ang="0">
                    <a:pos x="33" y="16"/>
                  </a:cxn>
                  <a:cxn ang="0">
                    <a:pos x="48" y="0"/>
                  </a:cxn>
                  <a:cxn ang="0">
                    <a:pos x="52" y="5"/>
                  </a:cxn>
                  <a:cxn ang="0">
                    <a:pos x="38" y="31"/>
                  </a:cxn>
                  <a:cxn ang="0">
                    <a:pos x="41" y="35"/>
                  </a:cxn>
                  <a:cxn ang="0">
                    <a:pos x="48" y="33"/>
                  </a:cxn>
                  <a:cxn ang="0">
                    <a:pos x="52" y="38"/>
                  </a:cxn>
                  <a:cxn ang="0">
                    <a:pos x="60" y="41"/>
                  </a:cxn>
                  <a:cxn ang="0">
                    <a:pos x="60" y="45"/>
                  </a:cxn>
                  <a:cxn ang="0">
                    <a:pos x="74" y="43"/>
                  </a:cxn>
                  <a:cxn ang="0">
                    <a:pos x="81" y="48"/>
                  </a:cxn>
                  <a:cxn ang="0">
                    <a:pos x="83" y="59"/>
                  </a:cxn>
                  <a:cxn ang="0">
                    <a:pos x="83" y="62"/>
                  </a:cxn>
                  <a:cxn ang="0">
                    <a:pos x="83" y="69"/>
                  </a:cxn>
                  <a:cxn ang="0">
                    <a:pos x="88" y="72"/>
                  </a:cxn>
                  <a:cxn ang="0">
                    <a:pos x="93" y="76"/>
                  </a:cxn>
                  <a:cxn ang="0">
                    <a:pos x="91" y="90"/>
                  </a:cxn>
                  <a:cxn ang="0">
                    <a:pos x="83" y="90"/>
                  </a:cxn>
                  <a:cxn ang="0">
                    <a:pos x="79" y="86"/>
                  </a:cxn>
                  <a:cxn ang="0">
                    <a:pos x="74" y="79"/>
                  </a:cxn>
                  <a:cxn ang="0">
                    <a:pos x="66" y="81"/>
                  </a:cxn>
                  <a:cxn ang="0">
                    <a:pos x="55" y="86"/>
                  </a:cxn>
                  <a:cxn ang="0">
                    <a:pos x="60" y="78"/>
                  </a:cxn>
                  <a:cxn ang="0">
                    <a:pos x="47" y="76"/>
                  </a:cxn>
                  <a:cxn ang="0">
                    <a:pos x="36" y="79"/>
                  </a:cxn>
                  <a:cxn ang="0">
                    <a:pos x="21" y="76"/>
                  </a:cxn>
                  <a:cxn ang="0">
                    <a:pos x="5" y="78"/>
                  </a:cxn>
                </a:cxnLst>
                <a:rect l="0" t="0" r="r" b="b"/>
                <a:pathLst>
                  <a:path w="95" h="93">
                    <a:moveTo>
                      <a:pt x="5" y="78"/>
                    </a:moveTo>
                    <a:lnTo>
                      <a:pt x="2" y="74"/>
                    </a:lnTo>
                    <a:lnTo>
                      <a:pt x="0" y="72"/>
                    </a:lnTo>
                    <a:lnTo>
                      <a:pt x="4" y="67"/>
                    </a:lnTo>
                    <a:lnTo>
                      <a:pt x="9" y="64"/>
                    </a:lnTo>
                    <a:lnTo>
                      <a:pt x="9" y="60"/>
                    </a:lnTo>
                    <a:lnTo>
                      <a:pt x="7" y="59"/>
                    </a:lnTo>
                    <a:lnTo>
                      <a:pt x="5" y="59"/>
                    </a:lnTo>
                    <a:lnTo>
                      <a:pt x="14" y="48"/>
                    </a:lnTo>
                    <a:lnTo>
                      <a:pt x="21" y="38"/>
                    </a:lnTo>
                    <a:lnTo>
                      <a:pt x="26" y="24"/>
                    </a:lnTo>
                    <a:lnTo>
                      <a:pt x="33" y="16"/>
                    </a:lnTo>
                    <a:lnTo>
                      <a:pt x="38" y="5"/>
                    </a:lnTo>
                    <a:lnTo>
                      <a:pt x="48" y="0"/>
                    </a:lnTo>
                    <a:lnTo>
                      <a:pt x="50" y="2"/>
                    </a:lnTo>
                    <a:lnTo>
                      <a:pt x="52" y="5"/>
                    </a:lnTo>
                    <a:lnTo>
                      <a:pt x="45" y="19"/>
                    </a:lnTo>
                    <a:lnTo>
                      <a:pt x="38" y="31"/>
                    </a:lnTo>
                    <a:lnTo>
                      <a:pt x="38" y="36"/>
                    </a:lnTo>
                    <a:lnTo>
                      <a:pt x="41" y="35"/>
                    </a:lnTo>
                    <a:lnTo>
                      <a:pt x="45" y="33"/>
                    </a:lnTo>
                    <a:lnTo>
                      <a:pt x="48" y="33"/>
                    </a:lnTo>
                    <a:lnTo>
                      <a:pt x="53" y="35"/>
                    </a:lnTo>
                    <a:lnTo>
                      <a:pt x="52" y="38"/>
                    </a:lnTo>
                    <a:lnTo>
                      <a:pt x="52" y="41"/>
                    </a:lnTo>
                    <a:lnTo>
                      <a:pt x="60" y="41"/>
                    </a:lnTo>
                    <a:lnTo>
                      <a:pt x="60" y="43"/>
                    </a:lnTo>
                    <a:lnTo>
                      <a:pt x="60" y="45"/>
                    </a:lnTo>
                    <a:lnTo>
                      <a:pt x="66" y="43"/>
                    </a:lnTo>
                    <a:lnTo>
                      <a:pt x="74" y="43"/>
                    </a:lnTo>
                    <a:lnTo>
                      <a:pt x="81" y="43"/>
                    </a:lnTo>
                    <a:lnTo>
                      <a:pt x="81" y="48"/>
                    </a:lnTo>
                    <a:lnTo>
                      <a:pt x="81" y="59"/>
                    </a:lnTo>
                    <a:lnTo>
                      <a:pt x="83" y="59"/>
                    </a:lnTo>
                    <a:lnTo>
                      <a:pt x="86" y="59"/>
                    </a:lnTo>
                    <a:lnTo>
                      <a:pt x="83" y="62"/>
                    </a:lnTo>
                    <a:lnTo>
                      <a:pt x="81" y="65"/>
                    </a:lnTo>
                    <a:lnTo>
                      <a:pt x="83" y="69"/>
                    </a:lnTo>
                    <a:lnTo>
                      <a:pt x="84" y="74"/>
                    </a:lnTo>
                    <a:lnTo>
                      <a:pt x="88" y="72"/>
                    </a:lnTo>
                    <a:lnTo>
                      <a:pt x="91" y="71"/>
                    </a:lnTo>
                    <a:lnTo>
                      <a:pt x="93" y="76"/>
                    </a:lnTo>
                    <a:lnTo>
                      <a:pt x="95" y="81"/>
                    </a:lnTo>
                    <a:lnTo>
                      <a:pt x="91" y="90"/>
                    </a:lnTo>
                    <a:lnTo>
                      <a:pt x="86" y="93"/>
                    </a:lnTo>
                    <a:lnTo>
                      <a:pt x="83" y="90"/>
                    </a:lnTo>
                    <a:lnTo>
                      <a:pt x="83" y="88"/>
                    </a:lnTo>
                    <a:lnTo>
                      <a:pt x="79" y="86"/>
                    </a:lnTo>
                    <a:lnTo>
                      <a:pt x="78" y="86"/>
                    </a:lnTo>
                    <a:lnTo>
                      <a:pt x="74" y="79"/>
                    </a:lnTo>
                    <a:lnTo>
                      <a:pt x="72" y="72"/>
                    </a:lnTo>
                    <a:lnTo>
                      <a:pt x="66" y="81"/>
                    </a:lnTo>
                    <a:lnTo>
                      <a:pt x="59" y="86"/>
                    </a:lnTo>
                    <a:lnTo>
                      <a:pt x="55" y="86"/>
                    </a:lnTo>
                    <a:lnTo>
                      <a:pt x="57" y="81"/>
                    </a:lnTo>
                    <a:lnTo>
                      <a:pt x="60" y="78"/>
                    </a:lnTo>
                    <a:lnTo>
                      <a:pt x="52" y="78"/>
                    </a:lnTo>
                    <a:lnTo>
                      <a:pt x="47" y="76"/>
                    </a:lnTo>
                    <a:lnTo>
                      <a:pt x="41" y="78"/>
                    </a:lnTo>
                    <a:lnTo>
                      <a:pt x="36" y="79"/>
                    </a:lnTo>
                    <a:lnTo>
                      <a:pt x="28" y="78"/>
                    </a:lnTo>
                    <a:lnTo>
                      <a:pt x="21" y="76"/>
                    </a:lnTo>
                    <a:lnTo>
                      <a:pt x="12" y="76"/>
                    </a:lnTo>
                    <a:lnTo>
                      <a:pt x="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0" name="Freeform 340"/>
              <p:cNvSpPr>
                <a:spLocks/>
              </p:cNvSpPr>
              <p:nvPr/>
            </p:nvSpPr>
            <p:spPr bwMode="auto">
              <a:xfrm>
                <a:off x="7455694" y="1779588"/>
                <a:ext cx="177800" cy="68262"/>
              </a:xfrm>
              <a:custGeom>
                <a:avLst/>
                <a:gdLst/>
                <a:ahLst/>
                <a:cxnLst>
                  <a:cxn ang="0">
                    <a:pos x="89" y="33"/>
                  </a:cxn>
                  <a:cxn ang="0">
                    <a:pos x="82" y="35"/>
                  </a:cxn>
                  <a:cxn ang="0">
                    <a:pos x="76" y="38"/>
                  </a:cxn>
                  <a:cxn ang="0">
                    <a:pos x="70" y="35"/>
                  </a:cxn>
                  <a:cxn ang="0">
                    <a:pos x="67" y="33"/>
                  </a:cxn>
                  <a:cxn ang="0">
                    <a:pos x="62" y="35"/>
                  </a:cxn>
                  <a:cxn ang="0">
                    <a:pos x="57" y="36"/>
                  </a:cxn>
                  <a:cxn ang="0">
                    <a:pos x="52" y="38"/>
                  </a:cxn>
                  <a:cxn ang="0">
                    <a:pos x="46" y="42"/>
                  </a:cxn>
                  <a:cxn ang="0">
                    <a:pos x="39" y="40"/>
                  </a:cxn>
                  <a:cxn ang="0">
                    <a:pos x="36" y="36"/>
                  </a:cxn>
                  <a:cxn ang="0">
                    <a:pos x="31" y="40"/>
                  </a:cxn>
                  <a:cxn ang="0">
                    <a:pos x="26" y="43"/>
                  </a:cxn>
                  <a:cxn ang="0">
                    <a:pos x="15" y="40"/>
                  </a:cxn>
                  <a:cxn ang="0">
                    <a:pos x="7" y="36"/>
                  </a:cxn>
                  <a:cxn ang="0">
                    <a:pos x="0" y="28"/>
                  </a:cxn>
                  <a:cxn ang="0">
                    <a:pos x="0" y="21"/>
                  </a:cxn>
                  <a:cxn ang="0">
                    <a:pos x="7" y="6"/>
                  </a:cxn>
                  <a:cxn ang="0">
                    <a:pos x="22" y="0"/>
                  </a:cxn>
                  <a:cxn ang="0">
                    <a:pos x="31" y="2"/>
                  </a:cxn>
                  <a:cxn ang="0">
                    <a:pos x="38" y="9"/>
                  </a:cxn>
                  <a:cxn ang="0">
                    <a:pos x="43" y="14"/>
                  </a:cxn>
                  <a:cxn ang="0">
                    <a:pos x="53" y="18"/>
                  </a:cxn>
                  <a:cxn ang="0">
                    <a:pos x="55" y="7"/>
                  </a:cxn>
                  <a:cxn ang="0">
                    <a:pos x="62" y="4"/>
                  </a:cxn>
                  <a:cxn ang="0">
                    <a:pos x="70" y="4"/>
                  </a:cxn>
                  <a:cxn ang="0">
                    <a:pos x="86" y="9"/>
                  </a:cxn>
                  <a:cxn ang="0">
                    <a:pos x="100" y="12"/>
                  </a:cxn>
                  <a:cxn ang="0">
                    <a:pos x="112" y="18"/>
                  </a:cxn>
                  <a:cxn ang="0">
                    <a:pos x="107" y="26"/>
                  </a:cxn>
                  <a:cxn ang="0">
                    <a:pos x="103" y="33"/>
                  </a:cxn>
                  <a:cxn ang="0">
                    <a:pos x="89" y="33"/>
                  </a:cxn>
                </a:cxnLst>
                <a:rect l="0" t="0" r="r" b="b"/>
                <a:pathLst>
                  <a:path w="112" h="43">
                    <a:moveTo>
                      <a:pt x="89" y="33"/>
                    </a:moveTo>
                    <a:lnTo>
                      <a:pt x="82" y="35"/>
                    </a:lnTo>
                    <a:lnTo>
                      <a:pt x="76" y="38"/>
                    </a:lnTo>
                    <a:lnTo>
                      <a:pt x="70" y="35"/>
                    </a:lnTo>
                    <a:lnTo>
                      <a:pt x="67" y="33"/>
                    </a:lnTo>
                    <a:lnTo>
                      <a:pt x="62" y="35"/>
                    </a:lnTo>
                    <a:lnTo>
                      <a:pt x="57" y="36"/>
                    </a:lnTo>
                    <a:lnTo>
                      <a:pt x="52" y="38"/>
                    </a:lnTo>
                    <a:lnTo>
                      <a:pt x="46" y="42"/>
                    </a:lnTo>
                    <a:lnTo>
                      <a:pt x="39" y="40"/>
                    </a:lnTo>
                    <a:lnTo>
                      <a:pt x="36" y="36"/>
                    </a:lnTo>
                    <a:lnTo>
                      <a:pt x="31" y="40"/>
                    </a:lnTo>
                    <a:lnTo>
                      <a:pt x="26" y="43"/>
                    </a:lnTo>
                    <a:lnTo>
                      <a:pt x="15" y="40"/>
                    </a:lnTo>
                    <a:lnTo>
                      <a:pt x="7" y="36"/>
                    </a:lnTo>
                    <a:lnTo>
                      <a:pt x="0" y="28"/>
                    </a:lnTo>
                    <a:lnTo>
                      <a:pt x="0" y="21"/>
                    </a:lnTo>
                    <a:lnTo>
                      <a:pt x="7" y="6"/>
                    </a:lnTo>
                    <a:lnTo>
                      <a:pt x="22" y="0"/>
                    </a:lnTo>
                    <a:lnTo>
                      <a:pt x="31" y="2"/>
                    </a:lnTo>
                    <a:lnTo>
                      <a:pt x="38" y="9"/>
                    </a:lnTo>
                    <a:lnTo>
                      <a:pt x="43" y="14"/>
                    </a:lnTo>
                    <a:lnTo>
                      <a:pt x="53" y="18"/>
                    </a:lnTo>
                    <a:lnTo>
                      <a:pt x="55" y="7"/>
                    </a:lnTo>
                    <a:lnTo>
                      <a:pt x="62" y="4"/>
                    </a:lnTo>
                    <a:lnTo>
                      <a:pt x="70" y="4"/>
                    </a:lnTo>
                    <a:lnTo>
                      <a:pt x="86" y="9"/>
                    </a:lnTo>
                    <a:lnTo>
                      <a:pt x="100" y="12"/>
                    </a:lnTo>
                    <a:lnTo>
                      <a:pt x="112" y="18"/>
                    </a:lnTo>
                    <a:lnTo>
                      <a:pt x="107" y="26"/>
                    </a:lnTo>
                    <a:lnTo>
                      <a:pt x="103" y="33"/>
                    </a:lnTo>
                    <a:lnTo>
                      <a:pt x="89"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1" name="Freeform 341"/>
              <p:cNvSpPr>
                <a:spLocks/>
              </p:cNvSpPr>
              <p:nvPr/>
            </p:nvSpPr>
            <p:spPr bwMode="auto">
              <a:xfrm>
                <a:off x="1629569" y="3248025"/>
                <a:ext cx="919163" cy="617537"/>
              </a:xfrm>
              <a:custGeom>
                <a:avLst/>
                <a:gdLst/>
                <a:ahLst/>
                <a:cxnLst>
                  <a:cxn ang="0">
                    <a:pos x="283" y="123"/>
                  </a:cxn>
                  <a:cxn ang="0">
                    <a:pos x="285" y="171"/>
                  </a:cxn>
                  <a:cxn ang="0">
                    <a:pos x="299" y="198"/>
                  </a:cxn>
                  <a:cxn ang="0">
                    <a:pos x="330" y="226"/>
                  </a:cxn>
                  <a:cxn ang="0">
                    <a:pos x="368" y="222"/>
                  </a:cxn>
                  <a:cxn ang="0">
                    <a:pos x="387" y="193"/>
                  </a:cxn>
                  <a:cxn ang="0">
                    <a:pos x="416" y="174"/>
                  </a:cxn>
                  <a:cxn ang="0">
                    <a:pos x="438" y="176"/>
                  </a:cxn>
                  <a:cxn ang="0">
                    <a:pos x="430" y="207"/>
                  </a:cxn>
                  <a:cxn ang="0">
                    <a:pos x="421" y="221"/>
                  </a:cxn>
                  <a:cxn ang="0">
                    <a:pos x="414" y="250"/>
                  </a:cxn>
                  <a:cxn ang="0">
                    <a:pos x="416" y="262"/>
                  </a:cxn>
                  <a:cxn ang="0">
                    <a:pos x="464" y="260"/>
                  </a:cxn>
                  <a:cxn ang="0">
                    <a:pos x="488" y="277"/>
                  </a:cxn>
                  <a:cxn ang="0">
                    <a:pos x="485" y="331"/>
                  </a:cxn>
                  <a:cxn ang="0">
                    <a:pos x="519" y="363"/>
                  </a:cxn>
                  <a:cxn ang="0">
                    <a:pos x="565" y="358"/>
                  </a:cxn>
                  <a:cxn ang="0">
                    <a:pos x="565" y="380"/>
                  </a:cxn>
                  <a:cxn ang="0">
                    <a:pos x="564" y="372"/>
                  </a:cxn>
                  <a:cxn ang="0">
                    <a:pos x="540" y="368"/>
                  </a:cxn>
                  <a:cxn ang="0">
                    <a:pos x="536" y="380"/>
                  </a:cxn>
                  <a:cxn ang="0">
                    <a:pos x="512" y="375"/>
                  </a:cxn>
                  <a:cxn ang="0">
                    <a:pos x="488" y="367"/>
                  </a:cxn>
                  <a:cxn ang="0">
                    <a:pos x="467" y="346"/>
                  </a:cxn>
                  <a:cxn ang="0">
                    <a:pos x="461" y="351"/>
                  </a:cxn>
                  <a:cxn ang="0">
                    <a:pos x="448" y="324"/>
                  </a:cxn>
                  <a:cxn ang="0">
                    <a:pos x="426" y="298"/>
                  </a:cxn>
                  <a:cxn ang="0">
                    <a:pos x="395" y="293"/>
                  </a:cxn>
                  <a:cxn ang="0">
                    <a:pos x="350" y="270"/>
                  </a:cxn>
                  <a:cxn ang="0">
                    <a:pos x="328" y="255"/>
                  </a:cxn>
                  <a:cxn ang="0">
                    <a:pos x="297" y="262"/>
                  </a:cxn>
                  <a:cxn ang="0">
                    <a:pos x="275" y="257"/>
                  </a:cxn>
                  <a:cxn ang="0">
                    <a:pos x="246" y="243"/>
                  </a:cxn>
                  <a:cxn ang="0">
                    <a:pos x="215" y="229"/>
                  </a:cxn>
                  <a:cxn ang="0">
                    <a:pos x="192" y="219"/>
                  </a:cxn>
                  <a:cxn ang="0">
                    <a:pos x="172" y="203"/>
                  </a:cxn>
                  <a:cxn ang="0">
                    <a:pos x="172" y="176"/>
                  </a:cxn>
                  <a:cxn ang="0">
                    <a:pos x="144" y="135"/>
                  </a:cxn>
                  <a:cxn ang="0">
                    <a:pos x="115" y="107"/>
                  </a:cxn>
                  <a:cxn ang="0">
                    <a:pos x="96" y="83"/>
                  </a:cxn>
                  <a:cxn ang="0">
                    <a:pos x="79" y="68"/>
                  </a:cxn>
                  <a:cxn ang="0">
                    <a:pos x="58" y="31"/>
                  </a:cxn>
                  <a:cxn ang="0">
                    <a:pos x="31" y="18"/>
                  </a:cxn>
                  <a:cxn ang="0">
                    <a:pos x="48" y="54"/>
                  </a:cxn>
                  <a:cxn ang="0">
                    <a:pos x="75" y="95"/>
                  </a:cxn>
                  <a:cxn ang="0">
                    <a:pos x="92" y="133"/>
                  </a:cxn>
                  <a:cxn ang="0">
                    <a:pos x="108" y="153"/>
                  </a:cxn>
                  <a:cxn ang="0">
                    <a:pos x="86" y="138"/>
                  </a:cxn>
                  <a:cxn ang="0">
                    <a:pos x="74" y="112"/>
                  </a:cxn>
                  <a:cxn ang="0">
                    <a:pos x="36" y="83"/>
                  </a:cxn>
                  <a:cxn ang="0">
                    <a:pos x="20" y="50"/>
                  </a:cxn>
                  <a:cxn ang="0">
                    <a:pos x="12" y="26"/>
                  </a:cxn>
                  <a:cxn ang="0">
                    <a:pos x="32" y="0"/>
                  </a:cxn>
                  <a:cxn ang="0">
                    <a:pos x="139" y="11"/>
                  </a:cxn>
                  <a:cxn ang="0">
                    <a:pos x="173" y="33"/>
                  </a:cxn>
                  <a:cxn ang="0">
                    <a:pos x="197" y="57"/>
                  </a:cxn>
                  <a:cxn ang="0">
                    <a:pos x="215" y="42"/>
                  </a:cxn>
                  <a:cxn ang="0">
                    <a:pos x="242" y="62"/>
                  </a:cxn>
                  <a:cxn ang="0">
                    <a:pos x="261" y="97"/>
                  </a:cxn>
                  <a:cxn ang="0">
                    <a:pos x="283" y="98"/>
                  </a:cxn>
                </a:cxnLst>
                <a:rect l="0" t="0" r="r" b="b"/>
                <a:pathLst>
                  <a:path w="579" h="389">
                    <a:moveTo>
                      <a:pt x="285" y="104"/>
                    </a:moveTo>
                    <a:lnTo>
                      <a:pt x="285" y="107"/>
                    </a:lnTo>
                    <a:lnTo>
                      <a:pt x="287" y="112"/>
                    </a:lnTo>
                    <a:lnTo>
                      <a:pt x="283" y="123"/>
                    </a:lnTo>
                    <a:lnTo>
                      <a:pt x="282" y="133"/>
                    </a:lnTo>
                    <a:lnTo>
                      <a:pt x="282" y="162"/>
                    </a:lnTo>
                    <a:lnTo>
                      <a:pt x="282" y="166"/>
                    </a:lnTo>
                    <a:lnTo>
                      <a:pt x="285" y="171"/>
                    </a:lnTo>
                    <a:lnTo>
                      <a:pt x="285" y="176"/>
                    </a:lnTo>
                    <a:lnTo>
                      <a:pt x="287" y="183"/>
                    </a:lnTo>
                    <a:lnTo>
                      <a:pt x="292" y="190"/>
                    </a:lnTo>
                    <a:lnTo>
                      <a:pt x="299" y="198"/>
                    </a:lnTo>
                    <a:lnTo>
                      <a:pt x="309" y="210"/>
                    </a:lnTo>
                    <a:lnTo>
                      <a:pt x="321" y="221"/>
                    </a:lnTo>
                    <a:lnTo>
                      <a:pt x="325" y="222"/>
                    </a:lnTo>
                    <a:lnTo>
                      <a:pt x="330" y="226"/>
                    </a:lnTo>
                    <a:lnTo>
                      <a:pt x="344" y="222"/>
                    </a:lnTo>
                    <a:lnTo>
                      <a:pt x="359" y="219"/>
                    </a:lnTo>
                    <a:lnTo>
                      <a:pt x="364" y="221"/>
                    </a:lnTo>
                    <a:lnTo>
                      <a:pt x="368" y="222"/>
                    </a:lnTo>
                    <a:lnTo>
                      <a:pt x="373" y="217"/>
                    </a:lnTo>
                    <a:lnTo>
                      <a:pt x="375" y="214"/>
                    </a:lnTo>
                    <a:lnTo>
                      <a:pt x="381" y="203"/>
                    </a:lnTo>
                    <a:lnTo>
                      <a:pt x="387" y="193"/>
                    </a:lnTo>
                    <a:lnTo>
                      <a:pt x="388" y="183"/>
                    </a:lnTo>
                    <a:lnTo>
                      <a:pt x="395" y="178"/>
                    </a:lnTo>
                    <a:lnTo>
                      <a:pt x="404" y="174"/>
                    </a:lnTo>
                    <a:lnTo>
                      <a:pt x="416" y="174"/>
                    </a:lnTo>
                    <a:lnTo>
                      <a:pt x="421" y="174"/>
                    </a:lnTo>
                    <a:lnTo>
                      <a:pt x="426" y="176"/>
                    </a:lnTo>
                    <a:lnTo>
                      <a:pt x="431" y="176"/>
                    </a:lnTo>
                    <a:lnTo>
                      <a:pt x="438" y="176"/>
                    </a:lnTo>
                    <a:lnTo>
                      <a:pt x="438" y="178"/>
                    </a:lnTo>
                    <a:lnTo>
                      <a:pt x="438" y="181"/>
                    </a:lnTo>
                    <a:lnTo>
                      <a:pt x="433" y="191"/>
                    </a:lnTo>
                    <a:lnTo>
                      <a:pt x="430" y="207"/>
                    </a:lnTo>
                    <a:lnTo>
                      <a:pt x="426" y="215"/>
                    </a:lnTo>
                    <a:lnTo>
                      <a:pt x="423" y="224"/>
                    </a:lnTo>
                    <a:lnTo>
                      <a:pt x="423" y="221"/>
                    </a:lnTo>
                    <a:lnTo>
                      <a:pt x="421" y="221"/>
                    </a:lnTo>
                    <a:lnTo>
                      <a:pt x="419" y="221"/>
                    </a:lnTo>
                    <a:lnTo>
                      <a:pt x="419" y="231"/>
                    </a:lnTo>
                    <a:lnTo>
                      <a:pt x="419" y="245"/>
                    </a:lnTo>
                    <a:lnTo>
                      <a:pt x="414" y="250"/>
                    </a:lnTo>
                    <a:lnTo>
                      <a:pt x="411" y="255"/>
                    </a:lnTo>
                    <a:lnTo>
                      <a:pt x="411" y="257"/>
                    </a:lnTo>
                    <a:lnTo>
                      <a:pt x="411" y="260"/>
                    </a:lnTo>
                    <a:lnTo>
                      <a:pt x="416" y="262"/>
                    </a:lnTo>
                    <a:lnTo>
                      <a:pt x="428" y="260"/>
                    </a:lnTo>
                    <a:lnTo>
                      <a:pt x="440" y="260"/>
                    </a:lnTo>
                    <a:lnTo>
                      <a:pt x="450" y="260"/>
                    </a:lnTo>
                    <a:lnTo>
                      <a:pt x="464" y="260"/>
                    </a:lnTo>
                    <a:lnTo>
                      <a:pt x="476" y="264"/>
                    </a:lnTo>
                    <a:lnTo>
                      <a:pt x="488" y="270"/>
                    </a:lnTo>
                    <a:lnTo>
                      <a:pt x="488" y="274"/>
                    </a:lnTo>
                    <a:lnTo>
                      <a:pt x="488" y="277"/>
                    </a:lnTo>
                    <a:lnTo>
                      <a:pt x="486" y="288"/>
                    </a:lnTo>
                    <a:lnTo>
                      <a:pt x="485" y="300"/>
                    </a:lnTo>
                    <a:lnTo>
                      <a:pt x="485" y="317"/>
                    </a:lnTo>
                    <a:lnTo>
                      <a:pt x="485" y="331"/>
                    </a:lnTo>
                    <a:lnTo>
                      <a:pt x="491" y="343"/>
                    </a:lnTo>
                    <a:lnTo>
                      <a:pt x="504" y="351"/>
                    </a:lnTo>
                    <a:lnTo>
                      <a:pt x="509" y="356"/>
                    </a:lnTo>
                    <a:lnTo>
                      <a:pt x="519" y="363"/>
                    </a:lnTo>
                    <a:lnTo>
                      <a:pt x="534" y="358"/>
                    </a:lnTo>
                    <a:lnTo>
                      <a:pt x="550" y="353"/>
                    </a:lnTo>
                    <a:lnTo>
                      <a:pt x="559" y="353"/>
                    </a:lnTo>
                    <a:lnTo>
                      <a:pt x="565" y="358"/>
                    </a:lnTo>
                    <a:lnTo>
                      <a:pt x="572" y="363"/>
                    </a:lnTo>
                    <a:lnTo>
                      <a:pt x="579" y="368"/>
                    </a:lnTo>
                    <a:lnTo>
                      <a:pt x="572" y="375"/>
                    </a:lnTo>
                    <a:lnTo>
                      <a:pt x="565" y="380"/>
                    </a:lnTo>
                    <a:lnTo>
                      <a:pt x="562" y="379"/>
                    </a:lnTo>
                    <a:lnTo>
                      <a:pt x="560" y="377"/>
                    </a:lnTo>
                    <a:lnTo>
                      <a:pt x="560" y="374"/>
                    </a:lnTo>
                    <a:lnTo>
                      <a:pt x="564" y="372"/>
                    </a:lnTo>
                    <a:lnTo>
                      <a:pt x="557" y="367"/>
                    </a:lnTo>
                    <a:lnTo>
                      <a:pt x="550" y="363"/>
                    </a:lnTo>
                    <a:lnTo>
                      <a:pt x="545" y="363"/>
                    </a:lnTo>
                    <a:lnTo>
                      <a:pt x="540" y="368"/>
                    </a:lnTo>
                    <a:lnTo>
                      <a:pt x="534" y="372"/>
                    </a:lnTo>
                    <a:lnTo>
                      <a:pt x="533" y="375"/>
                    </a:lnTo>
                    <a:lnTo>
                      <a:pt x="534" y="379"/>
                    </a:lnTo>
                    <a:lnTo>
                      <a:pt x="536" y="380"/>
                    </a:lnTo>
                    <a:lnTo>
                      <a:pt x="533" y="386"/>
                    </a:lnTo>
                    <a:lnTo>
                      <a:pt x="529" y="389"/>
                    </a:lnTo>
                    <a:lnTo>
                      <a:pt x="517" y="382"/>
                    </a:lnTo>
                    <a:lnTo>
                      <a:pt x="512" y="375"/>
                    </a:lnTo>
                    <a:lnTo>
                      <a:pt x="504" y="372"/>
                    </a:lnTo>
                    <a:lnTo>
                      <a:pt x="497" y="374"/>
                    </a:lnTo>
                    <a:lnTo>
                      <a:pt x="495" y="372"/>
                    </a:lnTo>
                    <a:lnTo>
                      <a:pt x="488" y="367"/>
                    </a:lnTo>
                    <a:lnTo>
                      <a:pt x="485" y="360"/>
                    </a:lnTo>
                    <a:lnTo>
                      <a:pt x="479" y="355"/>
                    </a:lnTo>
                    <a:lnTo>
                      <a:pt x="474" y="351"/>
                    </a:lnTo>
                    <a:lnTo>
                      <a:pt x="467" y="346"/>
                    </a:lnTo>
                    <a:lnTo>
                      <a:pt x="466" y="346"/>
                    </a:lnTo>
                    <a:lnTo>
                      <a:pt x="466" y="348"/>
                    </a:lnTo>
                    <a:lnTo>
                      <a:pt x="466" y="351"/>
                    </a:lnTo>
                    <a:lnTo>
                      <a:pt x="461" y="351"/>
                    </a:lnTo>
                    <a:lnTo>
                      <a:pt x="455" y="341"/>
                    </a:lnTo>
                    <a:lnTo>
                      <a:pt x="455" y="332"/>
                    </a:lnTo>
                    <a:lnTo>
                      <a:pt x="452" y="325"/>
                    </a:lnTo>
                    <a:lnTo>
                      <a:pt x="448" y="324"/>
                    </a:lnTo>
                    <a:lnTo>
                      <a:pt x="436" y="312"/>
                    </a:lnTo>
                    <a:lnTo>
                      <a:pt x="430" y="298"/>
                    </a:lnTo>
                    <a:lnTo>
                      <a:pt x="428" y="298"/>
                    </a:lnTo>
                    <a:lnTo>
                      <a:pt x="426" y="298"/>
                    </a:lnTo>
                    <a:lnTo>
                      <a:pt x="421" y="300"/>
                    </a:lnTo>
                    <a:lnTo>
                      <a:pt x="418" y="301"/>
                    </a:lnTo>
                    <a:lnTo>
                      <a:pt x="404" y="296"/>
                    </a:lnTo>
                    <a:lnTo>
                      <a:pt x="395" y="293"/>
                    </a:lnTo>
                    <a:lnTo>
                      <a:pt x="381" y="288"/>
                    </a:lnTo>
                    <a:lnTo>
                      <a:pt x="369" y="286"/>
                    </a:lnTo>
                    <a:lnTo>
                      <a:pt x="357" y="277"/>
                    </a:lnTo>
                    <a:lnTo>
                      <a:pt x="350" y="270"/>
                    </a:lnTo>
                    <a:lnTo>
                      <a:pt x="344" y="264"/>
                    </a:lnTo>
                    <a:lnTo>
                      <a:pt x="337" y="258"/>
                    </a:lnTo>
                    <a:lnTo>
                      <a:pt x="333" y="258"/>
                    </a:lnTo>
                    <a:lnTo>
                      <a:pt x="328" y="255"/>
                    </a:lnTo>
                    <a:lnTo>
                      <a:pt x="323" y="255"/>
                    </a:lnTo>
                    <a:lnTo>
                      <a:pt x="313" y="260"/>
                    </a:lnTo>
                    <a:lnTo>
                      <a:pt x="304" y="265"/>
                    </a:lnTo>
                    <a:lnTo>
                      <a:pt x="297" y="262"/>
                    </a:lnTo>
                    <a:lnTo>
                      <a:pt x="294" y="260"/>
                    </a:lnTo>
                    <a:lnTo>
                      <a:pt x="287" y="258"/>
                    </a:lnTo>
                    <a:lnTo>
                      <a:pt x="282" y="260"/>
                    </a:lnTo>
                    <a:lnTo>
                      <a:pt x="275" y="257"/>
                    </a:lnTo>
                    <a:lnTo>
                      <a:pt x="266" y="253"/>
                    </a:lnTo>
                    <a:lnTo>
                      <a:pt x="258" y="248"/>
                    </a:lnTo>
                    <a:lnTo>
                      <a:pt x="252" y="245"/>
                    </a:lnTo>
                    <a:lnTo>
                      <a:pt x="246" y="243"/>
                    </a:lnTo>
                    <a:lnTo>
                      <a:pt x="239" y="245"/>
                    </a:lnTo>
                    <a:lnTo>
                      <a:pt x="230" y="238"/>
                    </a:lnTo>
                    <a:lnTo>
                      <a:pt x="223" y="233"/>
                    </a:lnTo>
                    <a:lnTo>
                      <a:pt x="215" y="229"/>
                    </a:lnTo>
                    <a:lnTo>
                      <a:pt x="206" y="227"/>
                    </a:lnTo>
                    <a:lnTo>
                      <a:pt x="203" y="226"/>
                    </a:lnTo>
                    <a:lnTo>
                      <a:pt x="201" y="224"/>
                    </a:lnTo>
                    <a:lnTo>
                      <a:pt x="192" y="219"/>
                    </a:lnTo>
                    <a:lnTo>
                      <a:pt x="185" y="215"/>
                    </a:lnTo>
                    <a:lnTo>
                      <a:pt x="178" y="210"/>
                    </a:lnTo>
                    <a:lnTo>
                      <a:pt x="177" y="207"/>
                    </a:lnTo>
                    <a:lnTo>
                      <a:pt x="172" y="203"/>
                    </a:lnTo>
                    <a:lnTo>
                      <a:pt x="170" y="196"/>
                    </a:lnTo>
                    <a:lnTo>
                      <a:pt x="172" y="190"/>
                    </a:lnTo>
                    <a:lnTo>
                      <a:pt x="175" y="183"/>
                    </a:lnTo>
                    <a:lnTo>
                      <a:pt x="172" y="176"/>
                    </a:lnTo>
                    <a:lnTo>
                      <a:pt x="170" y="171"/>
                    </a:lnTo>
                    <a:lnTo>
                      <a:pt x="161" y="157"/>
                    </a:lnTo>
                    <a:lnTo>
                      <a:pt x="153" y="147"/>
                    </a:lnTo>
                    <a:lnTo>
                      <a:pt x="144" y="135"/>
                    </a:lnTo>
                    <a:lnTo>
                      <a:pt x="135" y="128"/>
                    </a:lnTo>
                    <a:lnTo>
                      <a:pt x="125" y="121"/>
                    </a:lnTo>
                    <a:lnTo>
                      <a:pt x="117" y="116"/>
                    </a:lnTo>
                    <a:lnTo>
                      <a:pt x="115" y="107"/>
                    </a:lnTo>
                    <a:lnTo>
                      <a:pt x="113" y="100"/>
                    </a:lnTo>
                    <a:lnTo>
                      <a:pt x="108" y="93"/>
                    </a:lnTo>
                    <a:lnTo>
                      <a:pt x="101" y="90"/>
                    </a:lnTo>
                    <a:lnTo>
                      <a:pt x="96" y="83"/>
                    </a:lnTo>
                    <a:lnTo>
                      <a:pt x="94" y="78"/>
                    </a:lnTo>
                    <a:lnTo>
                      <a:pt x="89" y="76"/>
                    </a:lnTo>
                    <a:lnTo>
                      <a:pt x="87" y="78"/>
                    </a:lnTo>
                    <a:lnTo>
                      <a:pt x="79" y="68"/>
                    </a:lnTo>
                    <a:lnTo>
                      <a:pt x="70" y="61"/>
                    </a:lnTo>
                    <a:lnTo>
                      <a:pt x="67" y="50"/>
                    </a:lnTo>
                    <a:lnTo>
                      <a:pt x="63" y="42"/>
                    </a:lnTo>
                    <a:lnTo>
                      <a:pt x="58" y="31"/>
                    </a:lnTo>
                    <a:lnTo>
                      <a:pt x="56" y="25"/>
                    </a:lnTo>
                    <a:lnTo>
                      <a:pt x="43" y="19"/>
                    </a:lnTo>
                    <a:lnTo>
                      <a:pt x="32" y="14"/>
                    </a:lnTo>
                    <a:lnTo>
                      <a:pt x="31" y="18"/>
                    </a:lnTo>
                    <a:lnTo>
                      <a:pt x="31" y="21"/>
                    </a:lnTo>
                    <a:lnTo>
                      <a:pt x="32" y="33"/>
                    </a:lnTo>
                    <a:lnTo>
                      <a:pt x="41" y="47"/>
                    </a:lnTo>
                    <a:lnTo>
                      <a:pt x="48" y="54"/>
                    </a:lnTo>
                    <a:lnTo>
                      <a:pt x="56" y="61"/>
                    </a:lnTo>
                    <a:lnTo>
                      <a:pt x="61" y="69"/>
                    </a:lnTo>
                    <a:lnTo>
                      <a:pt x="67" y="81"/>
                    </a:lnTo>
                    <a:lnTo>
                      <a:pt x="75" y="95"/>
                    </a:lnTo>
                    <a:lnTo>
                      <a:pt x="84" y="109"/>
                    </a:lnTo>
                    <a:lnTo>
                      <a:pt x="86" y="117"/>
                    </a:lnTo>
                    <a:lnTo>
                      <a:pt x="89" y="126"/>
                    </a:lnTo>
                    <a:lnTo>
                      <a:pt x="92" y="133"/>
                    </a:lnTo>
                    <a:lnTo>
                      <a:pt x="99" y="140"/>
                    </a:lnTo>
                    <a:lnTo>
                      <a:pt x="106" y="141"/>
                    </a:lnTo>
                    <a:lnTo>
                      <a:pt x="110" y="148"/>
                    </a:lnTo>
                    <a:lnTo>
                      <a:pt x="108" y="153"/>
                    </a:lnTo>
                    <a:lnTo>
                      <a:pt x="106" y="157"/>
                    </a:lnTo>
                    <a:lnTo>
                      <a:pt x="101" y="150"/>
                    </a:lnTo>
                    <a:lnTo>
                      <a:pt x="98" y="145"/>
                    </a:lnTo>
                    <a:lnTo>
                      <a:pt x="86" y="138"/>
                    </a:lnTo>
                    <a:lnTo>
                      <a:pt x="79" y="129"/>
                    </a:lnTo>
                    <a:lnTo>
                      <a:pt x="75" y="128"/>
                    </a:lnTo>
                    <a:lnTo>
                      <a:pt x="74" y="126"/>
                    </a:lnTo>
                    <a:lnTo>
                      <a:pt x="74" y="112"/>
                    </a:lnTo>
                    <a:lnTo>
                      <a:pt x="65" y="104"/>
                    </a:lnTo>
                    <a:lnTo>
                      <a:pt x="58" y="97"/>
                    </a:lnTo>
                    <a:lnTo>
                      <a:pt x="46" y="88"/>
                    </a:lnTo>
                    <a:lnTo>
                      <a:pt x="36" y="83"/>
                    </a:lnTo>
                    <a:lnTo>
                      <a:pt x="43" y="83"/>
                    </a:lnTo>
                    <a:lnTo>
                      <a:pt x="46" y="78"/>
                    </a:lnTo>
                    <a:lnTo>
                      <a:pt x="32" y="62"/>
                    </a:lnTo>
                    <a:lnTo>
                      <a:pt x="20" y="50"/>
                    </a:lnTo>
                    <a:lnTo>
                      <a:pt x="15" y="45"/>
                    </a:lnTo>
                    <a:lnTo>
                      <a:pt x="15" y="38"/>
                    </a:lnTo>
                    <a:lnTo>
                      <a:pt x="13" y="31"/>
                    </a:lnTo>
                    <a:lnTo>
                      <a:pt x="12" y="26"/>
                    </a:lnTo>
                    <a:lnTo>
                      <a:pt x="5" y="14"/>
                    </a:lnTo>
                    <a:lnTo>
                      <a:pt x="0" y="4"/>
                    </a:lnTo>
                    <a:lnTo>
                      <a:pt x="0" y="0"/>
                    </a:lnTo>
                    <a:lnTo>
                      <a:pt x="32" y="0"/>
                    </a:lnTo>
                    <a:lnTo>
                      <a:pt x="87" y="18"/>
                    </a:lnTo>
                    <a:lnTo>
                      <a:pt x="129" y="18"/>
                    </a:lnTo>
                    <a:lnTo>
                      <a:pt x="129" y="11"/>
                    </a:lnTo>
                    <a:lnTo>
                      <a:pt x="139" y="11"/>
                    </a:lnTo>
                    <a:lnTo>
                      <a:pt x="149" y="12"/>
                    </a:lnTo>
                    <a:lnTo>
                      <a:pt x="160" y="18"/>
                    </a:lnTo>
                    <a:lnTo>
                      <a:pt x="166" y="23"/>
                    </a:lnTo>
                    <a:lnTo>
                      <a:pt x="173" y="33"/>
                    </a:lnTo>
                    <a:lnTo>
                      <a:pt x="177" y="38"/>
                    </a:lnTo>
                    <a:lnTo>
                      <a:pt x="182" y="47"/>
                    </a:lnTo>
                    <a:lnTo>
                      <a:pt x="189" y="54"/>
                    </a:lnTo>
                    <a:lnTo>
                      <a:pt x="197" y="57"/>
                    </a:lnTo>
                    <a:lnTo>
                      <a:pt x="201" y="54"/>
                    </a:lnTo>
                    <a:lnTo>
                      <a:pt x="204" y="49"/>
                    </a:lnTo>
                    <a:lnTo>
                      <a:pt x="208" y="43"/>
                    </a:lnTo>
                    <a:lnTo>
                      <a:pt x="215" y="42"/>
                    </a:lnTo>
                    <a:lnTo>
                      <a:pt x="223" y="42"/>
                    </a:lnTo>
                    <a:lnTo>
                      <a:pt x="232" y="47"/>
                    </a:lnTo>
                    <a:lnTo>
                      <a:pt x="237" y="52"/>
                    </a:lnTo>
                    <a:lnTo>
                      <a:pt x="242" y="62"/>
                    </a:lnTo>
                    <a:lnTo>
                      <a:pt x="246" y="71"/>
                    </a:lnTo>
                    <a:lnTo>
                      <a:pt x="249" y="80"/>
                    </a:lnTo>
                    <a:lnTo>
                      <a:pt x="254" y="88"/>
                    </a:lnTo>
                    <a:lnTo>
                      <a:pt x="261" y="97"/>
                    </a:lnTo>
                    <a:lnTo>
                      <a:pt x="270" y="100"/>
                    </a:lnTo>
                    <a:lnTo>
                      <a:pt x="285" y="104"/>
                    </a:lnTo>
                    <a:lnTo>
                      <a:pt x="283" y="100"/>
                    </a:lnTo>
                    <a:lnTo>
                      <a:pt x="283" y="98"/>
                    </a:lnTo>
                    <a:lnTo>
                      <a:pt x="285" y="1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2" name="Freeform 342"/>
              <p:cNvSpPr>
                <a:spLocks/>
              </p:cNvSpPr>
              <p:nvPr/>
            </p:nvSpPr>
            <p:spPr bwMode="auto">
              <a:xfrm>
                <a:off x="2437607" y="2673350"/>
                <a:ext cx="26988" cy="12700"/>
              </a:xfrm>
              <a:custGeom>
                <a:avLst/>
                <a:gdLst/>
                <a:ahLst/>
                <a:cxnLst>
                  <a:cxn ang="0">
                    <a:pos x="0" y="0"/>
                  </a:cxn>
                  <a:cxn ang="0">
                    <a:pos x="10" y="1"/>
                  </a:cxn>
                  <a:cxn ang="0">
                    <a:pos x="17" y="8"/>
                  </a:cxn>
                  <a:cxn ang="0">
                    <a:pos x="15" y="8"/>
                  </a:cxn>
                  <a:cxn ang="0">
                    <a:pos x="13" y="8"/>
                  </a:cxn>
                  <a:cxn ang="0">
                    <a:pos x="5" y="7"/>
                  </a:cxn>
                  <a:cxn ang="0">
                    <a:pos x="0" y="3"/>
                  </a:cxn>
                  <a:cxn ang="0">
                    <a:pos x="0" y="0"/>
                  </a:cxn>
                </a:cxnLst>
                <a:rect l="0" t="0" r="r" b="b"/>
                <a:pathLst>
                  <a:path w="17" h="8">
                    <a:moveTo>
                      <a:pt x="0" y="0"/>
                    </a:moveTo>
                    <a:lnTo>
                      <a:pt x="10" y="1"/>
                    </a:lnTo>
                    <a:lnTo>
                      <a:pt x="17" y="8"/>
                    </a:lnTo>
                    <a:lnTo>
                      <a:pt x="15" y="8"/>
                    </a:lnTo>
                    <a:lnTo>
                      <a:pt x="13" y="8"/>
                    </a:lnTo>
                    <a:lnTo>
                      <a:pt x="5" y="7"/>
                    </a:lnTo>
                    <a:lnTo>
                      <a:pt x="0" y="3"/>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3" name="Freeform 343"/>
              <p:cNvSpPr>
                <a:spLocks/>
              </p:cNvSpPr>
              <p:nvPr/>
            </p:nvSpPr>
            <p:spPr bwMode="auto">
              <a:xfrm>
                <a:off x="1372394" y="2749550"/>
                <a:ext cx="109538" cy="68262"/>
              </a:xfrm>
              <a:custGeom>
                <a:avLst/>
                <a:gdLst/>
                <a:ahLst/>
                <a:cxnLst>
                  <a:cxn ang="0">
                    <a:pos x="0" y="2"/>
                  </a:cxn>
                  <a:cxn ang="0">
                    <a:pos x="3" y="0"/>
                  </a:cxn>
                  <a:cxn ang="0">
                    <a:pos x="7" y="0"/>
                  </a:cxn>
                  <a:cxn ang="0">
                    <a:pos x="14" y="2"/>
                  </a:cxn>
                  <a:cxn ang="0">
                    <a:pos x="21" y="7"/>
                  </a:cxn>
                  <a:cxn ang="0">
                    <a:pos x="34" y="12"/>
                  </a:cxn>
                  <a:cxn ang="0">
                    <a:pos x="46" y="20"/>
                  </a:cxn>
                  <a:cxn ang="0">
                    <a:pos x="57" y="29"/>
                  </a:cxn>
                  <a:cxn ang="0">
                    <a:pos x="69" y="39"/>
                  </a:cxn>
                  <a:cxn ang="0">
                    <a:pos x="69" y="43"/>
                  </a:cxn>
                  <a:cxn ang="0">
                    <a:pos x="65" y="43"/>
                  </a:cxn>
                  <a:cxn ang="0">
                    <a:pos x="64" y="43"/>
                  </a:cxn>
                  <a:cxn ang="0">
                    <a:pos x="53" y="39"/>
                  </a:cxn>
                  <a:cxn ang="0">
                    <a:pos x="43" y="34"/>
                  </a:cxn>
                  <a:cxn ang="0">
                    <a:pos x="33" y="27"/>
                  </a:cxn>
                  <a:cxn ang="0">
                    <a:pos x="26" y="24"/>
                  </a:cxn>
                  <a:cxn ang="0">
                    <a:pos x="27" y="20"/>
                  </a:cxn>
                  <a:cxn ang="0">
                    <a:pos x="31" y="19"/>
                  </a:cxn>
                  <a:cxn ang="0">
                    <a:pos x="22" y="17"/>
                  </a:cxn>
                  <a:cxn ang="0">
                    <a:pos x="14" y="15"/>
                  </a:cxn>
                  <a:cxn ang="0">
                    <a:pos x="7" y="12"/>
                  </a:cxn>
                  <a:cxn ang="0">
                    <a:pos x="5" y="8"/>
                  </a:cxn>
                  <a:cxn ang="0">
                    <a:pos x="7" y="5"/>
                  </a:cxn>
                  <a:cxn ang="0">
                    <a:pos x="10" y="3"/>
                  </a:cxn>
                  <a:cxn ang="0">
                    <a:pos x="3" y="2"/>
                  </a:cxn>
                  <a:cxn ang="0">
                    <a:pos x="2" y="2"/>
                  </a:cxn>
                  <a:cxn ang="0">
                    <a:pos x="0" y="2"/>
                  </a:cxn>
                </a:cxnLst>
                <a:rect l="0" t="0" r="r" b="b"/>
                <a:pathLst>
                  <a:path w="69" h="43">
                    <a:moveTo>
                      <a:pt x="0" y="2"/>
                    </a:moveTo>
                    <a:lnTo>
                      <a:pt x="3" y="0"/>
                    </a:lnTo>
                    <a:lnTo>
                      <a:pt x="7" y="0"/>
                    </a:lnTo>
                    <a:lnTo>
                      <a:pt x="14" y="2"/>
                    </a:lnTo>
                    <a:lnTo>
                      <a:pt x="21" y="7"/>
                    </a:lnTo>
                    <a:lnTo>
                      <a:pt x="34" y="12"/>
                    </a:lnTo>
                    <a:lnTo>
                      <a:pt x="46" y="20"/>
                    </a:lnTo>
                    <a:lnTo>
                      <a:pt x="57" y="29"/>
                    </a:lnTo>
                    <a:lnTo>
                      <a:pt x="69" y="39"/>
                    </a:lnTo>
                    <a:lnTo>
                      <a:pt x="69" y="43"/>
                    </a:lnTo>
                    <a:lnTo>
                      <a:pt x="65" y="43"/>
                    </a:lnTo>
                    <a:lnTo>
                      <a:pt x="64" y="43"/>
                    </a:lnTo>
                    <a:lnTo>
                      <a:pt x="53" y="39"/>
                    </a:lnTo>
                    <a:lnTo>
                      <a:pt x="43" y="34"/>
                    </a:lnTo>
                    <a:lnTo>
                      <a:pt x="33" y="27"/>
                    </a:lnTo>
                    <a:lnTo>
                      <a:pt x="26" y="24"/>
                    </a:lnTo>
                    <a:lnTo>
                      <a:pt x="27" y="20"/>
                    </a:lnTo>
                    <a:lnTo>
                      <a:pt x="31" y="19"/>
                    </a:lnTo>
                    <a:lnTo>
                      <a:pt x="22" y="17"/>
                    </a:lnTo>
                    <a:lnTo>
                      <a:pt x="14" y="15"/>
                    </a:lnTo>
                    <a:lnTo>
                      <a:pt x="7" y="12"/>
                    </a:lnTo>
                    <a:lnTo>
                      <a:pt x="5" y="8"/>
                    </a:lnTo>
                    <a:lnTo>
                      <a:pt x="7" y="5"/>
                    </a:lnTo>
                    <a:lnTo>
                      <a:pt x="10" y="3"/>
                    </a:lnTo>
                    <a:lnTo>
                      <a:pt x="3" y="2"/>
                    </a:lnTo>
                    <a:lnTo>
                      <a:pt x="2" y="2"/>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4" name="Freeform 344"/>
              <p:cNvSpPr>
                <a:spLocks/>
              </p:cNvSpPr>
              <p:nvPr/>
            </p:nvSpPr>
            <p:spPr bwMode="auto">
              <a:xfrm>
                <a:off x="1262857" y="2647950"/>
                <a:ext cx="33338" cy="55562"/>
              </a:xfrm>
              <a:custGeom>
                <a:avLst/>
                <a:gdLst/>
                <a:ahLst/>
                <a:cxnLst>
                  <a:cxn ang="0">
                    <a:pos x="7" y="12"/>
                  </a:cxn>
                  <a:cxn ang="0">
                    <a:pos x="4" y="9"/>
                  </a:cxn>
                  <a:cxn ang="0">
                    <a:pos x="0" y="4"/>
                  </a:cxn>
                  <a:cxn ang="0">
                    <a:pos x="0" y="0"/>
                  </a:cxn>
                  <a:cxn ang="0">
                    <a:pos x="5" y="0"/>
                  </a:cxn>
                  <a:cxn ang="0">
                    <a:pos x="12" y="4"/>
                  </a:cxn>
                  <a:cxn ang="0">
                    <a:pos x="9" y="5"/>
                  </a:cxn>
                  <a:cxn ang="0">
                    <a:pos x="9" y="9"/>
                  </a:cxn>
                  <a:cxn ang="0">
                    <a:pos x="14" y="5"/>
                  </a:cxn>
                  <a:cxn ang="0">
                    <a:pos x="16" y="2"/>
                  </a:cxn>
                  <a:cxn ang="0">
                    <a:pos x="16" y="7"/>
                  </a:cxn>
                  <a:cxn ang="0">
                    <a:pos x="16" y="14"/>
                  </a:cxn>
                  <a:cxn ang="0">
                    <a:pos x="17" y="16"/>
                  </a:cxn>
                  <a:cxn ang="0">
                    <a:pos x="19" y="19"/>
                  </a:cxn>
                  <a:cxn ang="0">
                    <a:pos x="17" y="21"/>
                  </a:cxn>
                  <a:cxn ang="0">
                    <a:pos x="16" y="24"/>
                  </a:cxn>
                  <a:cxn ang="0">
                    <a:pos x="19" y="29"/>
                  </a:cxn>
                  <a:cxn ang="0">
                    <a:pos x="21" y="35"/>
                  </a:cxn>
                  <a:cxn ang="0">
                    <a:pos x="14" y="31"/>
                  </a:cxn>
                  <a:cxn ang="0">
                    <a:pos x="14" y="24"/>
                  </a:cxn>
                  <a:cxn ang="0">
                    <a:pos x="14" y="21"/>
                  </a:cxn>
                  <a:cxn ang="0">
                    <a:pos x="16" y="19"/>
                  </a:cxn>
                  <a:cxn ang="0">
                    <a:pos x="10" y="14"/>
                  </a:cxn>
                  <a:cxn ang="0">
                    <a:pos x="7" y="12"/>
                  </a:cxn>
                </a:cxnLst>
                <a:rect l="0" t="0" r="r" b="b"/>
                <a:pathLst>
                  <a:path w="21" h="35">
                    <a:moveTo>
                      <a:pt x="7" y="12"/>
                    </a:moveTo>
                    <a:lnTo>
                      <a:pt x="4" y="9"/>
                    </a:lnTo>
                    <a:lnTo>
                      <a:pt x="0" y="4"/>
                    </a:lnTo>
                    <a:lnTo>
                      <a:pt x="0" y="0"/>
                    </a:lnTo>
                    <a:lnTo>
                      <a:pt x="5" y="0"/>
                    </a:lnTo>
                    <a:lnTo>
                      <a:pt x="12" y="4"/>
                    </a:lnTo>
                    <a:lnTo>
                      <a:pt x="9" y="5"/>
                    </a:lnTo>
                    <a:lnTo>
                      <a:pt x="9" y="9"/>
                    </a:lnTo>
                    <a:lnTo>
                      <a:pt x="14" y="5"/>
                    </a:lnTo>
                    <a:lnTo>
                      <a:pt x="16" y="2"/>
                    </a:lnTo>
                    <a:lnTo>
                      <a:pt x="16" y="7"/>
                    </a:lnTo>
                    <a:lnTo>
                      <a:pt x="16" y="14"/>
                    </a:lnTo>
                    <a:lnTo>
                      <a:pt x="17" y="16"/>
                    </a:lnTo>
                    <a:lnTo>
                      <a:pt x="19" y="19"/>
                    </a:lnTo>
                    <a:lnTo>
                      <a:pt x="17" y="21"/>
                    </a:lnTo>
                    <a:lnTo>
                      <a:pt x="16" y="24"/>
                    </a:lnTo>
                    <a:lnTo>
                      <a:pt x="19" y="29"/>
                    </a:lnTo>
                    <a:lnTo>
                      <a:pt x="21" y="35"/>
                    </a:lnTo>
                    <a:lnTo>
                      <a:pt x="14" y="31"/>
                    </a:lnTo>
                    <a:lnTo>
                      <a:pt x="14" y="24"/>
                    </a:lnTo>
                    <a:lnTo>
                      <a:pt x="14" y="21"/>
                    </a:lnTo>
                    <a:lnTo>
                      <a:pt x="16" y="19"/>
                    </a:lnTo>
                    <a:lnTo>
                      <a:pt x="10" y="14"/>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5" name="Freeform 345"/>
              <p:cNvSpPr>
                <a:spLocks/>
              </p:cNvSpPr>
              <p:nvPr/>
            </p:nvSpPr>
            <p:spPr bwMode="auto">
              <a:xfrm>
                <a:off x="772319" y="2525713"/>
                <a:ext cx="47625" cy="31750"/>
              </a:xfrm>
              <a:custGeom>
                <a:avLst/>
                <a:gdLst/>
                <a:ahLst/>
                <a:cxnLst>
                  <a:cxn ang="0">
                    <a:pos x="24" y="0"/>
                  </a:cxn>
                  <a:cxn ang="0">
                    <a:pos x="27" y="0"/>
                  </a:cxn>
                  <a:cxn ang="0">
                    <a:pos x="30" y="0"/>
                  </a:cxn>
                  <a:cxn ang="0">
                    <a:pos x="30" y="7"/>
                  </a:cxn>
                  <a:cxn ang="0">
                    <a:pos x="20" y="12"/>
                  </a:cxn>
                  <a:cxn ang="0">
                    <a:pos x="10" y="20"/>
                  </a:cxn>
                  <a:cxn ang="0">
                    <a:pos x="5" y="15"/>
                  </a:cxn>
                  <a:cxn ang="0">
                    <a:pos x="0" y="14"/>
                  </a:cxn>
                  <a:cxn ang="0">
                    <a:pos x="0" y="7"/>
                  </a:cxn>
                  <a:cxn ang="0">
                    <a:pos x="12" y="2"/>
                  </a:cxn>
                  <a:cxn ang="0">
                    <a:pos x="24" y="0"/>
                  </a:cxn>
                </a:cxnLst>
                <a:rect l="0" t="0" r="r" b="b"/>
                <a:pathLst>
                  <a:path w="30" h="20">
                    <a:moveTo>
                      <a:pt x="24" y="0"/>
                    </a:moveTo>
                    <a:lnTo>
                      <a:pt x="27" y="0"/>
                    </a:lnTo>
                    <a:lnTo>
                      <a:pt x="30" y="0"/>
                    </a:lnTo>
                    <a:lnTo>
                      <a:pt x="30" y="7"/>
                    </a:lnTo>
                    <a:lnTo>
                      <a:pt x="20" y="12"/>
                    </a:lnTo>
                    <a:lnTo>
                      <a:pt x="10" y="20"/>
                    </a:lnTo>
                    <a:lnTo>
                      <a:pt x="5" y="15"/>
                    </a:lnTo>
                    <a:lnTo>
                      <a:pt x="0" y="14"/>
                    </a:lnTo>
                    <a:lnTo>
                      <a:pt x="0" y="7"/>
                    </a:lnTo>
                    <a:lnTo>
                      <a:pt x="12" y="2"/>
                    </a:lnTo>
                    <a:lnTo>
                      <a:pt x="2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6" name="Freeform 346"/>
              <p:cNvSpPr>
                <a:spLocks/>
              </p:cNvSpPr>
              <p:nvPr/>
            </p:nvSpPr>
            <p:spPr bwMode="auto">
              <a:xfrm>
                <a:off x="4596607" y="3098800"/>
                <a:ext cx="63500" cy="38100"/>
              </a:xfrm>
              <a:custGeom>
                <a:avLst/>
                <a:gdLst/>
                <a:ahLst/>
                <a:cxnLst>
                  <a:cxn ang="0">
                    <a:pos x="0" y="2"/>
                  </a:cxn>
                  <a:cxn ang="0">
                    <a:pos x="0" y="5"/>
                  </a:cxn>
                  <a:cxn ang="0">
                    <a:pos x="4" y="7"/>
                  </a:cxn>
                  <a:cxn ang="0">
                    <a:pos x="9" y="8"/>
                  </a:cxn>
                  <a:cxn ang="0">
                    <a:pos x="19" y="14"/>
                  </a:cxn>
                  <a:cxn ang="0">
                    <a:pos x="31" y="22"/>
                  </a:cxn>
                  <a:cxn ang="0">
                    <a:pos x="33" y="22"/>
                  </a:cxn>
                  <a:cxn ang="0">
                    <a:pos x="35" y="24"/>
                  </a:cxn>
                  <a:cxn ang="0">
                    <a:pos x="36" y="22"/>
                  </a:cxn>
                  <a:cxn ang="0">
                    <a:pos x="38" y="21"/>
                  </a:cxn>
                  <a:cxn ang="0">
                    <a:pos x="36" y="15"/>
                  </a:cxn>
                  <a:cxn ang="0">
                    <a:pos x="36" y="12"/>
                  </a:cxn>
                  <a:cxn ang="0">
                    <a:pos x="36" y="8"/>
                  </a:cxn>
                  <a:cxn ang="0">
                    <a:pos x="38" y="7"/>
                  </a:cxn>
                  <a:cxn ang="0">
                    <a:pos x="40" y="0"/>
                  </a:cxn>
                  <a:cxn ang="0">
                    <a:pos x="31" y="2"/>
                  </a:cxn>
                  <a:cxn ang="0">
                    <a:pos x="22" y="3"/>
                  </a:cxn>
                  <a:cxn ang="0">
                    <a:pos x="12" y="0"/>
                  </a:cxn>
                  <a:cxn ang="0">
                    <a:pos x="0" y="2"/>
                  </a:cxn>
                </a:cxnLst>
                <a:rect l="0" t="0" r="r" b="b"/>
                <a:pathLst>
                  <a:path w="40" h="24">
                    <a:moveTo>
                      <a:pt x="0" y="2"/>
                    </a:moveTo>
                    <a:lnTo>
                      <a:pt x="0" y="5"/>
                    </a:lnTo>
                    <a:lnTo>
                      <a:pt x="4" y="7"/>
                    </a:lnTo>
                    <a:lnTo>
                      <a:pt x="9" y="8"/>
                    </a:lnTo>
                    <a:lnTo>
                      <a:pt x="19" y="14"/>
                    </a:lnTo>
                    <a:lnTo>
                      <a:pt x="31" y="22"/>
                    </a:lnTo>
                    <a:lnTo>
                      <a:pt x="33" y="22"/>
                    </a:lnTo>
                    <a:lnTo>
                      <a:pt x="35" y="24"/>
                    </a:lnTo>
                    <a:lnTo>
                      <a:pt x="36" y="22"/>
                    </a:lnTo>
                    <a:lnTo>
                      <a:pt x="38" y="21"/>
                    </a:lnTo>
                    <a:lnTo>
                      <a:pt x="36" y="15"/>
                    </a:lnTo>
                    <a:lnTo>
                      <a:pt x="36" y="12"/>
                    </a:lnTo>
                    <a:lnTo>
                      <a:pt x="36" y="8"/>
                    </a:lnTo>
                    <a:lnTo>
                      <a:pt x="38" y="7"/>
                    </a:lnTo>
                    <a:lnTo>
                      <a:pt x="40" y="0"/>
                    </a:lnTo>
                    <a:lnTo>
                      <a:pt x="31" y="2"/>
                    </a:lnTo>
                    <a:lnTo>
                      <a:pt x="22" y="3"/>
                    </a:lnTo>
                    <a:lnTo>
                      <a:pt x="12" y="0"/>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7" name="Freeform 347"/>
              <p:cNvSpPr>
                <a:spLocks/>
              </p:cNvSpPr>
              <p:nvPr/>
            </p:nvSpPr>
            <p:spPr bwMode="auto">
              <a:xfrm>
                <a:off x="4509294" y="2967038"/>
                <a:ext cx="22225" cy="41275"/>
              </a:xfrm>
              <a:custGeom>
                <a:avLst/>
                <a:gdLst/>
                <a:ahLst/>
                <a:cxnLst>
                  <a:cxn ang="0">
                    <a:pos x="4" y="6"/>
                  </a:cxn>
                  <a:cxn ang="0">
                    <a:pos x="7" y="2"/>
                  </a:cxn>
                  <a:cxn ang="0">
                    <a:pos x="12" y="0"/>
                  </a:cxn>
                  <a:cxn ang="0">
                    <a:pos x="12" y="4"/>
                  </a:cxn>
                  <a:cxn ang="0">
                    <a:pos x="14" y="7"/>
                  </a:cxn>
                  <a:cxn ang="0">
                    <a:pos x="10" y="18"/>
                  </a:cxn>
                  <a:cxn ang="0">
                    <a:pos x="10" y="26"/>
                  </a:cxn>
                  <a:cxn ang="0">
                    <a:pos x="5" y="23"/>
                  </a:cxn>
                  <a:cxn ang="0">
                    <a:pos x="4" y="18"/>
                  </a:cxn>
                  <a:cxn ang="0">
                    <a:pos x="2" y="11"/>
                  </a:cxn>
                  <a:cxn ang="0">
                    <a:pos x="0" y="7"/>
                  </a:cxn>
                  <a:cxn ang="0">
                    <a:pos x="2" y="6"/>
                  </a:cxn>
                  <a:cxn ang="0">
                    <a:pos x="4" y="6"/>
                  </a:cxn>
                </a:cxnLst>
                <a:rect l="0" t="0" r="r" b="b"/>
                <a:pathLst>
                  <a:path w="14" h="26">
                    <a:moveTo>
                      <a:pt x="4" y="6"/>
                    </a:moveTo>
                    <a:lnTo>
                      <a:pt x="7" y="2"/>
                    </a:lnTo>
                    <a:lnTo>
                      <a:pt x="12" y="0"/>
                    </a:lnTo>
                    <a:lnTo>
                      <a:pt x="12" y="4"/>
                    </a:lnTo>
                    <a:lnTo>
                      <a:pt x="14" y="7"/>
                    </a:lnTo>
                    <a:lnTo>
                      <a:pt x="10" y="18"/>
                    </a:lnTo>
                    <a:lnTo>
                      <a:pt x="10" y="26"/>
                    </a:lnTo>
                    <a:lnTo>
                      <a:pt x="5" y="23"/>
                    </a:lnTo>
                    <a:lnTo>
                      <a:pt x="4" y="18"/>
                    </a:lnTo>
                    <a:lnTo>
                      <a:pt x="2" y="11"/>
                    </a:lnTo>
                    <a:lnTo>
                      <a:pt x="0" y="7"/>
                    </a:lnTo>
                    <a:lnTo>
                      <a:pt x="2" y="6"/>
                    </a:lnTo>
                    <a:lnTo>
                      <a:pt x="4"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8" name="Freeform 348"/>
              <p:cNvSpPr>
                <a:spLocks/>
              </p:cNvSpPr>
              <p:nvPr/>
            </p:nvSpPr>
            <p:spPr bwMode="auto">
              <a:xfrm>
                <a:off x="4504532" y="3016250"/>
                <a:ext cx="31750" cy="60325"/>
              </a:xfrm>
              <a:custGeom>
                <a:avLst/>
                <a:gdLst/>
                <a:ahLst/>
                <a:cxnLst>
                  <a:cxn ang="0">
                    <a:pos x="5" y="17"/>
                  </a:cxn>
                  <a:cxn ang="0">
                    <a:pos x="1" y="11"/>
                  </a:cxn>
                  <a:cxn ang="0">
                    <a:pos x="0" y="5"/>
                  </a:cxn>
                  <a:cxn ang="0">
                    <a:pos x="5" y="2"/>
                  </a:cxn>
                  <a:cxn ang="0">
                    <a:pos x="10" y="0"/>
                  </a:cxn>
                  <a:cxn ang="0">
                    <a:pos x="13" y="0"/>
                  </a:cxn>
                  <a:cxn ang="0">
                    <a:pos x="17" y="2"/>
                  </a:cxn>
                  <a:cxn ang="0">
                    <a:pos x="20" y="12"/>
                  </a:cxn>
                  <a:cxn ang="0">
                    <a:pos x="20" y="23"/>
                  </a:cxn>
                  <a:cxn ang="0">
                    <a:pos x="15" y="33"/>
                  </a:cxn>
                  <a:cxn ang="0">
                    <a:pos x="7" y="38"/>
                  </a:cxn>
                  <a:cxn ang="0">
                    <a:pos x="1" y="33"/>
                  </a:cxn>
                  <a:cxn ang="0">
                    <a:pos x="1" y="26"/>
                  </a:cxn>
                  <a:cxn ang="0">
                    <a:pos x="3" y="21"/>
                  </a:cxn>
                  <a:cxn ang="0">
                    <a:pos x="5" y="17"/>
                  </a:cxn>
                </a:cxnLst>
                <a:rect l="0" t="0" r="r" b="b"/>
                <a:pathLst>
                  <a:path w="20" h="38">
                    <a:moveTo>
                      <a:pt x="5" y="17"/>
                    </a:moveTo>
                    <a:lnTo>
                      <a:pt x="1" y="11"/>
                    </a:lnTo>
                    <a:lnTo>
                      <a:pt x="0" y="5"/>
                    </a:lnTo>
                    <a:lnTo>
                      <a:pt x="5" y="2"/>
                    </a:lnTo>
                    <a:lnTo>
                      <a:pt x="10" y="0"/>
                    </a:lnTo>
                    <a:lnTo>
                      <a:pt x="13" y="0"/>
                    </a:lnTo>
                    <a:lnTo>
                      <a:pt x="17" y="2"/>
                    </a:lnTo>
                    <a:lnTo>
                      <a:pt x="20" y="12"/>
                    </a:lnTo>
                    <a:lnTo>
                      <a:pt x="20" y="23"/>
                    </a:lnTo>
                    <a:lnTo>
                      <a:pt x="15" y="33"/>
                    </a:lnTo>
                    <a:lnTo>
                      <a:pt x="7" y="38"/>
                    </a:lnTo>
                    <a:lnTo>
                      <a:pt x="1" y="33"/>
                    </a:lnTo>
                    <a:lnTo>
                      <a:pt x="1" y="26"/>
                    </a:lnTo>
                    <a:lnTo>
                      <a:pt x="3" y="21"/>
                    </a:lnTo>
                    <a:lnTo>
                      <a:pt x="5"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9" name="Freeform 349"/>
              <p:cNvSpPr>
                <a:spLocks/>
              </p:cNvSpPr>
              <p:nvPr/>
            </p:nvSpPr>
            <p:spPr bwMode="auto">
              <a:xfrm>
                <a:off x="4375944" y="3052763"/>
                <a:ext cx="15875" cy="12700"/>
              </a:xfrm>
              <a:custGeom>
                <a:avLst/>
                <a:gdLst/>
                <a:ahLst/>
                <a:cxnLst>
                  <a:cxn ang="0">
                    <a:pos x="10" y="5"/>
                  </a:cxn>
                  <a:cxn ang="0">
                    <a:pos x="7" y="7"/>
                  </a:cxn>
                  <a:cxn ang="0">
                    <a:pos x="5" y="8"/>
                  </a:cxn>
                  <a:cxn ang="0">
                    <a:pos x="2" y="5"/>
                  </a:cxn>
                  <a:cxn ang="0">
                    <a:pos x="0" y="3"/>
                  </a:cxn>
                  <a:cxn ang="0">
                    <a:pos x="3" y="0"/>
                  </a:cxn>
                  <a:cxn ang="0">
                    <a:pos x="7" y="0"/>
                  </a:cxn>
                  <a:cxn ang="0">
                    <a:pos x="8" y="1"/>
                  </a:cxn>
                  <a:cxn ang="0">
                    <a:pos x="10" y="5"/>
                  </a:cxn>
                </a:cxnLst>
                <a:rect l="0" t="0" r="r" b="b"/>
                <a:pathLst>
                  <a:path w="10" h="8">
                    <a:moveTo>
                      <a:pt x="10" y="5"/>
                    </a:moveTo>
                    <a:lnTo>
                      <a:pt x="7" y="7"/>
                    </a:lnTo>
                    <a:lnTo>
                      <a:pt x="5" y="8"/>
                    </a:lnTo>
                    <a:lnTo>
                      <a:pt x="2" y="5"/>
                    </a:lnTo>
                    <a:lnTo>
                      <a:pt x="0" y="3"/>
                    </a:lnTo>
                    <a:lnTo>
                      <a:pt x="3" y="0"/>
                    </a:lnTo>
                    <a:lnTo>
                      <a:pt x="7" y="0"/>
                    </a:lnTo>
                    <a:lnTo>
                      <a:pt x="8" y="1"/>
                    </a:lnTo>
                    <a:lnTo>
                      <a:pt x="1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0" name="Freeform 350"/>
              <p:cNvSpPr>
                <a:spLocks/>
              </p:cNvSpPr>
              <p:nvPr/>
            </p:nvSpPr>
            <p:spPr bwMode="auto">
              <a:xfrm>
                <a:off x="4542632" y="2587625"/>
                <a:ext cx="19050" cy="25400"/>
              </a:xfrm>
              <a:custGeom>
                <a:avLst/>
                <a:gdLst/>
                <a:ahLst/>
                <a:cxnLst>
                  <a:cxn ang="0">
                    <a:pos x="10" y="12"/>
                  </a:cxn>
                  <a:cxn ang="0">
                    <a:pos x="1" y="11"/>
                  </a:cxn>
                  <a:cxn ang="0">
                    <a:pos x="0" y="5"/>
                  </a:cxn>
                  <a:cxn ang="0">
                    <a:pos x="0" y="2"/>
                  </a:cxn>
                  <a:cxn ang="0">
                    <a:pos x="0" y="0"/>
                  </a:cxn>
                  <a:cxn ang="0">
                    <a:pos x="8" y="0"/>
                  </a:cxn>
                  <a:cxn ang="0">
                    <a:pos x="10" y="5"/>
                  </a:cxn>
                  <a:cxn ang="0">
                    <a:pos x="12" y="11"/>
                  </a:cxn>
                  <a:cxn ang="0">
                    <a:pos x="10" y="14"/>
                  </a:cxn>
                  <a:cxn ang="0">
                    <a:pos x="10" y="16"/>
                  </a:cxn>
                  <a:cxn ang="0">
                    <a:pos x="10" y="14"/>
                  </a:cxn>
                  <a:cxn ang="0">
                    <a:pos x="10" y="12"/>
                  </a:cxn>
                </a:cxnLst>
                <a:rect l="0" t="0" r="r" b="b"/>
                <a:pathLst>
                  <a:path w="12" h="16">
                    <a:moveTo>
                      <a:pt x="10" y="12"/>
                    </a:moveTo>
                    <a:lnTo>
                      <a:pt x="1" y="11"/>
                    </a:lnTo>
                    <a:lnTo>
                      <a:pt x="0" y="5"/>
                    </a:lnTo>
                    <a:lnTo>
                      <a:pt x="0" y="2"/>
                    </a:lnTo>
                    <a:lnTo>
                      <a:pt x="0" y="0"/>
                    </a:lnTo>
                    <a:lnTo>
                      <a:pt x="8" y="0"/>
                    </a:lnTo>
                    <a:lnTo>
                      <a:pt x="10" y="5"/>
                    </a:lnTo>
                    <a:lnTo>
                      <a:pt x="12" y="11"/>
                    </a:lnTo>
                    <a:lnTo>
                      <a:pt x="10" y="14"/>
                    </a:lnTo>
                    <a:lnTo>
                      <a:pt x="10" y="16"/>
                    </a:lnTo>
                    <a:lnTo>
                      <a:pt x="10" y="14"/>
                    </a:lnTo>
                    <a:lnTo>
                      <a:pt x="10"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1" name="Freeform 351"/>
              <p:cNvSpPr>
                <a:spLocks/>
              </p:cNvSpPr>
              <p:nvPr/>
            </p:nvSpPr>
            <p:spPr bwMode="auto">
              <a:xfrm>
                <a:off x="4566444" y="2566988"/>
                <a:ext cx="36513" cy="50800"/>
              </a:xfrm>
              <a:custGeom>
                <a:avLst/>
                <a:gdLst/>
                <a:ahLst/>
                <a:cxnLst>
                  <a:cxn ang="0">
                    <a:pos x="4" y="29"/>
                  </a:cxn>
                  <a:cxn ang="0">
                    <a:pos x="7" y="25"/>
                  </a:cxn>
                  <a:cxn ang="0">
                    <a:pos x="11" y="22"/>
                  </a:cxn>
                  <a:cxn ang="0">
                    <a:pos x="2" y="18"/>
                  </a:cxn>
                  <a:cxn ang="0">
                    <a:pos x="0" y="15"/>
                  </a:cxn>
                  <a:cxn ang="0">
                    <a:pos x="2" y="5"/>
                  </a:cxn>
                  <a:cxn ang="0">
                    <a:pos x="9" y="0"/>
                  </a:cxn>
                  <a:cxn ang="0">
                    <a:pos x="17" y="1"/>
                  </a:cxn>
                  <a:cxn ang="0">
                    <a:pos x="23" y="12"/>
                  </a:cxn>
                  <a:cxn ang="0">
                    <a:pos x="17" y="15"/>
                  </a:cxn>
                  <a:cxn ang="0">
                    <a:pos x="16" y="22"/>
                  </a:cxn>
                  <a:cxn ang="0">
                    <a:pos x="12" y="29"/>
                  </a:cxn>
                  <a:cxn ang="0">
                    <a:pos x="7" y="32"/>
                  </a:cxn>
                  <a:cxn ang="0">
                    <a:pos x="2" y="31"/>
                  </a:cxn>
                  <a:cxn ang="0">
                    <a:pos x="0" y="29"/>
                  </a:cxn>
                  <a:cxn ang="0">
                    <a:pos x="0" y="27"/>
                  </a:cxn>
                  <a:cxn ang="0">
                    <a:pos x="2" y="27"/>
                  </a:cxn>
                  <a:cxn ang="0">
                    <a:pos x="4" y="29"/>
                  </a:cxn>
                </a:cxnLst>
                <a:rect l="0" t="0" r="r" b="b"/>
                <a:pathLst>
                  <a:path w="23" h="32">
                    <a:moveTo>
                      <a:pt x="4" y="29"/>
                    </a:moveTo>
                    <a:lnTo>
                      <a:pt x="7" y="25"/>
                    </a:lnTo>
                    <a:lnTo>
                      <a:pt x="11" y="22"/>
                    </a:lnTo>
                    <a:lnTo>
                      <a:pt x="2" y="18"/>
                    </a:lnTo>
                    <a:lnTo>
                      <a:pt x="0" y="15"/>
                    </a:lnTo>
                    <a:lnTo>
                      <a:pt x="2" y="5"/>
                    </a:lnTo>
                    <a:lnTo>
                      <a:pt x="9" y="0"/>
                    </a:lnTo>
                    <a:lnTo>
                      <a:pt x="17" y="1"/>
                    </a:lnTo>
                    <a:lnTo>
                      <a:pt x="23" y="12"/>
                    </a:lnTo>
                    <a:lnTo>
                      <a:pt x="17" y="15"/>
                    </a:lnTo>
                    <a:lnTo>
                      <a:pt x="16" y="22"/>
                    </a:lnTo>
                    <a:lnTo>
                      <a:pt x="12" y="29"/>
                    </a:lnTo>
                    <a:lnTo>
                      <a:pt x="7" y="32"/>
                    </a:lnTo>
                    <a:lnTo>
                      <a:pt x="2" y="31"/>
                    </a:lnTo>
                    <a:lnTo>
                      <a:pt x="0" y="29"/>
                    </a:lnTo>
                    <a:lnTo>
                      <a:pt x="0" y="27"/>
                    </a:lnTo>
                    <a:lnTo>
                      <a:pt x="2" y="27"/>
                    </a:lnTo>
                    <a:lnTo>
                      <a:pt x="4"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2" name="Freeform 352"/>
              <p:cNvSpPr>
                <a:spLocks/>
              </p:cNvSpPr>
              <p:nvPr/>
            </p:nvSpPr>
            <p:spPr bwMode="auto">
              <a:xfrm>
                <a:off x="4725194" y="2506663"/>
                <a:ext cx="19050" cy="30162"/>
              </a:xfrm>
              <a:custGeom>
                <a:avLst/>
                <a:gdLst/>
                <a:ahLst/>
                <a:cxnLst>
                  <a:cxn ang="0">
                    <a:pos x="9" y="7"/>
                  </a:cxn>
                  <a:cxn ang="0">
                    <a:pos x="5" y="12"/>
                  </a:cxn>
                  <a:cxn ang="0">
                    <a:pos x="2" y="19"/>
                  </a:cxn>
                  <a:cxn ang="0">
                    <a:pos x="0" y="15"/>
                  </a:cxn>
                  <a:cxn ang="0">
                    <a:pos x="2" y="14"/>
                  </a:cxn>
                  <a:cxn ang="0">
                    <a:pos x="3" y="5"/>
                  </a:cxn>
                  <a:cxn ang="0">
                    <a:pos x="12" y="0"/>
                  </a:cxn>
                  <a:cxn ang="0">
                    <a:pos x="10" y="3"/>
                  </a:cxn>
                  <a:cxn ang="0">
                    <a:pos x="9" y="7"/>
                  </a:cxn>
                </a:cxnLst>
                <a:rect l="0" t="0" r="r" b="b"/>
                <a:pathLst>
                  <a:path w="12" h="19">
                    <a:moveTo>
                      <a:pt x="9" y="7"/>
                    </a:moveTo>
                    <a:lnTo>
                      <a:pt x="5" y="12"/>
                    </a:lnTo>
                    <a:lnTo>
                      <a:pt x="2" y="19"/>
                    </a:lnTo>
                    <a:lnTo>
                      <a:pt x="0" y="15"/>
                    </a:lnTo>
                    <a:lnTo>
                      <a:pt x="2" y="14"/>
                    </a:lnTo>
                    <a:lnTo>
                      <a:pt x="3" y="5"/>
                    </a:lnTo>
                    <a:lnTo>
                      <a:pt x="12" y="0"/>
                    </a:lnTo>
                    <a:lnTo>
                      <a:pt x="10" y="3"/>
                    </a:lnTo>
                    <a:lnTo>
                      <a:pt x="9"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3" name="Freeform 353"/>
              <p:cNvSpPr>
                <a:spLocks/>
              </p:cNvSpPr>
              <p:nvPr/>
            </p:nvSpPr>
            <p:spPr bwMode="auto">
              <a:xfrm>
                <a:off x="4809332" y="2465388"/>
                <a:ext cx="26988" cy="38100"/>
              </a:xfrm>
              <a:custGeom>
                <a:avLst/>
                <a:gdLst/>
                <a:ahLst/>
                <a:cxnLst>
                  <a:cxn ang="0">
                    <a:pos x="14" y="12"/>
                  </a:cxn>
                  <a:cxn ang="0">
                    <a:pos x="14" y="15"/>
                  </a:cxn>
                  <a:cxn ang="0">
                    <a:pos x="14" y="19"/>
                  </a:cxn>
                  <a:cxn ang="0">
                    <a:pos x="9" y="21"/>
                  </a:cxn>
                  <a:cxn ang="0">
                    <a:pos x="5" y="24"/>
                  </a:cxn>
                  <a:cxn ang="0">
                    <a:pos x="0" y="21"/>
                  </a:cxn>
                  <a:cxn ang="0">
                    <a:pos x="0" y="15"/>
                  </a:cxn>
                  <a:cxn ang="0">
                    <a:pos x="5" y="14"/>
                  </a:cxn>
                  <a:cxn ang="0">
                    <a:pos x="11" y="12"/>
                  </a:cxn>
                  <a:cxn ang="0">
                    <a:pos x="9" y="9"/>
                  </a:cxn>
                  <a:cxn ang="0">
                    <a:pos x="7" y="5"/>
                  </a:cxn>
                  <a:cxn ang="0">
                    <a:pos x="9" y="2"/>
                  </a:cxn>
                  <a:cxn ang="0">
                    <a:pos x="12" y="0"/>
                  </a:cxn>
                  <a:cxn ang="0">
                    <a:pos x="14" y="3"/>
                  </a:cxn>
                  <a:cxn ang="0">
                    <a:pos x="17" y="5"/>
                  </a:cxn>
                  <a:cxn ang="0">
                    <a:pos x="16" y="9"/>
                  </a:cxn>
                  <a:cxn ang="0">
                    <a:pos x="14" y="12"/>
                  </a:cxn>
                </a:cxnLst>
                <a:rect l="0" t="0" r="r" b="b"/>
                <a:pathLst>
                  <a:path w="17" h="24">
                    <a:moveTo>
                      <a:pt x="14" y="12"/>
                    </a:moveTo>
                    <a:lnTo>
                      <a:pt x="14" y="15"/>
                    </a:lnTo>
                    <a:lnTo>
                      <a:pt x="14" y="19"/>
                    </a:lnTo>
                    <a:lnTo>
                      <a:pt x="9" y="21"/>
                    </a:lnTo>
                    <a:lnTo>
                      <a:pt x="5" y="24"/>
                    </a:lnTo>
                    <a:lnTo>
                      <a:pt x="0" y="21"/>
                    </a:lnTo>
                    <a:lnTo>
                      <a:pt x="0" y="15"/>
                    </a:lnTo>
                    <a:lnTo>
                      <a:pt x="5" y="14"/>
                    </a:lnTo>
                    <a:lnTo>
                      <a:pt x="11" y="12"/>
                    </a:lnTo>
                    <a:lnTo>
                      <a:pt x="9" y="9"/>
                    </a:lnTo>
                    <a:lnTo>
                      <a:pt x="7" y="5"/>
                    </a:lnTo>
                    <a:lnTo>
                      <a:pt x="9" y="2"/>
                    </a:lnTo>
                    <a:lnTo>
                      <a:pt x="12" y="0"/>
                    </a:lnTo>
                    <a:lnTo>
                      <a:pt x="14" y="3"/>
                    </a:lnTo>
                    <a:lnTo>
                      <a:pt x="17" y="5"/>
                    </a:lnTo>
                    <a:lnTo>
                      <a:pt x="16" y="9"/>
                    </a:lnTo>
                    <a:lnTo>
                      <a:pt x="1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4" name="Freeform 354"/>
              <p:cNvSpPr>
                <a:spLocks/>
              </p:cNvSpPr>
              <p:nvPr/>
            </p:nvSpPr>
            <p:spPr bwMode="auto">
              <a:xfrm>
                <a:off x="4858544" y="3170238"/>
                <a:ext cx="52388" cy="7937"/>
              </a:xfrm>
              <a:custGeom>
                <a:avLst/>
                <a:gdLst/>
                <a:ahLst/>
                <a:cxnLst>
                  <a:cxn ang="0">
                    <a:pos x="33" y="5"/>
                  </a:cxn>
                  <a:cxn ang="0">
                    <a:pos x="24" y="5"/>
                  </a:cxn>
                  <a:cxn ang="0">
                    <a:pos x="19" y="5"/>
                  </a:cxn>
                  <a:cxn ang="0">
                    <a:pos x="11" y="3"/>
                  </a:cxn>
                  <a:cxn ang="0">
                    <a:pos x="0" y="1"/>
                  </a:cxn>
                  <a:cxn ang="0">
                    <a:pos x="17" y="0"/>
                  </a:cxn>
                  <a:cxn ang="0">
                    <a:pos x="33" y="5"/>
                  </a:cxn>
                </a:cxnLst>
                <a:rect l="0" t="0" r="r" b="b"/>
                <a:pathLst>
                  <a:path w="33" h="5">
                    <a:moveTo>
                      <a:pt x="33" y="5"/>
                    </a:moveTo>
                    <a:lnTo>
                      <a:pt x="24" y="5"/>
                    </a:lnTo>
                    <a:lnTo>
                      <a:pt x="19" y="5"/>
                    </a:lnTo>
                    <a:lnTo>
                      <a:pt x="11" y="3"/>
                    </a:lnTo>
                    <a:lnTo>
                      <a:pt x="0" y="1"/>
                    </a:lnTo>
                    <a:lnTo>
                      <a:pt x="17" y="0"/>
                    </a:lnTo>
                    <a:lnTo>
                      <a:pt x="3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5" name="Freeform 355"/>
              <p:cNvSpPr>
                <a:spLocks/>
              </p:cNvSpPr>
              <p:nvPr/>
            </p:nvSpPr>
            <p:spPr bwMode="auto">
              <a:xfrm>
                <a:off x="5052219" y="3160713"/>
                <a:ext cx="49213" cy="25400"/>
              </a:xfrm>
              <a:custGeom>
                <a:avLst/>
                <a:gdLst/>
                <a:ahLst/>
                <a:cxnLst>
                  <a:cxn ang="0">
                    <a:pos x="7" y="16"/>
                  </a:cxn>
                  <a:cxn ang="0">
                    <a:pos x="4" y="14"/>
                  </a:cxn>
                  <a:cxn ang="0">
                    <a:pos x="0" y="12"/>
                  </a:cxn>
                  <a:cxn ang="0">
                    <a:pos x="0" y="11"/>
                  </a:cxn>
                  <a:cxn ang="0">
                    <a:pos x="14" y="4"/>
                  </a:cxn>
                  <a:cxn ang="0">
                    <a:pos x="31" y="0"/>
                  </a:cxn>
                  <a:cxn ang="0">
                    <a:pos x="28" y="4"/>
                  </a:cxn>
                  <a:cxn ang="0">
                    <a:pos x="24" y="6"/>
                  </a:cxn>
                  <a:cxn ang="0">
                    <a:pos x="23" y="7"/>
                  </a:cxn>
                  <a:cxn ang="0">
                    <a:pos x="23" y="11"/>
                  </a:cxn>
                  <a:cxn ang="0">
                    <a:pos x="16" y="14"/>
                  </a:cxn>
                  <a:cxn ang="0">
                    <a:pos x="7" y="16"/>
                  </a:cxn>
                </a:cxnLst>
                <a:rect l="0" t="0" r="r" b="b"/>
                <a:pathLst>
                  <a:path w="31" h="16">
                    <a:moveTo>
                      <a:pt x="7" y="16"/>
                    </a:moveTo>
                    <a:lnTo>
                      <a:pt x="4" y="14"/>
                    </a:lnTo>
                    <a:lnTo>
                      <a:pt x="0" y="12"/>
                    </a:lnTo>
                    <a:lnTo>
                      <a:pt x="0" y="11"/>
                    </a:lnTo>
                    <a:lnTo>
                      <a:pt x="14" y="4"/>
                    </a:lnTo>
                    <a:lnTo>
                      <a:pt x="31" y="0"/>
                    </a:lnTo>
                    <a:lnTo>
                      <a:pt x="28" y="4"/>
                    </a:lnTo>
                    <a:lnTo>
                      <a:pt x="24" y="6"/>
                    </a:lnTo>
                    <a:lnTo>
                      <a:pt x="23" y="7"/>
                    </a:lnTo>
                    <a:lnTo>
                      <a:pt x="23" y="11"/>
                    </a:lnTo>
                    <a:lnTo>
                      <a:pt x="16" y="14"/>
                    </a:lnTo>
                    <a:lnTo>
                      <a:pt x="7"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6" name="Freeform 356"/>
              <p:cNvSpPr>
                <a:spLocks/>
              </p:cNvSpPr>
              <p:nvPr/>
            </p:nvSpPr>
            <p:spPr bwMode="auto">
              <a:xfrm>
                <a:off x="5530057" y="3729038"/>
                <a:ext cx="25400" cy="11112"/>
              </a:xfrm>
              <a:custGeom>
                <a:avLst/>
                <a:gdLst/>
                <a:ahLst/>
                <a:cxnLst>
                  <a:cxn ang="0">
                    <a:pos x="0" y="4"/>
                  </a:cxn>
                  <a:cxn ang="0">
                    <a:pos x="4" y="5"/>
                  </a:cxn>
                  <a:cxn ang="0">
                    <a:pos x="7" y="7"/>
                  </a:cxn>
                  <a:cxn ang="0">
                    <a:pos x="11" y="4"/>
                  </a:cxn>
                  <a:cxn ang="0">
                    <a:pos x="16" y="0"/>
                  </a:cxn>
                  <a:cxn ang="0">
                    <a:pos x="7" y="0"/>
                  </a:cxn>
                  <a:cxn ang="0">
                    <a:pos x="0" y="4"/>
                  </a:cxn>
                </a:cxnLst>
                <a:rect l="0" t="0" r="r" b="b"/>
                <a:pathLst>
                  <a:path w="16" h="7">
                    <a:moveTo>
                      <a:pt x="0" y="4"/>
                    </a:moveTo>
                    <a:lnTo>
                      <a:pt x="4" y="5"/>
                    </a:lnTo>
                    <a:lnTo>
                      <a:pt x="7" y="7"/>
                    </a:lnTo>
                    <a:lnTo>
                      <a:pt x="11" y="4"/>
                    </a:lnTo>
                    <a:lnTo>
                      <a:pt x="16" y="0"/>
                    </a:lnTo>
                    <a:lnTo>
                      <a:pt x="7" y="0"/>
                    </a:lnTo>
                    <a:lnTo>
                      <a:pt x="0"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7" name="Freeform 357"/>
              <p:cNvSpPr>
                <a:spLocks/>
              </p:cNvSpPr>
              <p:nvPr/>
            </p:nvSpPr>
            <p:spPr bwMode="auto">
              <a:xfrm>
                <a:off x="5407819" y="2081213"/>
                <a:ext cx="49213" cy="34925"/>
              </a:xfrm>
              <a:custGeom>
                <a:avLst/>
                <a:gdLst/>
                <a:ahLst/>
                <a:cxnLst>
                  <a:cxn ang="0">
                    <a:pos x="7" y="5"/>
                  </a:cxn>
                  <a:cxn ang="0">
                    <a:pos x="9" y="1"/>
                  </a:cxn>
                  <a:cxn ang="0">
                    <a:pos x="12" y="0"/>
                  </a:cxn>
                  <a:cxn ang="0">
                    <a:pos x="21" y="3"/>
                  </a:cxn>
                  <a:cxn ang="0">
                    <a:pos x="31" y="6"/>
                  </a:cxn>
                  <a:cxn ang="0">
                    <a:pos x="31" y="13"/>
                  </a:cxn>
                  <a:cxn ang="0">
                    <a:pos x="19" y="18"/>
                  </a:cxn>
                  <a:cxn ang="0">
                    <a:pos x="9" y="22"/>
                  </a:cxn>
                  <a:cxn ang="0">
                    <a:pos x="2" y="20"/>
                  </a:cxn>
                  <a:cxn ang="0">
                    <a:pos x="0" y="17"/>
                  </a:cxn>
                  <a:cxn ang="0">
                    <a:pos x="2" y="10"/>
                  </a:cxn>
                  <a:cxn ang="0">
                    <a:pos x="7" y="5"/>
                  </a:cxn>
                </a:cxnLst>
                <a:rect l="0" t="0" r="r" b="b"/>
                <a:pathLst>
                  <a:path w="31" h="22">
                    <a:moveTo>
                      <a:pt x="7" y="5"/>
                    </a:moveTo>
                    <a:lnTo>
                      <a:pt x="9" y="1"/>
                    </a:lnTo>
                    <a:lnTo>
                      <a:pt x="12" y="0"/>
                    </a:lnTo>
                    <a:lnTo>
                      <a:pt x="21" y="3"/>
                    </a:lnTo>
                    <a:lnTo>
                      <a:pt x="31" y="6"/>
                    </a:lnTo>
                    <a:lnTo>
                      <a:pt x="31" y="13"/>
                    </a:lnTo>
                    <a:lnTo>
                      <a:pt x="19" y="18"/>
                    </a:lnTo>
                    <a:lnTo>
                      <a:pt x="9" y="22"/>
                    </a:lnTo>
                    <a:lnTo>
                      <a:pt x="2" y="20"/>
                    </a:lnTo>
                    <a:lnTo>
                      <a:pt x="0" y="17"/>
                    </a:lnTo>
                    <a:lnTo>
                      <a:pt x="2"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8" name="Freeform 358"/>
              <p:cNvSpPr>
                <a:spLocks/>
              </p:cNvSpPr>
              <p:nvPr/>
            </p:nvSpPr>
            <p:spPr bwMode="auto">
              <a:xfrm>
                <a:off x="5647532" y="2047875"/>
                <a:ext cx="41275" cy="26987"/>
              </a:xfrm>
              <a:custGeom>
                <a:avLst/>
                <a:gdLst/>
                <a:ahLst/>
                <a:cxnLst>
                  <a:cxn ang="0">
                    <a:pos x="26" y="14"/>
                  </a:cxn>
                  <a:cxn ang="0">
                    <a:pos x="23" y="17"/>
                  </a:cxn>
                  <a:cxn ang="0">
                    <a:pos x="19" y="17"/>
                  </a:cxn>
                  <a:cxn ang="0">
                    <a:pos x="7" y="12"/>
                  </a:cxn>
                  <a:cxn ang="0">
                    <a:pos x="0" y="5"/>
                  </a:cxn>
                  <a:cxn ang="0">
                    <a:pos x="4" y="0"/>
                  </a:cxn>
                  <a:cxn ang="0">
                    <a:pos x="12" y="2"/>
                  </a:cxn>
                  <a:cxn ang="0">
                    <a:pos x="21" y="5"/>
                  </a:cxn>
                  <a:cxn ang="0">
                    <a:pos x="26" y="14"/>
                  </a:cxn>
                </a:cxnLst>
                <a:rect l="0" t="0" r="r" b="b"/>
                <a:pathLst>
                  <a:path w="26" h="17">
                    <a:moveTo>
                      <a:pt x="26" y="14"/>
                    </a:moveTo>
                    <a:lnTo>
                      <a:pt x="23" y="17"/>
                    </a:lnTo>
                    <a:lnTo>
                      <a:pt x="19" y="17"/>
                    </a:lnTo>
                    <a:lnTo>
                      <a:pt x="7" y="12"/>
                    </a:lnTo>
                    <a:lnTo>
                      <a:pt x="0" y="5"/>
                    </a:lnTo>
                    <a:lnTo>
                      <a:pt x="4" y="0"/>
                    </a:lnTo>
                    <a:lnTo>
                      <a:pt x="12" y="2"/>
                    </a:lnTo>
                    <a:lnTo>
                      <a:pt x="21" y="5"/>
                    </a:lnTo>
                    <a:lnTo>
                      <a:pt x="26"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9" name="Freeform 359"/>
              <p:cNvSpPr>
                <a:spLocks/>
              </p:cNvSpPr>
              <p:nvPr/>
            </p:nvSpPr>
            <p:spPr bwMode="auto">
              <a:xfrm>
                <a:off x="5909469" y="1908175"/>
                <a:ext cx="36513" cy="25400"/>
              </a:xfrm>
              <a:custGeom>
                <a:avLst/>
                <a:gdLst/>
                <a:ahLst/>
                <a:cxnLst>
                  <a:cxn ang="0">
                    <a:pos x="2" y="16"/>
                  </a:cxn>
                  <a:cxn ang="0">
                    <a:pos x="12" y="12"/>
                  </a:cxn>
                  <a:cxn ang="0">
                    <a:pos x="23" y="10"/>
                  </a:cxn>
                  <a:cxn ang="0">
                    <a:pos x="16" y="4"/>
                  </a:cxn>
                  <a:cxn ang="0">
                    <a:pos x="11" y="0"/>
                  </a:cxn>
                  <a:cxn ang="0">
                    <a:pos x="4" y="4"/>
                  </a:cxn>
                  <a:cxn ang="0">
                    <a:pos x="2" y="10"/>
                  </a:cxn>
                  <a:cxn ang="0">
                    <a:pos x="0" y="12"/>
                  </a:cxn>
                  <a:cxn ang="0">
                    <a:pos x="2" y="16"/>
                  </a:cxn>
                </a:cxnLst>
                <a:rect l="0" t="0" r="r" b="b"/>
                <a:pathLst>
                  <a:path w="23" h="16">
                    <a:moveTo>
                      <a:pt x="2" y="16"/>
                    </a:moveTo>
                    <a:lnTo>
                      <a:pt x="12" y="12"/>
                    </a:lnTo>
                    <a:lnTo>
                      <a:pt x="23" y="10"/>
                    </a:lnTo>
                    <a:lnTo>
                      <a:pt x="16" y="4"/>
                    </a:lnTo>
                    <a:lnTo>
                      <a:pt x="11" y="0"/>
                    </a:lnTo>
                    <a:lnTo>
                      <a:pt x="4" y="4"/>
                    </a:lnTo>
                    <a:lnTo>
                      <a:pt x="2" y="10"/>
                    </a:lnTo>
                    <a:lnTo>
                      <a:pt x="0" y="12"/>
                    </a:lnTo>
                    <a:lnTo>
                      <a:pt x="2"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0" name="Freeform 360"/>
              <p:cNvSpPr>
                <a:spLocks/>
              </p:cNvSpPr>
              <p:nvPr/>
            </p:nvSpPr>
            <p:spPr bwMode="auto">
              <a:xfrm>
                <a:off x="7527132" y="1885950"/>
                <a:ext cx="76200" cy="30162"/>
              </a:xfrm>
              <a:custGeom>
                <a:avLst/>
                <a:gdLst/>
                <a:ahLst/>
                <a:cxnLst>
                  <a:cxn ang="0">
                    <a:pos x="0" y="14"/>
                  </a:cxn>
                  <a:cxn ang="0">
                    <a:pos x="8" y="4"/>
                  </a:cxn>
                  <a:cxn ang="0">
                    <a:pos x="24" y="0"/>
                  </a:cxn>
                  <a:cxn ang="0">
                    <a:pos x="32" y="0"/>
                  </a:cxn>
                  <a:cxn ang="0">
                    <a:pos x="41" y="6"/>
                  </a:cxn>
                  <a:cxn ang="0">
                    <a:pos x="44" y="11"/>
                  </a:cxn>
                  <a:cxn ang="0">
                    <a:pos x="48" y="19"/>
                  </a:cxn>
                  <a:cxn ang="0">
                    <a:pos x="32" y="19"/>
                  </a:cxn>
                  <a:cxn ang="0">
                    <a:pos x="17" y="14"/>
                  </a:cxn>
                  <a:cxn ang="0">
                    <a:pos x="1" y="12"/>
                  </a:cxn>
                  <a:cxn ang="0">
                    <a:pos x="0" y="14"/>
                  </a:cxn>
                </a:cxnLst>
                <a:rect l="0" t="0" r="r" b="b"/>
                <a:pathLst>
                  <a:path w="48" h="19">
                    <a:moveTo>
                      <a:pt x="0" y="14"/>
                    </a:moveTo>
                    <a:lnTo>
                      <a:pt x="8" y="4"/>
                    </a:lnTo>
                    <a:lnTo>
                      <a:pt x="24" y="0"/>
                    </a:lnTo>
                    <a:lnTo>
                      <a:pt x="32" y="0"/>
                    </a:lnTo>
                    <a:lnTo>
                      <a:pt x="41" y="6"/>
                    </a:lnTo>
                    <a:lnTo>
                      <a:pt x="44" y="11"/>
                    </a:lnTo>
                    <a:lnTo>
                      <a:pt x="48" y="19"/>
                    </a:lnTo>
                    <a:lnTo>
                      <a:pt x="32" y="19"/>
                    </a:lnTo>
                    <a:lnTo>
                      <a:pt x="17" y="14"/>
                    </a:lnTo>
                    <a:lnTo>
                      <a:pt x="1" y="12"/>
                    </a:lnTo>
                    <a:lnTo>
                      <a:pt x="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1" name="Freeform 361"/>
              <p:cNvSpPr>
                <a:spLocks/>
              </p:cNvSpPr>
              <p:nvPr/>
            </p:nvSpPr>
            <p:spPr bwMode="auto">
              <a:xfrm>
                <a:off x="7671594" y="1809750"/>
                <a:ext cx="103188" cy="38100"/>
              </a:xfrm>
              <a:custGeom>
                <a:avLst/>
                <a:gdLst/>
                <a:ahLst/>
                <a:cxnLst>
                  <a:cxn ang="0">
                    <a:pos x="0" y="0"/>
                  </a:cxn>
                  <a:cxn ang="0">
                    <a:pos x="2" y="0"/>
                  </a:cxn>
                  <a:cxn ang="0">
                    <a:pos x="8" y="2"/>
                  </a:cxn>
                  <a:cxn ang="0">
                    <a:pos x="19" y="4"/>
                  </a:cxn>
                  <a:cxn ang="0">
                    <a:pos x="29" y="5"/>
                  </a:cxn>
                  <a:cxn ang="0">
                    <a:pos x="39" y="7"/>
                  </a:cxn>
                  <a:cxn ang="0">
                    <a:pos x="50" y="9"/>
                  </a:cxn>
                  <a:cxn ang="0">
                    <a:pos x="55" y="9"/>
                  </a:cxn>
                  <a:cxn ang="0">
                    <a:pos x="60" y="11"/>
                  </a:cxn>
                  <a:cxn ang="0">
                    <a:pos x="62" y="12"/>
                  </a:cxn>
                  <a:cxn ang="0">
                    <a:pos x="65" y="16"/>
                  </a:cxn>
                  <a:cxn ang="0">
                    <a:pos x="62" y="17"/>
                  </a:cxn>
                  <a:cxn ang="0">
                    <a:pos x="55" y="21"/>
                  </a:cxn>
                  <a:cxn ang="0">
                    <a:pos x="48" y="23"/>
                  </a:cxn>
                  <a:cxn ang="0">
                    <a:pos x="41" y="24"/>
                  </a:cxn>
                  <a:cxn ang="0">
                    <a:pos x="29" y="23"/>
                  </a:cxn>
                  <a:cxn ang="0">
                    <a:pos x="17" y="19"/>
                  </a:cxn>
                  <a:cxn ang="0">
                    <a:pos x="8" y="12"/>
                  </a:cxn>
                  <a:cxn ang="0">
                    <a:pos x="5" y="5"/>
                  </a:cxn>
                  <a:cxn ang="0">
                    <a:pos x="0" y="0"/>
                  </a:cxn>
                </a:cxnLst>
                <a:rect l="0" t="0" r="r" b="b"/>
                <a:pathLst>
                  <a:path w="65" h="24">
                    <a:moveTo>
                      <a:pt x="0" y="0"/>
                    </a:moveTo>
                    <a:lnTo>
                      <a:pt x="2" y="0"/>
                    </a:lnTo>
                    <a:lnTo>
                      <a:pt x="8" y="2"/>
                    </a:lnTo>
                    <a:lnTo>
                      <a:pt x="19" y="4"/>
                    </a:lnTo>
                    <a:lnTo>
                      <a:pt x="29" y="5"/>
                    </a:lnTo>
                    <a:lnTo>
                      <a:pt x="39" y="7"/>
                    </a:lnTo>
                    <a:lnTo>
                      <a:pt x="50" y="9"/>
                    </a:lnTo>
                    <a:lnTo>
                      <a:pt x="55" y="9"/>
                    </a:lnTo>
                    <a:lnTo>
                      <a:pt x="60" y="11"/>
                    </a:lnTo>
                    <a:lnTo>
                      <a:pt x="62" y="12"/>
                    </a:lnTo>
                    <a:lnTo>
                      <a:pt x="65" y="16"/>
                    </a:lnTo>
                    <a:lnTo>
                      <a:pt x="62" y="17"/>
                    </a:lnTo>
                    <a:lnTo>
                      <a:pt x="55" y="21"/>
                    </a:lnTo>
                    <a:lnTo>
                      <a:pt x="48" y="23"/>
                    </a:lnTo>
                    <a:lnTo>
                      <a:pt x="41" y="24"/>
                    </a:lnTo>
                    <a:lnTo>
                      <a:pt x="29" y="23"/>
                    </a:lnTo>
                    <a:lnTo>
                      <a:pt x="17" y="19"/>
                    </a:lnTo>
                    <a:lnTo>
                      <a:pt x="8" y="12"/>
                    </a:lnTo>
                    <a:lnTo>
                      <a:pt x="5" y="5"/>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2" name="Freeform 362"/>
              <p:cNvSpPr>
                <a:spLocks/>
              </p:cNvSpPr>
              <p:nvPr/>
            </p:nvSpPr>
            <p:spPr bwMode="auto">
              <a:xfrm>
                <a:off x="7523957" y="1865313"/>
                <a:ext cx="22225" cy="20637"/>
              </a:xfrm>
              <a:custGeom>
                <a:avLst/>
                <a:gdLst/>
                <a:ahLst/>
                <a:cxnLst>
                  <a:cxn ang="0">
                    <a:pos x="14" y="7"/>
                  </a:cxn>
                  <a:cxn ang="0">
                    <a:pos x="10" y="10"/>
                  </a:cxn>
                  <a:cxn ang="0">
                    <a:pos x="7" y="13"/>
                  </a:cxn>
                  <a:cxn ang="0">
                    <a:pos x="0" y="10"/>
                  </a:cxn>
                  <a:cxn ang="0">
                    <a:pos x="0" y="7"/>
                  </a:cxn>
                  <a:cxn ang="0">
                    <a:pos x="2" y="0"/>
                  </a:cxn>
                  <a:cxn ang="0">
                    <a:pos x="7" y="0"/>
                  </a:cxn>
                  <a:cxn ang="0">
                    <a:pos x="10" y="1"/>
                  </a:cxn>
                  <a:cxn ang="0">
                    <a:pos x="14" y="7"/>
                  </a:cxn>
                </a:cxnLst>
                <a:rect l="0" t="0" r="r" b="b"/>
                <a:pathLst>
                  <a:path w="14" h="13">
                    <a:moveTo>
                      <a:pt x="14" y="7"/>
                    </a:moveTo>
                    <a:lnTo>
                      <a:pt x="10" y="10"/>
                    </a:lnTo>
                    <a:lnTo>
                      <a:pt x="7" y="13"/>
                    </a:lnTo>
                    <a:lnTo>
                      <a:pt x="0" y="10"/>
                    </a:lnTo>
                    <a:lnTo>
                      <a:pt x="0" y="7"/>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3" name="Freeform 363"/>
              <p:cNvSpPr>
                <a:spLocks/>
              </p:cNvSpPr>
              <p:nvPr/>
            </p:nvSpPr>
            <p:spPr bwMode="auto">
              <a:xfrm>
                <a:off x="2840832" y="2768600"/>
                <a:ext cx="57150" cy="26987"/>
              </a:xfrm>
              <a:custGeom>
                <a:avLst/>
                <a:gdLst/>
                <a:ahLst/>
                <a:cxnLst>
                  <a:cxn ang="0">
                    <a:pos x="29" y="17"/>
                  </a:cxn>
                  <a:cxn ang="0">
                    <a:pos x="33" y="15"/>
                  </a:cxn>
                  <a:cxn ang="0">
                    <a:pos x="36" y="14"/>
                  </a:cxn>
                  <a:cxn ang="0">
                    <a:pos x="28" y="8"/>
                  </a:cxn>
                  <a:cxn ang="0">
                    <a:pos x="19" y="3"/>
                  </a:cxn>
                  <a:cxn ang="0">
                    <a:pos x="9" y="0"/>
                  </a:cxn>
                  <a:cxn ang="0">
                    <a:pos x="0" y="2"/>
                  </a:cxn>
                  <a:cxn ang="0">
                    <a:pos x="5" y="5"/>
                  </a:cxn>
                  <a:cxn ang="0">
                    <a:pos x="14" y="10"/>
                  </a:cxn>
                  <a:cxn ang="0">
                    <a:pos x="21" y="14"/>
                  </a:cxn>
                  <a:cxn ang="0">
                    <a:pos x="29" y="17"/>
                  </a:cxn>
                </a:cxnLst>
                <a:rect l="0" t="0" r="r" b="b"/>
                <a:pathLst>
                  <a:path w="36" h="17">
                    <a:moveTo>
                      <a:pt x="29" y="17"/>
                    </a:moveTo>
                    <a:lnTo>
                      <a:pt x="33" y="15"/>
                    </a:lnTo>
                    <a:lnTo>
                      <a:pt x="36" y="14"/>
                    </a:lnTo>
                    <a:lnTo>
                      <a:pt x="28" y="8"/>
                    </a:lnTo>
                    <a:lnTo>
                      <a:pt x="19" y="3"/>
                    </a:lnTo>
                    <a:lnTo>
                      <a:pt x="9" y="0"/>
                    </a:lnTo>
                    <a:lnTo>
                      <a:pt x="0" y="2"/>
                    </a:lnTo>
                    <a:lnTo>
                      <a:pt x="5" y="5"/>
                    </a:lnTo>
                    <a:lnTo>
                      <a:pt x="14" y="10"/>
                    </a:lnTo>
                    <a:lnTo>
                      <a:pt x="21" y="14"/>
                    </a:lnTo>
                    <a:lnTo>
                      <a:pt x="29"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4" name="Freeform 364"/>
              <p:cNvSpPr>
                <a:spLocks/>
              </p:cNvSpPr>
              <p:nvPr/>
            </p:nvSpPr>
            <p:spPr bwMode="auto">
              <a:xfrm>
                <a:off x="2847182" y="2859088"/>
                <a:ext cx="42863" cy="26987"/>
              </a:xfrm>
              <a:custGeom>
                <a:avLst/>
                <a:gdLst/>
                <a:ahLst/>
                <a:cxnLst>
                  <a:cxn ang="0">
                    <a:pos x="1" y="0"/>
                  </a:cxn>
                  <a:cxn ang="0">
                    <a:pos x="5" y="5"/>
                  </a:cxn>
                  <a:cxn ang="0">
                    <a:pos x="12" y="8"/>
                  </a:cxn>
                  <a:cxn ang="0">
                    <a:pos x="27" y="8"/>
                  </a:cxn>
                  <a:cxn ang="0">
                    <a:pos x="27" y="12"/>
                  </a:cxn>
                  <a:cxn ang="0">
                    <a:pos x="24" y="13"/>
                  </a:cxn>
                  <a:cxn ang="0">
                    <a:pos x="20" y="17"/>
                  </a:cxn>
                  <a:cxn ang="0">
                    <a:pos x="15" y="13"/>
                  </a:cxn>
                  <a:cxn ang="0">
                    <a:pos x="8" y="10"/>
                  </a:cxn>
                  <a:cxn ang="0">
                    <a:pos x="1" y="6"/>
                  </a:cxn>
                  <a:cxn ang="0">
                    <a:pos x="0" y="3"/>
                  </a:cxn>
                  <a:cxn ang="0">
                    <a:pos x="0" y="0"/>
                  </a:cxn>
                  <a:cxn ang="0">
                    <a:pos x="1" y="0"/>
                  </a:cxn>
                </a:cxnLst>
                <a:rect l="0" t="0" r="r" b="b"/>
                <a:pathLst>
                  <a:path w="27" h="17">
                    <a:moveTo>
                      <a:pt x="1" y="0"/>
                    </a:moveTo>
                    <a:lnTo>
                      <a:pt x="5" y="5"/>
                    </a:lnTo>
                    <a:lnTo>
                      <a:pt x="12" y="8"/>
                    </a:lnTo>
                    <a:lnTo>
                      <a:pt x="27" y="8"/>
                    </a:lnTo>
                    <a:lnTo>
                      <a:pt x="27" y="12"/>
                    </a:lnTo>
                    <a:lnTo>
                      <a:pt x="24" y="13"/>
                    </a:lnTo>
                    <a:lnTo>
                      <a:pt x="20" y="17"/>
                    </a:lnTo>
                    <a:lnTo>
                      <a:pt x="15" y="13"/>
                    </a:lnTo>
                    <a:lnTo>
                      <a:pt x="8" y="10"/>
                    </a:lnTo>
                    <a:lnTo>
                      <a:pt x="1" y="6"/>
                    </a:lnTo>
                    <a:lnTo>
                      <a:pt x="0" y="3"/>
                    </a:lnTo>
                    <a:lnTo>
                      <a:pt x="0" y="0"/>
                    </a:lnTo>
                    <a:lnTo>
                      <a:pt x="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5" name="Freeform 365"/>
              <p:cNvSpPr>
                <a:spLocks/>
              </p:cNvSpPr>
              <p:nvPr/>
            </p:nvSpPr>
            <p:spPr bwMode="auto">
              <a:xfrm>
                <a:off x="2909094" y="2859088"/>
                <a:ext cx="33338" cy="38100"/>
              </a:xfrm>
              <a:custGeom>
                <a:avLst/>
                <a:gdLst/>
                <a:ahLst/>
                <a:cxnLst>
                  <a:cxn ang="0">
                    <a:pos x="21" y="13"/>
                  </a:cxn>
                  <a:cxn ang="0">
                    <a:pos x="21" y="17"/>
                  </a:cxn>
                  <a:cxn ang="0">
                    <a:pos x="16" y="20"/>
                  </a:cxn>
                  <a:cxn ang="0">
                    <a:pos x="9" y="24"/>
                  </a:cxn>
                  <a:cxn ang="0">
                    <a:pos x="2" y="20"/>
                  </a:cxn>
                  <a:cxn ang="0">
                    <a:pos x="0" y="17"/>
                  </a:cxn>
                  <a:cxn ang="0">
                    <a:pos x="0" y="12"/>
                  </a:cxn>
                  <a:cxn ang="0">
                    <a:pos x="4" y="8"/>
                  </a:cxn>
                  <a:cxn ang="0">
                    <a:pos x="7" y="1"/>
                  </a:cxn>
                  <a:cxn ang="0">
                    <a:pos x="12" y="0"/>
                  </a:cxn>
                  <a:cxn ang="0">
                    <a:pos x="14" y="1"/>
                  </a:cxn>
                  <a:cxn ang="0">
                    <a:pos x="16" y="5"/>
                  </a:cxn>
                  <a:cxn ang="0">
                    <a:pos x="12" y="10"/>
                  </a:cxn>
                  <a:cxn ang="0">
                    <a:pos x="21" y="13"/>
                  </a:cxn>
                </a:cxnLst>
                <a:rect l="0" t="0" r="r" b="b"/>
                <a:pathLst>
                  <a:path w="21" h="24">
                    <a:moveTo>
                      <a:pt x="21" y="13"/>
                    </a:moveTo>
                    <a:lnTo>
                      <a:pt x="21" y="17"/>
                    </a:lnTo>
                    <a:lnTo>
                      <a:pt x="16" y="20"/>
                    </a:lnTo>
                    <a:lnTo>
                      <a:pt x="9" y="24"/>
                    </a:lnTo>
                    <a:lnTo>
                      <a:pt x="2" y="20"/>
                    </a:lnTo>
                    <a:lnTo>
                      <a:pt x="0" y="17"/>
                    </a:lnTo>
                    <a:lnTo>
                      <a:pt x="0" y="12"/>
                    </a:lnTo>
                    <a:lnTo>
                      <a:pt x="4" y="8"/>
                    </a:lnTo>
                    <a:lnTo>
                      <a:pt x="7" y="1"/>
                    </a:lnTo>
                    <a:lnTo>
                      <a:pt x="12" y="0"/>
                    </a:lnTo>
                    <a:lnTo>
                      <a:pt x="14" y="1"/>
                    </a:lnTo>
                    <a:lnTo>
                      <a:pt x="16" y="5"/>
                    </a:lnTo>
                    <a:lnTo>
                      <a:pt x="12" y="10"/>
                    </a:lnTo>
                    <a:lnTo>
                      <a:pt x="21"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6" name="Freeform 366"/>
              <p:cNvSpPr>
                <a:spLocks/>
              </p:cNvSpPr>
              <p:nvPr/>
            </p:nvSpPr>
            <p:spPr bwMode="auto">
              <a:xfrm>
                <a:off x="484982" y="2438400"/>
                <a:ext cx="34925" cy="15875"/>
              </a:xfrm>
              <a:custGeom>
                <a:avLst/>
                <a:gdLst/>
                <a:ahLst/>
                <a:cxnLst>
                  <a:cxn ang="0">
                    <a:pos x="7" y="5"/>
                  </a:cxn>
                  <a:cxn ang="0">
                    <a:pos x="9" y="0"/>
                  </a:cxn>
                  <a:cxn ang="0">
                    <a:pos x="15" y="1"/>
                  </a:cxn>
                  <a:cxn ang="0">
                    <a:pos x="21" y="3"/>
                  </a:cxn>
                  <a:cxn ang="0">
                    <a:pos x="22" y="10"/>
                  </a:cxn>
                  <a:cxn ang="0">
                    <a:pos x="5" y="10"/>
                  </a:cxn>
                  <a:cxn ang="0">
                    <a:pos x="2" y="7"/>
                  </a:cxn>
                  <a:cxn ang="0">
                    <a:pos x="0" y="5"/>
                  </a:cxn>
                  <a:cxn ang="0">
                    <a:pos x="7" y="5"/>
                  </a:cxn>
                </a:cxnLst>
                <a:rect l="0" t="0" r="r" b="b"/>
                <a:pathLst>
                  <a:path w="22" h="10">
                    <a:moveTo>
                      <a:pt x="7" y="5"/>
                    </a:moveTo>
                    <a:lnTo>
                      <a:pt x="9" y="0"/>
                    </a:lnTo>
                    <a:lnTo>
                      <a:pt x="15" y="1"/>
                    </a:lnTo>
                    <a:lnTo>
                      <a:pt x="21" y="3"/>
                    </a:lnTo>
                    <a:lnTo>
                      <a:pt x="22" y="10"/>
                    </a:lnTo>
                    <a:lnTo>
                      <a:pt x="5" y="10"/>
                    </a:lnTo>
                    <a:lnTo>
                      <a:pt x="2" y="7"/>
                    </a:lnTo>
                    <a:lnTo>
                      <a:pt x="0" y="5"/>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7" name="Freeform 367"/>
              <p:cNvSpPr>
                <a:spLocks/>
              </p:cNvSpPr>
              <p:nvPr/>
            </p:nvSpPr>
            <p:spPr bwMode="auto">
              <a:xfrm>
                <a:off x="751682" y="3579813"/>
                <a:ext cx="20638" cy="15875"/>
              </a:xfrm>
              <a:custGeom>
                <a:avLst/>
                <a:gdLst/>
                <a:ahLst/>
                <a:cxnLst>
                  <a:cxn ang="0">
                    <a:pos x="13" y="5"/>
                  </a:cxn>
                  <a:cxn ang="0">
                    <a:pos x="13" y="8"/>
                  </a:cxn>
                  <a:cxn ang="0">
                    <a:pos x="6" y="8"/>
                  </a:cxn>
                  <a:cxn ang="0">
                    <a:pos x="2" y="10"/>
                  </a:cxn>
                  <a:cxn ang="0">
                    <a:pos x="0" y="8"/>
                  </a:cxn>
                  <a:cxn ang="0">
                    <a:pos x="0" y="6"/>
                  </a:cxn>
                  <a:cxn ang="0">
                    <a:pos x="0" y="3"/>
                  </a:cxn>
                  <a:cxn ang="0">
                    <a:pos x="0" y="0"/>
                  </a:cxn>
                  <a:cxn ang="0">
                    <a:pos x="6" y="0"/>
                  </a:cxn>
                  <a:cxn ang="0">
                    <a:pos x="13" y="5"/>
                  </a:cxn>
                </a:cxnLst>
                <a:rect l="0" t="0" r="r" b="b"/>
                <a:pathLst>
                  <a:path w="13" h="10">
                    <a:moveTo>
                      <a:pt x="13" y="5"/>
                    </a:moveTo>
                    <a:lnTo>
                      <a:pt x="13" y="8"/>
                    </a:lnTo>
                    <a:lnTo>
                      <a:pt x="6" y="8"/>
                    </a:lnTo>
                    <a:lnTo>
                      <a:pt x="2" y="10"/>
                    </a:lnTo>
                    <a:lnTo>
                      <a:pt x="0" y="8"/>
                    </a:lnTo>
                    <a:lnTo>
                      <a:pt x="0" y="6"/>
                    </a:lnTo>
                    <a:lnTo>
                      <a:pt x="0" y="3"/>
                    </a:lnTo>
                    <a:lnTo>
                      <a:pt x="0" y="0"/>
                    </a:lnTo>
                    <a:lnTo>
                      <a:pt x="6" y="0"/>
                    </a:lnTo>
                    <a:lnTo>
                      <a:pt x="1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8" name="Freeform 368"/>
              <p:cNvSpPr>
                <a:spLocks/>
              </p:cNvSpPr>
              <p:nvPr/>
            </p:nvSpPr>
            <p:spPr bwMode="auto">
              <a:xfrm>
                <a:off x="735807" y="3551238"/>
                <a:ext cx="11113" cy="7937"/>
              </a:xfrm>
              <a:custGeom>
                <a:avLst/>
                <a:gdLst/>
                <a:ahLst/>
                <a:cxnLst>
                  <a:cxn ang="0">
                    <a:pos x="7" y="5"/>
                  </a:cxn>
                  <a:cxn ang="0">
                    <a:pos x="5" y="5"/>
                  </a:cxn>
                  <a:cxn ang="0">
                    <a:pos x="4" y="5"/>
                  </a:cxn>
                  <a:cxn ang="0">
                    <a:pos x="2" y="2"/>
                  </a:cxn>
                  <a:cxn ang="0">
                    <a:pos x="0" y="0"/>
                  </a:cxn>
                  <a:cxn ang="0">
                    <a:pos x="4" y="0"/>
                  </a:cxn>
                  <a:cxn ang="0">
                    <a:pos x="7" y="5"/>
                  </a:cxn>
                </a:cxnLst>
                <a:rect l="0" t="0" r="r" b="b"/>
                <a:pathLst>
                  <a:path w="7" h="5">
                    <a:moveTo>
                      <a:pt x="7" y="5"/>
                    </a:moveTo>
                    <a:lnTo>
                      <a:pt x="5" y="5"/>
                    </a:lnTo>
                    <a:lnTo>
                      <a:pt x="4" y="5"/>
                    </a:lnTo>
                    <a:lnTo>
                      <a:pt x="2" y="2"/>
                    </a:lnTo>
                    <a:lnTo>
                      <a:pt x="0" y="0"/>
                    </a:lnTo>
                    <a:lnTo>
                      <a:pt x="4" y="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9" name="Freeform 369"/>
              <p:cNvSpPr>
                <a:spLocks/>
              </p:cNvSpPr>
              <p:nvPr/>
            </p:nvSpPr>
            <p:spPr bwMode="auto">
              <a:xfrm>
                <a:off x="713582" y="3543300"/>
                <a:ext cx="17463" cy="7937"/>
              </a:xfrm>
              <a:custGeom>
                <a:avLst/>
                <a:gdLst/>
                <a:ahLst/>
                <a:cxnLst>
                  <a:cxn ang="0">
                    <a:pos x="11" y="0"/>
                  </a:cxn>
                  <a:cxn ang="0">
                    <a:pos x="7" y="4"/>
                  </a:cxn>
                  <a:cxn ang="0">
                    <a:pos x="4" y="5"/>
                  </a:cxn>
                  <a:cxn ang="0">
                    <a:pos x="0" y="2"/>
                  </a:cxn>
                  <a:cxn ang="0">
                    <a:pos x="0" y="0"/>
                  </a:cxn>
                  <a:cxn ang="0">
                    <a:pos x="11" y="0"/>
                  </a:cxn>
                </a:cxnLst>
                <a:rect l="0" t="0" r="r" b="b"/>
                <a:pathLst>
                  <a:path w="11" h="5">
                    <a:moveTo>
                      <a:pt x="11" y="0"/>
                    </a:moveTo>
                    <a:lnTo>
                      <a:pt x="7" y="4"/>
                    </a:lnTo>
                    <a:lnTo>
                      <a:pt x="4" y="5"/>
                    </a:lnTo>
                    <a:lnTo>
                      <a:pt x="0" y="2"/>
                    </a:lnTo>
                    <a:lnTo>
                      <a:pt x="0" y="0"/>
                    </a:lnTo>
                    <a:lnTo>
                      <a:pt x="1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0" name="Freeform 370"/>
              <p:cNvSpPr>
                <a:spLocks/>
              </p:cNvSpPr>
              <p:nvPr/>
            </p:nvSpPr>
            <p:spPr bwMode="auto">
              <a:xfrm>
                <a:off x="694532" y="3535363"/>
                <a:ext cx="14288" cy="7937"/>
              </a:xfrm>
              <a:custGeom>
                <a:avLst/>
                <a:gdLst/>
                <a:ahLst/>
                <a:cxnLst>
                  <a:cxn ang="0">
                    <a:pos x="4" y="0"/>
                  </a:cxn>
                  <a:cxn ang="0">
                    <a:pos x="6" y="0"/>
                  </a:cxn>
                  <a:cxn ang="0">
                    <a:pos x="9" y="0"/>
                  </a:cxn>
                  <a:cxn ang="0">
                    <a:pos x="9" y="2"/>
                  </a:cxn>
                  <a:cxn ang="0">
                    <a:pos x="7" y="3"/>
                  </a:cxn>
                  <a:cxn ang="0">
                    <a:pos x="6" y="5"/>
                  </a:cxn>
                  <a:cxn ang="0">
                    <a:pos x="2" y="3"/>
                  </a:cxn>
                  <a:cxn ang="0">
                    <a:pos x="0" y="2"/>
                  </a:cxn>
                  <a:cxn ang="0">
                    <a:pos x="2" y="0"/>
                  </a:cxn>
                  <a:cxn ang="0">
                    <a:pos x="6" y="0"/>
                  </a:cxn>
                  <a:cxn ang="0">
                    <a:pos x="4" y="0"/>
                  </a:cxn>
                </a:cxnLst>
                <a:rect l="0" t="0" r="r" b="b"/>
                <a:pathLst>
                  <a:path w="9" h="5">
                    <a:moveTo>
                      <a:pt x="4" y="0"/>
                    </a:moveTo>
                    <a:lnTo>
                      <a:pt x="6" y="0"/>
                    </a:lnTo>
                    <a:lnTo>
                      <a:pt x="9" y="0"/>
                    </a:lnTo>
                    <a:lnTo>
                      <a:pt x="9" y="2"/>
                    </a:lnTo>
                    <a:lnTo>
                      <a:pt x="7" y="3"/>
                    </a:lnTo>
                    <a:lnTo>
                      <a:pt x="6" y="5"/>
                    </a:lnTo>
                    <a:lnTo>
                      <a:pt x="2" y="3"/>
                    </a:lnTo>
                    <a:lnTo>
                      <a:pt x="0" y="2"/>
                    </a:lnTo>
                    <a:lnTo>
                      <a:pt x="2" y="0"/>
                    </a:lnTo>
                    <a:lnTo>
                      <a:pt x="6"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41" name="Freeform 371"/>
              <p:cNvSpPr>
                <a:spLocks/>
              </p:cNvSpPr>
              <p:nvPr/>
            </p:nvSpPr>
            <p:spPr bwMode="auto">
              <a:xfrm>
                <a:off x="662782" y="3516313"/>
                <a:ext cx="12700" cy="11112"/>
              </a:xfrm>
              <a:custGeom>
                <a:avLst/>
                <a:gdLst/>
                <a:ahLst/>
                <a:cxnLst>
                  <a:cxn ang="0">
                    <a:pos x="8" y="2"/>
                  </a:cxn>
                  <a:cxn ang="0">
                    <a:pos x="8" y="3"/>
                  </a:cxn>
                  <a:cxn ang="0">
                    <a:pos x="8" y="7"/>
                  </a:cxn>
                  <a:cxn ang="0">
                    <a:pos x="5" y="7"/>
                  </a:cxn>
                  <a:cxn ang="0">
                    <a:pos x="1" y="5"/>
                  </a:cxn>
                  <a:cxn ang="0">
                    <a:pos x="0" y="3"/>
                  </a:cxn>
                  <a:cxn ang="0">
                    <a:pos x="1" y="2"/>
                  </a:cxn>
                  <a:cxn ang="0">
                    <a:pos x="3" y="0"/>
                  </a:cxn>
                  <a:cxn ang="0">
                    <a:pos x="5" y="0"/>
                  </a:cxn>
                  <a:cxn ang="0">
                    <a:pos x="8" y="2"/>
                  </a:cxn>
                </a:cxnLst>
                <a:rect l="0" t="0" r="r" b="b"/>
                <a:pathLst>
                  <a:path w="8" h="7">
                    <a:moveTo>
                      <a:pt x="8" y="2"/>
                    </a:moveTo>
                    <a:lnTo>
                      <a:pt x="8" y="3"/>
                    </a:lnTo>
                    <a:lnTo>
                      <a:pt x="8" y="7"/>
                    </a:lnTo>
                    <a:lnTo>
                      <a:pt x="5" y="7"/>
                    </a:lnTo>
                    <a:lnTo>
                      <a:pt x="1" y="5"/>
                    </a:lnTo>
                    <a:lnTo>
                      <a:pt x="0" y="3"/>
                    </a:lnTo>
                    <a:lnTo>
                      <a:pt x="1" y="2"/>
                    </a:lnTo>
                    <a:lnTo>
                      <a:pt x="3" y="0"/>
                    </a:lnTo>
                    <a:lnTo>
                      <a:pt x="5" y="0"/>
                    </a:lnTo>
                    <a:lnTo>
                      <a:pt x="8"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grpSp>
        <p:cxnSp>
          <p:nvCxnSpPr>
            <p:cNvPr id="442" name="Straight Connector 441"/>
            <p:cNvCxnSpPr>
              <a:stCxn id="439" idx="1"/>
              <a:endCxn id="439" idx="3"/>
            </p:cNvCxnSpPr>
            <p:nvPr/>
          </p:nvCxnSpPr>
          <p:spPr>
            <a:xfrm>
              <a:off x="3542201" y="4851699"/>
              <a:ext cx="3684601"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pSp>
      <p:pic>
        <p:nvPicPr>
          <p:cNvPr id="642" name="Picture 18" descr="Related imag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361920" y="3837379"/>
            <a:ext cx="529148" cy="589460"/>
          </a:xfrm>
          <a:prstGeom prst="rect">
            <a:avLst/>
          </a:prstGeom>
          <a:noFill/>
          <a:extLst>
            <a:ext uri="{909E8E84-426E-40DD-AFC4-6F175D3DCCD1}">
              <a14:hiddenFill xmlns:a14="http://schemas.microsoft.com/office/drawing/2010/main">
                <a:solidFill>
                  <a:srgbClr val="FFFFFF"/>
                </a:solidFill>
              </a14:hiddenFill>
            </a:ext>
          </a:extLst>
        </p:spPr>
      </p:pic>
      <p:pic>
        <p:nvPicPr>
          <p:cNvPr id="649" name="Picture 648"/>
          <p:cNvPicPr>
            <a:picLocks noChangeAspect="1"/>
          </p:cNvPicPr>
          <p:nvPr/>
        </p:nvPicPr>
        <p:blipFill rotWithShape="1">
          <a:blip r:embed="rId11" cstate="print">
            <a:extLst>
              <a:ext uri="{28A0092B-C50C-407E-A947-70E740481C1C}">
                <a14:useLocalDpi xmlns:a14="http://schemas.microsoft.com/office/drawing/2010/main" val="0"/>
              </a:ext>
            </a:extLst>
          </a:blip>
          <a:srcRect r="7198"/>
          <a:stretch/>
        </p:blipFill>
        <p:spPr>
          <a:xfrm>
            <a:off x="5756767" y="4203425"/>
            <a:ext cx="794442" cy="481538"/>
          </a:xfrm>
          <a:prstGeom prst="rect">
            <a:avLst/>
          </a:prstGeom>
        </p:spPr>
      </p:pic>
      <p:pic>
        <p:nvPicPr>
          <p:cNvPr id="650" name="Picture 12" descr="Image result for nova merchant bank"/>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596826" y="4134336"/>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651" name="Picture 2" descr="Image result for axa mansard logo"/>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699849" y="4624095"/>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652" name="Picture 651"/>
          <p:cNvPicPr>
            <a:picLocks noChangeAspect="1"/>
          </p:cNvPicPr>
          <p:nvPr/>
        </p:nvPicPr>
        <p:blipFill>
          <a:blip r:embed="rId14"/>
          <a:stretch>
            <a:fillRect/>
          </a:stretch>
        </p:blipFill>
        <p:spPr>
          <a:xfrm>
            <a:off x="5954025" y="4683338"/>
            <a:ext cx="676995" cy="262022"/>
          </a:xfrm>
          <a:prstGeom prst="rect">
            <a:avLst/>
          </a:prstGeom>
        </p:spPr>
      </p:pic>
      <p:pic>
        <p:nvPicPr>
          <p:cNvPr id="653" name="Picture 4" descr="Image result for jpmorgan logo"/>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35128" b="38205"/>
          <a:stretch/>
        </p:blipFill>
        <p:spPr bwMode="auto">
          <a:xfrm>
            <a:off x="5427012" y="5281754"/>
            <a:ext cx="1011521" cy="273940"/>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654" name="Picture 14" descr="Related image"/>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846165" y="5593846"/>
            <a:ext cx="771356" cy="259066"/>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655" name="Picture 654"/>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709527" y="6083904"/>
            <a:ext cx="1373487" cy="230585"/>
          </a:xfrm>
          <a:prstGeom prst="rect">
            <a:avLst/>
          </a:prstGeom>
          <a:ln>
            <a:solidFill>
              <a:schemeClr val="bg1">
                <a:lumMod val="95000"/>
              </a:schemeClr>
            </a:solidFill>
          </a:ln>
        </p:spPr>
      </p:pic>
      <p:pic>
        <p:nvPicPr>
          <p:cNvPr id="656" name="Picture 12" descr="Image result for charles schwab"/>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227501" y="5877790"/>
            <a:ext cx="449857" cy="449857"/>
          </a:xfrm>
          <a:prstGeom prst="rect">
            <a:avLst/>
          </a:prstGeom>
          <a:noFill/>
          <a:extLst>
            <a:ext uri="{909E8E84-426E-40DD-AFC4-6F175D3DCCD1}">
              <a14:hiddenFill xmlns:a14="http://schemas.microsoft.com/office/drawing/2010/main">
                <a:solidFill>
                  <a:srgbClr val="FFFFFF"/>
                </a:solidFill>
              </a14:hiddenFill>
            </a:ext>
          </a:extLst>
        </p:spPr>
      </p:pic>
      <p:pic>
        <p:nvPicPr>
          <p:cNvPr id="657" name="Picture 656"/>
          <p:cNvPicPr>
            <a:picLocks noChangeAspect="1"/>
          </p:cNvPicPr>
          <p:nvPr/>
        </p:nvPicPr>
        <p:blipFill rotWithShape="1">
          <a:blip r:embed="rId19" cstate="print">
            <a:extLst>
              <a:ext uri="{28A0092B-C50C-407E-A947-70E740481C1C}">
                <a14:useLocalDpi xmlns:a14="http://schemas.microsoft.com/office/drawing/2010/main" val="0"/>
              </a:ext>
            </a:extLst>
          </a:blip>
          <a:srcRect l="3544"/>
          <a:stretch/>
        </p:blipFill>
        <p:spPr>
          <a:xfrm>
            <a:off x="4903033" y="5664415"/>
            <a:ext cx="829397" cy="306444"/>
          </a:xfrm>
          <a:prstGeom prst="rect">
            <a:avLst/>
          </a:prstGeom>
        </p:spPr>
      </p:pic>
      <p:pic>
        <p:nvPicPr>
          <p:cNvPr id="658" name="Picture 8" descr="Related image"/>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971625" y="5275784"/>
            <a:ext cx="351916" cy="351057"/>
          </a:xfrm>
          <a:prstGeom prst="rect">
            <a:avLst/>
          </a:prstGeom>
          <a:solidFill>
            <a:schemeClr val="bg1"/>
          </a:solidFill>
        </p:spPr>
      </p:pic>
      <p:sp>
        <p:nvSpPr>
          <p:cNvPr id="262" name="Title 2"/>
          <p:cNvSpPr txBox="1">
            <a:spLocks/>
          </p:cNvSpPr>
          <p:nvPr/>
        </p:nvSpPr>
        <p:spPr>
          <a:xfrm>
            <a:off x="3379898" y="56206"/>
            <a:ext cx="338328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Key </a:t>
            </a:r>
            <a:r>
              <a:rPr lang="en-US" sz="4400" b="0" kern="1200" dirty="0" smtClean="0">
                <a:latin typeface="KPMG Extralight" panose="020B0303030202040204" pitchFamily="34" charset="0"/>
                <a:cs typeface="+mj-cs"/>
              </a:rPr>
              <a:t>Findings &amp; Initiatives</a:t>
            </a:r>
            <a:endParaRPr lang="en-US" sz="4400" b="0" kern="1200" baseline="30000" dirty="0">
              <a:latin typeface="KPMG Extralight" panose="020B0303030202040204" pitchFamily="34" charset="0"/>
              <a:ea typeface="+mj-ea"/>
              <a:cs typeface="+mj-cs"/>
            </a:endParaRPr>
          </a:p>
        </p:txBody>
      </p:sp>
    </p:spTree>
    <p:extLst>
      <p:ext uri="{BB962C8B-B14F-4D97-AF65-F5344CB8AC3E}">
        <p14:creationId xmlns:p14="http://schemas.microsoft.com/office/powerpoint/2010/main" val="414844020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009"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86" name="TextBox 85"/>
          <p:cNvSpPr txBox="1"/>
          <p:nvPr/>
        </p:nvSpPr>
        <p:spPr>
          <a:xfrm>
            <a:off x="88798" y="211341"/>
            <a:ext cx="3172392" cy="615553"/>
          </a:xfrm>
          <a:prstGeom prst="rect">
            <a:avLst/>
          </a:prstGeom>
          <a:noFill/>
        </p:spPr>
        <p:txBody>
          <a:bodyPr wrap="square" lIns="0" tIns="0" rIns="0" bIns="0" rtlCol="0">
            <a:spAutoFit/>
          </a:bodyPr>
          <a:lstStyle/>
          <a:p>
            <a:r>
              <a:rPr lang="en-US" sz="4000" b="1" dirty="0" smtClean="0">
                <a:solidFill>
                  <a:srgbClr val="FFFFFF"/>
                </a:solidFill>
                <a:latin typeface="KPMG Extralight" panose="020B0303030202040204" pitchFamily="34" charset="0"/>
                <a:cs typeface="Arial" pitchFamily="34" charset="0"/>
              </a:rPr>
              <a:t>Co-creation Model</a:t>
            </a:r>
            <a:endParaRPr lang="en-GB" sz="4000" b="1" dirty="0" smtClean="0">
              <a:solidFill>
                <a:srgbClr val="FFFFFF"/>
              </a:solidFill>
              <a:latin typeface="KPMG Extralight" panose="020B0303030202040204" pitchFamily="34" charset="0"/>
              <a:cs typeface="Arial" pitchFamily="34" charset="0"/>
            </a:endParaRPr>
          </a:p>
        </p:txBody>
      </p:sp>
      <p:graphicFrame>
        <p:nvGraphicFramePr>
          <p:cNvPr id="31" name="Table 30"/>
          <p:cNvGraphicFramePr>
            <a:graphicFrameLocks noGrp="1"/>
          </p:cNvGraphicFramePr>
          <p:nvPr>
            <p:extLst>
              <p:ext uri="{D42A27DB-BD31-4B8C-83A1-F6EECF244321}">
                <p14:modId xmlns:p14="http://schemas.microsoft.com/office/powerpoint/2010/main" val="3305041421"/>
              </p:ext>
            </p:extLst>
          </p:nvPr>
        </p:nvGraphicFramePr>
        <p:xfrm>
          <a:off x="112335" y="2841952"/>
          <a:ext cx="3053407" cy="320040"/>
        </p:xfrm>
        <a:graphic>
          <a:graphicData uri="http://schemas.openxmlformats.org/drawingml/2006/table">
            <a:tbl>
              <a:tblPr bandRow="1">
                <a:tableStyleId>{5C22544A-7EE6-4342-B048-85BDC9FD1C3A}</a:tableStyleId>
              </a:tblPr>
              <a:tblGrid>
                <a:gridCol w="3053407"/>
              </a:tblGrid>
              <a:tr h="230385">
                <a:tc>
                  <a:txBody>
                    <a:bodyPr/>
                    <a:lstStyle/>
                    <a:p>
                      <a:endParaRPr lang="en-US" sz="1500" b="1" dirty="0"/>
                    </a:p>
                  </a:txBody>
                  <a:tcPr anchor="ctr">
                    <a:solidFill>
                      <a:srgbClr val="DBCDDB"/>
                    </a:solidFill>
                  </a:tcPr>
                </a:tc>
              </a:tr>
            </a:tbl>
          </a:graphicData>
        </a:graphic>
      </p:graphicFrame>
      <p:sp>
        <p:nvSpPr>
          <p:cNvPr id="32" name="TextBox 31"/>
          <p:cNvSpPr txBox="1"/>
          <p:nvPr/>
        </p:nvSpPr>
        <p:spPr>
          <a:xfrm>
            <a:off x="2795989" y="2950601"/>
            <a:ext cx="382639" cy="116869"/>
          </a:xfrm>
          <a:prstGeom prst="rect">
            <a:avLst/>
          </a:prstGeom>
          <a:noFill/>
        </p:spPr>
        <p:txBody>
          <a:bodyPr wrap="none" lIns="21772" tIns="21772" rIns="21772" bIns="21772" rtlCol="0" anchor="ctr" anchorCtr="0">
            <a:noAutofit/>
          </a:bodyPr>
          <a:lstStyle/>
          <a:p>
            <a:pPr algn="r"/>
            <a:r>
              <a:rPr lang="en-AU" sz="800" b="1" dirty="0">
                <a:solidFill>
                  <a:srgbClr val="000000"/>
                </a:solidFill>
                <a:cs typeface="Arial" panose="020B0604020202020204" pitchFamily="34" charset="0"/>
              </a:rPr>
              <a:t>Innovating</a:t>
            </a:r>
          </a:p>
        </p:txBody>
      </p:sp>
      <p:sp>
        <p:nvSpPr>
          <p:cNvPr id="33" name="TextBox 32"/>
          <p:cNvSpPr txBox="1"/>
          <p:nvPr/>
        </p:nvSpPr>
        <p:spPr>
          <a:xfrm>
            <a:off x="711797"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Basic</a:t>
            </a:r>
          </a:p>
        </p:txBody>
      </p:sp>
      <p:sp>
        <p:nvSpPr>
          <p:cNvPr id="34" name="TextBox 33"/>
          <p:cNvSpPr txBox="1"/>
          <p:nvPr/>
        </p:nvSpPr>
        <p:spPr>
          <a:xfrm>
            <a:off x="1970881"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Leading</a:t>
            </a:r>
          </a:p>
        </p:txBody>
      </p:sp>
      <p:sp>
        <p:nvSpPr>
          <p:cNvPr id="35" name="TextBox 34"/>
          <p:cNvSpPr txBox="1"/>
          <p:nvPr/>
        </p:nvSpPr>
        <p:spPr>
          <a:xfrm>
            <a:off x="112641" y="2958916"/>
            <a:ext cx="382639" cy="116869"/>
          </a:xfrm>
          <a:prstGeom prst="rect">
            <a:avLst/>
          </a:prstGeom>
          <a:noFill/>
        </p:spPr>
        <p:txBody>
          <a:bodyPr wrap="none" lIns="21772" tIns="21772" rIns="21772" bIns="21772" rtlCol="0" anchor="ctr" anchorCtr="0">
            <a:noAutofit/>
          </a:bodyPr>
          <a:lstStyle/>
          <a:p>
            <a:r>
              <a:rPr lang="en-AU" sz="800" b="1" dirty="0">
                <a:solidFill>
                  <a:srgbClr val="000000"/>
                </a:solidFill>
                <a:cs typeface="Arial" panose="020B0604020202020204" pitchFamily="34" charset="0"/>
              </a:rPr>
              <a:t>Lagging</a:t>
            </a:r>
          </a:p>
        </p:txBody>
      </p:sp>
      <p:sp>
        <p:nvSpPr>
          <p:cNvPr id="36" name="TextBox 35"/>
          <p:cNvSpPr txBox="1"/>
          <p:nvPr/>
        </p:nvSpPr>
        <p:spPr>
          <a:xfrm>
            <a:off x="1322592"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Progressed</a:t>
            </a:r>
          </a:p>
        </p:txBody>
      </p:sp>
      <p:sp>
        <p:nvSpPr>
          <p:cNvPr id="3" name="Rectangle 2"/>
          <p:cNvSpPr/>
          <p:nvPr/>
        </p:nvSpPr>
        <p:spPr>
          <a:xfrm>
            <a:off x="11798" y="964056"/>
            <a:ext cx="3249392" cy="1292662"/>
          </a:xfrm>
          <a:prstGeom prst="rect">
            <a:avLst/>
          </a:prstGeom>
        </p:spPr>
        <p:txBody>
          <a:bodyPr wrap="square">
            <a:spAutoFit/>
          </a:bodyPr>
          <a:lstStyle/>
          <a:p>
            <a:r>
              <a:rPr lang="en-US" sz="1300" dirty="0" smtClean="0">
                <a:solidFill>
                  <a:srgbClr val="FFFFFF"/>
                </a:solidFill>
              </a:rPr>
              <a:t>The </a:t>
            </a:r>
            <a:r>
              <a:rPr lang="en-US" sz="1300" dirty="0">
                <a:solidFill>
                  <a:srgbClr val="FFFFFF"/>
                </a:solidFill>
              </a:rPr>
              <a:t>extent to which an </a:t>
            </a:r>
            <a:r>
              <a:rPr lang="en-US" sz="1300" dirty="0" err="1">
                <a:solidFill>
                  <a:srgbClr val="FFFFFF"/>
                </a:solidFill>
              </a:rPr>
              <a:t>organisation</a:t>
            </a:r>
            <a:r>
              <a:rPr lang="en-US" sz="1300" dirty="0">
                <a:solidFill>
                  <a:srgbClr val="FFFFFF"/>
                </a:solidFill>
              </a:rPr>
              <a:t> monitors its own technology footprint in the digital marketplace and reacts to improve and enhance its digital propositions through the implementation and application of technology enablers</a:t>
            </a:r>
            <a:r>
              <a:rPr lang="en-US" sz="1300" dirty="0" smtClean="0">
                <a:solidFill>
                  <a:srgbClr val="FFFFFF"/>
                </a:solidFill>
              </a:rPr>
              <a:t>.</a:t>
            </a:r>
            <a:endParaRPr lang="en-US" sz="1300" dirty="0">
              <a:solidFill>
                <a:srgbClr val="FFFFFF"/>
              </a:solidFill>
            </a:endParaRPr>
          </a:p>
        </p:txBody>
      </p:sp>
      <p:sp>
        <p:nvSpPr>
          <p:cNvPr id="100" name="Rectangle 99"/>
          <p:cNvSpPr/>
          <p:nvPr/>
        </p:nvSpPr>
        <p:spPr>
          <a:xfrm>
            <a:off x="102170" y="2525696"/>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cxnSp>
        <p:nvCxnSpPr>
          <p:cNvPr id="102" name="Straight Connector 101"/>
          <p:cNvCxnSpPr/>
          <p:nvPr/>
        </p:nvCxnSpPr>
        <p:spPr>
          <a:xfrm>
            <a:off x="605465" y="2864194"/>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193805" y="2857101"/>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1821118" y="2864194"/>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2483889" y="2857101"/>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5" name="Isosceles Triangle 114"/>
          <p:cNvSpPr/>
          <p:nvPr/>
        </p:nvSpPr>
        <p:spPr>
          <a:xfrm flipV="1">
            <a:off x="1241460" y="2359283"/>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6" name="Isosceles Triangle 115"/>
          <p:cNvSpPr/>
          <p:nvPr/>
        </p:nvSpPr>
        <p:spPr>
          <a:xfrm flipV="1">
            <a:off x="573960" y="2359283"/>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7" name="Isosceles Triangle 116"/>
          <p:cNvSpPr/>
          <p:nvPr/>
        </p:nvSpPr>
        <p:spPr>
          <a:xfrm flipV="1">
            <a:off x="2788975" y="2359283"/>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8" name="Isosceles Triangle 117"/>
          <p:cNvSpPr/>
          <p:nvPr/>
        </p:nvSpPr>
        <p:spPr>
          <a:xfrm flipV="1">
            <a:off x="2083887" y="2359283"/>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4181157204"/>
              </p:ext>
            </p:extLst>
          </p:nvPr>
        </p:nvGraphicFramePr>
        <p:xfrm>
          <a:off x="3793054" y="995656"/>
          <a:ext cx="8154904" cy="1767840"/>
        </p:xfrm>
        <a:graphic>
          <a:graphicData uri="http://schemas.openxmlformats.org/drawingml/2006/table">
            <a:tbl>
              <a:tblPr firstRow="1" bandRow="1">
                <a:tableStyleId>{00A15C55-8517-42AA-B614-E9B94910E393}</a:tableStyleId>
              </a:tblPr>
              <a:tblGrid>
                <a:gridCol w="1857375"/>
                <a:gridCol w="6297529"/>
              </a:tblGrid>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GB" sz="1400" b="0" kern="1200" spc="-10" dirty="0" smtClean="0">
                          <a:solidFill>
                            <a:schemeClr val="bg1"/>
                          </a:solidFill>
                          <a:latin typeface="+mn-lt"/>
                          <a:ea typeface="+mn-ea"/>
                          <a:cs typeface="+mn-cs"/>
                        </a:rPr>
                        <a:t>Innovation Strategy</a:t>
                      </a:r>
                      <a:endParaRPr lang="en-GB"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Develop an innovation strategy that is aligned with the business strategy, and clearly communicated to all </a:t>
                      </a:r>
                      <a:r>
                        <a:rPr lang="en-US" sz="1400" b="0" kern="1200" dirty="0" err="1" smtClean="0">
                          <a:solidFill>
                            <a:srgbClr val="00338D"/>
                          </a:solidFill>
                          <a:latin typeface="+mn-lt"/>
                          <a:ea typeface="+mn-ea"/>
                          <a:cs typeface="+mn-cs"/>
                        </a:rPr>
                        <a:t>FBNQuest</a:t>
                      </a:r>
                      <a:r>
                        <a:rPr lang="en-US" sz="1400" b="0" kern="1200" dirty="0" smtClean="0">
                          <a:solidFill>
                            <a:srgbClr val="00338D"/>
                          </a:solidFill>
                          <a:latin typeface="+mn-lt"/>
                          <a:ea typeface="+mn-ea"/>
                          <a:cs typeface="+mn-cs"/>
                        </a:rPr>
                        <a:t> staff. This should define the strategy for internal and external innovation sourcing</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GB" sz="1400" b="0" kern="1200" spc="-10" dirty="0" smtClean="0">
                          <a:solidFill>
                            <a:schemeClr val="bg1"/>
                          </a:solidFill>
                          <a:latin typeface="+mn-lt"/>
                          <a:ea typeface="+mn-ea"/>
                          <a:cs typeface="+mn-cs"/>
                        </a:rPr>
                        <a:t>Innovation Sourcing Platform</a:t>
                      </a:r>
                      <a:endParaRPr lang="en-GB"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Develop a platform to streamline and reward generation of innovative initiatives by </a:t>
                      </a:r>
                      <a:r>
                        <a:rPr lang="en-US" sz="1400" b="0" kern="1200" dirty="0" err="1" smtClean="0">
                          <a:solidFill>
                            <a:srgbClr val="00338D"/>
                          </a:solidFill>
                          <a:latin typeface="+mn-lt"/>
                          <a:ea typeface="+mn-ea"/>
                          <a:cs typeface="+mn-cs"/>
                        </a:rPr>
                        <a:t>FBNQuest</a:t>
                      </a:r>
                      <a:r>
                        <a:rPr lang="en-US" sz="1400" b="0" kern="1200" dirty="0" smtClean="0">
                          <a:solidFill>
                            <a:srgbClr val="00338D"/>
                          </a:solidFill>
                          <a:latin typeface="+mn-lt"/>
                          <a:ea typeface="+mn-ea"/>
                          <a:cs typeface="+mn-cs"/>
                        </a:rPr>
                        <a:t> staff</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GB" sz="1400" b="0" kern="1200" spc="-10" dirty="0" smtClean="0">
                          <a:solidFill>
                            <a:schemeClr val="bg1"/>
                          </a:solidFill>
                          <a:latin typeface="+mn-lt"/>
                          <a:ea typeface="+mn-ea"/>
                          <a:cs typeface="+mn-cs"/>
                        </a:rPr>
                        <a:t>Partnership Assessment Metrics</a:t>
                      </a:r>
                      <a:endParaRPr lang="en-GB"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Establish and measure performance metrics to ensure that alliances and partnerships regularly add value to </a:t>
                      </a:r>
                      <a:r>
                        <a:rPr lang="en-US" sz="1400" b="0" kern="1200" dirty="0" err="1" smtClean="0">
                          <a:solidFill>
                            <a:srgbClr val="00338D"/>
                          </a:solidFill>
                          <a:latin typeface="+mn-lt"/>
                          <a:ea typeface="+mn-ea"/>
                          <a:cs typeface="+mn-cs"/>
                        </a:rPr>
                        <a:t>FBNQuest</a:t>
                      </a:r>
                      <a:endParaRPr lang="en-US" sz="1400" b="0" kern="1200" dirty="0" smtClean="0">
                        <a:solidFill>
                          <a:srgbClr val="00338D"/>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bl>
          </a:graphicData>
        </a:graphic>
      </p:graphicFrame>
      <p:pic>
        <p:nvPicPr>
          <p:cNvPr id="449" name="Picture 44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1004736"/>
            <a:ext cx="405670" cy="405670"/>
          </a:xfrm>
          <a:prstGeom prst="rect">
            <a:avLst/>
          </a:prstGeom>
        </p:spPr>
      </p:pic>
      <p:pic>
        <p:nvPicPr>
          <p:cNvPr id="450" name="Picture 44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1653353"/>
            <a:ext cx="405670" cy="405670"/>
          </a:xfrm>
          <a:prstGeom prst="rect">
            <a:avLst/>
          </a:prstGeom>
        </p:spPr>
      </p:pic>
      <p:pic>
        <p:nvPicPr>
          <p:cNvPr id="451" name="Picture 45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5139" y="2138338"/>
            <a:ext cx="405670" cy="405670"/>
          </a:xfrm>
          <a:prstGeom prst="rect">
            <a:avLst/>
          </a:prstGeom>
        </p:spPr>
      </p:pic>
      <p:sp>
        <p:nvSpPr>
          <p:cNvPr id="453" name="Rectangle 452"/>
          <p:cNvSpPr/>
          <p:nvPr/>
        </p:nvSpPr>
        <p:spPr>
          <a:xfrm>
            <a:off x="3323435" y="595736"/>
            <a:ext cx="8595360" cy="307777"/>
          </a:xfrm>
          <a:prstGeom prst="rect">
            <a:avLst/>
          </a:prstGeom>
        </p:spPr>
        <p:txBody>
          <a:bodyPr wrap="square">
            <a:spAutoFit/>
          </a:bodyPr>
          <a:lstStyle/>
          <a:p>
            <a:pPr defTabSz="713603">
              <a:defRPr/>
            </a:pPr>
            <a:r>
              <a:rPr lang="en-US" sz="1400" dirty="0" smtClean="0">
                <a:solidFill>
                  <a:srgbClr val="00338D"/>
                </a:solidFill>
              </a:rPr>
              <a:t>The following key initiatives have been identified for </a:t>
            </a:r>
            <a:r>
              <a:rPr lang="en-US" sz="1400" dirty="0" err="1" smtClean="0">
                <a:solidFill>
                  <a:srgbClr val="00338D"/>
                </a:solidFill>
              </a:rPr>
              <a:t>FBNQuest</a:t>
            </a:r>
            <a:r>
              <a:rPr lang="en-US" sz="1400" dirty="0" smtClean="0">
                <a:solidFill>
                  <a:srgbClr val="00338D"/>
                </a:solidFill>
              </a:rPr>
              <a:t> with respect to Co-creation Model: </a:t>
            </a:r>
            <a:endParaRPr lang="en-US" sz="1400" dirty="0">
              <a:solidFill>
                <a:srgbClr val="00338D"/>
              </a:solidFill>
            </a:endParaRPr>
          </a:p>
        </p:txBody>
      </p:sp>
      <p:grpSp>
        <p:nvGrpSpPr>
          <p:cNvPr id="454" name="Group 453"/>
          <p:cNvGrpSpPr/>
          <p:nvPr/>
        </p:nvGrpSpPr>
        <p:grpSpPr>
          <a:xfrm>
            <a:off x="7347937" y="121697"/>
            <a:ext cx="4568864" cy="274320"/>
            <a:chOff x="7916790" y="356874"/>
            <a:chExt cx="4568864" cy="274320"/>
          </a:xfrm>
        </p:grpSpPr>
        <p:grpSp>
          <p:nvGrpSpPr>
            <p:cNvPr id="455" name="Group 454"/>
            <p:cNvGrpSpPr/>
            <p:nvPr/>
          </p:nvGrpSpPr>
          <p:grpSpPr>
            <a:xfrm>
              <a:off x="7916790" y="356874"/>
              <a:ext cx="2337497" cy="274320"/>
              <a:chOff x="3793151" y="6476333"/>
              <a:chExt cx="2337497" cy="274320"/>
            </a:xfrm>
          </p:grpSpPr>
          <p:sp>
            <p:nvSpPr>
              <p:cNvPr id="460" name="Isosceles Triangle 459"/>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61" name="TextBox 460"/>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62"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63"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4" name="Isosceles Triangle 463"/>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456" name="Isosceles Triangle 45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57" name="TextBox 45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58" name="Isosceles Triangle 45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59" name="TextBox 45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465" name="Picture 46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53248" y="20474"/>
            <a:ext cx="548640" cy="155207"/>
          </a:xfrm>
          <a:prstGeom prst="rect">
            <a:avLst/>
          </a:prstGeom>
          <a:solidFill>
            <a:srgbClr val="BFBFBF"/>
          </a:solidFill>
        </p:spPr>
      </p:pic>
      <p:sp>
        <p:nvSpPr>
          <p:cNvPr id="403" name="TextBox 402"/>
          <p:cNvSpPr txBox="1"/>
          <p:nvPr/>
        </p:nvSpPr>
        <p:spPr>
          <a:xfrm>
            <a:off x="70161" y="3397010"/>
            <a:ext cx="3017520" cy="184666"/>
          </a:xfrm>
          <a:prstGeom prst="rect">
            <a:avLst/>
          </a:prstGeom>
          <a:noFill/>
        </p:spPr>
        <p:txBody>
          <a:bodyPr wrap="square" lIns="0" tIns="0" rIns="0" bIns="0" rtlCol="0">
            <a:spAutoFit/>
          </a:bodyPr>
          <a:lstStyle>
            <a:defPPr>
              <a:defRPr lang="en-US"/>
            </a:defPPr>
            <a:lvl1pPr>
              <a:defRPr sz="1200" b="1">
                <a:solidFill>
                  <a:srgbClr val="FFFFFF"/>
                </a:solidFill>
                <a:cs typeface="Arial" pitchFamily="34" charset="0"/>
              </a:defRPr>
            </a:lvl1pPr>
          </a:lstStyle>
          <a:p>
            <a:r>
              <a:rPr lang="en-US" dirty="0" smtClean="0"/>
              <a:t>Establishment </a:t>
            </a:r>
            <a:r>
              <a:rPr lang="en-US" dirty="0"/>
              <a:t>of Innovation </a:t>
            </a:r>
            <a:r>
              <a:rPr lang="en-US" dirty="0" smtClean="0"/>
              <a:t>Strategy</a:t>
            </a:r>
            <a:endParaRPr lang="en-US" dirty="0"/>
          </a:p>
        </p:txBody>
      </p:sp>
      <p:sp>
        <p:nvSpPr>
          <p:cNvPr id="404" name="TextBox 403"/>
          <p:cNvSpPr txBox="1"/>
          <p:nvPr/>
        </p:nvSpPr>
        <p:spPr>
          <a:xfrm>
            <a:off x="88888" y="4050150"/>
            <a:ext cx="3174580" cy="369332"/>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Mature </a:t>
            </a:r>
            <a:r>
              <a:rPr lang="en-US" sz="1200" b="1" dirty="0">
                <a:solidFill>
                  <a:srgbClr val="FFFFFF"/>
                </a:solidFill>
                <a:cs typeface="Arial" pitchFamily="34" charset="0"/>
              </a:rPr>
              <a:t>internal innovation sourcing processes and </a:t>
            </a:r>
            <a:r>
              <a:rPr lang="en-US" sz="1200" b="1" dirty="0" smtClean="0">
                <a:solidFill>
                  <a:srgbClr val="FFFFFF"/>
                </a:solidFill>
                <a:cs typeface="Arial" pitchFamily="34" charset="0"/>
              </a:rPr>
              <a:t>platforms</a:t>
            </a:r>
            <a:endParaRPr lang="en-US" sz="1200" b="1" dirty="0">
              <a:solidFill>
                <a:srgbClr val="FFFFFF"/>
              </a:solidFill>
              <a:cs typeface="Arial" pitchFamily="34" charset="0"/>
            </a:endParaRPr>
          </a:p>
        </p:txBody>
      </p:sp>
      <p:sp>
        <p:nvSpPr>
          <p:cNvPr id="405" name="Rectangle 404"/>
          <p:cNvSpPr/>
          <p:nvPr/>
        </p:nvSpPr>
        <p:spPr>
          <a:xfrm>
            <a:off x="101012" y="3650406"/>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06" name="Isosceles Triangle 405"/>
          <p:cNvSpPr/>
          <p:nvPr/>
        </p:nvSpPr>
        <p:spPr>
          <a:xfrm>
            <a:off x="990223" y="3750707"/>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7" name="Isosceles Triangle 406"/>
          <p:cNvSpPr/>
          <p:nvPr/>
        </p:nvSpPr>
        <p:spPr>
          <a:xfrm>
            <a:off x="720408" y="3750707"/>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8" name="Rectangle 407"/>
          <p:cNvSpPr/>
          <p:nvPr/>
        </p:nvSpPr>
        <p:spPr>
          <a:xfrm>
            <a:off x="87900" y="4460356"/>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10" name="Isosceles Triangle 409"/>
          <p:cNvSpPr/>
          <p:nvPr/>
        </p:nvSpPr>
        <p:spPr>
          <a:xfrm>
            <a:off x="2788975" y="3750707"/>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1" name="Isosceles Triangle 410"/>
          <p:cNvSpPr/>
          <p:nvPr/>
        </p:nvSpPr>
        <p:spPr>
          <a:xfrm>
            <a:off x="2083887" y="3750707"/>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2" name="Isosceles Triangle 411"/>
          <p:cNvSpPr/>
          <p:nvPr/>
        </p:nvSpPr>
        <p:spPr>
          <a:xfrm>
            <a:off x="1556252" y="4558172"/>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5" name="Isosceles Triangle 414"/>
          <p:cNvSpPr/>
          <p:nvPr/>
        </p:nvSpPr>
        <p:spPr>
          <a:xfrm>
            <a:off x="757299" y="4558172"/>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6" name="TextBox 415"/>
          <p:cNvSpPr txBox="1"/>
          <p:nvPr/>
        </p:nvSpPr>
        <p:spPr>
          <a:xfrm>
            <a:off x="78188" y="4904621"/>
            <a:ext cx="3174580" cy="369332"/>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Measured </a:t>
            </a:r>
            <a:r>
              <a:rPr lang="en-US" sz="1200" b="1" dirty="0">
                <a:solidFill>
                  <a:srgbClr val="FFFFFF"/>
                </a:solidFill>
                <a:cs typeface="Arial" pitchFamily="34" charset="0"/>
              </a:rPr>
              <a:t>and value-driven digital partnerships &amp; </a:t>
            </a:r>
            <a:r>
              <a:rPr lang="en-US" sz="1200" b="1" dirty="0" smtClean="0">
                <a:solidFill>
                  <a:srgbClr val="FFFFFF"/>
                </a:solidFill>
                <a:cs typeface="Arial" pitchFamily="34" charset="0"/>
              </a:rPr>
              <a:t>collaborations</a:t>
            </a:r>
            <a:endParaRPr lang="en-US" sz="1200" b="1" dirty="0">
              <a:solidFill>
                <a:srgbClr val="FFFFFF"/>
              </a:solidFill>
              <a:cs typeface="Arial" pitchFamily="34" charset="0"/>
            </a:endParaRPr>
          </a:p>
        </p:txBody>
      </p:sp>
      <p:sp>
        <p:nvSpPr>
          <p:cNvPr id="417" name="Rectangle 416"/>
          <p:cNvSpPr/>
          <p:nvPr/>
        </p:nvSpPr>
        <p:spPr>
          <a:xfrm>
            <a:off x="77200" y="5305199"/>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18" name="Isosceles Triangle 417"/>
          <p:cNvSpPr/>
          <p:nvPr/>
        </p:nvSpPr>
        <p:spPr>
          <a:xfrm>
            <a:off x="1439668" y="5403015"/>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1" name="Isosceles Triangle 420"/>
          <p:cNvSpPr/>
          <p:nvPr/>
        </p:nvSpPr>
        <p:spPr>
          <a:xfrm>
            <a:off x="534843" y="5403015"/>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8" name="Isosceles Triangle 427"/>
          <p:cNvSpPr/>
          <p:nvPr/>
        </p:nvSpPr>
        <p:spPr>
          <a:xfrm>
            <a:off x="2788975" y="4558172"/>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9" name="Isosceles Triangle 428"/>
          <p:cNvSpPr/>
          <p:nvPr/>
        </p:nvSpPr>
        <p:spPr>
          <a:xfrm>
            <a:off x="2083887" y="4558172"/>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0" name="Isosceles Triangle 429"/>
          <p:cNvSpPr/>
          <p:nvPr/>
        </p:nvSpPr>
        <p:spPr>
          <a:xfrm>
            <a:off x="2788975" y="5403015"/>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1" name="Isosceles Triangle 430"/>
          <p:cNvSpPr/>
          <p:nvPr/>
        </p:nvSpPr>
        <p:spPr>
          <a:xfrm>
            <a:off x="2083887" y="5403015"/>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32" name="Snip Diagonal Corner Rectangle 431"/>
          <p:cNvSpPr/>
          <p:nvPr/>
        </p:nvSpPr>
        <p:spPr>
          <a:xfrm>
            <a:off x="6810046" y="4016169"/>
            <a:ext cx="5106756" cy="2384631"/>
          </a:xfrm>
          <a:prstGeom prst="snip2Diag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defTabSz="890789">
              <a:spcAft>
                <a:spcPts val="100"/>
              </a:spcAft>
              <a:buFont typeface="Arial" panose="020B0604020202020204" pitchFamily="34" charset="0"/>
              <a:buChar char="•"/>
              <a:defRPr/>
            </a:pPr>
            <a:r>
              <a:rPr lang="en-US" sz="1400" b="1" dirty="0">
                <a:solidFill>
                  <a:schemeClr val="bg1"/>
                </a:solidFill>
              </a:rPr>
              <a:t>Goldman Sachs </a:t>
            </a:r>
            <a:r>
              <a:rPr lang="en-US" sz="1400" dirty="0">
                <a:solidFill>
                  <a:schemeClr val="bg1"/>
                </a:solidFill>
              </a:rPr>
              <a:t>has launched an in-house incubator, dubbed GS Accelerate, aimed at encouraging employees to develop new innovative solutions.</a:t>
            </a:r>
          </a:p>
          <a:p>
            <a:pPr marL="171450" indent="-171450" defTabSz="890789">
              <a:spcAft>
                <a:spcPts val="100"/>
              </a:spcAft>
              <a:buFont typeface="Arial" panose="020B0604020202020204" pitchFamily="34" charset="0"/>
              <a:buChar char="•"/>
              <a:defRPr/>
            </a:pPr>
            <a:r>
              <a:rPr lang="en-US" sz="1400" b="1" dirty="0">
                <a:solidFill>
                  <a:schemeClr val="bg1"/>
                </a:solidFill>
              </a:rPr>
              <a:t>Citi</a:t>
            </a:r>
            <a:r>
              <a:rPr lang="en-US" sz="1400" dirty="0">
                <a:solidFill>
                  <a:schemeClr val="bg1"/>
                </a:solidFill>
              </a:rPr>
              <a:t> is expanding the network of its Global Innovation Labs with the opening of a new hub in London.</a:t>
            </a:r>
          </a:p>
          <a:p>
            <a:pPr marL="171450" indent="-171450" defTabSz="890789">
              <a:buFont typeface="Arial" panose="020B0604020202020204" pitchFamily="34" charset="0"/>
              <a:buChar char="•"/>
              <a:defRPr/>
            </a:pPr>
            <a:r>
              <a:rPr lang="en-US" sz="1400" i="1" dirty="0" smtClean="0">
                <a:solidFill>
                  <a:schemeClr val="bg1"/>
                </a:solidFill>
              </a:rPr>
              <a:t>Refer to Detailed Assessment – Co-creation Model for details.</a:t>
            </a:r>
            <a:endParaRPr lang="en-US" sz="1400" i="1" dirty="0">
              <a:solidFill>
                <a:schemeClr val="bg1"/>
              </a:solidFill>
            </a:endParaRPr>
          </a:p>
        </p:txBody>
      </p:sp>
      <p:grpSp>
        <p:nvGrpSpPr>
          <p:cNvPr id="433" name="Group 432"/>
          <p:cNvGrpSpPr/>
          <p:nvPr/>
        </p:nvGrpSpPr>
        <p:grpSpPr>
          <a:xfrm>
            <a:off x="3814470" y="4026391"/>
            <a:ext cx="2940035" cy="2373244"/>
            <a:chOff x="3542201" y="3302599"/>
            <a:chExt cx="3684601" cy="3098199"/>
          </a:xfrm>
        </p:grpSpPr>
        <p:sp>
          <p:nvSpPr>
            <p:cNvPr id="434" name="Rectangle 433"/>
            <p:cNvSpPr/>
            <p:nvPr/>
          </p:nvSpPr>
          <p:spPr>
            <a:xfrm>
              <a:off x="3542201" y="3302599"/>
              <a:ext cx="3684601" cy="3098199"/>
            </a:xfrm>
            <a:prstGeom prst="rect">
              <a:avLst/>
            </a:prstGeom>
            <a:noFill/>
            <a:ln w="190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435" name="Freeform 28"/>
            <p:cNvSpPr>
              <a:spLocks/>
            </p:cNvSpPr>
            <p:nvPr/>
          </p:nvSpPr>
          <p:spPr bwMode="auto">
            <a:xfrm>
              <a:off x="3636441" y="3702411"/>
              <a:ext cx="924879" cy="732677"/>
            </a:xfrm>
            <a:custGeom>
              <a:avLst/>
              <a:gdLst>
                <a:gd name="T0" fmla="*/ 27 w 14387"/>
                <a:gd name="T1" fmla="*/ 10280 h 13637"/>
                <a:gd name="T2" fmla="*/ 47 w 14387"/>
                <a:gd name="T3" fmla="*/ 9679 h 13637"/>
                <a:gd name="T4" fmla="*/ 46 w 14387"/>
                <a:gd name="T5" fmla="*/ 9104 h 13637"/>
                <a:gd name="T6" fmla="*/ 85 w 14387"/>
                <a:gd name="T7" fmla="*/ 8599 h 13637"/>
                <a:gd name="T8" fmla="*/ 145 w 14387"/>
                <a:gd name="T9" fmla="*/ 7943 h 13637"/>
                <a:gd name="T10" fmla="*/ 173 w 14387"/>
                <a:gd name="T11" fmla="*/ 7168 h 13637"/>
                <a:gd name="T12" fmla="*/ 735 w 14387"/>
                <a:gd name="T13" fmla="*/ 6372 h 13637"/>
                <a:gd name="T14" fmla="*/ 1085 w 14387"/>
                <a:gd name="T15" fmla="*/ 5576 h 13637"/>
                <a:gd name="T16" fmla="*/ 1306 w 14387"/>
                <a:gd name="T17" fmla="*/ 5168 h 13637"/>
                <a:gd name="T18" fmla="*/ 1420 w 14387"/>
                <a:gd name="T19" fmla="*/ 4292 h 13637"/>
                <a:gd name="T20" fmla="*/ 1138 w 14387"/>
                <a:gd name="T21" fmla="*/ 3442 h 13637"/>
                <a:gd name="T22" fmla="*/ 1262 w 14387"/>
                <a:gd name="T23" fmla="*/ 2953 h 13637"/>
                <a:gd name="T24" fmla="*/ 1245 w 14387"/>
                <a:gd name="T25" fmla="*/ 2311 h 13637"/>
                <a:gd name="T26" fmla="*/ 1486 w 14387"/>
                <a:gd name="T27" fmla="*/ 1710 h 13637"/>
                <a:gd name="T28" fmla="*/ 1959 w 14387"/>
                <a:gd name="T29" fmla="*/ 1064 h 13637"/>
                <a:gd name="T30" fmla="*/ 1975 w 14387"/>
                <a:gd name="T31" fmla="*/ 561 h 13637"/>
                <a:gd name="T32" fmla="*/ 3297 w 14387"/>
                <a:gd name="T33" fmla="*/ 55 h 13637"/>
                <a:gd name="T34" fmla="*/ 4430 w 14387"/>
                <a:gd name="T35" fmla="*/ 360 h 13637"/>
                <a:gd name="T36" fmla="*/ 5116 w 14387"/>
                <a:gd name="T37" fmla="*/ 1009 h 13637"/>
                <a:gd name="T38" fmla="*/ 5881 w 14387"/>
                <a:gd name="T39" fmla="*/ 1050 h 13637"/>
                <a:gd name="T40" fmla="*/ 6805 w 14387"/>
                <a:gd name="T41" fmla="*/ 1048 h 13637"/>
                <a:gd name="T42" fmla="*/ 7701 w 14387"/>
                <a:gd name="T43" fmla="*/ 1563 h 13637"/>
                <a:gd name="T44" fmla="*/ 8779 w 14387"/>
                <a:gd name="T45" fmla="*/ 1265 h 13637"/>
                <a:gd name="T46" fmla="*/ 9583 w 14387"/>
                <a:gd name="T47" fmla="*/ 794 h 13637"/>
                <a:gd name="T48" fmla="*/ 10879 w 14387"/>
                <a:gd name="T49" fmla="*/ 894 h 13637"/>
                <a:gd name="T50" fmla="*/ 11840 w 14387"/>
                <a:gd name="T51" fmla="*/ 1014 h 13637"/>
                <a:gd name="T52" fmla="*/ 12680 w 14387"/>
                <a:gd name="T53" fmla="*/ 357 h 13637"/>
                <a:gd name="T54" fmla="*/ 13485 w 14387"/>
                <a:gd name="T55" fmla="*/ 718 h 13637"/>
                <a:gd name="T56" fmla="*/ 13812 w 14387"/>
                <a:gd name="T57" fmla="*/ 2019 h 13637"/>
                <a:gd name="T58" fmla="*/ 14343 w 14387"/>
                <a:gd name="T59" fmla="*/ 2628 h 13637"/>
                <a:gd name="T60" fmla="*/ 14087 w 14387"/>
                <a:gd name="T61" fmla="*/ 3450 h 13637"/>
                <a:gd name="T62" fmla="*/ 13437 w 14387"/>
                <a:gd name="T63" fmla="*/ 3985 h 13637"/>
                <a:gd name="T64" fmla="*/ 13139 w 14387"/>
                <a:gd name="T65" fmla="*/ 4887 h 13637"/>
                <a:gd name="T66" fmla="*/ 12755 w 14387"/>
                <a:gd name="T67" fmla="*/ 5747 h 13637"/>
                <a:gd name="T68" fmla="*/ 12420 w 14387"/>
                <a:gd name="T69" fmla="*/ 6297 h 13637"/>
                <a:gd name="T70" fmla="*/ 12098 w 14387"/>
                <a:gd name="T71" fmla="*/ 7371 h 13637"/>
                <a:gd name="T72" fmla="*/ 11472 w 14387"/>
                <a:gd name="T73" fmla="*/ 8095 h 13637"/>
                <a:gd name="T74" fmla="*/ 11249 w 14387"/>
                <a:gd name="T75" fmla="*/ 8865 h 13637"/>
                <a:gd name="T76" fmla="*/ 10986 w 14387"/>
                <a:gd name="T77" fmla="*/ 9595 h 13637"/>
                <a:gd name="T78" fmla="*/ 10450 w 14387"/>
                <a:gd name="T79" fmla="*/ 10430 h 13637"/>
                <a:gd name="T80" fmla="*/ 9601 w 14387"/>
                <a:gd name="T81" fmla="*/ 9618 h 13637"/>
                <a:gd name="T82" fmla="*/ 8897 w 14387"/>
                <a:gd name="T83" fmla="*/ 9834 h 13637"/>
                <a:gd name="T84" fmla="*/ 8187 w 14387"/>
                <a:gd name="T85" fmla="*/ 10571 h 13637"/>
                <a:gd name="T86" fmla="*/ 7519 w 14387"/>
                <a:gd name="T87" fmla="*/ 11196 h 13637"/>
                <a:gd name="T88" fmla="*/ 7414 w 14387"/>
                <a:gd name="T89" fmla="*/ 11917 h 13637"/>
                <a:gd name="T90" fmla="*/ 7130 w 14387"/>
                <a:gd name="T91" fmla="*/ 12682 h 13637"/>
                <a:gd name="T92" fmla="*/ 7039 w 14387"/>
                <a:gd name="T93" fmla="*/ 13363 h 13637"/>
                <a:gd name="T94" fmla="*/ 6654 w 14387"/>
                <a:gd name="T95" fmla="*/ 12729 h 13637"/>
                <a:gd name="T96" fmla="*/ 6463 w 14387"/>
                <a:gd name="T97" fmla="*/ 13222 h 13637"/>
                <a:gd name="T98" fmla="*/ 5535 w 14387"/>
                <a:gd name="T99" fmla="*/ 13389 h 13637"/>
                <a:gd name="T100" fmla="*/ 5020 w 14387"/>
                <a:gd name="T101" fmla="*/ 13460 h 13637"/>
                <a:gd name="T102" fmla="*/ 4437 w 14387"/>
                <a:gd name="T103" fmla="*/ 13515 h 13637"/>
                <a:gd name="T104" fmla="*/ 3751 w 14387"/>
                <a:gd name="T105" fmla="*/ 13365 h 13637"/>
                <a:gd name="T106" fmla="*/ 3432 w 14387"/>
                <a:gd name="T107" fmla="*/ 12710 h 13637"/>
                <a:gd name="T108" fmla="*/ 2988 w 14387"/>
                <a:gd name="T109" fmla="*/ 11804 h 13637"/>
                <a:gd name="T110" fmla="*/ 2684 w 14387"/>
                <a:gd name="T111" fmla="*/ 11216 h 13637"/>
                <a:gd name="T112" fmla="*/ 1929 w 14387"/>
                <a:gd name="T113" fmla="*/ 10569 h 13637"/>
                <a:gd name="T114" fmla="*/ 890 w 14387"/>
                <a:gd name="T115" fmla="*/ 10343 h 13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7" h="13637">
                  <a:moveTo>
                    <a:pt x="659" y="10386"/>
                  </a:moveTo>
                  <a:lnTo>
                    <a:pt x="561" y="10435"/>
                  </a:lnTo>
                  <a:lnTo>
                    <a:pt x="294" y="10452"/>
                  </a:lnTo>
                  <a:lnTo>
                    <a:pt x="159" y="10419"/>
                  </a:lnTo>
                  <a:lnTo>
                    <a:pt x="50" y="10435"/>
                  </a:lnTo>
                  <a:lnTo>
                    <a:pt x="0" y="10367"/>
                  </a:lnTo>
                  <a:lnTo>
                    <a:pt x="27" y="10280"/>
                  </a:lnTo>
                  <a:lnTo>
                    <a:pt x="43" y="10181"/>
                  </a:lnTo>
                  <a:lnTo>
                    <a:pt x="43" y="9929"/>
                  </a:lnTo>
                  <a:lnTo>
                    <a:pt x="29" y="9877"/>
                  </a:lnTo>
                  <a:lnTo>
                    <a:pt x="60" y="9839"/>
                  </a:lnTo>
                  <a:lnTo>
                    <a:pt x="40" y="9780"/>
                  </a:lnTo>
                  <a:lnTo>
                    <a:pt x="65" y="9730"/>
                  </a:lnTo>
                  <a:lnTo>
                    <a:pt x="47" y="9679"/>
                  </a:lnTo>
                  <a:lnTo>
                    <a:pt x="32" y="9584"/>
                  </a:lnTo>
                  <a:lnTo>
                    <a:pt x="35" y="9475"/>
                  </a:lnTo>
                  <a:lnTo>
                    <a:pt x="58" y="9374"/>
                  </a:lnTo>
                  <a:lnTo>
                    <a:pt x="62" y="9292"/>
                  </a:lnTo>
                  <a:lnTo>
                    <a:pt x="46" y="9222"/>
                  </a:lnTo>
                  <a:lnTo>
                    <a:pt x="57" y="9146"/>
                  </a:lnTo>
                  <a:lnTo>
                    <a:pt x="46" y="9104"/>
                  </a:lnTo>
                  <a:lnTo>
                    <a:pt x="35" y="9044"/>
                  </a:lnTo>
                  <a:lnTo>
                    <a:pt x="39" y="8985"/>
                  </a:lnTo>
                  <a:lnTo>
                    <a:pt x="50" y="8938"/>
                  </a:lnTo>
                  <a:lnTo>
                    <a:pt x="40" y="8837"/>
                  </a:lnTo>
                  <a:lnTo>
                    <a:pt x="57" y="8745"/>
                  </a:lnTo>
                  <a:lnTo>
                    <a:pt x="85" y="8641"/>
                  </a:lnTo>
                  <a:lnTo>
                    <a:pt x="85" y="8599"/>
                  </a:lnTo>
                  <a:lnTo>
                    <a:pt x="101" y="8492"/>
                  </a:lnTo>
                  <a:lnTo>
                    <a:pt x="104" y="8421"/>
                  </a:lnTo>
                  <a:lnTo>
                    <a:pt x="116" y="8354"/>
                  </a:lnTo>
                  <a:lnTo>
                    <a:pt x="138" y="8302"/>
                  </a:lnTo>
                  <a:lnTo>
                    <a:pt x="148" y="8190"/>
                  </a:lnTo>
                  <a:lnTo>
                    <a:pt x="132" y="8109"/>
                  </a:lnTo>
                  <a:lnTo>
                    <a:pt x="145" y="7943"/>
                  </a:lnTo>
                  <a:lnTo>
                    <a:pt x="140" y="7804"/>
                  </a:lnTo>
                  <a:lnTo>
                    <a:pt x="119" y="7704"/>
                  </a:lnTo>
                  <a:lnTo>
                    <a:pt x="140" y="7603"/>
                  </a:lnTo>
                  <a:lnTo>
                    <a:pt x="141" y="7413"/>
                  </a:lnTo>
                  <a:lnTo>
                    <a:pt x="181" y="7360"/>
                  </a:lnTo>
                  <a:lnTo>
                    <a:pt x="218" y="7214"/>
                  </a:lnTo>
                  <a:lnTo>
                    <a:pt x="173" y="7168"/>
                  </a:lnTo>
                  <a:lnTo>
                    <a:pt x="174" y="7018"/>
                  </a:lnTo>
                  <a:lnTo>
                    <a:pt x="217" y="6870"/>
                  </a:lnTo>
                  <a:lnTo>
                    <a:pt x="267" y="6797"/>
                  </a:lnTo>
                  <a:lnTo>
                    <a:pt x="333" y="6773"/>
                  </a:lnTo>
                  <a:lnTo>
                    <a:pt x="433" y="6772"/>
                  </a:lnTo>
                  <a:lnTo>
                    <a:pt x="688" y="6473"/>
                  </a:lnTo>
                  <a:lnTo>
                    <a:pt x="735" y="6372"/>
                  </a:lnTo>
                  <a:lnTo>
                    <a:pt x="730" y="6175"/>
                  </a:lnTo>
                  <a:lnTo>
                    <a:pt x="777" y="6078"/>
                  </a:lnTo>
                  <a:lnTo>
                    <a:pt x="804" y="5968"/>
                  </a:lnTo>
                  <a:lnTo>
                    <a:pt x="865" y="5927"/>
                  </a:lnTo>
                  <a:lnTo>
                    <a:pt x="912" y="5818"/>
                  </a:lnTo>
                  <a:lnTo>
                    <a:pt x="997" y="5681"/>
                  </a:lnTo>
                  <a:lnTo>
                    <a:pt x="1085" y="5576"/>
                  </a:lnTo>
                  <a:lnTo>
                    <a:pt x="1154" y="5538"/>
                  </a:lnTo>
                  <a:lnTo>
                    <a:pt x="1207" y="5488"/>
                  </a:lnTo>
                  <a:lnTo>
                    <a:pt x="1253" y="5436"/>
                  </a:lnTo>
                  <a:lnTo>
                    <a:pt x="1253" y="5338"/>
                  </a:lnTo>
                  <a:lnTo>
                    <a:pt x="1292" y="5240"/>
                  </a:lnTo>
                  <a:lnTo>
                    <a:pt x="1328" y="5211"/>
                  </a:lnTo>
                  <a:lnTo>
                    <a:pt x="1306" y="5168"/>
                  </a:lnTo>
                  <a:lnTo>
                    <a:pt x="1344" y="5116"/>
                  </a:lnTo>
                  <a:lnTo>
                    <a:pt x="1260" y="5070"/>
                  </a:lnTo>
                  <a:lnTo>
                    <a:pt x="1259" y="4871"/>
                  </a:lnTo>
                  <a:lnTo>
                    <a:pt x="1348" y="4819"/>
                  </a:lnTo>
                  <a:lnTo>
                    <a:pt x="1408" y="4743"/>
                  </a:lnTo>
                  <a:lnTo>
                    <a:pt x="1432" y="4625"/>
                  </a:lnTo>
                  <a:lnTo>
                    <a:pt x="1420" y="4292"/>
                  </a:lnTo>
                  <a:lnTo>
                    <a:pt x="1431" y="4175"/>
                  </a:lnTo>
                  <a:lnTo>
                    <a:pt x="1430" y="4062"/>
                  </a:lnTo>
                  <a:lnTo>
                    <a:pt x="1441" y="3970"/>
                  </a:lnTo>
                  <a:lnTo>
                    <a:pt x="1356" y="3842"/>
                  </a:lnTo>
                  <a:lnTo>
                    <a:pt x="1308" y="3738"/>
                  </a:lnTo>
                  <a:lnTo>
                    <a:pt x="1138" y="3543"/>
                  </a:lnTo>
                  <a:lnTo>
                    <a:pt x="1138" y="3442"/>
                  </a:lnTo>
                  <a:lnTo>
                    <a:pt x="1183" y="3342"/>
                  </a:lnTo>
                  <a:lnTo>
                    <a:pt x="1138" y="3296"/>
                  </a:lnTo>
                  <a:lnTo>
                    <a:pt x="1135" y="3197"/>
                  </a:lnTo>
                  <a:lnTo>
                    <a:pt x="1182" y="3146"/>
                  </a:lnTo>
                  <a:lnTo>
                    <a:pt x="1224" y="3045"/>
                  </a:lnTo>
                  <a:lnTo>
                    <a:pt x="1228" y="2996"/>
                  </a:lnTo>
                  <a:lnTo>
                    <a:pt x="1262" y="2953"/>
                  </a:lnTo>
                  <a:lnTo>
                    <a:pt x="1237" y="2850"/>
                  </a:lnTo>
                  <a:lnTo>
                    <a:pt x="1270" y="2797"/>
                  </a:lnTo>
                  <a:lnTo>
                    <a:pt x="1231" y="2752"/>
                  </a:lnTo>
                  <a:lnTo>
                    <a:pt x="1240" y="2615"/>
                  </a:lnTo>
                  <a:lnTo>
                    <a:pt x="1207" y="2515"/>
                  </a:lnTo>
                  <a:lnTo>
                    <a:pt x="1232" y="2412"/>
                  </a:lnTo>
                  <a:lnTo>
                    <a:pt x="1245" y="2311"/>
                  </a:lnTo>
                  <a:lnTo>
                    <a:pt x="1276" y="2201"/>
                  </a:lnTo>
                  <a:lnTo>
                    <a:pt x="1315" y="2107"/>
                  </a:lnTo>
                  <a:lnTo>
                    <a:pt x="1330" y="2008"/>
                  </a:lnTo>
                  <a:lnTo>
                    <a:pt x="1351" y="1925"/>
                  </a:lnTo>
                  <a:lnTo>
                    <a:pt x="1447" y="1810"/>
                  </a:lnTo>
                  <a:lnTo>
                    <a:pt x="1450" y="1755"/>
                  </a:lnTo>
                  <a:lnTo>
                    <a:pt x="1486" y="1710"/>
                  </a:lnTo>
                  <a:lnTo>
                    <a:pt x="1523" y="1616"/>
                  </a:lnTo>
                  <a:lnTo>
                    <a:pt x="1788" y="1464"/>
                  </a:lnTo>
                  <a:lnTo>
                    <a:pt x="1830" y="1359"/>
                  </a:lnTo>
                  <a:lnTo>
                    <a:pt x="1916" y="1268"/>
                  </a:lnTo>
                  <a:lnTo>
                    <a:pt x="1960" y="1165"/>
                  </a:lnTo>
                  <a:lnTo>
                    <a:pt x="2000" y="1116"/>
                  </a:lnTo>
                  <a:lnTo>
                    <a:pt x="1959" y="1064"/>
                  </a:lnTo>
                  <a:lnTo>
                    <a:pt x="1960" y="868"/>
                  </a:lnTo>
                  <a:lnTo>
                    <a:pt x="1998" y="819"/>
                  </a:lnTo>
                  <a:lnTo>
                    <a:pt x="1934" y="760"/>
                  </a:lnTo>
                  <a:lnTo>
                    <a:pt x="1975" y="708"/>
                  </a:lnTo>
                  <a:lnTo>
                    <a:pt x="1938" y="664"/>
                  </a:lnTo>
                  <a:lnTo>
                    <a:pt x="1975" y="612"/>
                  </a:lnTo>
                  <a:lnTo>
                    <a:pt x="1975" y="561"/>
                  </a:lnTo>
                  <a:lnTo>
                    <a:pt x="2025" y="507"/>
                  </a:lnTo>
                  <a:lnTo>
                    <a:pt x="2189" y="365"/>
                  </a:lnTo>
                  <a:lnTo>
                    <a:pt x="2318" y="316"/>
                  </a:lnTo>
                  <a:lnTo>
                    <a:pt x="2665" y="117"/>
                  </a:lnTo>
                  <a:lnTo>
                    <a:pt x="3101" y="118"/>
                  </a:lnTo>
                  <a:lnTo>
                    <a:pt x="3177" y="63"/>
                  </a:lnTo>
                  <a:lnTo>
                    <a:pt x="3297" y="55"/>
                  </a:lnTo>
                  <a:lnTo>
                    <a:pt x="3406" y="16"/>
                  </a:lnTo>
                  <a:lnTo>
                    <a:pt x="3528" y="15"/>
                  </a:lnTo>
                  <a:lnTo>
                    <a:pt x="3641" y="0"/>
                  </a:lnTo>
                  <a:lnTo>
                    <a:pt x="3748" y="19"/>
                  </a:lnTo>
                  <a:lnTo>
                    <a:pt x="3832" y="118"/>
                  </a:lnTo>
                  <a:lnTo>
                    <a:pt x="3925" y="170"/>
                  </a:lnTo>
                  <a:lnTo>
                    <a:pt x="4430" y="360"/>
                  </a:lnTo>
                  <a:lnTo>
                    <a:pt x="4708" y="474"/>
                  </a:lnTo>
                  <a:lnTo>
                    <a:pt x="4809" y="583"/>
                  </a:lnTo>
                  <a:lnTo>
                    <a:pt x="4813" y="730"/>
                  </a:lnTo>
                  <a:lnTo>
                    <a:pt x="4782" y="835"/>
                  </a:lnTo>
                  <a:lnTo>
                    <a:pt x="4906" y="907"/>
                  </a:lnTo>
                  <a:lnTo>
                    <a:pt x="5041" y="944"/>
                  </a:lnTo>
                  <a:lnTo>
                    <a:pt x="5116" y="1009"/>
                  </a:lnTo>
                  <a:lnTo>
                    <a:pt x="5292" y="1394"/>
                  </a:lnTo>
                  <a:lnTo>
                    <a:pt x="5350" y="1329"/>
                  </a:lnTo>
                  <a:lnTo>
                    <a:pt x="5440" y="1279"/>
                  </a:lnTo>
                  <a:lnTo>
                    <a:pt x="5529" y="1181"/>
                  </a:lnTo>
                  <a:lnTo>
                    <a:pt x="5662" y="1129"/>
                  </a:lnTo>
                  <a:lnTo>
                    <a:pt x="5791" y="1127"/>
                  </a:lnTo>
                  <a:lnTo>
                    <a:pt x="5881" y="1050"/>
                  </a:lnTo>
                  <a:lnTo>
                    <a:pt x="6001" y="933"/>
                  </a:lnTo>
                  <a:lnTo>
                    <a:pt x="6132" y="933"/>
                  </a:lnTo>
                  <a:lnTo>
                    <a:pt x="6394" y="833"/>
                  </a:lnTo>
                  <a:lnTo>
                    <a:pt x="6526" y="833"/>
                  </a:lnTo>
                  <a:lnTo>
                    <a:pt x="6698" y="885"/>
                  </a:lnTo>
                  <a:lnTo>
                    <a:pt x="6740" y="983"/>
                  </a:lnTo>
                  <a:lnTo>
                    <a:pt x="6805" y="1048"/>
                  </a:lnTo>
                  <a:lnTo>
                    <a:pt x="6866" y="1078"/>
                  </a:lnTo>
                  <a:lnTo>
                    <a:pt x="6974" y="1081"/>
                  </a:lnTo>
                  <a:lnTo>
                    <a:pt x="7142" y="1216"/>
                  </a:lnTo>
                  <a:lnTo>
                    <a:pt x="7431" y="1428"/>
                  </a:lnTo>
                  <a:lnTo>
                    <a:pt x="7560" y="1477"/>
                  </a:lnTo>
                  <a:lnTo>
                    <a:pt x="7646" y="1525"/>
                  </a:lnTo>
                  <a:lnTo>
                    <a:pt x="7701" y="1563"/>
                  </a:lnTo>
                  <a:lnTo>
                    <a:pt x="7880" y="1519"/>
                  </a:lnTo>
                  <a:lnTo>
                    <a:pt x="8012" y="1467"/>
                  </a:lnTo>
                  <a:lnTo>
                    <a:pt x="8147" y="1516"/>
                  </a:lnTo>
                  <a:lnTo>
                    <a:pt x="8322" y="1570"/>
                  </a:lnTo>
                  <a:lnTo>
                    <a:pt x="8577" y="1567"/>
                  </a:lnTo>
                  <a:lnTo>
                    <a:pt x="8631" y="1371"/>
                  </a:lnTo>
                  <a:lnTo>
                    <a:pt x="8779" y="1265"/>
                  </a:lnTo>
                  <a:lnTo>
                    <a:pt x="8818" y="1119"/>
                  </a:lnTo>
                  <a:lnTo>
                    <a:pt x="8908" y="1016"/>
                  </a:lnTo>
                  <a:lnTo>
                    <a:pt x="9083" y="915"/>
                  </a:lnTo>
                  <a:lnTo>
                    <a:pt x="9226" y="879"/>
                  </a:lnTo>
                  <a:lnTo>
                    <a:pt x="9346" y="838"/>
                  </a:lnTo>
                  <a:lnTo>
                    <a:pt x="9477" y="853"/>
                  </a:lnTo>
                  <a:lnTo>
                    <a:pt x="9583" y="794"/>
                  </a:lnTo>
                  <a:lnTo>
                    <a:pt x="9677" y="845"/>
                  </a:lnTo>
                  <a:lnTo>
                    <a:pt x="9901" y="791"/>
                  </a:lnTo>
                  <a:lnTo>
                    <a:pt x="10199" y="769"/>
                  </a:lnTo>
                  <a:lnTo>
                    <a:pt x="10370" y="740"/>
                  </a:lnTo>
                  <a:lnTo>
                    <a:pt x="10532" y="778"/>
                  </a:lnTo>
                  <a:lnTo>
                    <a:pt x="10693" y="827"/>
                  </a:lnTo>
                  <a:lnTo>
                    <a:pt x="10879" y="894"/>
                  </a:lnTo>
                  <a:lnTo>
                    <a:pt x="11030" y="996"/>
                  </a:lnTo>
                  <a:lnTo>
                    <a:pt x="11197" y="1065"/>
                  </a:lnTo>
                  <a:lnTo>
                    <a:pt x="11327" y="1165"/>
                  </a:lnTo>
                  <a:lnTo>
                    <a:pt x="11500" y="1117"/>
                  </a:lnTo>
                  <a:lnTo>
                    <a:pt x="11619" y="1092"/>
                  </a:lnTo>
                  <a:lnTo>
                    <a:pt x="11702" y="1108"/>
                  </a:lnTo>
                  <a:lnTo>
                    <a:pt x="11840" y="1014"/>
                  </a:lnTo>
                  <a:lnTo>
                    <a:pt x="11928" y="914"/>
                  </a:lnTo>
                  <a:lnTo>
                    <a:pt x="12061" y="863"/>
                  </a:lnTo>
                  <a:lnTo>
                    <a:pt x="12143" y="762"/>
                  </a:lnTo>
                  <a:lnTo>
                    <a:pt x="12224" y="613"/>
                  </a:lnTo>
                  <a:lnTo>
                    <a:pt x="12378" y="528"/>
                  </a:lnTo>
                  <a:lnTo>
                    <a:pt x="12621" y="473"/>
                  </a:lnTo>
                  <a:lnTo>
                    <a:pt x="12680" y="357"/>
                  </a:lnTo>
                  <a:lnTo>
                    <a:pt x="12755" y="252"/>
                  </a:lnTo>
                  <a:lnTo>
                    <a:pt x="12902" y="225"/>
                  </a:lnTo>
                  <a:lnTo>
                    <a:pt x="13121" y="223"/>
                  </a:lnTo>
                  <a:lnTo>
                    <a:pt x="13227" y="412"/>
                  </a:lnTo>
                  <a:lnTo>
                    <a:pt x="13351" y="568"/>
                  </a:lnTo>
                  <a:lnTo>
                    <a:pt x="13371" y="673"/>
                  </a:lnTo>
                  <a:lnTo>
                    <a:pt x="13485" y="718"/>
                  </a:lnTo>
                  <a:lnTo>
                    <a:pt x="13525" y="865"/>
                  </a:lnTo>
                  <a:lnTo>
                    <a:pt x="13602" y="980"/>
                  </a:lnTo>
                  <a:lnTo>
                    <a:pt x="13646" y="1077"/>
                  </a:lnTo>
                  <a:lnTo>
                    <a:pt x="13736" y="1482"/>
                  </a:lnTo>
                  <a:lnTo>
                    <a:pt x="13781" y="1631"/>
                  </a:lnTo>
                  <a:lnTo>
                    <a:pt x="13817" y="1888"/>
                  </a:lnTo>
                  <a:lnTo>
                    <a:pt x="13812" y="2019"/>
                  </a:lnTo>
                  <a:lnTo>
                    <a:pt x="13871" y="2102"/>
                  </a:lnTo>
                  <a:lnTo>
                    <a:pt x="14089" y="2106"/>
                  </a:lnTo>
                  <a:lnTo>
                    <a:pt x="14209" y="2171"/>
                  </a:lnTo>
                  <a:lnTo>
                    <a:pt x="14326" y="2291"/>
                  </a:lnTo>
                  <a:lnTo>
                    <a:pt x="14359" y="2360"/>
                  </a:lnTo>
                  <a:lnTo>
                    <a:pt x="14387" y="2500"/>
                  </a:lnTo>
                  <a:lnTo>
                    <a:pt x="14343" y="2628"/>
                  </a:lnTo>
                  <a:lnTo>
                    <a:pt x="14343" y="2752"/>
                  </a:lnTo>
                  <a:lnTo>
                    <a:pt x="14290" y="2893"/>
                  </a:lnTo>
                  <a:lnTo>
                    <a:pt x="14313" y="2984"/>
                  </a:lnTo>
                  <a:lnTo>
                    <a:pt x="14370" y="3096"/>
                  </a:lnTo>
                  <a:lnTo>
                    <a:pt x="14343" y="3247"/>
                  </a:lnTo>
                  <a:lnTo>
                    <a:pt x="14189" y="3388"/>
                  </a:lnTo>
                  <a:lnTo>
                    <a:pt x="14087" y="3450"/>
                  </a:lnTo>
                  <a:lnTo>
                    <a:pt x="14012" y="3519"/>
                  </a:lnTo>
                  <a:lnTo>
                    <a:pt x="13856" y="3633"/>
                  </a:lnTo>
                  <a:lnTo>
                    <a:pt x="13735" y="3631"/>
                  </a:lnTo>
                  <a:lnTo>
                    <a:pt x="13623" y="3579"/>
                  </a:lnTo>
                  <a:lnTo>
                    <a:pt x="13510" y="3757"/>
                  </a:lnTo>
                  <a:lnTo>
                    <a:pt x="13452" y="3885"/>
                  </a:lnTo>
                  <a:lnTo>
                    <a:pt x="13437" y="3985"/>
                  </a:lnTo>
                  <a:lnTo>
                    <a:pt x="13287" y="4113"/>
                  </a:lnTo>
                  <a:lnTo>
                    <a:pt x="13362" y="4161"/>
                  </a:lnTo>
                  <a:lnTo>
                    <a:pt x="13317" y="4321"/>
                  </a:lnTo>
                  <a:lnTo>
                    <a:pt x="13308" y="4425"/>
                  </a:lnTo>
                  <a:lnTo>
                    <a:pt x="13146" y="4608"/>
                  </a:lnTo>
                  <a:lnTo>
                    <a:pt x="13104" y="4756"/>
                  </a:lnTo>
                  <a:lnTo>
                    <a:pt x="13139" y="4887"/>
                  </a:lnTo>
                  <a:lnTo>
                    <a:pt x="13146" y="5052"/>
                  </a:lnTo>
                  <a:lnTo>
                    <a:pt x="13076" y="5127"/>
                  </a:lnTo>
                  <a:lnTo>
                    <a:pt x="12999" y="5311"/>
                  </a:lnTo>
                  <a:lnTo>
                    <a:pt x="12885" y="5403"/>
                  </a:lnTo>
                  <a:lnTo>
                    <a:pt x="12810" y="5484"/>
                  </a:lnTo>
                  <a:lnTo>
                    <a:pt x="12797" y="5607"/>
                  </a:lnTo>
                  <a:lnTo>
                    <a:pt x="12755" y="5747"/>
                  </a:lnTo>
                  <a:lnTo>
                    <a:pt x="12807" y="5857"/>
                  </a:lnTo>
                  <a:lnTo>
                    <a:pt x="12807" y="5997"/>
                  </a:lnTo>
                  <a:lnTo>
                    <a:pt x="12819" y="6076"/>
                  </a:lnTo>
                  <a:lnTo>
                    <a:pt x="12756" y="6181"/>
                  </a:lnTo>
                  <a:lnTo>
                    <a:pt x="12627" y="6193"/>
                  </a:lnTo>
                  <a:lnTo>
                    <a:pt x="12507" y="6219"/>
                  </a:lnTo>
                  <a:lnTo>
                    <a:pt x="12420" y="6297"/>
                  </a:lnTo>
                  <a:lnTo>
                    <a:pt x="12363" y="6444"/>
                  </a:lnTo>
                  <a:lnTo>
                    <a:pt x="12365" y="6585"/>
                  </a:lnTo>
                  <a:lnTo>
                    <a:pt x="12323" y="6789"/>
                  </a:lnTo>
                  <a:lnTo>
                    <a:pt x="12323" y="6931"/>
                  </a:lnTo>
                  <a:lnTo>
                    <a:pt x="12299" y="7071"/>
                  </a:lnTo>
                  <a:lnTo>
                    <a:pt x="12153" y="7335"/>
                  </a:lnTo>
                  <a:lnTo>
                    <a:pt x="12098" y="7371"/>
                  </a:lnTo>
                  <a:lnTo>
                    <a:pt x="12018" y="7378"/>
                  </a:lnTo>
                  <a:lnTo>
                    <a:pt x="11879" y="7480"/>
                  </a:lnTo>
                  <a:lnTo>
                    <a:pt x="11750" y="7585"/>
                  </a:lnTo>
                  <a:lnTo>
                    <a:pt x="11630" y="7627"/>
                  </a:lnTo>
                  <a:lnTo>
                    <a:pt x="11541" y="7777"/>
                  </a:lnTo>
                  <a:lnTo>
                    <a:pt x="11529" y="7917"/>
                  </a:lnTo>
                  <a:lnTo>
                    <a:pt x="11472" y="8095"/>
                  </a:lnTo>
                  <a:lnTo>
                    <a:pt x="11429" y="8245"/>
                  </a:lnTo>
                  <a:lnTo>
                    <a:pt x="11414" y="8362"/>
                  </a:lnTo>
                  <a:lnTo>
                    <a:pt x="11411" y="8467"/>
                  </a:lnTo>
                  <a:lnTo>
                    <a:pt x="11357" y="8575"/>
                  </a:lnTo>
                  <a:lnTo>
                    <a:pt x="11363" y="8709"/>
                  </a:lnTo>
                  <a:lnTo>
                    <a:pt x="11357" y="8824"/>
                  </a:lnTo>
                  <a:lnTo>
                    <a:pt x="11249" y="8865"/>
                  </a:lnTo>
                  <a:lnTo>
                    <a:pt x="11155" y="8947"/>
                  </a:lnTo>
                  <a:lnTo>
                    <a:pt x="10984" y="8990"/>
                  </a:lnTo>
                  <a:lnTo>
                    <a:pt x="10984" y="9132"/>
                  </a:lnTo>
                  <a:lnTo>
                    <a:pt x="10974" y="9253"/>
                  </a:lnTo>
                  <a:lnTo>
                    <a:pt x="10944" y="9391"/>
                  </a:lnTo>
                  <a:lnTo>
                    <a:pt x="10989" y="9532"/>
                  </a:lnTo>
                  <a:lnTo>
                    <a:pt x="10986" y="9595"/>
                  </a:lnTo>
                  <a:lnTo>
                    <a:pt x="10896" y="9788"/>
                  </a:lnTo>
                  <a:lnTo>
                    <a:pt x="10725" y="9983"/>
                  </a:lnTo>
                  <a:lnTo>
                    <a:pt x="10680" y="10078"/>
                  </a:lnTo>
                  <a:lnTo>
                    <a:pt x="10681" y="10128"/>
                  </a:lnTo>
                  <a:lnTo>
                    <a:pt x="10593" y="10226"/>
                  </a:lnTo>
                  <a:lnTo>
                    <a:pt x="10555" y="10324"/>
                  </a:lnTo>
                  <a:lnTo>
                    <a:pt x="10450" y="10430"/>
                  </a:lnTo>
                  <a:lnTo>
                    <a:pt x="10340" y="10475"/>
                  </a:lnTo>
                  <a:lnTo>
                    <a:pt x="10259" y="10452"/>
                  </a:lnTo>
                  <a:lnTo>
                    <a:pt x="10201" y="10419"/>
                  </a:lnTo>
                  <a:lnTo>
                    <a:pt x="10119" y="10176"/>
                  </a:lnTo>
                  <a:lnTo>
                    <a:pt x="9987" y="10016"/>
                  </a:lnTo>
                  <a:lnTo>
                    <a:pt x="9819" y="9787"/>
                  </a:lnTo>
                  <a:lnTo>
                    <a:pt x="9601" y="9618"/>
                  </a:lnTo>
                  <a:lnTo>
                    <a:pt x="9502" y="9627"/>
                  </a:lnTo>
                  <a:lnTo>
                    <a:pt x="9357" y="9744"/>
                  </a:lnTo>
                  <a:lnTo>
                    <a:pt x="9305" y="9833"/>
                  </a:lnTo>
                  <a:lnTo>
                    <a:pt x="9211" y="9883"/>
                  </a:lnTo>
                  <a:lnTo>
                    <a:pt x="9043" y="9869"/>
                  </a:lnTo>
                  <a:lnTo>
                    <a:pt x="8982" y="9834"/>
                  </a:lnTo>
                  <a:lnTo>
                    <a:pt x="8897" y="9834"/>
                  </a:lnTo>
                  <a:lnTo>
                    <a:pt x="8796" y="9891"/>
                  </a:lnTo>
                  <a:lnTo>
                    <a:pt x="8740" y="9967"/>
                  </a:lnTo>
                  <a:lnTo>
                    <a:pt x="8653" y="10030"/>
                  </a:lnTo>
                  <a:lnTo>
                    <a:pt x="8569" y="10131"/>
                  </a:lnTo>
                  <a:lnTo>
                    <a:pt x="8429" y="10141"/>
                  </a:lnTo>
                  <a:lnTo>
                    <a:pt x="8325" y="10337"/>
                  </a:lnTo>
                  <a:lnTo>
                    <a:pt x="8187" y="10571"/>
                  </a:lnTo>
                  <a:lnTo>
                    <a:pt x="8117" y="10571"/>
                  </a:lnTo>
                  <a:lnTo>
                    <a:pt x="8004" y="10610"/>
                  </a:lnTo>
                  <a:lnTo>
                    <a:pt x="7929" y="10721"/>
                  </a:lnTo>
                  <a:lnTo>
                    <a:pt x="7908" y="10901"/>
                  </a:lnTo>
                  <a:lnTo>
                    <a:pt x="7720" y="11112"/>
                  </a:lnTo>
                  <a:lnTo>
                    <a:pt x="7624" y="11205"/>
                  </a:lnTo>
                  <a:lnTo>
                    <a:pt x="7519" y="11196"/>
                  </a:lnTo>
                  <a:lnTo>
                    <a:pt x="7439" y="11221"/>
                  </a:lnTo>
                  <a:lnTo>
                    <a:pt x="7434" y="11289"/>
                  </a:lnTo>
                  <a:lnTo>
                    <a:pt x="7389" y="11490"/>
                  </a:lnTo>
                  <a:lnTo>
                    <a:pt x="7334" y="11562"/>
                  </a:lnTo>
                  <a:lnTo>
                    <a:pt x="7304" y="11641"/>
                  </a:lnTo>
                  <a:lnTo>
                    <a:pt x="7473" y="11842"/>
                  </a:lnTo>
                  <a:lnTo>
                    <a:pt x="7414" y="11917"/>
                  </a:lnTo>
                  <a:lnTo>
                    <a:pt x="7345" y="11988"/>
                  </a:lnTo>
                  <a:lnTo>
                    <a:pt x="7334" y="12075"/>
                  </a:lnTo>
                  <a:lnTo>
                    <a:pt x="7387" y="12211"/>
                  </a:lnTo>
                  <a:lnTo>
                    <a:pt x="7384" y="12321"/>
                  </a:lnTo>
                  <a:lnTo>
                    <a:pt x="7318" y="12473"/>
                  </a:lnTo>
                  <a:lnTo>
                    <a:pt x="7261" y="12581"/>
                  </a:lnTo>
                  <a:lnTo>
                    <a:pt x="7130" y="12682"/>
                  </a:lnTo>
                  <a:lnTo>
                    <a:pt x="7136" y="12785"/>
                  </a:lnTo>
                  <a:lnTo>
                    <a:pt x="7087" y="12878"/>
                  </a:lnTo>
                  <a:lnTo>
                    <a:pt x="7043" y="12989"/>
                  </a:lnTo>
                  <a:lnTo>
                    <a:pt x="7086" y="13093"/>
                  </a:lnTo>
                  <a:lnTo>
                    <a:pt x="7130" y="13218"/>
                  </a:lnTo>
                  <a:lnTo>
                    <a:pt x="7131" y="13321"/>
                  </a:lnTo>
                  <a:lnTo>
                    <a:pt x="7039" y="13363"/>
                  </a:lnTo>
                  <a:lnTo>
                    <a:pt x="6911" y="13143"/>
                  </a:lnTo>
                  <a:lnTo>
                    <a:pt x="6880" y="13039"/>
                  </a:lnTo>
                  <a:lnTo>
                    <a:pt x="6842" y="12954"/>
                  </a:lnTo>
                  <a:lnTo>
                    <a:pt x="6797" y="12878"/>
                  </a:lnTo>
                  <a:lnTo>
                    <a:pt x="6740" y="12830"/>
                  </a:lnTo>
                  <a:lnTo>
                    <a:pt x="6712" y="12773"/>
                  </a:lnTo>
                  <a:lnTo>
                    <a:pt x="6654" y="12729"/>
                  </a:lnTo>
                  <a:lnTo>
                    <a:pt x="6599" y="12625"/>
                  </a:lnTo>
                  <a:lnTo>
                    <a:pt x="6483" y="12579"/>
                  </a:lnTo>
                  <a:lnTo>
                    <a:pt x="6507" y="12664"/>
                  </a:lnTo>
                  <a:lnTo>
                    <a:pt x="6577" y="12829"/>
                  </a:lnTo>
                  <a:lnTo>
                    <a:pt x="6646" y="13026"/>
                  </a:lnTo>
                  <a:lnTo>
                    <a:pt x="6615" y="13148"/>
                  </a:lnTo>
                  <a:lnTo>
                    <a:pt x="6463" y="13222"/>
                  </a:lnTo>
                  <a:lnTo>
                    <a:pt x="6243" y="13222"/>
                  </a:lnTo>
                  <a:lnTo>
                    <a:pt x="6154" y="13273"/>
                  </a:lnTo>
                  <a:lnTo>
                    <a:pt x="6072" y="13370"/>
                  </a:lnTo>
                  <a:lnTo>
                    <a:pt x="5852" y="13371"/>
                  </a:lnTo>
                  <a:lnTo>
                    <a:pt x="5716" y="13281"/>
                  </a:lnTo>
                  <a:lnTo>
                    <a:pt x="5629" y="13330"/>
                  </a:lnTo>
                  <a:lnTo>
                    <a:pt x="5535" y="13389"/>
                  </a:lnTo>
                  <a:lnTo>
                    <a:pt x="5480" y="13521"/>
                  </a:lnTo>
                  <a:lnTo>
                    <a:pt x="5422" y="13605"/>
                  </a:lnTo>
                  <a:lnTo>
                    <a:pt x="5317" y="13575"/>
                  </a:lnTo>
                  <a:lnTo>
                    <a:pt x="5253" y="13510"/>
                  </a:lnTo>
                  <a:lnTo>
                    <a:pt x="5163" y="13457"/>
                  </a:lnTo>
                  <a:lnTo>
                    <a:pt x="5079" y="13433"/>
                  </a:lnTo>
                  <a:lnTo>
                    <a:pt x="5020" y="13460"/>
                  </a:lnTo>
                  <a:lnTo>
                    <a:pt x="4918" y="13499"/>
                  </a:lnTo>
                  <a:lnTo>
                    <a:pt x="4834" y="13515"/>
                  </a:lnTo>
                  <a:lnTo>
                    <a:pt x="4771" y="13507"/>
                  </a:lnTo>
                  <a:lnTo>
                    <a:pt x="4647" y="13556"/>
                  </a:lnTo>
                  <a:lnTo>
                    <a:pt x="4609" y="13543"/>
                  </a:lnTo>
                  <a:lnTo>
                    <a:pt x="4536" y="13447"/>
                  </a:lnTo>
                  <a:lnTo>
                    <a:pt x="4437" y="13515"/>
                  </a:lnTo>
                  <a:lnTo>
                    <a:pt x="4281" y="13578"/>
                  </a:lnTo>
                  <a:lnTo>
                    <a:pt x="4211" y="13637"/>
                  </a:lnTo>
                  <a:lnTo>
                    <a:pt x="4107" y="13630"/>
                  </a:lnTo>
                  <a:lnTo>
                    <a:pt x="4004" y="13562"/>
                  </a:lnTo>
                  <a:lnTo>
                    <a:pt x="3880" y="13564"/>
                  </a:lnTo>
                  <a:lnTo>
                    <a:pt x="3806" y="13496"/>
                  </a:lnTo>
                  <a:lnTo>
                    <a:pt x="3751" y="13365"/>
                  </a:lnTo>
                  <a:lnTo>
                    <a:pt x="3665" y="13414"/>
                  </a:lnTo>
                  <a:lnTo>
                    <a:pt x="3577" y="13368"/>
                  </a:lnTo>
                  <a:lnTo>
                    <a:pt x="3548" y="13308"/>
                  </a:lnTo>
                  <a:lnTo>
                    <a:pt x="3542" y="13192"/>
                  </a:lnTo>
                  <a:lnTo>
                    <a:pt x="3505" y="13067"/>
                  </a:lnTo>
                  <a:lnTo>
                    <a:pt x="3506" y="12968"/>
                  </a:lnTo>
                  <a:lnTo>
                    <a:pt x="3432" y="12710"/>
                  </a:lnTo>
                  <a:lnTo>
                    <a:pt x="3300" y="12451"/>
                  </a:lnTo>
                  <a:lnTo>
                    <a:pt x="3250" y="12402"/>
                  </a:lnTo>
                  <a:lnTo>
                    <a:pt x="3155" y="12249"/>
                  </a:lnTo>
                  <a:lnTo>
                    <a:pt x="3115" y="12141"/>
                  </a:lnTo>
                  <a:lnTo>
                    <a:pt x="3051" y="12035"/>
                  </a:lnTo>
                  <a:lnTo>
                    <a:pt x="3045" y="11939"/>
                  </a:lnTo>
                  <a:lnTo>
                    <a:pt x="2988" y="11804"/>
                  </a:lnTo>
                  <a:lnTo>
                    <a:pt x="2922" y="11692"/>
                  </a:lnTo>
                  <a:lnTo>
                    <a:pt x="2883" y="11545"/>
                  </a:lnTo>
                  <a:lnTo>
                    <a:pt x="2824" y="11482"/>
                  </a:lnTo>
                  <a:lnTo>
                    <a:pt x="2778" y="11392"/>
                  </a:lnTo>
                  <a:lnTo>
                    <a:pt x="2780" y="11302"/>
                  </a:lnTo>
                  <a:lnTo>
                    <a:pt x="2735" y="11290"/>
                  </a:lnTo>
                  <a:lnTo>
                    <a:pt x="2684" y="11216"/>
                  </a:lnTo>
                  <a:lnTo>
                    <a:pt x="2630" y="11136"/>
                  </a:lnTo>
                  <a:lnTo>
                    <a:pt x="2594" y="11063"/>
                  </a:lnTo>
                  <a:lnTo>
                    <a:pt x="2403" y="10864"/>
                  </a:lnTo>
                  <a:lnTo>
                    <a:pt x="2337" y="10769"/>
                  </a:lnTo>
                  <a:lnTo>
                    <a:pt x="2226" y="10656"/>
                  </a:lnTo>
                  <a:lnTo>
                    <a:pt x="2088" y="10588"/>
                  </a:lnTo>
                  <a:lnTo>
                    <a:pt x="1929" y="10569"/>
                  </a:lnTo>
                  <a:lnTo>
                    <a:pt x="1808" y="10516"/>
                  </a:lnTo>
                  <a:lnTo>
                    <a:pt x="1767" y="10467"/>
                  </a:lnTo>
                  <a:lnTo>
                    <a:pt x="1579" y="10444"/>
                  </a:lnTo>
                  <a:lnTo>
                    <a:pt x="1322" y="10444"/>
                  </a:lnTo>
                  <a:lnTo>
                    <a:pt x="1246" y="10388"/>
                  </a:lnTo>
                  <a:lnTo>
                    <a:pt x="1152" y="10394"/>
                  </a:lnTo>
                  <a:lnTo>
                    <a:pt x="890" y="10343"/>
                  </a:lnTo>
                  <a:lnTo>
                    <a:pt x="769" y="10395"/>
                  </a:lnTo>
                  <a:lnTo>
                    <a:pt x="659" y="10386"/>
                  </a:lnTo>
                  <a:close/>
                </a:path>
              </a:pathLst>
            </a:custGeom>
            <a:solidFill>
              <a:srgbClr val="B2D4EF"/>
            </a:solidFill>
            <a:ln w="19050" cmpd="sng">
              <a:noFill/>
              <a:prstDash val="solid"/>
              <a:round/>
              <a:headEnd/>
              <a:tailEnd/>
            </a:ln>
            <a:effectLst/>
          </p:spPr>
          <p:txBody>
            <a:bodyPr/>
            <a:lstStyle/>
            <a:p>
              <a:endParaRPr lang="zh-CN" altLang="en-US" kern="0">
                <a:solidFill>
                  <a:sysClr val="windowText" lastClr="000000"/>
                </a:solidFill>
              </a:endParaRPr>
            </a:p>
          </p:txBody>
        </p:sp>
        <p:grpSp>
          <p:nvGrpSpPr>
            <p:cNvPr id="436" name="Group 435"/>
            <p:cNvGrpSpPr/>
            <p:nvPr/>
          </p:nvGrpSpPr>
          <p:grpSpPr>
            <a:xfrm>
              <a:off x="3595082" y="5149682"/>
              <a:ext cx="1220199" cy="995340"/>
              <a:chOff x="473869" y="1392238"/>
              <a:chExt cx="8196263" cy="4073524"/>
            </a:xfrm>
            <a:solidFill>
              <a:srgbClr val="B2D4EF"/>
            </a:solidFill>
          </p:grpSpPr>
          <p:sp>
            <p:nvSpPr>
              <p:cNvPr id="438" name="Freeform 191"/>
              <p:cNvSpPr>
                <a:spLocks/>
              </p:cNvSpPr>
              <p:nvPr/>
            </p:nvSpPr>
            <p:spPr bwMode="auto">
              <a:xfrm>
                <a:off x="5295107" y="4305300"/>
                <a:ext cx="169863" cy="319087"/>
              </a:xfrm>
              <a:custGeom>
                <a:avLst/>
                <a:gdLst/>
                <a:ahLst/>
                <a:cxnLst>
                  <a:cxn ang="0">
                    <a:pos x="11" y="129"/>
                  </a:cxn>
                  <a:cxn ang="0">
                    <a:pos x="11" y="125"/>
                  </a:cxn>
                  <a:cxn ang="0">
                    <a:pos x="16" y="117"/>
                  </a:cxn>
                  <a:cxn ang="0">
                    <a:pos x="18" y="108"/>
                  </a:cxn>
                  <a:cxn ang="0">
                    <a:pos x="21" y="107"/>
                  </a:cxn>
                  <a:cxn ang="0">
                    <a:pos x="19" y="100"/>
                  </a:cxn>
                  <a:cxn ang="0">
                    <a:pos x="18" y="93"/>
                  </a:cxn>
                  <a:cxn ang="0">
                    <a:pos x="14" y="86"/>
                  </a:cxn>
                  <a:cxn ang="0">
                    <a:pos x="14" y="81"/>
                  </a:cxn>
                  <a:cxn ang="0">
                    <a:pos x="14" y="70"/>
                  </a:cxn>
                  <a:cxn ang="0">
                    <a:pos x="16" y="65"/>
                  </a:cxn>
                  <a:cxn ang="0">
                    <a:pos x="19" y="60"/>
                  </a:cxn>
                  <a:cxn ang="0">
                    <a:pos x="25" y="57"/>
                  </a:cxn>
                  <a:cxn ang="0">
                    <a:pos x="33" y="51"/>
                  </a:cxn>
                  <a:cxn ang="0">
                    <a:pos x="47" y="48"/>
                  </a:cxn>
                  <a:cxn ang="0">
                    <a:pos x="55" y="39"/>
                  </a:cxn>
                  <a:cxn ang="0">
                    <a:pos x="66" y="31"/>
                  </a:cxn>
                  <a:cxn ang="0">
                    <a:pos x="74" y="21"/>
                  </a:cxn>
                  <a:cxn ang="0">
                    <a:pos x="83" y="14"/>
                  </a:cxn>
                  <a:cxn ang="0">
                    <a:pos x="83" y="7"/>
                  </a:cxn>
                  <a:cxn ang="0">
                    <a:pos x="85" y="0"/>
                  </a:cxn>
                  <a:cxn ang="0">
                    <a:pos x="93" y="5"/>
                  </a:cxn>
                  <a:cxn ang="0">
                    <a:pos x="100" y="19"/>
                  </a:cxn>
                  <a:cxn ang="0">
                    <a:pos x="102" y="34"/>
                  </a:cxn>
                  <a:cxn ang="0">
                    <a:pos x="107" y="48"/>
                  </a:cxn>
                  <a:cxn ang="0">
                    <a:pos x="107" y="55"/>
                  </a:cxn>
                  <a:cxn ang="0">
                    <a:pos x="100" y="53"/>
                  </a:cxn>
                  <a:cxn ang="0">
                    <a:pos x="98" y="53"/>
                  </a:cxn>
                  <a:cxn ang="0">
                    <a:pos x="97" y="65"/>
                  </a:cxn>
                  <a:cxn ang="0">
                    <a:pos x="95" y="77"/>
                  </a:cxn>
                  <a:cxn ang="0">
                    <a:pos x="92" y="89"/>
                  </a:cxn>
                  <a:cxn ang="0">
                    <a:pos x="90" y="101"/>
                  </a:cxn>
                  <a:cxn ang="0">
                    <a:pos x="85" y="112"/>
                  </a:cxn>
                  <a:cxn ang="0">
                    <a:pos x="81" y="122"/>
                  </a:cxn>
                  <a:cxn ang="0">
                    <a:pos x="78" y="132"/>
                  </a:cxn>
                  <a:cxn ang="0">
                    <a:pos x="74" y="144"/>
                  </a:cxn>
                  <a:cxn ang="0">
                    <a:pos x="69" y="151"/>
                  </a:cxn>
                  <a:cxn ang="0">
                    <a:pos x="66" y="162"/>
                  </a:cxn>
                  <a:cxn ang="0">
                    <a:pos x="62" y="170"/>
                  </a:cxn>
                  <a:cxn ang="0">
                    <a:pos x="59" y="180"/>
                  </a:cxn>
                  <a:cxn ang="0">
                    <a:pos x="52" y="187"/>
                  </a:cxn>
                  <a:cxn ang="0">
                    <a:pos x="47" y="194"/>
                  </a:cxn>
                  <a:cxn ang="0">
                    <a:pos x="38" y="198"/>
                  </a:cxn>
                  <a:cxn ang="0">
                    <a:pos x="30" y="201"/>
                  </a:cxn>
                  <a:cxn ang="0">
                    <a:pos x="19" y="198"/>
                  </a:cxn>
                  <a:cxn ang="0">
                    <a:pos x="12" y="191"/>
                  </a:cxn>
                  <a:cxn ang="0">
                    <a:pos x="6" y="180"/>
                  </a:cxn>
                  <a:cxn ang="0">
                    <a:pos x="6" y="172"/>
                  </a:cxn>
                  <a:cxn ang="0">
                    <a:pos x="6" y="165"/>
                  </a:cxn>
                  <a:cxn ang="0">
                    <a:pos x="7" y="160"/>
                  </a:cxn>
                  <a:cxn ang="0">
                    <a:pos x="0" y="150"/>
                  </a:cxn>
                  <a:cxn ang="0">
                    <a:pos x="0" y="139"/>
                  </a:cxn>
                  <a:cxn ang="0">
                    <a:pos x="6" y="132"/>
                  </a:cxn>
                  <a:cxn ang="0">
                    <a:pos x="11" y="129"/>
                  </a:cxn>
                </a:cxnLst>
                <a:rect l="0" t="0" r="r" b="b"/>
                <a:pathLst>
                  <a:path w="107" h="201">
                    <a:moveTo>
                      <a:pt x="11" y="129"/>
                    </a:moveTo>
                    <a:lnTo>
                      <a:pt x="11" y="125"/>
                    </a:lnTo>
                    <a:lnTo>
                      <a:pt x="16" y="117"/>
                    </a:lnTo>
                    <a:lnTo>
                      <a:pt x="18" y="108"/>
                    </a:lnTo>
                    <a:lnTo>
                      <a:pt x="21" y="107"/>
                    </a:lnTo>
                    <a:lnTo>
                      <a:pt x="19" y="100"/>
                    </a:lnTo>
                    <a:lnTo>
                      <a:pt x="18" y="93"/>
                    </a:lnTo>
                    <a:lnTo>
                      <a:pt x="14" y="86"/>
                    </a:lnTo>
                    <a:lnTo>
                      <a:pt x="14" y="81"/>
                    </a:lnTo>
                    <a:lnTo>
                      <a:pt x="14" y="70"/>
                    </a:lnTo>
                    <a:lnTo>
                      <a:pt x="16" y="65"/>
                    </a:lnTo>
                    <a:lnTo>
                      <a:pt x="19" y="60"/>
                    </a:lnTo>
                    <a:lnTo>
                      <a:pt x="25" y="57"/>
                    </a:lnTo>
                    <a:lnTo>
                      <a:pt x="33" y="51"/>
                    </a:lnTo>
                    <a:lnTo>
                      <a:pt x="47" y="48"/>
                    </a:lnTo>
                    <a:lnTo>
                      <a:pt x="55" y="39"/>
                    </a:lnTo>
                    <a:lnTo>
                      <a:pt x="66" y="31"/>
                    </a:lnTo>
                    <a:lnTo>
                      <a:pt x="74" y="21"/>
                    </a:lnTo>
                    <a:lnTo>
                      <a:pt x="83" y="14"/>
                    </a:lnTo>
                    <a:lnTo>
                      <a:pt x="83" y="7"/>
                    </a:lnTo>
                    <a:lnTo>
                      <a:pt x="85" y="0"/>
                    </a:lnTo>
                    <a:lnTo>
                      <a:pt x="93" y="5"/>
                    </a:lnTo>
                    <a:lnTo>
                      <a:pt x="100" y="19"/>
                    </a:lnTo>
                    <a:lnTo>
                      <a:pt x="102" y="34"/>
                    </a:lnTo>
                    <a:lnTo>
                      <a:pt x="107" y="48"/>
                    </a:lnTo>
                    <a:lnTo>
                      <a:pt x="107" y="55"/>
                    </a:lnTo>
                    <a:lnTo>
                      <a:pt x="100" y="53"/>
                    </a:lnTo>
                    <a:lnTo>
                      <a:pt x="98" y="53"/>
                    </a:lnTo>
                    <a:lnTo>
                      <a:pt x="97" y="65"/>
                    </a:lnTo>
                    <a:lnTo>
                      <a:pt x="95" y="77"/>
                    </a:lnTo>
                    <a:lnTo>
                      <a:pt x="92" y="89"/>
                    </a:lnTo>
                    <a:lnTo>
                      <a:pt x="90" y="101"/>
                    </a:lnTo>
                    <a:lnTo>
                      <a:pt x="85" y="112"/>
                    </a:lnTo>
                    <a:lnTo>
                      <a:pt x="81" y="122"/>
                    </a:lnTo>
                    <a:lnTo>
                      <a:pt x="78" y="132"/>
                    </a:lnTo>
                    <a:lnTo>
                      <a:pt x="74" y="144"/>
                    </a:lnTo>
                    <a:lnTo>
                      <a:pt x="69" y="151"/>
                    </a:lnTo>
                    <a:lnTo>
                      <a:pt x="66" y="162"/>
                    </a:lnTo>
                    <a:lnTo>
                      <a:pt x="62" y="170"/>
                    </a:lnTo>
                    <a:lnTo>
                      <a:pt x="59" y="180"/>
                    </a:lnTo>
                    <a:lnTo>
                      <a:pt x="52" y="187"/>
                    </a:lnTo>
                    <a:lnTo>
                      <a:pt x="47" y="194"/>
                    </a:lnTo>
                    <a:lnTo>
                      <a:pt x="38" y="198"/>
                    </a:lnTo>
                    <a:lnTo>
                      <a:pt x="30" y="201"/>
                    </a:lnTo>
                    <a:lnTo>
                      <a:pt x="19" y="198"/>
                    </a:lnTo>
                    <a:lnTo>
                      <a:pt x="12" y="191"/>
                    </a:lnTo>
                    <a:lnTo>
                      <a:pt x="6" y="180"/>
                    </a:lnTo>
                    <a:lnTo>
                      <a:pt x="6" y="172"/>
                    </a:lnTo>
                    <a:lnTo>
                      <a:pt x="6" y="165"/>
                    </a:lnTo>
                    <a:lnTo>
                      <a:pt x="7" y="160"/>
                    </a:lnTo>
                    <a:lnTo>
                      <a:pt x="0" y="150"/>
                    </a:lnTo>
                    <a:lnTo>
                      <a:pt x="0" y="139"/>
                    </a:lnTo>
                    <a:lnTo>
                      <a:pt x="6" y="132"/>
                    </a:lnTo>
                    <a:lnTo>
                      <a:pt x="11" y="1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39" name="Freeform 192"/>
              <p:cNvSpPr>
                <a:spLocks/>
              </p:cNvSpPr>
              <p:nvPr/>
            </p:nvSpPr>
            <p:spPr bwMode="auto">
              <a:xfrm>
                <a:off x="3920332" y="3114675"/>
                <a:ext cx="1563688" cy="1747837"/>
              </a:xfrm>
              <a:custGeom>
                <a:avLst/>
                <a:gdLst/>
                <a:ahLst/>
                <a:cxnLst>
                  <a:cxn ang="0">
                    <a:pos x="607" y="93"/>
                  </a:cxn>
                  <a:cxn ang="0">
                    <a:pos x="681" y="102"/>
                  </a:cxn>
                  <a:cxn ang="0">
                    <a:pos x="741" y="102"/>
                  </a:cxn>
                  <a:cxn ang="0">
                    <a:pos x="741" y="157"/>
                  </a:cxn>
                  <a:cxn ang="0">
                    <a:pos x="762" y="217"/>
                  </a:cxn>
                  <a:cxn ang="0">
                    <a:pos x="784" y="289"/>
                  </a:cxn>
                  <a:cxn ang="0">
                    <a:pos x="811" y="332"/>
                  </a:cxn>
                  <a:cxn ang="0">
                    <a:pos x="856" y="380"/>
                  </a:cxn>
                  <a:cxn ang="0">
                    <a:pos x="884" y="418"/>
                  </a:cxn>
                  <a:cxn ang="0">
                    <a:pos x="939" y="408"/>
                  </a:cxn>
                  <a:cxn ang="0">
                    <a:pos x="983" y="415"/>
                  </a:cxn>
                  <a:cxn ang="0">
                    <a:pos x="954" y="480"/>
                  </a:cxn>
                  <a:cxn ang="0">
                    <a:pos x="896" y="549"/>
                  </a:cxn>
                  <a:cxn ang="0">
                    <a:pos x="830" y="604"/>
                  </a:cxn>
                  <a:cxn ang="0">
                    <a:pos x="810" y="660"/>
                  </a:cxn>
                  <a:cxn ang="0">
                    <a:pos x="829" y="716"/>
                  </a:cxn>
                  <a:cxn ang="0">
                    <a:pos x="827" y="759"/>
                  </a:cxn>
                  <a:cxn ang="0">
                    <a:pos x="820" y="808"/>
                  </a:cxn>
                  <a:cxn ang="0">
                    <a:pos x="760" y="857"/>
                  </a:cxn>
                  <a:cxn ang="0">
                    <a:pos x="758" y="905"/>
                  </a:cxn>
                  <a:cxn ang="0">
                    <a:pos x="739" y="937"/>
                  </a:cxn>
                  <a:cxn ang="0">
                    <a:pos x="712" y="991"/>
                  </a:cxn>
                  <a:cxn ang="0">
                    <a:pos x="663" y="1058"/>
                  </a:cxn>
                  <a:cxn ang="0">
                    <a:pos x="603" y="1090"/>
                  </a:cxn>
                  <a:cxn ang="0">
                    <a:pos x="536" y="1101"/>
                  </a:cxn>
                  <a:cxn ang="0">
                    <a:pos x="505" y="1066"/>
                  </a:cxn>
                  <a:cxn ang="0">
                    <a:pos x="495" y="1025"/>
                  </a:cxn>
                  <a:cxn ang="0">
                    <a:pos x="457" y="949"/>
                  </a:cxn>
                  <a:cxn ang="0">
                    <a:pos x="443" y="889"/>
                  </a:cxn>
                  <a:cxn ang="0">
                    <a:pos x="414" y="814"/>
                  </a:cxn>
                  <a:cxn ang="0">
                    <a:pos x="447" y="743"/>
                  </a:cxn>
                  <a:cxn ang="0">
                    <a:pos x="433" y="688"/>
                  </a:cxn>
                  <a:cxn ang="0">
                    <a:pos x="392" y="614"/>
                  </a:cxn>
                  <a:cxn ang="0">
                    <a:pos x="388" y="562"/>
                  </a:cxn>
                  <a:cxn ang="0">
                    <a:pos x="393" y="530"/>
                  </a:cxn>
                  <a:cxn ang="0">
                    <a:pos x="340" y="507"/>
                  </a:cxn>
                  <a:cxn ang="0">
                    <a:pos x="282" y="478"/>
                  </a:cxn>
                  <a:cxn ang="0">
                    <a:pos x="218" y="506"/>
                  </a:cxn>
                  <a:cxn ang="0">
                    <a:pos x="141" y="507"/>
                  </a:cxn>
                  <a:cxn ang="0">
                    <a:pos x="70" y="459"/>
                  </a:cxn>
                  <a:cxn ang="0">
                    <a:pos x="29" y="408"/>
                  </a:cxn>
                  <a:cxn ang="0">
                    <a:pos x="8" y="378"/>
                  </a:cxn>
                  <a:cxn ang="0">
                    <a:pos x="17" y="320"/>
                  </a:cxn>
                  <a:cxn ang="0">
                    <a:pos x="17" y="239"/>
                  </a:cxn>
                  <a:cxn ang="0">
                    <a:pos x="72" y="155"/>
                  </a:cxn>
                  <a:cxn ang="0">
                    <a:pos x="113" y="96"/>
                  </a:cxn>
                  <a:cxn ang="0">
                    <a:pos x="161" y="40"/>
                  </a:cxn>
                  <a:cxn ang="0">
                    <a:pos x="215" y="40"/>
                  </a:cxn>
                  <a:cxn ang="0">
                    <a:pos x="273" y="14"/>
                  </a:cxn>
                  <a:cxn ang="0">
                    <a:pos x="332" y="12"/>
                  </a:cxn>
                  <a:cxn ang="0">
                    <a:pos x="388" y="0"/>
                  </a:cxn>
                  <a:cxn ang="0">
                    <a:pos x="404" y="19"/>
                  </a:cxn>
                  <a:cxn ang="0">
                    <a:pos x="411" y="66"/>
                  </a:cxn>
                  <a:cxn ang="0">
                    <a:pos x="462" y="79"/>
                  </a:cxn>
                  <a:cxn ang="0">
                    <a:pos x="522" y="114"/>
                  </a:cxn>
                  <a:cxn ang="0">
                    <a:pos x="540" y="79"/>
                  </a:cxn>
                </a:cxnLst>
                <a:rect l="0" t="0" r="r" b="b"/>
                <a:pathLst>
                  <a:path w="985" h="1101">
                    <a:moveTo>
                      <a:pt x="562" y="76"/>
                    </a:moveTo>
                    <a:lnTo>
                      <a:pt x="574" y="76"/>
                    </a:lnTo>
                    <a:lnTo>
                      <a:pt x="576" y="83"/>
                    </a:lnTo>
                    <a:lnTo>
                      <a:pt x="581" y="88"/>
                    </a:lnTo>
                    <a:lnTo>
                      <a:pt x="591" y="90"/>
                    </a:lnTo>
                    <a:lnTo>
                      <a:pt x="607" y="93"/>
                    </a:lnTo>
                    <a:lnTo>
                      <a:pt x="619" y="96"/>
                    </a:lnTo>
                    <a:lnTo>
                      <a:pt x="633" y="102"/>
                    </a:lnTo>
                    <a:lnTo>
                      <a:pt x="648" y="103"/>
                    </a:lnTo>
                    <a:lnTo>
                      <a:pt x="663" y="107"/>
                    </a:lnTo>
                    <a:lnTo>
                      <a:pt x="672" y="103"/>
                    </a:lnTo>
                    <a:lnTo>
                      <a:pt x="681" y="102"/>
                    </a:lnTo>
                    <a:lnTo>
                      <a:pt x="688" y="98"/>
                    </a:lnTo>
                    <a:lnTo>
                      <a:pt x="700" y="98"/>
                    </a:lnTo>
                    <a:lnTo>
                      <a:pt x="712" y="102"/>
                    </a:lnTo>
                    <a:lnTo>
                      <a:pt x="727" y="105"/>
                    </a:lnTo>
                    <a:lnTo>
                      <a:pt x="734" y="103"/>
                    </a:lnTo>
                    <a:lnTo>
                      <a:pt x="741" y="102"/>
                    </a:lnTo>
                    <a:lnTo>
                      <a:pt x="746" y="114"/>
                    </a:lnTo>
                    <a:lnTo>
                      <a:pt x="751" y="126"/>
                    </a:lnTo>
                    <a:lnTo>
                      <a:pt x="748" y="131"/>
                    </a:lnTo>
                    <a:lnTo>
                      <a:pt x="746" y="139"/>
                    </a:lnTo>
                    <a:lnTo>
                      <a:pt x="743" y="148"/>
                    </a:lnTo>
                    <a:lnTo>
                      <a:pt x="741" y="157"/>
                    </a:lnTo>
                    <a:lnTo>
                      <a:pt x="732" y="152"/>
                    </a:lnTo>
                    <a:lnTo>
                      <a:pt x="725" y="141"/>
                    </a:lnTo>
                    <a:lnTo>
                      <a:pt x="719" y="131"/>
                    </a:lnTo>
                    <a:lnTo>
                      <a:pt x="713" y="122"/>
                    </a:lnTo>
                    <a:lnTo>
                      <a:pt x="713" y="133"/>
                    </a:lnTo>
                    <a:lnTo>
                      <a:pt x="762" y="217"/>
                    </a:lnTo>
                    <a:lnTo>
                      <a:pt x="762" y="225"/>
                    </a:lnTo>
                    <a:lnTo>
                      <a:pt x="767" y="237"/>
                    </a:lnTo>
                    <a:lnTo>
                      <a:pt x="774" y="248"/>
                    </a:lnTo>
                    <a:lnTo>
                      <a:pt x="780" y="256"/>
                    </a:lnTo>
                    <a:lnTo>
                      <a:pt x="780" y="282"/>
                    </a:lnTo>
                    <a:lnTo>
                      <a:pt x="784" y="289"/>
                    </a:lnTo>
                    <a:lnTo>
                      <a:pt x="791" y="294"/>
                    </a:lnTo>
                    <a:lnTo>
                      <a:pt x="796" y="299"/>
                    </a:lnTo>
                    <a:lnTo>
                      <a:pt x="805" y="306"/>
                    </a:lnTo>
                    <a:lnTo>
                      <a:pt x="808" y="315"/>
                    </a:lnTo>
                    <a:lnTo>
                      <a:pt x="810" y="323"/>
                    </a:lnTo>
                    <a:lnTo>
                      <a:pt x="811" y="332"/>
                    </a:lnTo>
                    <a:lnTo>
                      <a:pt x="817" y="341"/>
                    </a:lnTo>
                    <a:lnTo>
                      <a:pt x="827" y="348"/>
                    </a:lnTo>
                    <a:lnTo>
                      <a:pt x="839" y="356"/>
                    </a:lnTo>
                    <a:lnTo>
                      <a:pt x="844" y="363"/>
                    </a:lnTo>
                    <a:lnTo>
                      <a:pt x="851" y="372"/>
                    </a:lnTo>
                    <a:lnTo>
                      <a:pt x="856" y="380"/>
                    </a:lnTo>
                    <a:lnTo>
                      <a:pt x="868" y="384"/>
                    </a:lnTo>
                    <a:lnTo>
                      <a:pt x="870" y="392"/>
                    </a:lnTo>
                    <a:lnTo>
                      <a:pt x="868" y="399"/>
                    </a:lnTo>
                    <a:lnTo>
                      <a:pt x="873" y="403"/>
                    </a:lnTo>
                    <a:lnTo>
                      <a:pt x="878" y="411"/>
                    </a:lnTo>
                    <a:lnTo>
                      <a:pt x="884" y="418"/>
                    </a:lnTo>
                    <a:lnTo>
                      <a:pt x="891" y="421"/>
                    </a:lnTo>
                    <a:lnTo>
                      <a:pt x="897" y="416"/>
                    </a:lnTo>
                    <a:lnTo>
                      <a:pt x="906" y="411"/>
                    </a:lnTo>
                    <a:lnTo>
                      <a:pt x="915" y="411"/>
                    </a:lnTo>
                    <a:lnTo>
                      <a:pt x="925" y="411"/>
                    </a:lnTo>
                    <a:lnTo>
                      <a:pt x="939" y="408"/>
                    </a:lnTo>
                    <a:lnTo>
                      <a:pt x="952" y="404"/>
                    </a:lnTo>
                    <a:lnTo>
                      <a:pt x="966" y="399"/>
                    </a:lnTo>
                    <a:lnTo>
                      <a:pt x="982" y="397"/>
                    </a:lnTo>
                    <a:lnTo>
                      <a:pt x="983" y="401"/>
                    </a:lnTo>
                    <a:lnTo>
                      <a:pt x="985" y="404"/>
                    </a:lnTo>
                    <a:lnTo>
                      <a:pt x="983" y="415"/>
                    </a:lnTo>
                    <a:lnTo>
                      <a:pt x="980" y="427"/>
                    </a:lnTo>
                    <a:lnTo>
                      <a:pt x="975" y="437"/>
                    </a:lnTo>
                    <a:lnTo>
                      <a:pt x="971" y="451"/>
                    </a:lnTo>
                    <a:lnTo>
                      <a:pt x="964" y="461"/>
                    </a:lnTo>
                    <a:lnTo>
                      <a:pt x="959" y="471"/>
                    </a:lnTo>
                    <a:lnTo>
                      <a:pt x="954" y="480"/>
                    </a:lnTo>
                    <a:lnTo>
                      <a:pt x="949" y="489"/>
                    </a:lnTo>
                    <a:lnTo>
                      <a:pt x="937" y="502"/>
                    </a:lnTo>
                    <a:lnTo>
                      <a:pt x="930" y="516"/>
                    </a:lnTo>
                    <a:lnTo>
                      <a:pt x="920" y="528"/>
                    </a:lnTo>
                    <a:lnTo>
                      <a:pt x="909" y="542"/>
                    </a:lnTo>
                    <a:lnTo>
                      <a:pt x="896" y="549"/>
                    </a:lnTo>
                    <a:lnTo>
                      <a:pt x="882" y="557"/>
                    </a:lnTo>
                    <a:lnTo>
                      <a:pt x="870" y="564"/>
                    </a:lnTo>
                    <a:lnTo>
                      <a:pt x="860" y="573"/>
                    </a:lnTo>
                    <a:lnTo>
                      <a:pt x="848" y="581"/>
                    </a:lnTo>
                    <a:lnTo>
                      <a:pt x="839" y="592"/>
                    </a:lnTo>
                    <a:lnTo>
                      <a:pt x="830" y="604"/>
                    </a:lnTo>
                    <a:lnTo>
                      <a:pt x="827" y="621"/>
                    </a:lnTo>
                    <a:lnTo>
                      <a:pt x="822" y="628"/>
                    </a:lnTo>
                    <a:lnTo>
                      <a:pt x="817" y="635"/>
                    </a:lnTo>
                    <a:lnTo>
                      <a:pt x="811" y="640"/>
                    </a:lnTo>
                    <a:lnTo>
                      <a:pt x="810" y="652"/>
                    </a:lnTo>
                    <a:lnTo>
                      <a:pt x="810" y="660"/>
                    </a:lnTo>
                    <a:lnTo>
                      <a:pt x="811" y="671"/>
                    </a:lnTo>
                    <a:lnTo>
                      <a:pt x="811" y="678"/>
                    </a:lnTo>
                    <a:lnTo>
                      <a:pt x="813" y="690"/>
                    </a:lnTo>
                    <a:lnTo>
                      <a:pt x="815" y="700"/>
                    </a:lnTo>
                    <a:lnTo>
                      <a:pt x="822" y="709"/>
                    </a:lnTo>
                    <a:lnTo>
                      <a:pt x="829" y="716"/>
                    </a:lnTo>
                    <a:lnTo>
                      <a:pt x="832" y="724"/>
                    </a:lnTo>
                    <a:lnTo>
                      <a:pt x="830" y="728"/>
                    </a:lnTo>
                    <a:lnTo>
                      <a:pt x="829" y="733"/>
                    </a:lnTo>
                    <a:lnTo>
                      <a:pt x="829" y="745"/>
                    </a:lnTo>
                    <a:lnTo>
                      <a:pt x="827" y="750"/>
                    </a:lnTo>
                    <a:lnTo>
                      <a:pt x="827" y="759"/>
                    </a:lnTo>
                    <a:lnTo>
                      <a:pt x="827" y="767"/>
                    </a:lnTo>
                    <a:lnTo>
                      <a:pt x="827" y="777"/>
                    </a:lnTo>
                    <a:lnTo>
                      <a:pt x="830" y="781"/>
                    </a:lnTo>
                    <a:lnTo>
                      <a:pt x="832" y="788"/>
                    </a:lnTo>
                    <a:lnTo>
                      <a:pt x="829" y="798"/>
                    </a:lnTo>
                    <a:lnTo>
                      <a:pt x="820" y="808"/>
                    </a:lnTo>
                    <a:lnTo>
                      <a:pt x="810" y="815"/>
                    </a:lnTo>
                    <a:lnTo>
                      <a:pt x="798" y="824"/>
                    </a:lnTo>
                    <a:lnTo>
                      <a:pt x="784" y="829"/>
                    </a:lnTo>
                    <a:lnTo>
                      <a:pt x="772" y="836"/>
                    </a:lnTo>
                    <a:lnTo>
                      <a:pt x="763" y="844"/>
                    </a:lnTo>
                    <a:lnTo>
                      <a:pt x="760" y="857"/>
                    </a:lnTo>
                    <a:lnTo>
                      <a:pt x="748" y="860"/>
                    </a:lnTo>
                    <a:lnTo>
                      <a:pt x="744" y="870"/>
                    </a:lnTo>
                    <a:lnTo>
                      <a:pt x="746" y="877"/>
                    </a:lnTo>
                    <a:lnTo>
                      <a:pt x="751" y="886"/>
                    </a:lnTo>
                    <a:lnTo>
                      <a:pt x="755" y="893"/>
                    </a:lnTo>
                    <a:lnTo>
                      <a:pt x="758" y="905"/>
                    </a:lnTo>
                    <a:lnTo>
                      <a:pt x="756" y="912"/>
                    </a:lnTo>
                    <a:lnTo>
                      <a:pt x="756" y="920"/>
                    </a:lnTo>
                    <a:lnTo>
                      <a:pt x="755" y="929"/>
                    </a:lnTo>
                    <a:lnTo>
                      <a:pt x="755" y="934"/>
                    </a:lnTo>
                    <a:lnTo>
                      <a:pt x="746" y="936"/>
                    </a:lnTo>
                    <a:lnTo>
                      <a:pt x="739" y="937"/>
                    </a:lnTo>
                    <a:lnTo>
                      <a:pt x="724" y="946"/>
                    </a:lnTo>
                    <a:lnTo>
                      <a:pt x="713" y="961"/>
                    </a:lnTo>
                    <a:lnTo>
                      <a:pt x="719" y="967"/>
                    </a:lnTo>
                    <a:lnTo>
                      <a:pt x="720" y="972"/>
                    </a:lnTo>
                    <a:lnTo>
                      <a:pt x="717" y="980"/>
                    </a:lnTo>
                    <a:lnTo>
                      <a:pt x="712" y="991"/>
                    </a:lnTo>
                    <a:lnTo>
                      <a:pt x="705" y="998"/>
                    </a:lnTo>
                    <a:lnTo>
                      <a:pt x="701" y="1004"/>
                    </a:lnTo>
                    <a:lnTo>
                      <a:pt x="689" y="1020"/>
                    </a:lnTo>
                    <a:lnTo>
                      <a:pt x="681" y="1037"/>
                    </a:lnTo>
                    <a:lnTo>
                      <a:pt x="670" y="1047"/>
                    </a:lnTo>
                    <a:lnTo>
                      <a:pt x="663" y="1058"/>
                    </a:lnTo>
                    <a:lnTo>
                      <a:pt x="653" y="1066"/>
                    </a:lnTo>
                    <a:lnTo>
                      <a:pt x="641" y="1077"/>
                    </a:lnTo>
                    <a:lnTo>
                      <a:pt x="627" y="1078"/>
                    </a:lnTo>
                    <a:lnTo>
                      <a:pt x="619" y="1087"/>
                    </a:lnTo>
                    <a:lnTo>
                      <a:pt x="610" y="1089"/>
                    </a:lnTo>
                    <a:lnTo>
                      <a:pt x="603" y="1090"/>
                    </a:lnTo>
                    <a:lnTo>
                      <a:pt x="596" y="1087"/>
                    </a:lnTo>
                    <a:lnTo>
                      <a:pt x="590" y="1085"/>
                    </a:lnTo>
                    <a:lnTo>
                      <a:pt x="572" y="1087"/>
                    </a:lnTo>
                    <a:lnTo>
                      <a:pt x="560" y="1092"/>
                    </a:lnTo>
                    <a:lnTo>
                      <a:pt x="548" y="1097"/>
                    </a:lnTo>
                    <a:lnTo>
                      <a:pt x="536" y="1101"/>
                    </a:lnTo>
                    <a:lnTo>
                      <a:pt x="524" y="1097"/>
                    </a:lnTo>
                    <a:lnTo>
                      <a:pt x="519" y="1090"/>
                    </a:lnTo>
                    <a:lnTo>
                      <a:pt x="516" y="1090"/>
                    </a:lnTo>
                    <a:lnTo>
                      <a:pt x="514" y="1092"/>
                    </a:lnTo>
                    <a:lnTo>
                      <a:pt x="510" y="1077"/>
                    </a:lnTo>
                    <a:lnTo>
                      <a:pt x="505" y="1066"/>
                    </a:lnTo>
                    <a:lnTo>
                      <a:pt x="509" y="1059"/>
                    </a:lnTo>
                    <a:lnTo>
                      <a:pt x="512" y="1053"/>
                    </a:lnTo>
                    <a:lnTo>
                      <a:pt x="509" y="1044"/>
                    </a:lnTo>
                    <a:lnTo>
                      <a:pt x="504" y="1037"/>
                    </a:lnTo>
                    <a:lnTo>
                      <a:pt x="498" y="1028"/>
                    </a:lnTo>
                    <a:lnTo>
                      <a:pt x="495" y="1025"/>
                    </a:lnTo>
                    <a:lnTo>
                      <a:pt x="486" y="1013"/>
                    </a:lnTo>
                    <a:lnTo>
                      <a:pt x="481" y="1001"/>
                    </a:lnTo>
                    <a:lnTo>
                      <a:pt x="473" y="989"/>
                    </a:lnTo>
                    <a:lnTo>
                      <a:pt x="467" y="977"/>
                    </a:lnTo>
                    <a:lnTo>
                      <a:pt x="461" y="963"/>
                    </a:lnTo>
                    <a:lnTo>
                      <a:pt x="457" y="949"/>
                    </a:lnTo>
                    <a:lnTo>
                      <a:pt x="454" y="934"/>
                    </a:lnTo>
                    <a:lnTo>
                      <a:pt x="454" y="920"/>
                    </a:lnTo>
                    <a:lnTo>
                      <a:pt x="454" y="910"/>
                    </a:lnTo>
                    <a:lnTo>
                      <a:pt x="454" y="906"/>
                    </a:lnTo>
                    <a:lnTo>
                      <a:pt x="448" y="898"/>
                    </a:lnTo>
                    <a:lnTo>
                      <a:pt x="443" y="889"/>
                    </a:lnTo>
                    <a:lnTo>
                      <a:pt x="431" y="870"/>
                    </a:lnTo>
                    <a:lnTo>
                      <a:pt x="423" y="853"/>
                    </a:lnTo>
                    <a:lnTo>
                      <a:pt x="418" y="843"/>
                    </a:lnTo>
                    <a:lnTo>
                      <a:pt x="416" y="834"/>
                    </a:lnTo>
                    <a:lnTo>
                      <a:pt x="414" y="824"/>
                    </a:lnTo>
                    <a:lnTo>
                      <a:pt x="414" y="814"/>
                    </a:lnTo>
                    <a:lnTo>
                      <a:pt x="414" y="800"/>
                    </a:lnTo>
                    <a:lnTo>
                      <a:pt x="418" y="789"/>
                    </a:lnTo>
                    <a:lnTo>
                      <a:pt x="423" y="781"/>
                    </a:lnTo>
                    <a:lnTo>
                      <a:pt x="430" y="774"/>
                    </a:lnTo>
                    <a:lnTo>
                      <a:pt x="440" y="759"/>
                    </a:lnTo>
                    <a:lnTo>
                      <a:pt x="447" y="743"/>
                    </a:lnTo>
                    <a:lnTo>
                      <a:pt x="445" y="733"/>
                    </a:lnTo>
                    <a:lnTo>
                      <a:pt x="443" y="726"/>
                    </a:lnTo>
                    <a:lnTo>
                      <a:pt x="440" y="719"/>
                    </a:lnTo>
                    <a:lnTo>
                      <a:pt x="440" y="714"/>
                    </a:lnTo>
                    <a:lnTo>
                      <a:pt x="436" y="698"/>
                    </a:lnTo>
                    <a:lnTo>
                      <a:pt x="433" y="688"/>
                    </a:lnTo>
                    <a:lnTo>
                      <a:pt x="430" y="679"/>
                    </a:lnTo>
                    <a:lnTo>
                      <a:pt x="426" y="671"/>
                    </a:lnTo>
                    <a:lnTo>
                      <a:pt x="423" y="655"/>
                    </a:lnTo>
                    <a:lnTo>
                      <a:pt x="418" y="642"/>
                    </a:lnTo>
                    <a:lnTo>
                      <a:pt x="404" y="628"/>
                    </a:lnTo>
                    <a:lnTo>
                      <a:pt x="392" y="614"/>
                    </a:lnTo>
                    <a:lnTo>
                      <a:pt x="380" y="599"/>
                    </a:lnTo>
                    <a:lnTo>
                      <a:pt x="376" y="583"/>
                    </a:lnTo>
                    <a:lnTo>
                      <a:pt x="376" y="576"/>
                    </a:lnTo>
                    <a:lnTo>
                      <a:pt x="380" y="571"/>
                    </a:lnTo>
                    <a:lnTo>
                      <a:pt x="383" y="564"/>
                    </a:lnTo>
                    <a:lnTo>
                      <a:pt x="388" y="562"/>
                    </a:lnTo>
                    <a:lnTo>
                      <a:pt x="387" y="557"/>
                    </a:lnTo>
                    <a:lnTo>
                      <a:pt x="388" y="556"/>
                    </a:lnTo>
                    <a:lnTo>
                      <a:pt x="388" y="547"/>
                    </a:lnTo>
                    <a:lnTo>
                      <a:pt x="388" y="540"/>
                    </a:lnTo>
                    <a:lnTo>
                      <a:pt x="388" y="533"/>
                    </a:lnTo>
                    <a:lnTo>
                      <a:pt x="393" y="530"/>
                    </a:lnTo>
                    <a:lnTo>
                      <a:pt x="387" y="519"/>
                    </a:lnTo>
                    <a:lnTo>
                      <a:pt x="380" y="513"/>
                    </a:lnTo>
                    <a:lnTo>
                      <a:pt x="371" y="507"/>
                    </a:lnTo>
                    <a:lnTo>
                      <a:pt x="361" y="507"/>
                    </a:lnTo>
                    <a:lnTo>
                      <a:pt x="347" y="507"/>
                    </a:lnTo>
                    <a:lnTo>
                      <a:pt x="340" y="507"/>
                    </a:lnTo>
                    <a:lnTo>
                      <a:pt x="328" y="502"/>
                    </a:lnTo>
                    <a:lnTo>
                      <a:pt x="321" y="492"/>
                    </a:lnTo>
                    <a:lnTo>
                      <a:pt x="313" y="482"/>
                    </a:lnTo>
                    <a:lnTo>
                      <a:pt x="301" y="478"/>
                    </a:lnTo>
                    <a:lnTo>
                      <a:pt x="290" y="478"/>
                    </a:lnTo>
                    <a:lnTo>
                      <a:pt x="282" y="478"/>
                    </a:lnTo>
                    <a:lnTo>
                      <a:pt x="273" y="480"/>
                    </a:lnTo>
                    <a:lnTo>
                      <a:pt x="266" y="485"/>
                    </a:lnTo>
                    <a:lnTo>
                      <a:pt x="251" y="490"/>
                    </a:lnTo>
                    <a:lnTo>
                      <a:pt x="237" y="497"/>
                    </a:lnTo>
                    <a:lnTo>
                      <a:pt x="227" y="501"/>
                    </a:lnTo>
                    <a:lnTo>
                      <a:pt x="218" y="506"/>
                    </a:lnTo>
                    <a:lnTo>
                      <a:pt x="204" y="502"/>
                    </a:lnTo>
                    <a:lnTo>
                      <a:pt x="189" y="499"/>
                    </a:lnTo>
                    <a:lnTo>
                      <a:pt x="173" y="499"/>
                    </a:lnTo>
                    <a:lnTo>
                      <a:pt x="163" y="502"/>
                    </a:lnTo>
                    <a:lnTo>
                      <a:pt x="151" y="504"/>
                    </a:lnTo>
                    <a:lnTo>
                      <a:pt x="141" y="507"/>
                    </a:lnTo>
                    <a:lnTo>
                      <a:pt x="130" y="506"/>
                    </a:lnTo>
                    <a:lnTo>
                      <a:pt x="125" y="504"/>
                    </a:lnTo>
                    <a:lnTo>
                      <a:pt x="111" y="494"/>
                    </a:lnTo>
                    <a:lnTo>
                      <a:pt x="96" y="483"/>
                    </a:lnTo>
                    <a:lnTo>
                      <a:pt x="80" y="471"/>
                    </a:lnTo>
                    <a:lnTo>
                      <a:pt x="70" y="459"/>
                    </a:lnTo>
                    <a:lnTo>
                      <a:pt x="63" y="449"/>
                    </a:lnTo>
                    <a:lnTo>
                      <a:pt x="58" y="439"/>
                    </a:lnTo>
                    <a:lnTo>
                      <a:pt x="51" y="430"/>
                    </a:lnTo>
                    <a:lnTo>
                      <a:pt x="46" y="423"/>
                    </a:lnTo>
                    <a:lnTo>
                      <a:pt x="39" y="416"/>
                    </a:lnTo>
                    <a:lnTo>
                      <a:pt x="29" y="408"/>
                    </a:lnTo>
                    <a:lnTo>
                      <a:pt x="19" y="399"/>
                    </a:lnTo>
                    <a:lnTo>
                      <a:pt x="15" y="394"/>
                    </a:lnTo>
                    <a:lnTo>
                      <a:pt x="12" y="391"/>
                    </a:lnTo>
                    <a:lnTo>
                      <a:pt x="8" y="387"/>
                    </a:lnTo>
                    <a:lnTo>
                      <a:pt x="10" y="387"/>
                    </a:lnTo>
                    <a:lnTo>
                      <a:pt x="8" y="378"/>
                    </a:lnTo>
                    <a:lnTo>
                      <a:pt x="6" y="372"/>
                    </a:lnTo>
                    <a:lnTo>
                      <a:pt x="3" y="363"/>
                    </a:lnTo>
                    <a:lnTo>
                      <a:pt x="0" y="354"/>
                    </a:lnTo>
                    <a:lnTo>
                      <a:pt x="6" y="346"/>
                    </a:lnTo>
                    <a:lnTo>
                      <a:pt x="13" y="334"/>
                    </a:lnTo>
                    <a:lnTo>
                      <a:pt x="17" y="320"/>
                    </a:lnTo>
                    <a:lnTo>
                      <a:pt x="20" y="310"/>
                    </a:lnTo>
                    <a:lnTo>
                      <a:pt x="17" y="293"/>
                    </a:lnTo>
                    <a:lnTo>
                      <a:pt x="15" y="280"/>
                    </a:lnTo>
                    <a:lnTo>
                      <a:pt x="12" y="267"/>
                    </a:lnTo>
                    <a:lnTo>
                      <a:pt x="12" y="253"/>
                    </a:lnTo>
                    <a:lnTo>
                      <a:pt x="17" y="239"/>
                    </a:lnTo>
                    <a:lnTo>
                      <a:pt x="25" y="229"/>
                    </a:lnTo>
                    <a:lnTo>
                      <a:pt x="31" y="212"/>
                    </a:lnTo>
                    <a:lnTo>
                      <a:pt x="39" y="195"/>
                    </a:lnTo>
                    <a:lnTo>
                      <a:pt x="49" y="177"/>
                    </a:lnTo>
                    <a:lnTo>
                      <a:pt x="60" y="165"/>
                    </a:lnTo>
                    <a:lnTo>
                      <a:pt x="72" y="155"/>
                    </a:lnTo>
                    <a:lnTo>
                      <a:pt x="89" y="152"/>
                    </a:lnTo>
                    <a:lnTo>
                      <a:pt x="101" y="139"/>
                    </a:lnTo>
                    <a:lnTo>
                      <a:pt x="111" y="127"/>
                    </a:lnTo>
                    <a:lnTo>
                      <a:pt x="111" y="114"/>
                    </a:lnTo>
                    <a:lnTo>
                      <a:pt x="113" y="105"/>
                    </a:lnTo>
                    <a:lnTo>
                      <a:pt x="113" y="96"/>
                    </a:lnTo>
                    <a:lnTo>
                      <a:pt x="120" y="88"/>
                    </a:lnTo>
                    <a:lnTo>
                      <a:pt x="130" y="76"/>
                    </a:lnTo>
                    <a:lnTo>
                      <a:pt x="141" y="64"/>
                    </a:lnTo>
                    <a:lnTo>
                      <a:pt x="151" y="52"/>
                    </a:lnTo>
                    <a:lnTo>
                      <a:pt x="163" y="40"/>
                    </a:lnTo>
                    <a:lnTo>
                      <a:pt x="161" y="40"/>
                    </a:lnTo>
                    <a:lnTo>
                      <a:pt x="166" y="33"/>
                    </a:lnTo>
                    <a:lnTo>
                      <a:pt x="172" y="26"/>
                    </a:lnTo>
                    <a:lnTo>
                      <a:pt x="180" y="31"/>
                    </a:lnTo>
                    <a:lnTo>
                      <a:pt x="191" y="36"/>
                    </a:lnTo>
                    <a:lnTo>
                      <a:pt x="201" y="38"/>
                    </a:lnTo>
                    <a:lnTo>
                      <a:pt x="215" y="40"/>
                    </a:lnTo>
                    <a:lnTo>
                      <a:pt x="227" y="35"/>
                    </a:lnTo>
                    <a:lnTo>
                      <a:pt x="234" y="29"/>
                    </a:lnTo>
                    <a:lnTo>
                      <a:pt x="240" y="24"/>
                    </a:lnTo>
                    <a:lnTo>
                      <a:pt x="251" y="21"/>
                    </a:lnTo>
                    <a:lnTo>
                      <a:pt x="261" y="17"/>
                    </a:lnTo>
                    <a:lnTo>
                      <a:pt x="273" y="14"/>
                    </a:lnTo>
                    <a:lnTo>
                      <a:pt x="283" y="11"/>
                    </a:lnTo>
                    <a:lnTo>
                      <a:pt x="294" y="9"/>
                    </a:lnTo>
                    <a:lnTo>
                      <a:pt x="304" y="7"/>
                    </a:lnTo>
                    <a:lnTo>
                      <a:pt x="314" y="7"/>
                    </a:lnTo>
                    <a:lnTo>
                      <a:pt x="323" y="9"/>
                    </a:lnTo>
                    <a:lnTo>
                      <a:pt x="332" y="12"/>
                    </a:lnTo>
                    <a:lnTo>
                      <a:pt x="340" y="7"/>
                    </a:lnTo>
                    <a:lnTo>
                      <a:pt x="354" y="4"/>
                    </a:lnTo>
                    <a:lnTo>
                      <a:pt x="361" y="5"/>
                    </a:lnTo>
                    <a:lnTo>
                      <a:pt x="368" y="7"/>
                    </a:lnTo>
                    <a:lnTo>
                      <a:pt x="378" y="4"/>
                    </a:lnTo>
                    <a:lnTo>
                      <a:pt x="388" y="0"/>
                    </a:lnTo>
                    <a:lnTo>
                      <a:pt x="395" y="4"/>
                    </a:lnTo>
                    <a:lnTo>
                      <a:pt x="404" y="9"/>
                    </a:lnTo>
                    <a:lnTo>
                      <a:pt x="407" y="7"/>
                    </a:lnTo>
                    <a:lnTo>
                      <a:pt x="412" y="5"/>
                    </a:lnTo>
                    <a:lnTo>
                      <a:pt x="407" y="12"/>
                    </a:lnTo>
                    <a:lnTo>
                      <a:pt x="404" y="19"/>
                    </a:lnTo>
                    <a:lnTo>
                      <a:pt x="407" y="24"/>
                    </a:lnTo>
                    <a:lnTo>
                      <a:pt x="411" y="29"/>
                    </a:lnTo>
                    <a:lnTo>
                      <a:pt x="407" y="40"/>
                    </a:lnTo>
                    <a:lnTo>
                      <a:pt x="404" y="50"/>
                    </a:lnTo>
                    <a:lnTo>
                      <a:pt x="406" y="57"/>
                    </a:lnTo>
                    <a:lnTo>
                      <a:pt x="411" y="66"/>
                    </a:lnTo>
                    <a:lnTo>
                      <a:pt x="418" y="71"/>
                    </a:lnTo>
                    <a:lnTo>
                      <a:pt x="426" y="74"/>
                    </a:lnTo>
                    <a:lnTo>
                      <a:pt x="433" y="74"/>
                    </a:lnTo>
                    <a:lnTo>
                      <a:pt x="442" y="74"/>
                    </a:lnTo>
                    <a:lnTo>
                      <a:pt x="452" y="74"/>
                    </a:lnTo>
                    <a:lnTo>
                      <a:pt x="462" y="79"/>
                    </a:lnTo>
                    <a:lnTo>
                      <a:pt x="471" y="84"/>
                    </a:lnTo>
                    <a:lnTo>
                      <a:pt x="479" y="93"/>
                    </a:lnTo>
                    <a:lnTo>
                      <a:pt x="488" y="100"/>
                    </a:lnTo>
                    <a:lnTo>
                      <a:pt x="498" y="107"/>
                    </a:lnTo>
                    <a:lnTo>
                      <a:pt x="509" y="110"/>
                    </a:lnTo>
                    <a:lnTo>
                      <a:pt x="522" y="114"/>
                    </a:lnTo>
                    <a:lnTo>
                      <a:pt x="529" y="110"/>
                    </a:lnTo>
                    <a:lnTo>
                      <a:pt x="533" y="107"/>
                    </a:lnTo>
                    <a:lnTo>
                      <a:pt x="533" y="102"/>
                    </a:lnTo>
                    <a:lnTo>
                      <a:pt x="533" y="96"/>
                    </a:lnTo>
                    <a:lnTo>
                      <a:pt x="533" y="84"/>
                    </a:lnTo>
                    <a:lnTo>
                      <a:pt x="540" y="79"/>
                    </a:lnTo>
                    <a:lnTo>
                      <a:pt x="548" y="76"/>
                    </a:lnTo>
                    <a:lnTo>
                      <a:pt x="562" y="74"/>
                    </a:lnTo>
                    <a:lnTo>
                      <a:pt x="562" y="7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0" name="Freeform 193"/>
              <p:cNvSpPr>
                <a:spLocks/>
              </p:cNvSpPr>
              <p:nvPr/>
            </p:nvSpPr>
            <p:spPr bwMode="auto">
              <a:xfrm>
                <a:off x="4907757" y="2989263"/>
                <a:ext cx="852488" cy="739775"/>
              </a:xfrm>
              <a:custGeom>
                <a:avLst/>
                <a:gdLst/>
                <a:ahLst/>
                <a:cxnLst>
                  <a:cxn ang="0">
                    <a:pos x="126" y="157"/>
                  </a:cxn>
                  <a:cxn ang="0">
                    <a:pos x="140" y="98"/>
                  </a:cxn>
                  <a:cxn ang="0">
                    <a:pos x="134" y="93"/>
                  </a:cxn>
                  <a:cxn ang="0">
                    <a:pos x="107" y="100"/>
                  </a:cxn>
                  <a:cxn ang="0">
                    <a:pos x="55" y="102"/>
                  </a:cxn>
                  <a:cxn ang="0">
                    <a:pos x="26" y="91"/>
                  </a:cxn>
                  <a:cxn ang="0">
                    <a:pos x="16" y="76"/>
                  </a:cxn>
                  <a:cxn ang="0">
                    <a:pos x="11" y="50"/>
                  </a:cxn>
                  <a:cxn ang="0">
                    <a:pos x="7" y="31"/>
                  </a:cxn>
                  <a:cxn ang="0">
                    <a:pos x="43" y="17"/>
                  </a:cxn>
                  <a:cxn ang="0">
                    <a:pos x="81" y="10"/>
                  </a:cxn>
                  <a:cxn ang="0">
                    <a:pos x="122" y="0"/>
                  </a:cxn>
                  <a:cxn ang="0">
                    <a:pos x="148" y="10"/>
                  </a:cxn>
                  <a:cxn ang="0">
                    <a:pos x="189" y="17"/>
                  </a:cxn>
                  <a:cxn ang="0">
                    <a:pos x="224" y="5"/>
                  </a:cxn>
                  <a:cxn ang="0">
                    <a:pos x="256" y="24"/>
                  </a:cxn>
                  <a:cxn ang="0">
                    <a:pos x="284" y="48"/>
                  </a:cxn>
                  <a:cxn ang="0">
                    <a:pos x="320" y="38"/>
                  </a:cxn>
                  <a:cxn ang="0">
                    <a:pos x="325" y="53"/>
                  </a:cxn>
                  <a:cxn ang="0">
                    <a:pos x="346" y="79"/>
                  </a:cxn>
                  <a:cxn ang="0">
                    <a:pos x="391" y="90"/>
                  </a:cxn>
                  <a:cxn ang="0">
                    <a:pos x="413" y="72"/>
                  </a:cxn>
                  <a:cxn ang="0">
                    <a:pos x="459" y="64"/>
                  </a:cxn>
                  <a:cxn ang="0">
                    <a:pos x="506" y="84"/>
                  </a:cxn>
                  <a:cxn ang="0">
                    <a:pos x="506" y="114"/>
                  </a:cxn>
                  <a:cxn ang="0">
                    <a:pos x="499" y="138"/>
                  </a:cxn>
                  <a:cxn ang="0">
                    <a:pos x="504" y="170"/>
                  </a:cxn>
                  <a:cxn ang="0">
                    <a:pos x="508" y="201"/>
                  </a:cxn>
                  <a:cxn ang="0">
                    <a:pos x="537" y="248"/>
                  </a:cxn>
                  <a:cxn ang="0">
                    <a:pos x="516" y="272"/>
                  </a:cxn>
                  <a:cxn ang="0">
                    <a:pos x="494" y="274"/>
                  </a:cxn>
                  <a:cxn ang="0">
                    <a:pos x="453" y="265"/>
                  </a:cxn>
                  <a:cxn ang="0">
                    <a:pos x="435" y="246"/>
                  </a:cxn>
                  <a:cxn ang="0">
                    <a:pos x="382" y="239"/>
                  </a:cxn>
                  <a:cxn ang="0">
                    <a:pos x="353" y="212"/>
                  </a:cxn>
                  <a:cxn ang="0">
                    <a:pos x="320" y="210"/>
                  </a:cxn>
                  <a:cxn ang="0">
                    <a:pos x="339" y="253"/>
                  </a:cxn>
                  <a:cxn ang="0">
                    <a:pos x="363" y="261"/>
                  </a:cxn>
                  <a:cxn ang="0">
                    <a:pos x="361" y="286"/>
                  </a:cxn>
                  <a:cxn ang="0">
                    <a:pos x="399" y="291"/>
                  </a:cxn>
                  <a:cxn ang="0">
                    <a:pos x="435" y="277"/>
                  </a:cxn>
                  <a:cxn ang="0">
                    <a:pos x="471" y="304"/>
                  </a:cxn>
                  <a:cxn ang="0">
                    <a:pos x="484" y="325"/>
                  </a:cxn>
                  <a:cxn ang="0">
                    <a:pos x="458" y="356"/>
                  </a:cxn>
                  <a:cxn ang="0">
                    <a:pos x="437" y="382"/>
                  </a:cxn>
                  <a:cxn ang="0">
                    <a:pos x="392" y="406"/>
                  </a:cxn>
                  <a:cxn ang="0">
                    <a:pos x="367" y="425"/>
                  </a:cxn>
                  <a:cxn ang="0">
                    <a:pos x="320" y="444"/>
                  </a:cxn>
                  <a:cxn ang="0">
                    <a:pos x="269" y="464"/>
                  </a:cxn>
                  <a:cxn ang="0">
                    <a:pos x="250" y="454"/>
                  </a:cxn>
                  <a:cxn ang="0">
                    <a:pos x="236" y="399"/>
                  </a:cxn>
                  <a:cxn ang="0">
                    <a:pos x="208" y="356"/>
                  </a:cxn>
                  <a:cxn ang="0">
                    <a:pos x="181" y="310"/>
                  </a:cxn>
                  <a:cxn ang="0">
                    <a:pos x="160" y="289"/>
                  </a:cxn>
                  <a:cxn ang="0">
                    <a:pos x="141" y="249"/>
                  </a:cxn>
                  <a:cxn ang="0">
                    <a:pos x="129" y="201"/>
                  </a:cxn>
                </a:cxnLst>
                <a:rect l="0" t="0" r="r" b="b"/>
                <a:pathLst>
                  <a:path w="537" h="466">
                    <a:moveTo>
                      <a:pt x="129" y="205"/>
                    </a:moveTo>
                    <a:lnTo>
                      <a:pt x="117" y="177"/>
                    </a:lnTo>
                    <a:lnTo>
                      <a:pt x="119" y="174"/>
                    </a:lnTo>
                    <a:lnTo>
                      <a:pt x="122" y="172"/>
                    </a:lnTo>
                    <a:lnTo>
                      <a:pt x="126" y="157"/>
                    </a:lnTo>
                    <a:lnTo>
                      <a:pt x="129" y="145"/>
                    </a:lnTo>
                    <a:lnTo>
                      <a:pt x="136" y="133"/>
                    </a:lnTo>
                    <a:lnTo>
                      <a:pt x="143" y="120"/>
                    </a:lnTo>
                    <a:lnTo>
                      <a:pt x="141" y="108"/>
                    </a:lnTo>
                    <a:lnTo>
                      <a:pt x="140" y="98"/>
                    </a:lnTo>
                    <a:lnTo>
                      <a:pt x="141" y="95"/>
                    </a:lnTo>
                    <a:lnTo>
                      <a:pt x="143" y="93"/>
                    </a:lnTo>
                    <a:lnTo>
                      <a:pt x="143" y="88"/>
                    </a:lnTo>
                    <a:lnTo>
                      <a:pt x="138" y="90"/>
                    </a:lnTo>
                    <a:lnTo>
                      <a:pt x="134" y="93"/>
                    </a:lnTo>
                    <a:lnTo>
                      <a:pt x="127" y="91"/>
                    </a:lnTo>
                    <a:lnTo>
                      <a:pt x="124" y="90"/>
                    </a:lnTo>
                    <a:lnTo>
                      <a:pt x="117" y="93"/>
                    </a:lnTo>
                    <a:lnTo>
                      <a:pt x="114" y="96"/>
                    </a:lnTo>
                    <a:lnTo>
                      <a:pt x="107" y="100"/>
                    </a:lnTo>
                    <a:lnTo>
                      <a:pt x="98" y="102"/>
                    </a:lnTo>
                    <a:lnTo>
                      <a:pt x="86" y="95"/>
                    </a:lnTo>
                    <a:lnTo>
                      <a:pt x="74" y="90"/>
                    </a:lnTo>
                    <a:lnTo>
                      <a:pt x="62" y="95"/>
                    </a:lnTo>
                    <a:lnTo>
                      <a:pt x="55" y="102"/>
                    </a:lnTo>
                    <a:lnTo>
                      <a:pt x="48" y="98"/>
                    </a:lnTo>
                    <a:lnTo>
                      <a:pt x="43" y="95"/>
                    </a:lnTo>
                    <a:lnTo>
                      <a:pt x="36" y="90"/>
                    </a:lnTo>
                    <a:lnTo>
                      <a:pt x="31" y="91"/>
                    </a:lnTo>
                    <a:lnTo>
                      <a:pt x="26" y="91"/>
                    </a:lnTo>
                    <a:lnTo>
                      <a:pt x="28" y="90"/>
                    </a:lnTo>
                    <a:lnTo>
                      <a:pt x="29" y="88"/>
                    </a:lnTo>
                    <a:lnTo>
                      <a:pt x="24" y="84"/>
                    </a:lnTo>
                    <a:lnTo>
                      <a:pt x="19" y="81"/>
                    </a:lnTo>
                    <a:lnTo>
                      <a:pt x="16" y="76"/>
                    </a:lnTo>
                    <a:lnTo>
                      <a:pt x="17" y="72"/>
                    </a:lnTo>
                    <a:lnTo>
                      <a:pt x="9" y="65"/>
                    </a:lnTo>
                    <a:lnTo>
                      <a:pt x="0" y="64"/>
                    </a:lnTo>
                    <a:lnTo>
                      <a:pt x="7" y="57"/>
                    </a:lnTo>
                    <a:lnTo>
                      <a:pt x="11" y="50"/>
                    </a:lnTo>
                    <a:lnTo>
                      <a:pt x="9" y="47"/>
                    </a:lnTo>
                    <a:lnTo>
                      <a:pt x="11" y="43"/>
                    </a:lnTo>
                    <a:lnTo>
                      <a:pt x="4" y="41"/>
                    </a:lnTo>
                    <a:lnTo>
                      <a:pt x="2" y="41"/>
                    </a:lnTo>
                    <a:lnTo>
                      <a:pt x="7" y="31"/>
                    </a:lnTo>
                    <a:lnTo>
                      <a:pt x="21" y="28"/>
                    </a:lnTo>
                    <a:lnTo>
                      <a:pt x="35" y="26"/>
                    </a:lnTo>
                    <a:lnTo>
                      <a:pt x="47" y="24"/>
                    </a:lnTo>
                    <a:lnTo>
                      <a:pt x="45" y="19"/>
                    </a:lnTo>
                    <a:lnTo>
                      <a:pt x="43" y="17"/>
                    </a:lnTo>
                    <a:lnTo>
                      <a:pt x="48" y="14"/>
                    </a:lnTo>
                    <a:lnTo>
                      <a:pt x="55" y="16"/>
                    </a:lnTo>
                    <a:lnTo>
                      <a:pt x="66" y="16"/>
                    </a:lnTo>
                    <a:lnTo>
                      <a:pt x="71" y="16"/>
                    </a:lnTo>
                    <a:lnTo>
                      <a:pt x="81" y="10"/>
                    </a:lnTo>
                    <a:lnTo>
                      <a:pt x="91" y="5"/>
                    </a:lnTo>
                    <a:lnTo>
                      <a:pt x="97" y="0"/>
                    </a:lnTo>
                    <a:lnTo>
                      <a:pt x="105" y="0"/>
                    </a:lnTo>
                    <a:lnTo>
                      <a:pt x="114" y="0"/>
                    </a:lnTo>
                    <a:lnTo>
                      <a:pt x="122" y="0"/>
                    </a:lnTo>
                    <a:lnTo>
                      <a:pt x="129" y="0"/>
                    </a:lnTo>
                    <a:lnTo>
                      <a:pt x="134" y="4"/>
                    </a:lnTo>
                    <a:lnTo>
                      <a:pt x="138" y="5"/>
                    </a:lnTo>
                    <a:lnTo>
                      <a:pt x="146" y="9"/>
                    </a:lnTo>
                    <a:lnTo>
                      <a:pt x="148" y="10"/>
                    </a:lnTo>
                    <a:lnTo>
                      <a:pt x="157" y="14"/>
                    </a:lnTo>
                    <a:lnTo>
                      <a:pt x="164" y="16"/>
                    </a:lnTo>
                    <a:lnTo>
                      <a:pt x="172" y="17"/>
                    </a:lnTo>
                    <a:lnTo>
                      <a:pt x="181" y="17"/>
                    </a:lnTo>
                    <a:lnTo>
                      <a:pt x="189" y="17"/>
                    </a:lnTo>
                    <a:lnTo>
                      <a:pt x="195" y="17"/>
                    </a:lnTo>
                    <a:lnTo>
                      <a:pt x="201" y="17"/>
                    </a:lnTo>
                    <a:lnTo>
                      <a:pt x="208" y="14"/>
                    </a:lnTo>
                    <a:lnTo>
                      <a:pt x="217" y="10"/>
                    </a:lnTo>
                    <a:lnTo>
                      <a:pt x="224" y="5"/>
                    </a:lnTo>
                    <a:lnTo>
                      <a:pt x="236" y="4"/>
                    </a:lnTo>
                    <a:lnTo>
                      <a:pt x="244" y="4"/>
                    </a:lnTo>
                    <a:lnTo>
                      <a:pt x="250" y="9"/>
                    </a:lnTo>
                    <a:lnTo>
                      <a:pt x="253" y="16"/>
                    </a:lnTo>
                    <a:lnTo>
                      <a:pt x="256" y="24"/>
                    </a:lnTo>
                    <a:lnTo>
                      <a:pt x="262" y="28"/>
                    </a:lnTo>
                    <a:lnTo>
                      <a:pt x="269" y="33"/>
                    </a:lnTo>
                    <a:lnTo>
                      <a:pt x="274" y="36"/>
                    </a:lnTo>
                    <a:lnTo>
                      <a:pt x="279" y="43"/>
                    </a:lnTo>
                    <a:lnTo>
                      <a:pt x="284" y="48"/>
                    </a:lnTo>
                    <a:lnTo>
                      <a:pt x="294" y="52"/>
                    </a:lnTo>
                    <a:lnTo>
                      <a:pt x="303" y="45"/>
                    </a:lnTo>
                    <a:lnTo>
                      <a:pt x="312" y="40"/>
                    </a:lnTo>
                    <a:lnTo>
                      <a:pt x="315" y="38"/>
                    </a:lnTo>
                    <a:lnTo>
                      <a:pt x="320" y="38"/>
                    </a:lnTo>
                    <a:lnTo>
                      <a:pt x="320" y="41"/>
                    </a:lnTo>
                    <a:lnTo>
                      <a:pt x="324" y="47"/>
                    </a:lnTo>
                    <a:lnTo>
                      <a:pt x="322" y="48"/>
                    </a:lnTo>
                    <a:lnTo>
                      <a:pt x="324" y="50"/>
                    </a:lnTo>
                    <a:lnTo>
                      <a:pt x="325" y="53"/>
                    </a:lnTo>
                    <a:lnTo>
                      <a:pt x="329" y="59"/>
                    </a:lnTo>
                    <a:lnTo>
                      <a:pt x="330" y="65"/>
                    </a:lnTo>
                    <a:lnTo>
                      <a:pt x="332" y="74"/>
                    </a:lnTo>
                    <a:lnTo>
                      <a:pt x="337" y="77"/>
                    </a:lnTo>
                    <a:lnTo>
                      <a:pt x="346" y="79"/>
                    </a:lnTo>
                    <a:lnTo>
                      <a:pt x="351" y="81"/>
                    </a:lnTo>
                    <a:lnTo>
                      <a:pt x="355" y="88"/>
                    </a:lnTo>
                    <a:lnTo>
                      <a:pt x="365" y="90"/>
                    </a:lnTo>
                    <a:lnTo>
                      <a:pt x="379" y="91"/>
                    </a:lnTo>
                    <a:lnTo>
                      <a:pt x="391" y="90"/>
                    </a:lnTo>
                    <a:lnTo>
                      <a:pt x="403" y="88"/>
                    </a:lnTo>
                    <a:lnTo>
                      <a:pt x="403" y="83"/>
                    </a:lnTo>
                    <a:lnTo>
                      <a:pt x="403" y="79"/>
                    </a:lnTo>
                    <a:lnTo>
                      <a:pt x="404" y="74"/>
                    </a:lnTo>
                    <a:lnTo>
                      <a:pt x="413" y="72"/>
                    </a:lnTo>
                    <a:lnTo>
                      <a:pt x="418" y="69"/>
                    </a:lnTo>
                    <a:lnTo>
                      <a:pt x="423" y="65"/>
                    </a:lnTo>
                    <a:lnTo>
                      <a:pt x="434" y="62"/>
                    </a:lnTo>
                    <a:lnTo>
                      <a:pt x="446" y="59"/>
                    </a:lnTo>
                    <a:lnTo>
                      <a:pt x="459" y="64"/>
                    </a:lnTo>
                    <a:lnTo>
                      <a:pt x="475" y="71"/>
                    </a:lnTo>
                    <a:lnTo>
                      <a:pt x="482" y="74"/>
                    </a:lnTo>
                    <a:lnTo>
                      <a:pt x="489" y="77"/>
                    </a:lnTo>
                    <a:lnTo>
                      <a:pt x="494" y="81"/>
                    </a:lnTo>
                    <a:lnTo>
                      <a:pt x="506" y="84"/>
                    </a:lnTo>
                    <a:lnTo>
                      <a:pt x="508" y="88"/>
                    </a:lnTo>
                    <a:lnTo>
                      <a:pt x="509" y="91"/>
                    </a:lnTo>
                    <a:lnTo>
                      <a:pt x="509" y="102"/>
                    </a:lnTo>
                    <a:lnTo>
                      <a:pt x="511" y="110"/>
                    </a:lnTo>
                    <a:lnTo>
                      <a:pt x="506" y="114"/>
                    </a:lnTo>
                    <a:lnTo>
                      <a:pt x="502" y="120"/>
                    </a:lnTo>
                    <a:lnTo>
                      <a:pt x="499" y="127"/>
                    </a:lnTo>
                    <a:lnTo>
                      <a:pt x="499" y="133"/>
                    </a:lnTo>
                    <a:lnTo>
                      <a:pt x="499" y="134"/>
                    </a:lnTo>
                    <a:lnTo>
                      <a:pt x="499" y="138"/>
                    </a:lnTo>
                    <a:lnTo>
                      <a:pt x="501" y="139"/>
                    </a:lnTo>
                    <a:lnTo>
                      <a:pt x="502" y="143"/>
                    </a:lnTo>
                    <a:lnTo>
                      <a:pt x="502" y="158"/>
                    </a:lnTo>
                    <a:lnTo>
                      <a:pt x="502" y="163"/>
                    </a:lnTo>
                    <a:lnTo>
                      <a:pt x="504" y="170"/>
                    </a:lnTo>
                    <a:lnTo>
                      <a:pt x="509" y="172"/>
                    </a:lnTo>
                    <a:lnTo>
                      <a:pt x="516" y="181"/>
                    </a:lnTo>
                    <a:lnTo>
                      <a:pt x="511" y="189"/>
                    </a:lnTo>
                    <a:lnTo>
                      <a:pt x="506" y="198"/>
                    </a:lnTo>
                    <a:lnTo>
                      <a:pt x="508" y="201"/>
                    </a:lnTo>
                    <a:lnTo>
                      <a:pt x="511" y="206"/>
                    </a:lnTo>
                    <a:lnTo>
                      <a:pt x="518" y="215"/>
                    </a:lnTo>
                    <a:lnTo>
                      <a:pt x="527" y="224"/>
                    </a:lnTo>
                    <a:lnTo>
                      <a:pt x="533" y="232"/>
                    </a:lnTo>
                    <a:lnTo>
                      <a:pt x="537" y="248"/>
                    </a:lnTo>
                    <a:lnTo>
                      <a:pt x="527" y="249"/>
                    </a:lnTo>
                    <a:lnTo>
                      <a:pt x="521" y="253"/>
                    </a:lnTo>
                    <a:lnTo>
                      <a:pt x="516" y="256"/>
                    </a:lnTo>
                    <a:lnTo>
                      <a:pt x="516" y="267"/>
                    </a:lnTo>
                    <a:lnTo>
                      <a:pt x="516" y="272"/>
                    </a:lnTo>
                    <a:lnTo>
                      <a:pt x="518" y="277"/>
                    </a:lnTo>
                    <a:lnTo>
                      <a:pt x="516" y="277"/>
                    </a:lnTo>
                    <a:lnTo>
                      <a:pt x="514" y="277"/>
                    </a:lnTo>
                    <a:lnTo>
                      <a:pt x="504" y="275"/>
                    </a:lnTo>
                    <a:lnTo>
                      <a:pt x="494" y="274"/>
                    </a:lnTo>
                    <a:lnTo>
                      <a:pt x="480" y="270"/>
                    </a:lnTo>
                    <a:lnTo>
                      <a:pt x="470" y="270"/>
                    </a:lnTo>
                    <a:lnTo>
                      <a:pt x="465" y="268"/>
                    </a:lnTo>
                    <a:lnTo>
                      <a:pt x="459" y="267"/>
                    </a:lnTo>
                    <a:lnTo>
                      <a:pt x="453" y="265"/>
                    </a:lnTo>
                    <a:lnTo>
                      <a:pt x="451" y="265"/>
                    </a:lnTo>
                    <a:lnTo>
                      <a:pt x="447" y="258"/>
                    </a:lnTo>
                    <a:lnTo>
                      <a:pt x="446" y="253"/>
                    </a:lnTo>
                    <a:lnTo>
                      <a:pt x="441" y="248"/>
                    </a:lnTo>
                    <a:lnTo>
                      <a:pt x="435" y="246"/>
                    </a:lnTo>
                    <a:lnTo>
                      <a:pt x="428" y="248"/>
                    </a:lnTo>
                    <a:lnTo>
                      <a:pt x="425" y="253"/>
                    </a:lnTo>
                    <a:lnTo>
                      <a:pt x="399" y="253"/>
                    </a:lnTo>
                    <a:lnTo>
                      <a:pt x="389" y="246"/>
                    </a:lnTo>
                    <a:lnTo>
                      <a:pt x="382" y="239"/>
                    </a:lnTo>
                    <a:lnTo>
                      <a:pt x="372" y="234"/>
                    </a:lnTo>
                    <a:lnTo>
                      <a:pt x="363" y="231"/>
                    </a:lnTo>
                    <a:lnTo>
                      <a:pt x="360" y="225"/>
                    </a:lnTo>
                    <a:lnTo>
                      <a:pt x="360" y="220"/>
                    </a:lnTo>
                    <a:lnTo>
                      <a:pt x="353" y="212"/>
                    </a:lnTo>
                    <a:lnTo>
                      <a:pt x="348" y="203"/>
                    </a:lnTo>
                    <a:lnTo>
                      <a:pt x="337" y="196"/>
                    </a:lnTo>
                    <a:lnTo>
                      <a:pt x="329" y="194"/>
                    </a:lnTo>
                    <a:lnTo>
                      <a:pt x="322" y="200"/>
                    </a:lnTo>
                    <a:lnTo>
                      <a:pt x="320" y="210"/>
                    </a:lnTo>
                    <a:lnTo>
                      <a:pt x="320" y="215"/>
                    </a:lnTo>
                    <a:lnTo>
                      <a:pt x="320" y="222"/>
                    </a:lnTo>
                    <a:lnTo>
                      <a:pt x="324" y="231"/>
                    </a:lnTo>
                    <a:lnTo>
                      <a:pt x="330" y="243"/>
                    </a:lnTo>
                    <a:lnTo>
                      <a:pt x="339" y="253"/>
                    </a:lnTo>
                    <a:lnTo>
                      <a:pt x="349" y="258"/>
                    </a:lnTo>
                    <a:lnTo>
                      <a:pt x="351" y="263"/>
                    </a:lnTo>
                    <a:lnTo>
                      <a:pt x="353" y="270"/>
                    </a:lnTo>
                    <a:lnTo>
                      <a:pt x="358" y="265"/>
                    </a:lnTo>
                    <a:lnTo>
                      <a:pt x="363" y="261"/>
                    </a:lnTo>
                    <a:lnTo>
                      <a:pt x="363" y="263"/>
                    </a:lnTo>
                    <a:lnTo>
                      <a:pt x="363" y="267"/>
                    </a:lnTo>
                    <a:lnTo>
                      <a:pt x="361" y="274"/>
                    </a:lnTo>
                    <a:lnTo>
                      <a:pt x="360" y="282"/>
                    </a:lnTo>
                    <a:lnTo>
                      <a:pt x="361" y="286"/>
                    </a:lnTo>
                    <a:lnTo>
                      <a:pt x="367" y="291"/>
                    </a:lnTo>
                    <a:lnTo>
                      <a:pt x="373" y="292"/>
                    </a:lnTo>
                    <a:lnTo>
                      <a:pt x="380" y="294"/>
                    </a:lnTo>
                    <a:lnTo>
                      <a:pt x="391" y="292"/>
                    </a:lnTo>
                    <a:lnTo>
                      <a:pt x="399" y="291"/>
                    </a:lnTo>
                    <a:lnTo>
                      <a:pt x="406" y="286"/>
                    </a:lnTo>
                    <a:lnTo>
                      <a:pt x="413" y="282"/>
                    </a:lnTo>
                    <a:lnTo>
                      <a:pt x="422" y="270"/>
                    </a:lnTo>
                    <a:lnTo>
                      <a:pt x="435" y="260"/>
                    </a:lnTo>
                    <a:lnTo>
                      <a:pt x="435" y="277"/>
                    </a:lnTo>
                    <a:lnTo>
                      <a:pt x="441" y="286"/>
                    </a:lnTo>
                    <a:lnTo>
                      <a:pt x="447" y="291"/>
                    </a:lnTo>
                    <a:lnTo>
                      <a:pt x="456" y="294"/>
                    </a:lnTo>
                    <a:lnTo>
                      <a:pt x="466" y="299"/>
                    </a:lnTo>
                    <a:lnTo>
                      <a:pt x="471" y="304"/>
                    </a:lnTo>
                    <a:lnTo>
                      <a:pt x="477" y="311"/>
                    </a:lnTo>
                    <a:lnTo>
                      <a:pt x="477" y="311"/>
                    </a:lnTo>
                    <a:lnTo>
                      <a:pt x="482" y="315"/>
                    </a:lnTo>
                    <a:lnTo>
                      <a:pt x="487" y="320"/>
                    </a:lnTo>
                    <a:lnTo>
                      <a:pt x="484" y="325"/>
                    </a:lnTo>
                    <a:lnTo>
                      <a:pt x="478" y="332"/>
                    </a:lnTo>
                    <a:lnTo>
                      <a:pt x="473" y="339"/>
                    </a:lnTo>
                    <a:lnTo>
                      <a:pt x="471" y="347"/>
                    </a:lnTo>
                    <a:lnTo>
                      <a:pt x="461" y="349"/>
                    </a:lnTo>
                    <a:lnTo>
                      <a:pt x="458" y="356"/>
                    </a:lnTo>
                    <a:lnTo>
                      <a:pt x="454" y="365"/>
                    </a:lnTo>
                    <a:lnTo>
                      <a:pt x="449" y="370"/>
                    </a:lnTo>
                    <a:lnTo>
                      <a:pt x="444" y="372"/>
                    </a:lnTo>
                    <a:lnTo>
                      <a:pt x="441" y="377"/>
                    </a:lnTo>
                    <a:lnTo>
                      <a:pt x="437" y="382"/>
                    </a:lnTo>
                    <a:lnTo>
                      <a:pt x="434" y="385"/>
                    </a:lnTo>
                    <a:lnTo>
                      <a:pt x="425" y="389"/>
                    </a:lnTo>
                    <a:lnTo>
                      <a:pt x="420" y="399"/>
                    </a:lnTo>
                    <a:lnTo>
                      <a:pt x="406" y="401"/>
                    </a:lnTo>
                    <a:lnTo>
                      <a:pt x="392" y="406"/>
                    </a:lnTo>
                    <a:lnTo>
                      <a:pt x="379" y="409"/>
                    </a:lnTo>
                    <a:lnTo>
                      <a:pt x="375" y="418"/>
                    </a:lnTo>
                    <a:lnTo>
                      <a:pt x="375" y="420"/>
                    </a:lnTo>
                    <a:lnTo>
                      <a:pt x="377" y="423"/>
                    </a:lnTo>
                    <a:lnTo>
                      <a:pt x="367" y="425"/>
                    </a:lnTo>
                    <a:lnTo>
                      <a:pt x="358" y="428"/>
                    </a:lnTo>
                    <a:lnTo>
                      <a:pt x="348" y="432"/>
                    </a:lnTo>
                    <a:lnTo>
                      <a:pt x="337" y="435"/>
                    </a:lnTo>
                    <a:lnTo>
                      <a:pt x="329" y="437"/>
                    </a:lnTo>
                    <a:lnTo>
                      <a:pt x="320" y="444"/>
                    </a:lnTo>
                    <a:lnTo>
                      <a:pt x="312" y="449"/>
                    </a:lnTo>
                    <a:lnTo>
                      <a:pt x="305" y="454"/>
                    </a:lnTo>
                    <a:lnTo>
                      <a:pt x="289" y="454"/>
                    </a:lnTo>
                    <a:lnTo>
                      <a:pt x="279" y="461"/>
                    </a:lnTo>
                    <a:lnTo>
                      <a:pt x="269" y="464"/>
                    </a:lnTo>
                    <a:lnTo>
                      <a:pt x="265" y="466"/>
                    </a:lnTo>
                    <a:lnTo>
                      <a:pt x="256" y="463"/>
                    </a:lnTo>
                    <a:lnTo>
                      <a:pt x="250" y="459"/>
                    </a:lnTo>
                    <a:lnTo>
                      <a:pt x="250" y="457"/>
                    </a:lnTo>
                    <a:lnTo>
                      <a:pt x="250" y="454"/>
                    </a:lnTo>
                    <a:lnTo>
                      <a:pt x="241" y="440"/>
                    </a:lnTo>
                    <a:lnTo>
                      <a:pt x="239" y="428"/>
                    </a:lnTo>
                    <a:lnTo>
                      <a:pt x="236" y="421"/>
                    </a:lnTo>
                    <a:lnTo>
                      <a:pt x="239" y="413"/>
                    </a:lnTo>
                    <a:lnTo>
                      <a:pt x="236" y="399"/>
                    </a:lnTo>
                    <a:lnTo>
                      <a:pt x="227" y="392"/>
                    </a:lnTo>
                    <a:lnTo>
                      <a:pt x="220" y="384"/>
                    </a:lnTo>
                    <a:lnTo>
                      <a:pt x="215" y="375"/>
                    </a:lnTo>
                    <a:lnTo>
                      <a:pt x="210" y="365"/>
                    </a:lnTo>
                    <a:lnTo>
                      <a:pt x="208" y="356"/>
                    </a:lnTo>
                    <a:lnTo>
                      <a:pt x="196" y="351"/>
                    </a:lnTo>
                    <a:lnTo>
                      <a:pt x="189" y="344"/>
                    </a:lnTo>
                    <a:lnTo>
                      <a:pt x="186" y="334"/>
                    </a:lnTo>
                    <a:lnTo>
                      <a:pt x="186" y="322"/>
                    </a:lnTo>
                    <a:lnTo>
                      <a:pt x="181" y="310"/>
                    </a:lnTo>
                    <a:lnTo>
                      <a:pt x="177" y="298"/>
                    </a:lnTo>
                    <a:lnTo>
                      <a:pt x="172" y="294"/>
                    </a:lnTo>
                    <a:lnTo>
                      <a:pt x="170" y="292"/>
                    </a:lnTo>
                    <a:lnTo>
                      <a:pt x="165" y="291"/>
                    </a:lnTo>
                    <a:lnTo>
                      <a:pt x="160" y="289"/>
                    </a:lnTo>
                    <a:lnTo>
                      <a:pt x="157" y="282"/>
                    </a:lnTo>
                    <a:lnTo>
                      <a:pt x="157" y="275"/>
                    </a:lnTo>
                    <a:lnTo>
                      <a:pt x="153" y="268"/>
                    </a:lnTo>
                    <a:lnTo>
                      <a:pt x="150" y="263"/>
                    </a:lnTo>
                    <a:lnTo>
                      <a:pt x="141" y="249"/>
                    </a:lnTo>
                    <a:lnTo>
                      <a:pt x="134" y="237"/>
                    </a:lnTo>
                    <a:lnTo>
                      <a:pt x="129" y="231"/>
                    </a:lnTo>
                    <a:lnTo>
                      <a:pt x="126" y="225"/>
                    </a:lnTo>
                    <a:lnTo>
                      <a:pt x="127" y="213"/>
                    </a:lnTo>
                    <a:lnTo>
                      <a:pt x="129" y="201"/>
                    </a:lnTo>
                    <a:lnTo>
                      <a:pt x="129" y="20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1" name="Freeform 194"/>
              <p:cNvSpPr>
                <a:spLocks/>
              </p:cNvSpPr>
              <p:nvPr/>
            </p:nvSpPr>
            <p:spPr bwMode="auto">
              <a:xfrm>
                <a:off x="6136482" y="3794125"/>
                <a:ext cx="44450" cy="87312"/>
              </a:xfrm>
              <a:custGeom>
                <a:avLst/>
                <a:gdLst/>
                <a:ahLst/>
                <a:cxnLst>
                  <a:cxn ang="0">
                    <a:pos x="28" y="35"/>
                  </a:cxn>
                  <a:cxn ang="0">
                    <a:pos x="23" y="47"/>
                  </a:cxn>
                  <a:cxn ang="0">
                    <a:pos x="12" y="55"/>
                  </a:cxn>
                  <a:cxn ang="0">
                    <a:pos x="4" y="50"/>
                  </a:cxn>
                  <a:cxn ang="0">
                    <a:pos x="0" y="42"/>
                  </a:cxn>
                  <a:cxn ang="0">
                    <a:pos x="0" y="30"/>
                  </a:cxn>
                  <a:cxn ang="0">
                    <a:pos x="4" y="19"/>
                  </a:cxn>
                  <a:cxn ang="0">
                    <a:pos x="5" y="9"/>
                  </a:cxn>
                  <a:cxn ang="0">
                    <a:pos x="7" y="0"/>
                  </a:cxn>
                  <a:cxn ang="0">
                    <a:pos x="12" y="7"/>
                  </a:cxn>
                  <a:cxn ang="0">
                    <a:pos x="19" y="14"/>
                  </a:cxn>
                  <a:cxn ang="0">
                    <a:pos x="24" y="23"/>
                  </a:cxn>
                  <a:cxn ang="0">
                    <a:pos x="28" y="35"/>
                  </a:cxn>
                </a:cxnLst>
                <a:rect l="0" t="0" r="r" b="b"/>
                <a:pathLst>
                  <a:path w="28" h="55">
                    <a:moveTo>
                      <a:pt x="28" y="35"/>
                    </a:moveTo>
                    <a:lnTo>
                      <a:pt x="23" y="47"/>
                    </a:lnTo>
                    <a:lnTo>
                      <a:pt x="12" y="55"/>
                    </a:lnTo>
                    <a:lnTo>
                      <a:pt x="4" y="50"/>
                    </a:lnTo>
                    <a:lnTo>
                      <a:pt x="0" y="42"/>
                    </a:lnTo>
                    <a:lnTo>
                      <a:pt x="0" y="30"/>
                    </a:lnTo>
                    <a:lnTo>
                      <a:pt x="4" y="19"/>
                    </a:lnTo>
                    <a:lnTo>
                      <a:pt x="5" y="9"/>
                    </a:lnTo>
                    <a:lnTo>
                      <a:pt x="7" y="0"/>
                    </a:lnTo>
                    <a:lnTo>
                      <a:pt x="12" y="7"/>
                    </a:lnTo>
                    <a:lnTo>
                      <a:pt x="19" y="14"/>
                    </a:lnTo>
                    <a:lnTo>
                      <a:pt x="24" y="23"/>
                    </a:lnTo>
                    <a:lnTo>
                      <a:pt x="28" y="3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2" name="Freeform 195"/>
              <p:cNvSpPr>
                <a:spLocks/>
              </p:cNvSpPr>
              <p:nvPr/>
            </p:nvSpPr>
            <p:spPr bwMode="auto">
              <a:xfrm>
                <a:off x="5699919" y="3082925"/>
                <a:ext cx="930275" cy="747712"/>
              </a:xfrm>
              <a:custGeom>
                <a:avLst/>
                <a:gdLst/>
                <a:ahLst/>
                <a:cxnLst>
                  <a:cxn ang="0">
                    <a:pos x="174" y="325"/>
                  </a:cxn>
                  <a:cxn ang="0">
                    <a:pos x="196" y="374"/>
                  </a:cxn>
                  <a:cxn ang="0">
                    <a:pos x="212" y="417"/>
                  </a:cxn>
                  <a:cxn ang="0">
                    <a:pos x="236" y="466"/>
                  </a:cxn>
                  <a:cxn ang="0">
                    <a:pos x="253" y="457"/>
                  </a:cxn>
                  <a:cxn ang="0">
                    <a:pos x="270" y="438"/>
                  </a:cxn>
                  <a:cxn ang="0">
                    <a:pos x="277" y="407"/>
                  </a:cxn>
                  <a:cxn ang="0">
                    <a:pos x="298" y="354"/>
                  </a:cxn>
                  <a:cxn ang="0">
                    <a:pos x="344" y="306"/>
                  </a:cxn>
                  <a:cxn ang="0">
                    <a:pos x="377" y="276"/>
                  </a:cxn>
                  <a:cxn ang="0">
                    <a:pos x="413" y="266"/>
                  </a:cxn>
                  <a:cxn ang="0">
                    <a:pos x="451" y="263"/>
                  </a:cxn>
                  <a:cxn ang="0">
                    <a:pos x="480" y="309"/>
                  </a:cxn>
                  <a:cxn ang="0">
                    <a:pos x="487" y="347"/>
                  </a:cxn>
                  <a:cxn ang="0">
                    <a:pos x="516" y="342"/>
                  </a:cxn>
                  <a:cxn ang="0">
                    <a:pos x="533" y="347"/>
                  </a:cxn>
                  <a:cxn ang="0">
                    <a:pos x="537" y="380"/>
                  </a:cxn>
                  <a:cxn ang="0">
                    <a:pos x="549" y="441"/>
                  </a:cxn>
                  <a:cxn ang="0">
                    <a:pos x="562" y="404"/>
                  </a:cxn>
                  <a:cxn ang="0">
                    <a:pos x="543" y="368"/>
                  </a:cxn>
                  <a:cxn ang="0">
                    <a:pos x="549" y="354"/>
                  </a:cxn>
                  <a:cxn ang="0">
                    <a:pos x="537" y="304"/>
                  </a:cxn>
                  <a:cxn ang="0">
                    <a:pos x="571" y="280"/>
                  </a:cxn>
                  <a:cxn ang="0">
                    <a:pos x="566" y="257"/>
                  </a:cxn>
                  <a:cxn ang="0">
                    <a:pos x="552" y="230"/>
                  </a:cxn>
                  <a:cxn ang="0">
                    <a:pos x="540" y="213"/>
                  </a:cxn>
                  <a:cxn ang="0">
                    <a:pos x="540" y="165"/>
                  </a:cxn>
                  <a:cxn ang="0">
                    <a:pos x="509" y="144"/>
                  </a:cxn>
                  <a:cxn ang="0">
                    <a:pos x="483" y="156"/>
                  </a:cxn>
                  <a:cxn ang="0">
                    <a:pos x="444" y="168"/>
                  </a:cxn>
                  <a:cxn ang="0">
                    <a:pos x="404" y="166"/>
                  </a:cxn>
                  <a:cxn ang="0">
                    <a:pos x="358" y="165"/>
                  </a:cxn>
                  <a:cxn ang="0">
                    <a:pos x="335" y="146"/>
                  </a:cxn>
                  <a:cxn ang="0">
                    <a:pos x="282" y="127"/>
                  </a:cxn>
                  <a:cxn ang="0">
                    <a:pos x="261" y="103"/>
                  </a:cxn>
                  <a:cxn ang="0">
                    <a:pos x="265" y="79"/>
                  </a:cxn>
                  <a:cxn ang="0">
                    <a:pos x="277" y="44"/>
                  </a:cxn>
                  <a:cxn ang="0">
                    <a:pos x="224" y="39"/>
                  </a:cxn>
                  <a:cxn ang="0">
                    <a:pos x="198" y="17"/>
                  </a:cxn>
                  <a:cxn ang="0">
                    <a:pos x="157" y="12"/>
                  </a:cxn>
                  <a:cxn ang="0">
                    <a:pos x="132" y="12"/>
                  </a:cxn>
                  <a:cxn ang="0">
                    <a:pos x="91" y="20"/>
                  </a:cxn>
                  <a:cxn ang="0">
                    <a:pos x="62" y="22"/>
                  </a:cxn>
                  <a:cxn ang="0">
                    <a:pos x="34" y="49"/>
                  </a:cxn>
                  <a:cxn ang="0">
                    <a:pos x="12" y="51"/>
                  </a:cxn>
                  <a:cxn ang="0">
                    <a:pos x="0" y="75"/>
                  </a:cxn>
                  <a:cxn ang="0">
                    <a:pos x="3" y="104"/>
                  </a:cxn>
                  <a:cxn ang="0">
                    <a:pos x="7" y="139"/>
                  </a:cxn>
                  <a:cxn ang="0">
                    <a:pos x="34" y="173"/>
                  </a:cxn>
                  <a:cxn ang="0">
                    <a:pos x="17" y="208"/>
                  </a:cxn>
                  <a:cxn ang="0">
                    <a:pos x="41" y="213"/>
                  </a:cxn>
                  <a:cxn ang="0">
                    <a:pos x="83" y="213"/>
                  </a:cxn>
                  <a:cxn ang="0">
                    <a:pos x="115" y="247"/>
                  </a:cxn>
                  <a:cxn ang="0">
                    <a:pos x="131" y="259"/>
                  </a:cxn>
                  <a:cxn ang="0">
                    <a:pos x="136" y="282"/>
                  </a:cxn>
                  <a:cxn ang="0">
                    <a:pos x="167" y="261"/>
                  </a:cxn>
                  <a:cxn ang="0">
                    <a:pos x="174" y="288"/>
                  </a:cxn>
                </a:cxnLst>
                <a:rect l="0" t="0" r="r" b="b"/>
                <a:pathLst>
                  <a:path w="586" h="471">
                    <a:moveTo>
                      <a:pt x="174" y="304"/>
                    </a:moveTo>
                    <a:lnTo>
                      <a:pt x="170" y="302"/>
                    </a:lnTo>
                    <a:lnTo>
                      <a:pt x="170" y="306"/>
                    </a:lnTo>
                    <a:lnTo>
                      <a:pt x="172" y="311"/>
                    </a:lnTo>
                    <a:lnTo>
                      <a:pt x="174" y="325"/>
                    </a:lnTo>
                    <a:lnTo>
                      <a:pt x="181" y="338"/>
                    </a:lnTo>
                    <a:lnTo>
                      <a:pt x="182" y="347"/>
                    </a:lnTo>
                    <a:lnTo>
                      <a:pt x="187" y="357"/>
                    </a:lnTo>
                    <a:lnTo>
                      <a:pt x="191" y="366"/>
                    </a:lnTo>
                    <a:lnTo>
                      <a:pt x="196" y="374"/>
                    </a:lnTo>
                    <a:lnTo>
                      <a:pt x="198" y="383"/>
                    </a:lnTo>
                    <a:lnTo>
                      <a:pt x="201" y="392"/>
                    </a:lnTo>
                    <a:lnTo>
                      <a:pt x="203" y="400"/>
                    </a:lnTo>
                    <a:lnTo>
                      <a:pt x="206" y="412"/>
                    </a:lnTo>
                    <a:lnTo>
                      <a:pt x="212" y="417"/>
                    </a:lnTo>
                    <a:lnTo>
                      <a:pt x="218" y="428"/>
                    </a:lnTo>
                    <a:lnTo>
                      <a:pt x="224" y="443"/>
                    </a:lnTo>
                    <a:lnTo>
                      <a:pt x="232" y="460"/>
                    </a:lnTo>
                    <a:lnTo>
                      <a:pt x="232" y="462"/>
                    </a:lnTo>
                    <a:lnTo>
                      <a:pt x="236" y="466"/>
                    </a:lnTo>
                    <a:lnTo>
                      <a:pt x="237" y="469"/>
                    </a:lnTo>
                    <a:lnTo>
                      <a:pt x="244" y="471"/>
                    </a:lnTo>
                    <a:lnTo>
                      <a:pt x="246" y="467"/>
                    </a:lnTo>
                    <a:lnTo>
                      <a:pt x="249" y="460"/>
                    </a:lnTo>
                    <a:lnTo>
                      <a:pt x="253" y="457"/>
                    </a:lnTo>
                    <a:lnTo>
                      <a:pt x="260" y="455"/>
                    </a:lnTo>
                    <a:lnTo>
                      <a:pt x="261" y="450"/>
                    </a:lnTo>
                    <a:lnTo>
                      <a:pt x="263" y="447"/>
                    </a:lnTo>
                    <a:lnTo>
                      <a:pt x="265" y="440"/>
                    </a:lnTo>
                    <a:lnTo>
                      <a:pt x="270" y="438"/>
                    </a:lnTo>
                    <a:lnTo>
                      <a:pt x="272" y="436"/>
                    </a:lnTo>
                    <a:lnTo>
                      <a:pt x="275" y="436"/>
                    </a:lnTo>
                    <a:lnTo>
                      <a:pt x="277" y="435"/>
                    </a:lnTo>
                    <a:lnTo>
                      <a:pt x="275" y="423"/>
                    </a:lnTo>
                    <a:lnTo>
                      <a:pt x="277" y="407"/>
                    </a:lnTo>
                    <a:lnTo>
                      <a:pt x="280" y="392"/>
                    </a:lnTo>
                    <a:lnTo>
                      <a:pt x="279" y="380"/>
                    </a:lnTo>
                    <a:lnTo>
                      <a:pt x="277" y="369"/>
                    </a:lnTo>
                    <a:lnTo>
                      <a:pt x="282" y="359"/>
                    </a:lnTo>
                    <a:lnTo>
                      <a:pt x="298" y="354"/>
                    </a:lnTo>
                    <a:lnTo>
                      <a:pt x="303" y="349"/>
                    </a:lnTo>
                    <a:lnTo>
                      <a:pt x="310" y="343"/>
                    </a:lnTo>
                    <a:lnTo>
                      <a:pt x="323" y="328"/>
                    </a:lnTo>
                    <a:lnTo>
                      <a:pt x="339" y="313"/>
                    </a:lnTo>
                    <a:lnTo>
                      <a:pt x="344" y="306"/>
                    </a:lnTo>
                    <a:lnTo>
                      <a:pt x="354" y="302"/>
                    </a:lnTo>
                    <a:lnTo>
                      <a:pt x="363" y="297"/>
                    </a:lnTo>
                    <a:lnTo>
                      <a:pt x="371" y="294"/>
                    </a:lnTo>
                    <a:lnTo>
                      <a:pt x="373" y="285"/>
                    </a:lnTo>
                    <a:lnTo>
                      <a:pt x="377" y="276"/>
                    </a:lnTo>
                    <a:lnTo>
                      <a:pt x="384" y="270"/>
                    </a:lnTo>
                    <a:lnTo>
                      <a:pt x="392" y="263"/>
                    </a:lnTo>
                    <a:lnTo>
                      <a:pt x="397" y="266"/>
                    </a:lnTo>
                    <a:lnTo>
                      <a:pt x="404" y="268"/>
                    </a:lnTo>
                    <a:lnTo>
                      <a:pt x="413" y="266"/>
                    </a:lnTo>
                    <a:lnTo>
                      <a:pt x="423" y="264"/>
                    </a:lnTo>
                    <a:lnTo>
                      <a:pt x="428" y="259"/>
                    </a:lnTo>
                    <a:lnTo>
                      <a:pt x="432" y="251"/>
                    </a:lnTo>
                    <a:lnTo>
                      <a:pt x="444" y="254"/>
                    </a:lnTo>
                    <a:lnTo>
                      <a:pt x="451" y="263"/>
                    </a:lnTo>
                    <a:lnTo>
                      <a:pt x="452" y="271"/>
                    </a:lnTo>
                    <a:lnTo>
                      <a:pt x="456" y="282"/>
                    </a:lnTo>
                    <a:lnTo>
                      <a:pt x="463" y="290"/>
                    </a:lnTo>
                    <a:lnTo>
                      <a:pt x="473" y="299"/>
                    </a:lnTo>
                    <a:lnTo>
                      <a:pt x="480" y="309"/>
                    </a:lnTo>
                    <a:lnTo>
                      <a:pt x="487" y="325"/>
                    </a:lnTo>
                    <a:lnTo>
                      <a:pt x="488" y="328"/>
                    </a:lnTo>
                    <a:lnTo>
                      <a:pt x="490" y="331"/>
                    </a:lnTo>
                    <a:lnTo>
                      <a:pt x="488" y="338"/>
                    </a:lnTo>
                    <a:lnTo>
                      <a:pt x="487" y="347"/>
                    </a:lnTo>
                    <a:lnTo>
                      <a:pt x="488" y="356"/>
                    </a:lnTo>
                    <a:lnTo>
                      <a:pt x="495" y="359"/>
                    </a:lnTo>
                    <a:lnTo>
                      <a:pt x="502" y="356"/>
                    </a:lnTo>
                    <a:lnTo>
                      <a:pt x="511" y="350"/>
                    </a:lnTo>
                    <a:lnTo>
                      <a:pt x="516" y="342"/>
                    </a:lnTo>
                    <a:lnTo>
                      <a:pt x="521" y="337"/>
                    </a:lnTo>
                    <a:lnTo>
                      <a:pt x="523" y="340"/>
                    </a:lnTo>
                    <a:lnTo>
                      <a:pt x="526" y="345"/>
                    </a:lnTo>
                    <a:lnTo>
                      <a:pt x="530" y="345"/>
                    </a:lnTo>
                    <a:lnTo>
                      <a:pt x="533" y="347"/>
                    </a:lnTo>
                    <a:lnTo>
                      <a:pt x="533" y="352"/>
                    </a:lnTo>
                    <a:lnTo>
                      <a:pt x="533" y="361"/>
                    </a:lnTo>
                    <a:lnTo>
                      <a:pt x="533" y="366"/>
                    </a:lnTo>
                    <a:lnTo>
                      <a:pt x="537" y="369"/>
                    </a:lnTo>
                    <a:lnTo>
                      <a:pt x="537" y="380"/>
                    </a:lnTo>
                    <a:lnTo>
                      <a:pt x="542" y="392"/>
                    </a:lnTo>
                    <a:lnTo>
                      <a:pt x="545" y="404"/>
                    </a:lnTo>
                    <a:lnTo>
                      <a:pt x="549" y="421"/>
                    </a:lnTo>
                    <a:lnTo>
                      <a:pt x="547" y="431"/>
                    </a:lnTo>
                    <a:lnTo>
                      <a:pt x="549" y="441"/>
                    </a:lnTo>
                    <a:lnTo>
                      <a:pt x="554" y="428"/>
                    </a:lnTo>
                    <a:lnTo>
                      <a:pt x="559" y="417"/>
                    </a:lnTo>
                    <a:lnTo>
                      <a:pt x="561" y="414"/>
                    </a:lnTo>
                    <a:lnTo>
                      <a:pt x="564" y="411"/>
                    </a:lnTo>
                    <a:lnTo>
                      <a:pt x="562" y="404"/>
                    </a:lnTo>
                    <a:lnTo>
                      <a:pt x="559" y="395"/>
                    </a:lnTo>
                    <a:lnTo>
                      <a:pt x="556" y="385"/>
                    </a:lnTo>
                    <a:lnTo>
                      <a:pt x="554" y="380"/>
                    </a:lnTo>
                    <a:lnTo>
                      <a:pt x="545" y="374"/>
                    </a:lnTo>
                    <a:lnTo>
                      <a:pt x="543" y="368"/>
                    </a:lnTo>
                    <a:lnTo>
                      <a:pt x="543" y="366"/>
                    </a:lnTo>
                    <a:lnTo>
                      <a:pt x="545" y="364"/>
                    </a:lnTo>
                    <a:lnTo>
                      <a:pt x="545" y="364"/>
                    </a:lnTo>
                    <a:lnTo>
                      <a:pt x="547" y="359"/>
                    </a:lnTo>
                    <a:lnTo>
                      <a:pt x="549" y="354"/>
                    </a:lnTo>
                    <a:lnTo>
                      <a:pt x="547" y="342"/>
                    </a:lnTo>
                    <a:lnTo>
                      <a:pt x="545" y="331"/>
                    </a:lnTo>
                    <a:lnTo>
                      <a:pt x="538" y="325"/>
                    </a:lnTo>
                    <a:lnTo>
                      <a:pt x="535" y="318"/>
                    </a:lnTo>
                    <a:lnTo>
                      <a:pt x="537" y="304"/>
                    </a:lnTo>
                    <a:lnTo>
                      <a:pt x="543" y="297"/>
                    </a:lnTo>
                    <a:lnTo>
                      <a:pt x="549" y="294"/>
                    </a:lnTo>
                    <a:lnTo>
                      <a:pt x="557" y="292"/>
                    </a:lnTo>
                    <a:lnTo>
                      <a:pt x="564" y="285"/>
                    </a:lnTo>
                    <a:lnTo>
                      <a:pt x="571" y="280"/>
                    </a:lnTo>
                    <a:lnTo>
                      <a:pt x="578" y="273"/>
                    </a:lnTo>
                    <a:lnTo>
                      <a:pt x="586" y="264"/>
                    </a:lnTo>
                    <a:lnTo>
                      <a:pt x="581" y="264"/>
                    </a:lnTo>
                    <a:lnTo>
                      <a:pt x="578" y="266"/>
                    </a:lnTo>
                    <a:lnTo>
                      <a:pt x="566" y="257"/>
                    </a:lnTo>
                    <a:lnTo>
                      <a:pt x="562" y="244"/>
                    </a:lnTo>
                    <a:lnTo>
                      <a:pt x="557" y="240"/>
                    </a:lnTo>
                    <a:lnTo>
                      <a:pt x="556" y="237"/>
                    </a:lnTo>
                    <a:lnTo>
                      <a:pt x="554" y="232"/>
                    </a:lnTo>
                    <a:lnTo>
                      <a:pt x="552" y="230"/>
                    </a:lnTo>
                    <a:lnTo>
                      <a:pt x="545" y="230"/>
                    </a:lnTo>
                    <a:lnTo>
                      <a:pt x="540" y="232"/>
                    </a:lnTo>
                    <a:lnTo>
                      <a:pt x="538" y="228"/>
                    </a:lnTo>
                    <a:lnTo>
                      <a:pt x="538" y="227"/>
                    </a:lnTo>
                    <a:lnTo>
                      <a:pt x="540" y="213"/>
                    </a:lnTo>
                    <a:lnTo>
                      <a:pt x="545" y="206"/>
                    </a:lnTo>
                    <a:lnTo>
                      <a:pt x="549" y="199"/>
                    </a:lnTo>
                    <a:lnTo>
                      <a:pt x="552" y="187"/>
                    </a:lnTo>
                    <a:lnTo>
                      <a:pt x="547" y="175"/>
                    </a:lnTo>
                    <a:lnTo>
                      <a:pt x="540" y="165"/>
                    </a:lnTo>
                    <a:lnTo>
                      <a:pt x="530" y="159"/>
                    </a:lnTo>
                    <a:lnTo>
                      <a:pt x="523" y="158"/>
                    </a:lnTo>
                    <a:lnTo>
                      <a:pt x="516" y="151"/>
                    </a:lnTo>
                    <a:lnTo>
                      <a:pt x="513" y="144"/>
                    </a:lnTo>
                    <a:lnTo>
                      <a:pt x="509" y="144"/>
                    </a:lnTo>
                    <a:lnTo>
                      <a:pt x="506" y="149"/>
                    </a:lnTo>
                    <a:lnTo>
                      <a:pt x="495" y="147"/>
                    </a:lnTo>
                    <a:lnTo>
                      <a:pt x="488" y="149"/>
                    </a:lnTo>
                    <a:lnTo>
                      <a:pt x="485" y="151"/>
                    </a:lnTo>
                    <a:lnTo>
                      <a:pt x="483" y="156"/>
                    </a:lnTo>
                    <a:lnTo>
                      <a:pt x="476" y="158"/>
                    </a:lnTo>
                    <a:lnTo>
                      <a:pt x="470" y="163"/>
                    </a:lnTo>
                    <a:lnTo>
                      <a:pt x="461" y="168"/>
                    </a:lnTo>
                    <a:lnTo>
                      <a:pt x="456" y="172"/>
                    </a:lnTo>
                    <a:lnTo>
                      <a:pt x="444" y="168"/>
                    </a:lnTo>
                    <a:lnTo>
                      <a:pt x="430" y="165"/>
                    </a:lnTo>
                    <a:lnTo>
                      <a:pt x="416" y="170"/>
                    </a:lnTo>
                    <a:lnTo>
                      <a:pt x="408" y="178"/>
                    </a:lnTo>
                    <a:lnTo>
                      <a:pt x="406" y="170"/>
                    </a:lnTo>
                    <a:lnTo>
                      <a:pt x="404" y="166"/>
                    </a:lnTo>
                    <a:lnTo>
                      <a:pt x="399" y="168"/>
                    </a:lnTo>
                    <a:lnTo>
                      <a:pt x="394" y="170"/>
                    </a:lnTo>
                    <a:lnTo>
                      <a:pt x="384" y="170"/>
                    </a:lnTo>
                    <a:lnTo>
                      <a:pt x="373" y="170"/>
                    </a:lnTo>
                    <a:lnTo>
                      <a:pt x="358" y="165"/>
                    </a:lnTo>
                    <a:lnTo>
                      <a:pt x="349" y="156"/>
                    </a:lnTo>
                    <a:lnTo>
                      <a:pt x="344" y="156"/>
                    </a:lnTo>
                    <a:lnTo>
                      <a:pt x="341" y="156"/>
                    </a:lnTo>
                    <a:lnTo>
                      <a:pt x="337" y="149"/>
                    </a:lnTo>
                    <a:lnTo>
                      <a:pt x="335" y="146"/>
                    </a:lnTo>
                    <a:lnTo>
                      <a:pt x="323" y="142"/>
                    </a:lnTo>
                    <a:lnTo>
                      <a:pt x="316" y="139"/>
                    </a:lnTo>
                    <a:lnTo>
                      <a:pt x="306" y="134"/>
                    </a:lnTo>
                    <a:lnTo>
                      <a:pt x="294" y="134"/>
                    </a:lnTo>
                    <a:lnTo>
                      <a:pt x="282" y="127"/>
                    </a:lnTo>
                    <a:lnTo>
                      <a:pt x="272" y="122"/>
                    </a:lnTo>
                    <a:lnTo>
                      <a:pt x="267" y="120"/>
                    </a:lnTo>
                    <a:lnTo>
                      <a:pt x="265" y="118"/>
                    </a:lnTo>
                    <a:lnTo>
                      <a:pt x="263" y="110"/>
                    </a:lnTo>
                    <a:lnTo>
                      <a:pt x="261" y="103"/>
                    </a:lnTo>
                    <a:lnTo>
                      <a:pt x="261" y="98"/>
                    </a:lnTo>
                    <a:lnTo>
                      <a:pt x="268" y="96"/>
                    </a:lnTo>
                    <a:lnTo>
                      <a:pt x="273" y="92"/>
                    </a:lnTo>
                    <a:lnTo>
                      <a:pt x="268" y="86"/>
                    </a:lnTo>
                    <a:lnTo>
                      <a:pt x="265" y="79"/>
                    </a:lnTo>
                    <a:lnTo>
                      <a:pt x="267" y="70"/>
                    </a:lnTo>
                    <a:lnTo>
                      <a:pt x="273" y="67"/>
                    </a:lnTo>
                    <a:lnTo>
                      <a:pt x="280" y="61"/>
                    </a:lnTo>
                    <a:lnTo>
                      <a:pt x="284" y="55"/>
                    </a:lnTo>
                    <a:lnTo>
                      <a:pt x="277" y="44"/>
                    </a:lnTo>
                    <a:lnTo>
                      <a:pt x="268" y="41"/>
                    </a:lnTo>
                    <a:lnTo>
                      <a:pt x="258" y="44"/>
                    </a:lnTo>
                    <a:lnTo>
                      <a:pt x="248" y="49"/>
                    </a:lnTo>
                    <a:lnTo>
                      <a:pt x="234" y="44"/>
                    </a:lnTo>
                    <a:lnTo>
                      <a:pt x="224" y="39"/>
                    </a:lnTo>
                    <a:lnTo>
                      <a:pt x="222" y="32"/>
                    </a:lnTo>
                    <a:lnTo>
                      <a:pt x="218" y="27"/>
                    </a:lnTo>
                    <a:lnTo>
                      <a:pt x="208" y="25"/>
                    </a:lnTo>
                    <a:lnTo>
                      <a:pt x="206" y="18"/>
                    </a:lnTo>
                    <a:lnTo>
                      <a:pt x="198" y="17"/>
                    </a:lnTo>
                    <a:lnTo>
                      <a:pt x="189" y="17"/>
                    </a:lnTo>
                    <a:lnTo>
                      <a:pt x="175" y="20"/>
                    </a:lnTo>
                    <a:lnTo>
                      <a:pt x="163" y="25"/>
                    </a:lnTo>
                    <a:lnTo>
                      <a:pt x="157" y="20"/>
                    </a:lnTo>
                    <a:lnTo>
                      <a:pt x="157" y="12"/>
                    </a:lnTo>
                    <a:lnTo>
                      <a:pt x="155" y="3"/>
                    </a:lnTo>
                    <a:lnTo>
                      <a:pt x="151" y="0"/>
                    </a:lnTo>
                    <a:lnTo>
                      <a:pt x="139" y="5"/>
                    </a:lnTo>
                    <a:lnTo>
                      <a:pt x="134" y="12"/>
                    </a:lnTo>
                    <a:lnTo>
                      <a:pt x="132" y="12"/>
                    </a:lnTo>
                    <a:lnTo>
                      <a:pt x="122" y="20"/>
                    </a:lnTo>
                    <a:lnTo>
                      <a:pt x="110" y="24"/>
                    </a:lnTo>
                    <a:lnTo>
                      <a:pt x="105" y="20"/>
                    </a:lnTo>
                    <a:lnTo>
                      <a:pt x="100" y="18"/>
                    </a:lnTo>
                    <a:lnTo>
                      <a:pt x="91" y="20"/>
                    </a:lnTo>
                    <a:lnTo>
                      <a:pt x="84" y="17"/>
                    </a:lnTo>
                    <a:lnTo>
                      <a:pt x="79" y="15"/>
                    </a:lnTo>
                    <a:lnTo>
                      <a:pt x="76" y="15"/>
                    </a:lnTo>
                    <a:lnTo>
                      <a:pt x="67" y="17"/>
                    </a:lnTo>
                    <a:lnTo>
                      <a:pt x="62" y="22"/>
                    </a:lnTo>
                    <a:lnTo>
                      <a:pt x="57" y="29"/>
                    </a:lnTo>
                    <a:lnTo>
                      <a:pt x="53" y="37"/>
                    </a:lnTo>
                    <a:lnTo>
                      <a:pt x="46" y="41"/>
                    </a:lnTo>
                    <a:lnTo>
                      <a:pt x="40" y="44"/>
                    </a:lnTo>
                    <a:lnTo>
                      <a:pt x="34" y="49"/>
                    </a:lnTo>
                    <a:lnTo>
                      <a:pt x="28" y="53"/>
                    </a:lnTo>
                    <a:lnTo>
                      <a:pt x="21" y="51"/>
                    </a:lnTo>
                    <a:lnTo>
                      <a:pt x="15" y="49"/>
                    </a:lnTo>
                    <a:lnTo>
                      <a:pt x="14" y="49"/>
                    </a:lnTo>
                    <a:lnTo>
                      <a:pt x="12" y="51"/>
                    </a:lnTo>
                    <a:lnTo>
                      <a:pt x="7" y="55"/>
                    </a:lnTo>
                    <a:lnTo>
                      <a:pt x="3" y="61"/>
                    </a:lnTo>
                    <a:lnTo>
                      <a:pt x="0" y="68"/>
                    </a:lnTo>
                    <a:lnTo>
                      <a:pt x="0" y="74"/>
                    </a:lnTo>
                    <a:lnTo>
                      <a:pt x="0" y="75"/>
                    </a:lnTo>
                    <a:lnTo>
                      <a:pt x="0" y="79"/>
                    </a:lnTo>
                    <a:lnTo>
                      <a:pt x="2" y="80"/>
                    </a:lnTo>
                    <a:lnTo>
                      <a:pt x="3" y="84"/>
                    </a:lnTo>
                    <a:lnTo>
                      <a:pt x="3" y="99"/>
                    </a:lnTo>
                    <a:lnTo>
                      <a:pt x="3" y="104"/>
                    </a:lnTo>
                    <a:lnTo>
                      <a:pt x="5" y="111"/>
                    </a:lnTo>
                    <a:lnTo>
                      <a:pt x="10" y="113"/>
                    </a:lnTo>
                    <a:lnTo>
                      <a:pt x="17" y="122"/>
                    </a:lnTo>
                    <a:lnTo>
                      <a:pt x="12" y="130"/>
                    </a:lnTo>
                    <a:lnTo>
                      <a:pt x="7" y="139"/>
                    </a:lnTo>
                    <a:lnTo>
                      <a:pt x="9" y="142"/>
                    </a:lnTo>
                    <a:lnTo>
                      <a:pt x="12" y="147"/>
                    </a:lnTo>
                    <a:lnTo>
                      <a:pt x="19" y="156"/>
                    </a:lnTo>
                    <a:lnTo>
                      <a:pt x="28" y="165"/>
                    </a:lnTo>
                    <a:lnTo>
                      <a:pt x="34" y="173"/>
                    </a:lnTo>
                    <a:lnTo>
                      <a:pt x="38" y="189"/>
                    </a:lnTo>
                    <a:lnTo>
                      <a:pt x="28" y="190"/>
                    </a:lnTo>
                    <a:lnTo>
                      <a:pt x="22" y="194"/>
                    </a:lnTo>
                    <a:lnTo>
                      <a:pt x="17" y="197"/>
                    </a:lnTo>
                    <a:lnTo>
                      <a:pt x="17" y="208"/>
                    </a:lnTo>
                    <a:lnTo>
                      <a:pt x="17" y="213"/>
                    </a:lnTo>
                    <a:lnTo>
                      <a:pt x="19" y="218"/>
                    </a:lnTo>
                    <a:lnTo>
                      <a:pt x="36" y="216"/>
                    </a:lnTo>
                    <a:lnTo>
                      <a:pt x="38" y="215"/>
                    </a:lnTo>
                    <a:lnTo>
                      <a:pt x="41" y="213"/>
                    </a:lnTo>
                    <a:lnTo>
                      <a:pt x="55" y="216"/>
                    </a:lnTo>
                    <a:lnTo>
                      <a:pt x="58" y="215"/>
                    </a:lnTo>
                    <a:lnTo>
                      <a:pt x="67" y="213"/>
                    </a:lnTo>
                    <a:lnTo>
                      <a:pt x="74" y="211"/>
                    </a:lnTo>
                    <a:lnTo>
                      <a:pt x="83" y="213"/>
                    </a:lnTo>
                    <a:lnTo>
                      <a:pt x="88" y="220"/>
                    </a:lnTo>
                    <a:lnTo>
                      <a:pt x="95" y="233"/>
                    </a:lnTo>
                    <a:lnTo>
                      <a:pt x="98" y="239"/>
                    </a:lnTo>
                    <a:lnTo>
                      <a:pt x="107" y="244"/>
                    </a:lnTo>
                    <a:lnTo>
                      <a:pt x="115" y="247"/>
                    </a:lnTo>
                    <a:lnTo>
                      <a:pt x="126" y="251"/>
                    </a:lnTo>
                    <a:lnTo>
                      <a:pt x="131" y="251"/>
                    </a:lnTo>
                    <a:lnTo>
                      <a:pt x="138" y="252"/>
                    </a:lnTo>
                    <a:lnTo>
                      <a:pt x="134" y="256"/>
                    </a:lnTo>
                    <a:lnTo>
                      <a:pt x="131" y="259"/>
                    </a:lnTo>
                    <a:lnTo>
                      <a:pt x="124" y="259"/>
                    </a:lnTo>
                    <a:lnTo>
                      <a:pt x="117" y="261"/>
                    </a:lnTo>
                    <a:lnTo>
                      <a:pt x="122" y="268"/>
                    </a:lnTo>
                    <a:lnTo>
                      <a:pt x="129" y="275"/>
                    </a:lnTo>
                    <a:lnTo>
                      <a:pt x="136" y="282"/>
                    </a:lnTo>
                    <a:lnTo>
                      <a:pt x="148" y="285"/>
                    </a:lnTo>
                    <a:lnTo>
                      <a:pt x="153" y="282"/>
                    </a:lnTo>
                    <a:lnTo>
                      <a:pt x="158" y="275"/>
                    </a:lnTo>
                    <a:lnTo>
                      <a:pt x="162" y="266"/>
                    </a:lnTo>
                    <a:lnTo>
                      <a:pt x="167" y="261"/>
                    </a:lnTo>
                    <a:lnTo>
                      <a:pt x="172" y="261"/>
                    </a:lnTo>
                    <a:lnTo>
                      <a:pt x="170" y="264"/>
                    </a:lnTo>
                    <a:lnTo>
                      <a:pt x="169" y="268"/>
                    </a:lnTo>
                    <a:lnTo>
                      <a:pt x="170" y="276"/>
                    </a:lnTo>
                    <a:lnTo>
                      <a:pt x="174" y="288"/>
                    </a:lnTo>
                    <a:lnTo>
                      <a:pt x="172" y="295"/>
                    </a:lnTo>
                    <a:lnTo>
                      <a:pt x="170" y="304"/>
                    </a:lnTo>
                    <a:lnTo>
                      <a:pt x="174" y="3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3" name="Freeform 196"/>
              <p:cNvSpPr>
                <a:spLocks/>
              </p:cNvSpPr>
              <p:nvPr/>
            </p:nvSpPr>
            <p:spPr bwMode="auto">
              <a:xfrm>
                <a:off x="6493669" y="3887788"/>
                <a:ext cx="244475" cy="261937"/>
              </a:xfrm>
              <a:custGeom>
                <a:avLst/>
                <a:gdLst/>
                <a:ahLst/>
                <a:cxnLst>
                  <a:cxn ang="0">
                    <a:pos x="69" y="86"/>
                  </a:cxn>
                  <a:cxn ang="0">
                    <a:pos x="68" y="82"/>
                  </a:cxn>
                  <a:cxn ang="0">
                    <a:pos x="68" y="81"/>
                  </a:cxn>
                  <a:cxn ang="0">
                    <a:pos x="62" y="79"/>
                  </a:cxn>
                  <a:cxn ang="0">
                    <a:pos x="59" y="79"/>
                  </a:cxn>
                  <a:cxn ang="0">
                    <a:pos x="56" y="70"/>
                  </a:cxn>
                  <a:cxn ang="0">
                    <a:pos x="52" y="60"/>
                  </a:cxn>
                  <a:cxn ang="0">
                    <a:pos x="42" y="50"/>
                  </a:cxn>
                  <a:cxn ang="0">
                    <a:pos x="33" y="45"/>
                  </a:cxn>
                  <a:cxn ang="0">
                    <a:pos x="28" y="36"/>
                  </a:cxn>
                  <a:cxn ang="0">
                    <a:pos x="26" y="29"/>
                  </a:cxn>
                  <a:cxn ang="0">
                    <a:pos x="19" y="24"/>
                  </a:cxn>
                  <a:cxn ang="0">
                    <a:pos x="14" y="24"/>
                  </a:cxn>
                  <a:cxn ang="0">
                    <a:pos x="9" y="19"/>
                  </a:cxn>
                  <a:cxn ang="0">
                    <a:pos x="6" y="14"/>
                  </a:cxn>
                  <a:cxn ang="0">
                    <a:pos x="0" y="7"/>
                  </a:cxn>
                  <a:cxn ang="0">
                    <a:pos x="0" y="3"/>
                  </a:cxn>
                  <a:cxn ang="0">
                    <a:pos x="0" y="0"/>
                  </a:cxn>
                  <a:cxn ang="0">
                    <a:pos x="4" y="0"/>
                  </a:cxn>
                  <a:cxn ang="0">
                    <a:pos x="9" y="0"/>
                  </a:cxn>
                  <a:cxn ang="0">
                    <a:pos x="14" y="3"/>
                  </a:cxn>
                  <a:cxn ang="0">
                    <a:pos x="30" y="3"/>
                  </a:cxn>
                  <a:cxn ang="0">
                    <a:pos x="42" y="12"/>
                  </a:cxn>
                  <a:cxn ang="0">
                    <a:pos x="49" y="24"/>
                  </a:cxn>
                  <a:cxn ang="0">
                    <a:pos x="50" y="24"/>
                  </a:cxn>
                  <a:cxn ang="0">
                    <a:pos x="54" y="26"/>
                  </a:cxn>
                  <a:cxn ang="0">
                    <a:pos x="62" y="31"/>
                  </a:cxn>
                  <a:cxn ang="0">
                    <a:pos x="71" y="39"/>
                  </a:cxn>
                  <a:cxn ang="0">
                    <a:pos x="76" y="45"/>
                  </a:cxn>
                  <a:cxn ang="0">
                    <a:pos x="83" y="51"/>
                  </a:cxn>
                  <a:cxn ang="0">
                    <a:pos x="90" y="55"/>
                  </a:cxn>
                  <a:cxn ang="0">
                    <a:pos x="100" y="60"/>
                  </a:cxn>
                  <a:cxn ang="0">
                    <a:pos x="111" y="63"/>
                  </a:cxn>
                  <a:cxn ang="0">
                    <a:pos x="116" y="74"/>
                  </a:cxn>
                  <a:cxn ang="0">
                    <a:pos x="116" y="75"/>
                  </a:cxn>
                  <a:cxn ang="0">
                    <a:pos x="117" y="75"/>
                  </a:cxn>
                  <a:cxn ang="0">
                    <a:pos x="119" y="75"/>
                  </a:cxn>
                  <a:cxn ang="0">
                    <a:pos x="121" y="77"/>
                  </a:cxn>
                  <a:cxn ang="0">
                    <a:pos x="124" y="81"/>
                  </a:cxn>
                  <a:cxn ang="0">
                    <a:pos x="123" y="86"/>
                  </a:cxn>
                  <a:cxn ang="0">
                    <a:pos x="124" y="91"/>
                  </a:cxn>
                  <a:cxn ang="0">
                    <a:pos x="131" y="93"/>
                  </a:cxn>
                  <a:cxn ang="0">
                    <a:pos x="135" y="105"/>
                  </a:cxn>
                  <a:cxn ang="0">
                    <a:pos x="143" y="113"/>
                  </a:cxn>
                  <a:cxn ang="0">
                    <a:pos x="148" y="115"/>
                  </a:cxn>
                  <a:cxn ang="0">
                    <a:pos x="154" y="122"/>
                  </a:cxn>
                  <a:cxn ang="0">
                    <a:pos x="154" y="131"/>
                  </a:cxn>
                  <a:cxn ang="0">
                    <a:pos x="154" y="144"/>
                  </a:cxn>
                  <a:cxn ang="0">
                    <a:pos x="148" y="149"/>
                  </a:cxn>
                  <a:cxn ang="0">
                    <a:pos x="150" y="158"/>
                  </a:cxn>
                  <a:cxn ang="0">
                    <a:pos x="145" y="163"/>
                  </a:cxn>
                  <a:cxn ang="0">
                    <a:pos x="136" y="165"/>
                  </a:cxn>
                  <a:cxn ang="0">
                    <a:pos x="129" y="158"/>
                  </a:cxn>
                  <a:cxn ang="0">
                    <a:pos x="124" y="151"/>
                  </a:cxn>
                  <a:cxn ang="0">
                    <a:pos x="111" y="139"/>
                  </a:cxn>
                  <a:cxn ang="0">
                    <a:pos x="97" y="129"/>
                  </a:cxn>
                  <a:cxn ang="0">
                    <a:pos x="85" y="113"/>
                  </a:cxn>
                  <a:cxn ang="0">
                    <a:pos x="78" y="98"/>
                  </a:cxn>
                  <a:cxn ang="0">
                    <a:pos x="73" y="91"/>
                  </a:cxn>
                  <a:cxn ang="0">
                    <a:pos x="69" y="86"/>
                  </a:cxn>
                </a:cxnLst>
                <a:rect l="0" t="0" r="r" b="b"/>
                <a:pathLst>
                  <a:path w="154" h="165">
                    <a:moveTo>
                      <a:pt x="69" y="86"/>
                    </a:moveTo>
                    <a:lnTo>
                      <a:pt x="68" y="82"/>
                    </a:lnTo>
                    <a:lnTo>
                      <a:pt x="68" y="81"/>
                    </a:lnTo>
                    <a:lnTo>
                      <a:pt x="62" y="79"/>
                    </a:lnTo>
                    <a:lnTo>
                      <a:pt x="59" y="79"/>
                    </a:lnTo>
                    <a:lnTo>
                      <a:pt x="56" y="70"/>
                    </a:lnTo>
                    <a:lnTo>
                      <a:pt x="52" y="60"/>
                    </a:lnTo>
                    <a:lnTo>
                      <a:pt x="42" y="50"/>
                    </a:lnTo>
                    <a:lnTo>
                      <a:pt x="33" y="45"/>
                    </a:lnTo>
                    <a:lnTo>
                      <a:pt x="28" y="36"/>
                    </a:lnTo>
                    <a:lnTo>
                      <a:pt x="26" y="29"/>
                    </a:lnTo>
                    <a:lnTo>
                      <a:pt x="19" y="24"/>
                    </a:lnTo>
                    <a:lnTo>
                      <a:pt x="14" y="24"/>
                    </a:lnTo>
                    <a:lnTo>
                      <a:pt x="9" y="19"/>
                    </a:lnTo>
                    <a:lnTo>
                      <a:pt x="6" y="14"/>
                    </a:lnTo>
                    <a:lnTo>
                      <a:pt x="0" y="7"/>
                    </a:lnTo>
                    <a:lnTo>
                      <a:pt x="0" y="3"/>
                    </a:lnTo>
                    <a:lnTo>
                      <a:pt x="0" y="0"/>
                    </a:lnTo>
                    <a:lnTo>
                      <a:pt x="4" y="0"/>
                    </a:lnTo>
                    <a:lnTo>
                      <a:pt x="9" y="0"/>
                    </a:lnTo>
                    <a:lnTo>
                      <a:pt x="14" y="3"/>
                    </a:lnTo>
                    <a:lnTo>
                      <a:pt x="30" y="3"/>
                    </a:lnTo>
                    <a:lnTo>
                      <a:pt x="42" y="12"/>
                    </a:lnTo>
                    <a:lnTo>
                      <a:pt x="49" y="24"/>
                    </a:lnTo>
                    <a:lnTo>
                      <a:pt x="50" y="24"/>
                    </a:lnTo>
                    <a:lnTo>
                      <a:pt x="54" y="26"/>
                    </a:lnTo>
                    <a:lnTo>
                      <a:pt x="62" y="31"/>
                    </a:lnTo>
                    <a:lnTo>
                      <a:pt x="71" y="39"/>
                    </a:lnTo>
                    <a:lnTo>
                      <a:pt x="76" y="45"/>
                    </a:lnTo>
                    <a:lnTo>
                      <a:pt x="83" y="51"/>
                    </a:lnTo>
                    <a:lnTo>
                      <a:pt x="90" y="55"/>
                    </a:lnTo>
                    <a:lnTo>
                      <a:pt x="100" y="60"/>
                    </a:lnTo>
                    <a:lnTo>
                      <a:pt x="111" y="63"/>
                    </a:lnTo>
                    <a:lnTo>
                      <a:pt x="116" y="74"/>
                    </a:lnTo>
                    <a:lnTo>
                      <a:pt x="116" y="75"/>
                    </a:lnTo>
                    <a:lnTo>
                      <a:pt x="117" y="75"/>
                    </a:lnTo>
                    <a:lnTo>
                      <a:pt x="119" y="75"/>
                    </a:lnTo>
                    <a:lnTo>
                      <a:pt x="121" y="77"/>
                    </a:lnTo>
                    <a:lnTo>
                      <a:pt x="124" y="81"/>
                    </a:lnTo>
                    <a:lnTo>
                      <a:pt x="123" y="86"/>
                    </a:lnTo>
                    <a:lnTo>
                      <a:pt x="124" y="91"/>
                    </a:lnTo>
                    <a:lnTo>
                      <a:pt x="131" y="93"/>
                    </a:lnTo>
                    <a:lnTo>
                      <a:pt x="135" y="105"/>
                    </a:lnTo>
                    <a:lnTo>
                      <a:pt x="143" y="113"/>
                    </a:lnTo>
                    <a:lnTo>
                      <a:pt x="148" y="115"/>
                    </a:lnTo>
                    <a:lnTo>
                      <a:pt x="154" y="122"/>
                    </a:lnTo>
                    <a:lnTo>
                      <a:pt x="154" y="131"/>
                    </a:lnTo>
                    <a:lnTo>
                      <a:pt x="154" y="144"/>
                    </a:lnTo>
                    <a:lnTo>
                      <a:pt x="148" y="149"/>
                    </a:lnTo>
                    <a:lnTo>
                      <a:pt x="150" y="158"/>
                    </a:lnTo>
                    <a:lnTo>
                      <a:pt x="145" y="163"/>
                    </a:lnTo>
                    <a:lnTo>
                      <a:pt x="136" y="165"/>
                    </a:lnTo>
                    <a:lnTo>
                      <a:pt x="129" y="158"/>
                    </a:lnTo>
                    <a:lnTo>
                      <a:pt x="124" y="151"/>
                    </a:lnTo>
                    <a:lnTo>
                      <a:pt x="111" y="139"/>
                    </a:lnTo>
                    <a:lnTo>
                      <a:pt x="97" y="129"/>
                    </a:lnTo>
                    <a:lnTo>
                      <a:pt x="85" y="113"/>
                    </a:lnTo>
                    <a:lnTo>
                      <a:pt x="78" y="98"/>
                    </a:lnTo>
                    <a:lnTo>
                      <a:pt x="73" y="91"/>
                    </a:lnTo>
                    <a:lnTo>
                      <a:pt x="69" y="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4" name="Freeform 197"/>
              <p:cNvSpPr>
                <a:spLocks/>
              </p:cNvSpPr>
              <p:nvPr/>
            </p:nvSpPr>
            <p:spPr bwMode="auto">
              <a:xfrm>
                <a:off x="6807994" y="3854450"/>
                <a:ext cx="231775" cy="257175"/>
              </a:xfrm>
              <a:custGeom>
                <a:avLst/>
                <a:gdLst/>
                <a:ahLst/>
                <a:cxnLst>
                  <a:cxn ang="0">
                    <a:pos x="42" y="146"/>
                  </a:cxn>
                  <a:cxn ang="0">
                    <a:pos x="36" y="143"/>
                  </a:cxn>
                  <a:cxn ang="0">
                    <a:pos x="21" y="141"/>
                  </a:cxn>
                  <a:cxn ang="0">
                    <a:pos x="16" y="126"/>
                  </a:cxn>
                  <a:cxn ang="0">
                    <a:pos x="14" y="115"/>
                  </a:cxn>
                  <a:cxn ang="0">
                    <a:pos x="11" y="112"/>
                  </a:cxn>
                  <a:cxn ang="0">
                    <a:pos x="4" y="107"/>
                  </a:cxn>
                  <a:cxn ang="0">
                    <a:pos x="0" y="93"/>
                  </a:cxn>
                  <a:cxn ang="0">
                    <a:pos x="5" y="83"/>
                  </a:cxn>
                  <a:cxn ang="0">
                    <a:pos x="24" y="81"/>
                  </a:cxn>
                  <a:cxn ang="0">
                    <a:pos x="33" y="67"/>
                  </a:cxn>
                  <a:cxn ang="0">
                    <a:pos x="43" y="59"/>
                  </a:cxn>
                  <a:cxn ang="0">
                    <a:pos x="59" y="52"/>
                  </a:cxn>
                  <a:cxn ang="0">
                    <a:pos x="64" y="43"/>
                  </a:cxn>
                  <a:cxn ang="0">
                    <a:pos x="69" y="38"/>
                  </a:cxn>
                  <a:cxn ang="0">
                    <a:pos x="74" y="35"/>
                  </a:cxn>
                  <a:cxn ang="0">
                    <a:pos x="86" y="29"/>
                  </a:cxn>
                  <a:cxn ang="0">
                    <a:pos x="98" y="19"/>
                  </a:cxn>
                  <a:cxn ang="0">
                    <a:pos x="110" y="2"/>
                  </a:cxn>
                  <a:cxn ang="0">
                    <a:pos x="124" y="4"/>
                  </a:cxn>
                  <a:cxn ang="0">
                    <a:pos x="128" y="16"/>
                  </a:cxn>
                  <a:cxn ang="0">
                    <a:pos x="143" y="21"/>
                  </a:cxn>
                  <a:cxn ang="0">
                    <a:pos x="141" y="29"/>
                  </a:cxn>
                  <a:cxn ang="0">
                    <a:pos x="136" y="35"/>
                  </a:cxn>
                  <a:cxn ang="0">
                    <a:pos x="133" y="36"/>
                  </a:cxn>
                  <a:cxn ang="0">
                    <a:pos x="124" y="41"/>
                  </a:cxn>
                  <a:cxn ang="0">
                    <a:pos x="122" y="45"/>
                  </a:cxn>
                  <a:cxn ang="0">
                    <a:pos x="122" y="48"/>
                  </a:cxn>
                  <a:cxn ang="0">
                    <a:pos x="122" y="59"/>
                  </a:cxn>
                  <a:cxn ang="0">
                    <a:pos x="136" y="79"/>
                  </a:cxn>
                  <a:cxn ang="0">
                    <a:pos x="140" y="90"/>
                  </a:cxn>
                  <a:cxn ang="0">
                    <a:pos x="129" y="90"/>
                  </a:cxn>
                  <a:cxn ang="0">
                    <a:pos x="126" y="95"/>
                  </a:cxn>
                  <a:cxn ang="0">
                    <a:pos x="119" y="117"/>
                  </a:cxn>
                  <a:cxn ang="0">
                    <a:pos x="107" y="129"/>
                  </a:cxn>
                  <a:cxn ang="0">
                    <a:pos x="110" y="136"/>
                  </a:cxn>
                  <a:cxn ang="0">
                    <a:pos x="103" y="153"/>
                  </a:cxn>
                  <a:cxn ang="0">
                    <a:pos x="88" y="162"/>
                  </a:cxn>
                  <a:cxn ang="0">
                    <a:pos x="81" y="155"/>
                  </a:cxn>
                  <a:cxn ang="0">
                    <a:pos x="59" y="146"/>
                  </a:cxn>
                  <a:cxn ang="0">
                    <a:pos x="47" y="152"/>
                  </a:cxn>
                  <a:cxn ang="0">
                    <a:pos x="43" y="150"/>
                  </a:cxn>
                </a:cxnLst>
                <a:rect l="0" t="0" r="r" b="b"/>
                <a:pathLst>
                  <a:path w="146" h="162">
                    <a:moveTo>
                      <a:pt x="43" y="150"/>
                    </a:moveTo>
                    <a:lnTo>
                      <a:pt x="42" y="146"/>
                    </a:lnTo>
                    <a:lnTo>
                      <a:pt x="42" y="143"/>
                    </a:lnTo>
                    <a:lnTo>
                      <a:pt x="36" y="143"/>
                    </a:lnTo>
                    <a:lnTo>
                      <a:pt x="31" y="145"/>
                    </a:lnTo>
                    <a:lnTo>
                      <a:pt x="21" y="141"/>
                    </a:lnTo>
                    <a:lnTo>
                      <a:pt x="17" y="134"/>
                    </a:lnTo>
                    <a:lnTo>
                      <a:pt x="16" y="126"/>
                    </a:lnTo>
                    <a:lnTo>
                      <a:pt x="14" y="117"/>
                    </a:lnTo>
                    <a:lnTo>
                      <a:pt x="14" y="115"/>
                    </a:lnTo>
                    <a:lnTo>
                      <a:pt x="14" y="114"/>
                    </a:lnTo>
                    <a:lnTo>
                      <a:pt x="11" y="112"/>
                    </a:lnTo>
                    <a:lnTo>
                      <a:pt x="7" y="112"/>
                    </a:lnTo>
                    <a:lnTo>
                      <a:pt x="4" y="107"/>
                    </a:lnTo>
                    <a:lnTo>
                      <a:pt x="2" y="100"/>
                    </a:lnTo>
                    <a:lnTo>
                      <a:pt x="0" y="93"/>
                    </a:lnTo>
                    <a:lnTo>
                      <a:pt x="0" y="90"/>
                    </a:lnTo>
                    <a:lnTo>
                      <a:pt x="5" y="83"/>
                    </a:lnTo>
                    <a:lnTo>
                      <a:pt x="17" y="84"/>
                    </a:lnTo>
                    <a:lnTo>
                      <a:pt x="24" y="81"/>
                    </a:lnTo>
                    <a:lnTo>
                      <a:pt x="30" y="76"/>
                    </a:lnTo>
                    <a:lnTo>
                      <a:pt x="33" y="67"/>
                    </a:lnTo>
                    <a:lnTo>
                      <a:pt x="38" y="62"/>
                    </a:lnTo>
                    <a:lnTo>
                      <a:pt x="43" y="59"/>
                    </a:lnTo>
                    <a:lnTo>
                      <a:pt x="52" y="57"/>
                    </a:lnTo>
                    <a:lnTo>
                      <a:pt x="59" y="52"/>
                    </a:lnTo>
                    <a:lnTo>
                      <a:pt x="64" y="47"/>
                    </a:lnTo>
                    <a:lnTo>
                      <a:pt x="64" y="43"/>
                    </a:lnTo>
                    <a:lnTo>
                      <a:pt x="67" y="41"/>
                    </a:lnTo>
                    <a:lnTo>
                      <a:pt x="69" y="38"/>
                    </a:lnTo>
                    <a:lnTo>
                      <a:pt x="73" y="38"/>
                    </a:lnTo>
                    <a:lnTo>
                      <a:pt x="74" y="35"/>
                    </a:lnTo>
                    <a:lnTo>
                      <a:pt x="76" y="33"/>
                    </a:lnTo>
                    <a:lnTo>
                      <a:pt x="86" y="29"/>
                    </a:lnTo>
                    <a:lnTo>
                      <a:pt x="95" y="28"/>
                    </a:lnTo>
                    <a:lnTo>
                      <a:pt x="98" y="19"/>
                    </a:lnTo>
                    <a:lnTo>
                      <a:pt x="103" y="11"/>
                    </a:lnTo>
                    <a:lnTo>
                      <a:pt x="110" y="2"/>
                    </a:lnTo>
                    <a:lnTo>
                      <a:pt x="117" y="0"/>
                    </a:lnTo>
                    <a:lnTo>
                      <a:pt x="124" y="4"/>
                    </a:lnTo>
                    <a:lnTo>
                      <a:pt x="126" y="12"/>
                    </a:lnTo>
                    <a:lnTo>
                      <a:pt x="128" y="16"/>
                    </a:lnTo>
                    <a:lnTo>
                      <a:pt x="136" y="19"/>
                    </a:lnTo>
                    <a:lnTo>
                      <a:pt x="143" y="21"/>
                    </a:lnTo>
                    <a:lnTo>
                      <a:pt x="146" y="28"/>
                    </a:lnTo>
                    <a:lnTo>
                      <a:pt x="141" y="29"/>
                    </a:lnTo>
                    <a:lnTo>
                      <a:pt x="136" y="33"/>
                    </a:lnTo>
                    <a:lnTo>
                      <a:pt x="136" y="35"/>
                    </a:lnTo>
                    <a:lnTo>
                      <a:pt x="138" y="36"/>
                    </a:lnTo>
                    <a:lnTo>
                      <a:pt x="133" y="36"/>
                    </a:lnTo>
                    <a:lnTo>
                      <a:pt x="129" y="40"/>
                    </a:lnTo>
                    <a:lnTo>
                      <a:pt x="124" y="41"/>
                    </a:lnTo>
                    <a:lnTo>
                      <a:pt x="122" y="43"/>
                    </a:lnTo>
                    <a:lnTo>
                      <a:pt x="122" y="45"/>
                    </a:lnTo>
                    <a:lnTo>
                      <a:pt x="124" y="48"/>
                    </a:lnTo>
                    <a:lnTo>
                      <a:pt x="122" y="48"/>
                    </a:lnTo>
                    <a:lnTo>
                      <a:pt x="121" y="52"/>
                    </a:lnTo>
                    <a:lnTo>
                      <a:pt x="122" y="59"/>
                    </a:lnTo>
                    <a:lnTo>
                      <a:pt x="128" y="71"/>
                    </a:lnTo>
                    <a:lnTo>
                      <a:pt x="136" y="79"/>
                    </a:lnTo>
                    <a:lnTo>
                      <a:pt x="145" y="84"/>
                    </a:lnTo>
                    <a:lnTo>
                      <a:pt x="140" y="90"/>
                    </a:lnTo>
                    <a:lnTo>
                      <a:pt x="133" y="90"/>
                    </a:lnTo>
                    <a:lnTo>
                      <a:pt x="129" y="90"/>
                    </a:lnTo>
                    <a:lnTo>
                      <a:pt x="128" y="90"/>
                    </a:lnTo>
                    <a:lnTo>
                      <a:pt x="126" y="95"/>
                    </a:lnTo>
                    <a:lnTo>
                      <a:pt x="121" y="107"/>
                    </a:lnTo>
                    <a:lnTo>
                      <a:pt x="119" y="117"/>
                    </a:lnTo>
                    <a:lnTo>
                      <a:pt x="110" y="122"/>
                    </a:lnTo>
                    <a:lnTo>
                      <a:pt x="107" y="129"/>
                    </a:lnTo>
                    <a:lnTo>
                      <a:pt x="109" y="133"/>
                    </a:lnTo>
                    <a:lnTo>
                      <a:pt x="110" y="136"/>
                    </a:lnTo>
                    <a:lnTo>
                      <a:pt x="107" y="145"/>
                    </a:lnTo>
                    <a:lnTo>
                      <a:pt x="103" y="153"/>
                    </a:lnTo>
                    <a:lnTo>
                      <a:pt x="95" y="158"/>
                    </a:lnTo>
                    <a:lnTo>
                      <a:pt x="88" y="162"/>
                    </a:lnTo>
                    <a:lnTo>
                      <a:pt x="81" y="158"/>
                    </a:lnTo>
                    <a:lnTo>
                      <a:pt x="81" y="155"/>
                    </a:lnTo>
                    <a:lnTo>
                      <a:pt x="69" y="150"/>
                    </a:lnTo>
                    <a:lnTo>
                      <a:pt x="59" y="146"/>
                    </a:lnTo>
                    <a:lnTo>
                      <a:pt x="52" y="148"/>
                    </a:lnTo>
                    <a:lnTo>
                      <a:pt x="47" y="152"/>
                    </a:lnTo>
                    <a:lnTo>
                      <a:pt x="45" y="150"/>
                    </a:lnTo>
                    <a:lnTo>
                      <a:pt x="43" y="15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5" name="Freeform 198"/>
              <p:cNvSpPr>
                <a:spLocks/>
              </p:cNvSpPr>
              <p:nvPr/>
            </p:nvSpPr>
            <p:spPr bwMode="auto">
              <a:xfrm>
                <a:off x="7031832" y="3978275"/>
                <a:ext cx="147638" cy="168275"/>
              </a:xfrm>
              <a:custGeom>
                <a:avLst/>
                <a:gdLst/>
                <a:ahLst/>
                <a:cxnLst>
                  <a:cxn ang="0">
                    <a:pos x="33" y="41"/>
                  </a:cxn>
                  <a:cxn ang="0">
                    <a:pos x="23" y="36"/>
                  </a:cxn>
                  <a:cxn ang="0">
                    <a:pos x="26" y="18"/>
                  </a:cxn>
                  <a:cxn ang="0">
                    <a:pos x="47" y="17"/>
                  </a:cxn>
                  <a:cxn ang="0">
                    <a:pos x="66" y="18"/>
                  </a:cxn>
                  <a:cxn ang="0">
                    <a:pos x="85" y="13"/>
                  </a:cxn>
                  <a:cxn ang="0">
                    <a:pos x="91" y="1"/>
                  </a:cxn>
                  <a:cxn ang="0">
                    <a:pos x="90" y="0"/>
                  </a:cxn>
                  <a:cxn ang="0">
                    <a:pos x="73" y="12"/>
                  </a:cxn>
                  <a:cxn ang="0">
                    <a:pos x="33" y="5"/>
                  </a:cxn>
                  <a:cxn ang="0">
                    <a:pos x="18" y="13"/>
                  </a:cxn>
                  <a:cxn ang="0">
                    <a:pos x="14" y="34"/>
                  </a:cxn>
                  <a:cxn ang="0">
                    <a:pos x="11" y="41"/>
                  </a:cxn>
                  <a:cxn ang="0">
                    <a:pos x="0" y="68"/>
                  </a:cxn>
                  <a:cxn ang="0">
                    <a:pos x="11" y="75"/>
                  </a:cxn>
                  <a:cxn ang="0">
                    <a:pos x="11" y="99"/>
                  </a:cxn>
                  <a:cxn ang="0">
                    <a:pos x="19" y="106"/>
                  </a:cxn>
                  <a:cxn ang="0">
                    <a:pos x="24" y="96"/>
                  </a:cxn>
                  <a:cxn ang="0">
                    <a:pos x="26" y="86"/>
                  </a:cxn>
                  <a:cxn ang="0">
                    <a:pos x="23" y="70"/>
                  </a:cxn>
                  <a:cxn ang="0">
                    <a:pos x="30" y="63"/>
                  </a:cxn>
                  <a:cxn ang="0">
                    <a:pos x="33" y="63"/>
                  </a:cxn>
                  <a:cxn ang="0">
                    <a:pos x="35" y="80"/>
                  </a:cxn>
                  <a:cxn ang="0">
                    <a:pos x="40" y="91"/>
                  </a:cxn>
                  <a:cxn ang="0">
                    <a:pos x="47" y="94"/>
                  </a:cxn>
                  <a:cxn ang="0">
                    <a:pos x="57" y="84"/>
                  </a:cxn>
                  <a:cxn ang="0">
                    <a:pos x="50" y="74"/>
                  </a:cxn>
                  <a:cxn ang="0">
                    <a:pos x="52" y="72"/>
                  </a:cxn>
                  <a:cxn ang="0">
                    <a:pos x="43" y="60"/>
                  </a:cxn>
                  <a:cxn ang="0">
                    <a:pos x="40" y="49"/>
                  </a:cxn>
                  <a:cxn ang="0">
                    <a:pos x="54" y="43"/>
                  </a:cxn>
                  <a:cxn ang="0">
                    <a:pos x="67" y="36"/>
                  </a:cxn>
                  <a:cxn ang="0">
                    <a:pos x="61" y="31"/>
                  </a:cxn>
                  <a:cxn ang="0">
                    <a:pos x="40" y="37"/>
                  </a:cxn>
                  <a:cxn ang="0">
                    <a:pos x="36" y="39"/>
                  </a:cxn>
                </a:cxnLst>
                <a:rect l="0" t="0" r="r" b="b"/>
                <a:pathLst>
                  <a:path w="93" h="106">
                    <a:moveTo>
                      <a:pt x="36" y="39"/>
                    </a:moveTo>
                    <a:lnTo>
                      <a:pt x="33" y="41"/>
                    </a:lnTo>
                    <a:lnTo>
                      <a:pt x="31" y="43"/>
                    </a:lnTo>
                    <a:lnTo>
                      <a:pt x="23" y="36"/>
                    </a:lnTo>
                    <a:lnTo>
                      <a:pt x="21" y="25"/>
                    </a:lnTo>
                    <a:lnTo>
                      <a:pt x="26" y="18"/>
                    </a:lnTo>
                    <a:lnTo>
                      <a:pt x="38" y="18"/>
                    </a:lnTo>
                    <a:lnTo>
                      <a:pt x="47" y="17"/>
                    </a:lnTo>
                    <a:lnTo>
                      <a:pt x="57" y="17"/>
                    </a:lnTo>
                    <a:lnTo>
                      <a:pt x="66" y="18"/>
                    </a:lnTo>
                    <a:lnTo>
                      <a:pt x="74" y="20"/>
                    </a:lnTo>
                    <a:lnTo>
                      <a:pt x="85" y="13"/>
                    </a:lnTo>
                    <a:lnTo>
                      <a:pt x="90" y="3"/>
                    </a:lnTo>
                    <a:lnTo>
                      <a:pt x="91" y="1"/>
                    </a:lnTo>
                    <a:lnTo>
                      <a:pt x="93" y="0"/>
                    </a:lnTo>
                    <a:lnTo>
                      <a:pt x="90" y="0"/>
                    </a:lnTo>
                    <a:lnTo>
                      <a:pt x="79" y="5"/>
                    </a:lnTo>
                    <a:lnTo>
                      <a:pt x="73" y="12"/>
                    </a:lnTo>
                    <a:lnTo>
                      <a:pt x="69" y="12"/>
                    </a:lnTo>
                    <a:lnTo>
                      <a:pt x="33" y="5"/>
                    </a:lnTo>
                    <a:lnTo>
                      <a:pt x="23" y="6"/>
                    </a:lnTo>
                    <a:lnTo>
                      <a:pt x="18" y="13"/>
                    </a:lnTo>
                    <a:lnTo>
                      <a:pt x="14" y="24"/>
                    </a:lnTo>
                    <a:lnTo>
                      <a:pt x="14" y="34"/>
                    </a:lnTo>
                    <a:lnTo>
                      <a:pt x="12" y="37"/>
                    </a:lnTo>
                    <a:lnTo>
                      <a:pt x="11" y="41"/>
                    </a:lnTo>
                    <a:lnTo>
                      <a:pt x="2" y="55"/>
                    </a:lnTo>
                    <a:lnTo>
                      <a:pt x="0" y="68"/>
                    </a:lnTo>
                    <a:lnTo>
                      <a:pt x="4" y="74"/>
                    </a:lnTo>
                    <a:lnTo>
                      <a:pt x="11" y="75"/>
                    </a:lnTo>
                    <a:lnTo>
                      <a:pt x="11" y="87"/>
                    </a:lnTo>
                    <a:lnTo>
                      <a:pt x="11" y="99"/>
                    </a:lnTo>
                    <a:lnTo>
                      <a:pt x="12" y="103"/>
                    </a:lnTo>
                    <a:lnTo>
                      <a:pt x="19" y="106"/>
                    </a:lnTo>
                    <a:lnTo>
                      <a:pt x="21" y="103"/>
                    </a:lnTo>
                    <a:lnTo>
                      <a:pt x="24" y="96"/>
                    </a:lnTo>
                    <a:lnTo>
                      <a:pt x="24" y="89"/>
                    </a:lnTo>
                    <a:lnTo>
                      <a:pt x="26" y="86"/>
                    </a:lnTo>
                    <a:lnTo>
                      <a:pt x="24" y="77"/>
                    </a:lnTo>
                    <a:lnTo>
                      <a:pt x="23" y="70"/>
                    </a:lnTo>
                    <a:lnTo>
                      <a:pt x="24" y="65"/>
                    </a:lnTo>
                    <a:lnTo>
                      <a:pt x="30" y="63"/>
                    </a:lnTo>
                    <a:lnTo>
                      <a:pt x="31" y="63"/>
                    </a:lnTo>
                    <a:lnTo>
                      <a:pt x="33" y="63"/>
                    </a:lnTo>
                    <a:lnTo>
                      <a:pt x="31" y="74"/>
                    </a:lnTo>
                    <a:lnTo>
                      <a:pt x="35" y="80"/>
                    </a:lnTo>
                    <a:lnTo>
                      <a:pt x="40" y="89"/>
                    </a:lnTo>
                    <a:lnTo>
                      <a:pt x="40" y="91"/>
                    </a:lnTo>
                    <a:lnTo>
                      <a:pt x="40" y="94"/>
                    </a:lnTo>
                    <a:lnTo>
                      <a:pt x="47" y="94"/>
                    </a:lnTo>
                    <a:lnTo>
                      <a:pt x="52" y="89"/>
                    </a:lnTo>
                    <a:lnTo>
                      <a:pt x="57" y="84"/>
                    </a:lnTo>
                    <a:lnTo>
                      <a:pt x="52" y="79"/>
                    </a:lnTo>
                    <a:lnTo>
                      <a:pt x="50" y="74"/>
                    </a:lnTo>
                    <a:lnTo>
                      <a:pt x="50" y="72"/>
                    </a:lnTo>
                    <a:lnTo>
                      <a:pt x="52" y="72"/>
                    </a:lnTo>
                    <a:lnTo>
                      <a:pt x="47" y="67"/>
                    </a:lnTo>
                    <a:lnTo>
                      <a:pt x="43" y="60"/>
                    </a:lnTo>
                    <a:lnTo>
                      <a:pt x="40" y="51"/>
                    </a:lnTo>
                    <a:lnTo>
                      <a:pt x="40" y="49"/>
                    </a:lnTo>
                    <a:lnTo>
                      <a:pt x="47" y="46"/>
                    </a:lnTo>
                    <a:lnTo>
                      <a:pt x="54" y="43"/>
                    </a:lnTo>
                    <a:lnTo>
                      <a:pt x="59" y="39"/>
                    </a:lnTo>
                    <a:lnTo>
                      <a:pt x="67" y="36"/>
                    </a:lnTo>
                    <a:lnTo>
                      <a:pt x="67" y="31"/>
                    </a:lnTo>
                    <a:lnTo>
                      <a:pt x="61" y="31"/>
                    </a:lnTo>
                    <a:lnTo>
                      <a:pt x="50" y="34"/>
                    </a:lnTo>
                    <a:lnTo>
                      <a:pt x="40" y="37"/>
                    </a:lnTo>
                    <a:lnTo>
                      <a:pt x="36" y="41"/>
                    </a:lnTo>
                    <a:lnTo>
                      <a:pt x="36" y="3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6" name="Freeform 199"/>
              <p:cNvSpPr>
                <a:spLocks/>
              </p:cNvSpPr>
              <p:nvPr/>
            </p:nvSpPr>
            <p:spPr bwMode="auto">
              <a:xfrm>
                <a:off x="6728619" y="4149725"/>
                <a:ext cx="233363" cy="68262"/>
              </a:xfrm>
              <a:custGeom>
                <a:avLst/>
                <a:gdLst/>
                <a:ahLst/>
                <a:cxnLst>
                  <a:cxn ang="0">
                    <a:pos x="141" y="41"/>
                  </a:cxn>
                  <a:cxn ang="0">
                    <a:pos x="136" y="39"/>
                  </a:cxn>
                  <a:cxn ang="0">
                    <a:pos x="131" y="38"/>
                  </a:cxn>
                  <a:cxn ang="0">
                    <a:pos x="129" y="39"/>
                  </a:cxn>
                  <a:cxn ang="0">
                    <a:pos x="131" y="43"/>
                  </a:cxn>
                  <a:cxn ang="0">
                    <a:pos x="117" y="38"/>
                  </a:cxn>
                  <a:cxn ang="0">
                    <a:pos x="104" y="36"/>
                  </a:cxn>
                  <a:cxn ang="0">
                    <a:pos x="90" y="36"/>
                  </a:cxn>
                  <a:cxn ang="0">
                    <a:pos x="78" y="36"/>
                  </a:cxn>
                  <a:cxn ang="0">
                    <a:pos x="69" y="33"/>
                  </a:cxn>
                  <a:cxn ang="0">
                    <a:pos x="64" y="29"/>
                  </a:cxn>
                  <a:cxn ang="0">
                    <a:pos x="50" y="27"/>
                  </a:cxn>
                  <a:cxn ang="0">
                    <a:pos x="37" y="26"/>
                  </a:cxn>
                  <a:cxn ang="0">
                    <a:pos x="24" y="24"/>
                  </a:cxn>
                  <a:cxn ang="0">
                    <a:pos x="16" y="24"/>
                  </a:cxn>
                  <a:cxn ang="0">
                    <a:pos x="7" y="15"/>
                  </a:cxn>
                  <a:cxn ang="0">
                    <a:pos x="0" y="12"/>
                  </a:cxn>
                  <a:cxn ang="0">
                    <a:pos x="4" y="5"/>
                  </a:cxn>
                  <a:cxn ang="0">
                    <a:pos x="12" y="2"/>
                  </a:cxn>
                  <a:cxn ang="0">
                    <a:pos x="14" y="2"/>
                  </a:cxn>
                  <a:cxn ang="0">
                    <a:pos x="16" y="3"/>
                  </a:cxn>
                  <a:cxn ang="0">
                    <a:pos x="19" y="2"/>
                  </a:cxn>
                  <a:cxn ang="0">
                    <a:pos x="24" y="0"/>
                  </a:cxn>
                  <a:cxn ang="0">
                    <a:pos x="33" y="2"/>
                  </a:cxn>
                  <a:cxn ang="0">
                    <a:pos x="43" y="8"/>
                  </a:cxn>
                  <a:cxn ang="0">
                    <a:pos x="52" y="14"/>
                  </a:cxn>
                  <a:cxn ang="0">
                    <a:pos x="64" y="17"/>
                  </a:cxn>
                  <a:cxn ang="0">
                    <a:pos x="71" y="12"/>
                  </a:cxn>
                  <a:cxn ang="0">
                    <a:pos x="78" y="8"/>
                  </a:cxn>
                  <a:cxn ang="0">
                    <a:pos x="90" y="14"/>
                  </a:cxn>
                  <a:cxn ang="0">
                    <a:pos x="102" y="19"/>
                  </a:cxn>
                  <a:cxn ang="0">
                    <a:pos x="116" y="15"/>
                  </a:cxn>
                  <a:cxn ang="0">
                    <a:pos x="121" y="15"/>
                  </a:cxn>
                  <a:cxn ang="0">
                    <a:pos x="117" y="17"/>
                  </a:cxn>
                  <a:cxn ang="0">
                    <a:pos x="110" y="19"/>
                  </a:cxn>
                  <a:cxn ang="0">
                    <a:pos x="104" y="19"/>
                  </a:cxn>
                  <a:cxn ang="0">
                    <a:pos x="102" y="19"/>
                  </a:cxn>
                  <a:cxn ang="0">
                    <a:pos x="110" y="24"/>
                  </a:cxn>
                  <a:cxn ang="0">
                    <a:pos x="123" y="26"/>
                  </a:cxn>
                  <a:cxn ang="0">
                    <a:pos x="124" y="27"/>
                  </a:cxn>
                  <a:cxn ang="0">
                    <a:pos x="128" y="31"/>
                  </a:cxn>
                  <a:cxn ang="0">
                    <a:pos x="133" y="31"/>
                  </a:cxn>
                  <a:cxn ang="0">
                    <a:pos x="140" y="33"/>
                  </a:cxn>
                  <a:cxn ang="0">
                    <a:pos x="143" y="33"/>
                  </a:cxn>
                  <a:cxn ang="0">
                    <a:pos x="147" y="36"/>
                  </a:cxn>
                  <a:cxn ang="0">
                    <a:pos x="143" y="38"/>
                  </a:cxn>
                  <a:cxn ang="0">
                    <a:pos x="141" y="41"/>
                  </a:cxn>
                </a:cxnLst>
                <a:rect l="0" t="0" r="r" b="b"/>
                <a:pathLst>
                  <a:path w="147" h="43">
                    <a:moveTo>
                      <a:pt x="141" y="41"/>
                    </a:moveTo>
                    <a:lnTo>
                      <a:pt x="136" y="39"/>
                    </a:lnTo>
                    <a:lnTo>
                      <a:pt x="131" y="38"/>
                    </a:lnTo>
                    <a:lnTo>
                      <a:pt x="129" y="39"/>
                    </a:lnTo>
                    <a:lnTo>
                      <a:pt x="131" y="43"/>
                    </a:lnTo>
                    <a:lnTo>
                      <a:pt x="117" y="38"/>
                    </a:lnTo>
                    <a:lnTo>
                      <a:pt x="104" y="36"/>
                    </a:lnTo>
                    <a:lnTo>
                      <a:pt x="90" y="36"/>
                    </a:lnTo>
                    <a:lnTo>
                      <a:pt x="78" y="36"/>
                    </a:lnTo>
                    <a:lnTo>
                      <a:pt x="69" y="33"/>
                    </a:lnTo>
                    <a:lnTo>
                      <a:pt x="64" y="29"/>
                    </a:lnTo>
                    <a:lnTo>
                      <a:pt x="50" y="27"/>
                    </a:lnTo>
                    <a:lnTo>
                      <a:pt x="37" y="26"/>
                    </a:lnTo>
                    <a:lnTo>
                      <a:pt x="24" y="24"/>
                    </a:lnTo>
                    <a:lnTo>
                      <a:pt x="16" y="24"/>
                    </a:lnTo>
                    <a:lnTo>
                      <a:pt x="7" y="15"/>
                    </a:lnTo>
                    <a:lnTo>
                      <a:pt x="0" y="12"/>
                    </a:lnTo>
                    <a:lnTo>
                      <a:pt x="4" y="5"/>
                    </a:lnTo>
                    <a:lnTo>
                      <a:pt x="12" y="2"/>
                    </a:lnTo>
                    <a:lnTo>
                      <a:pt x="14" y="2"/>
                    </a:lnTo>
                    <a:lnTo>
                      <a:pt x="16" y="3"/>
                    </a:lnTo>
                    <a:lnTo>
                      <a:pt x="19" y="2"/>
                    </a:lnTo>
                    <a:lnTo>
                      <a:pt x="24" y="0"/>
                    </a:lnTo>
                    <a:lnTo>
                      <a:pt x="33" y="2"/>
                    </a:lnTo>
                    <a:lnTo>
                      <a:pt x="43" y="8"/>
                    </a:lnTo>
                    <a:lnTo>
                      <a:pt x="52" y="14"/>
                    </a:lnTo>
                    <a:lnTo>
                      <a:pt x="64" y="17"/>
                    </a:lnTo>
                    <a:lnTo>
                      <a:pt x="71" y="12"/>
                    </a:lnTo>
                    <a:lnTo>
                      <a:pt x="78" y="8"/>
                    </a:lnTo>
                    <a:lnTo>
                      <a:pt x="90" y="14"/>
                    </a:lnTo>
                    <a:lnTo>
                      <a:pt x="102" y="19"/>
                    </a:lnTo>
                    <a:lnTo>
                      <a:pt x="116" y="15"/>
                    </a:lnTo>
                    <a:lnTo>
                      <a:pt x="121" y="15"/>
                    </a:lnTo>
                    <a:lnTo>
                      <a:pt x="117" y="17"/>
                    </a:lnTo>
                    <a:lnTo>
                      <a:pt x="110" y="19"/>
                    </a:lnTo>
                    <a:lnTo>
                      <a:pt x="104" y="19"/>
                    </a:lnTo>
                    <a:lnTo>
                      <a:pt x="102" y="19"/>
                    </a:lnTo>
                    <a:lnTo>
                      <a:pt x="110" y="24"/>
                    </a:lnTo>
                    <a:lnTo>
                      <a:pt x="123" y="26"/>
                    </a:lnTo>
                    <a:lnTo>
                      <a:pt x="124" y="27"/>
                    </a:lnTo>
                    <a:lnTo>
                      <a:pt x="128" y="31"/>
                    </a:lnTo>
                    <a:lnTo>
                      <a:pt x="133" y="31"/>
                    </a:lnTo>
                    <a:lnTo>
                      <a:pt x="140" y="33"/>
                    </a:lnTo>
                    <a:lnTo>
                      <a:pt x="143" y="33"/>
                    </a:lnTo>
                    <a:lnTo>
                      <a:pt x="147" y="36"/>
                    </a:lnTo>
                    <a:lnTo>
                      <a:pt x="143" y="38"/>
                    </a:lnTo>
                    <a:lnTo>
                      <a:pt x="141"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7" name="Freeform 200"/>
              <p:cNvSpPr>
                <a:spLocks/>
              </p:cNvSpPr>
              <p:nvPr/>
            </p:nvSpPr>
            <p:spPr bwMode="auto">
              <a:xfrm>
                <a:off x="7060407" y="4203700"/>
                <a:ext cx="69850" cy="17462"/>
              </a:xfrm>
              <a:custGeom>
                <a:avLst/>
                <a:gdLst/>
                <a:ahLst/>
                <a:cxnLst>
                  <a:cxn ang="0">
                    <a:pos x="29" y="11"/>
                  </a:cxn>
                  <a:cxn ang="0">
                    <a:pos x="18" y="11"/>
                  </a:cxn>
                  <a:cxn ang="0">
                    <a:pos x="10" y="11"/>
                  </a:cxn>
                  <a:cxn ang="0">
                    <a:pos x="3" y="9"/>
                  </a:cxn>
                  <a:cxn ang="0">
                    <a:pos x="0" y="5"/>
                  </a:cxn>
                  <a:cxn ang="0">
                    <a:pos x="1" y="2"/>
                  </a:cxn>
                  <a:cxn ang="0">
                    <a:pos x="8" y="2"/>
                  </a:cxn>
                  <a:cxn ang="0">
                    <a:pos x="18" y="4"/>
                  </a:cxn>
                  <a:cxn ang="0">
                    <a:pos x="29" y="5"/>
                  </a:cxn>
                  <a:cxn ang="0">
                    <a:pos x="36" y="4"/>
                  </a:cxn>
                  <a:cxn ang="0">
                    <a:pos x="44" y="0"/>
                  </a:cxn>
                  <a:cxn ang="0">
                    <a:pos x="37" y="7"/>
                  </a:cxn>
                  <a:cxn ang="0">
                    <a:pos x="29" y="11"/>
                  </a:cxn>
                </a:cxnLst>
                <a:rect l="0" t="0" r="r" b="b"/>
                <a:pathLst>
                  <a:path w="44" h="11">
                    <a:moveTo>
                      <a:pt x="29" y="11"/>
                    </a:moveTo>
                    <a:lnTo>
                      <a:pt x="18" y="11"/>
                    </a:lnTo>
                    <a:lnTo>
                      <a:pt x="10" y="11"/>
                    </a:lnTo>
                    <a:lnTo>
                      <a:pt x="3" y="9"/>
                    </a:lnTo>
                    <a:lnTo>
                      <a:pt x="0" y="5"/>
                    </a:lnTo>
                    <a:lnTo>
                      <a:pt x="1" y="2"/>
                    </a:lnTo>
                    <a:lnTo>
                      <a:pt x="8" y="2"/>
                    </a:lnTo>
                    <a:lnTo>
                      <a:pt x="18" y="4"/>
                    </a:lnTo>
                    <a:lnTo>
                      <a:pt x="29" y="5"/>
                    </a:lnTo>
                    <a:lnTo>
                      <a:pt x="36" y="4"/>
                    </a:lnTo>
                    <a:lnTo>
                      <a:pt x="44" y="0"/>
                    </a:lnTo>
                    <a:lnTo>
                      <a:pt x="37" y="7"/>
                    </a:lnTo>
                    <a:lnTo>
                      <a:pt x="29"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48" name="Freeform 201"/>
              <p:cNvSpPr>
                <a:spLocks/>
              </p:cNvSpPr>
              <p:nvPr/>
            </p:nvSpPr>
            <p:spPr bwMode="auto">
              <a:xfrm>
                <a:off x="6988969" y="4210050"/>
                <a:ext cx="49213" cy="15875"/>
              </a:xfrm>
              <a:custGeom>
                <a:avLst/>
                <a:gdLst/>
                <a:ahLst/>
                <a:cxnLst>
                  <a:cxn ang="0">
                    <a:pos x="31" y="7"/>
                  </a:cxn>
                  <a:cxn ang="0">
                    <a:pos x="27" y="7"/>
                  </a:cxn>
                  <a:cxn ang="0">
                    <a:pos x="22" y="5"/>
                  </a:cxn>
                  <a:cxn ang="0">
                    <a:pos x="15" y="7"/>
                  </a:cxn>
                  <a:cxn ang="0">
                    <a:pos x="10" y="10"/>
                  </a:cxn>
                  <a:cxn ang="0">
                    <a:pos x="3" y="8"/>
                  </a:cxn>
                  <a:cxn ang="0">
                    <a:pos x="0" y="7"/>
                  </a:cxn>
                  <a:cxn ang="0">
                    <a:pos x="2" y="1"/>
                  </a:cxn>
                  <a:cxn ang="0">
                    <a:pos x="8" y="1"/>
                  </a:cxn>
                  <a:cxn ang="0">
                    <a:pos x="14" y="1"/>
                  </a:cxn>
                  <a:cxn ang="0">
                    <a:pos x="19" y="3"/>
                  </a:cxn>
                  <a:cxn ang="0">
                    <a:pos x="19" y="0"/>
                  </a:cxn>
                  <a:cxn ang="0">
                    <a:pos x="31" y="0"/>
                  </a:cxn>
                  <a:cxn ang="0">
                    <a:pos x="31" y="3"/>
                  </a:cxn>
                  <a:cxn ang="0">
                    <a:pos x="31" y="7"/>
                  </a:cxn>
                </a:cxnLst>
                <a:rect l="0" t="0" r="r" b="b"/>
                <a:pathLst>
                  <a:path w="31" h="10">
                    <a:moveTo>
                      <a:pt x="31" y="7"/>
                    </a:moveTo>
                    <a:lnTo>
                      <a:pt x="27" y="7"/>
                    </a:lnTo>
                    <a:lnTo>
                      <a:pt x="22" y="5"/>
                    </a:lnTo>
                    <a:lnTo>
                      <a:pt x="15" y="7"/>
                    </a:lnTo>
                    <a:lnTo>
                      <a:pt x="10" y="10"/>
                    </a:lnTo>
                    <a:lnTo>
                      <a:pt x="3" y="8"/>
                    </a:lnTo>
                    <a:lnTo>
                      <a:pt x="0" y="7"/>
                    </a:lnTo>
                    <a:lnTo>
                      <a:pt x="2" y="1"/>
                    </a:lnTo>
                    <a:lnTo>
                      <a:pt x="8" y="1"/>
                    </a:lnTo>
                    <a:lnTo>
                      <a:pt x="14" y="1"/>
                    </a:lnTo>
                    <a:lnTo>
                      <a:pt x="19" y="3"/>
                    </a:lnTo>
                    <a:lnTo>
                      <a:pt x="19" y="0"/>
                    </a:lnTo>
                    <a:lnTo>
                      <a:pt x="31" y="0"/>
                    </a:lnTo>
                    <a:lnTo>
                      <a:pt x="31" y="3"/>
                    </a:lnTo>
                    <a:lnTo>
                      <a:pt x="31"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6" name="Freeform 202"/>
              <p:cNvSpPr>
                <a:spLocks/>
              </p:cNvSpPr>
              <p:nvPr/>
            </p:nvSpPr>
            <p:spPr bwMode="auto">
              <a:xfrm>
                <a:off x="7039769" y="4229100"/>
                <a:ext cx="36513" cy="26987"/>
              </a:xfrm>
              <a:custGeom>
                <a:avLst/>
                <a:gdLst/>
                <a:ahLst/>
                <a:cxnLst>
                  <a:cxn ang="0">
                    <a:pos x="18" y="17"/>
                  </a:cxn>
                  <a:cxn ang="0">
                    <a:pos x="14" y="14"/>
                  </a:cxn>
                  <a:cxn ang="0">
                    <a:pos x="14" y="10"/>
                  </a:cxn>
                  <a:cxn ang="0">
                    <a:pos x="4" y="8"/>
                  </a:cxn>
                  <a:cxn ang="0">
                    <a:pos x="0" y="5"/>
                  </a:cxn>
                  <a:cxn ang="0">
                    <a:pos x="4" y="0"/>
                  </a:cxn>
                  <a:cxn ang="0">
                    <a:pos x="11" y="1"/>
                  </a:cxn>
                  <a:cxn ang="0">
                    <a:pos x="13" y="1"/>
                  </a:cxn>
                  <a:cxn ang="0">
                    <a:pos x="16" y="1"/>
                  </a:cxn>
                  <a:cxn ang="0">
                    <a:pos x="19" y="7"/>
                  </a:cxn>
                  <a:cxn ang="0">
                    <a:pos x="23" y="14"/>
                  </a:cxn>
                  <a:cxn ang="0">
                    <a:pos x="21" y="15"/>
                  </a:cxn>
                  <a:cxn ang="0">
                    <a:pos x="19" y="17"/>
                  </a:cxn>
                  <a:cxn ang="0">
                    <a:pos x="18" y="17"/>
                  </a:cxn>
                </a:cxnLst>
                <a:rect l="0" t="0" r="r" b="b"/>
                <a:pathLst>
                  <a:path w="23" h="17">
                    <a:moveTo>
                      <a:pt x="18" y="17"/>
                    </a:moveTo>
                    <a:lnTo>
                      <a:pt x="14" y="14"/>
                    </a:lnTo>
                    <a:lnTo>
                      <a:pt x="14" y="10"/>
                    </a:lnTo>
                    <a:lnTo>
                      <a:pt x="4" y="8"/>
                    </a:lnTo>
                    <a:lnTo>
                      <a:pt x="0" y="5"/>
                    </a:lnTo>
                    <a:lnTo>
                      <a:pt x="4" y="0"/>
                    </a:lnTo>
                    <a:lnTo>
                      <a:pt x="11" y="1"/>
                    </a:lnTo>
                    <a:lnTo>
                      <a:pt x="13" y="1"/>
                    </a:lnTo>
                    <a:lnTo>
                      <a:pt x="16" y="1"/>
                    </a:lnTo>
                    <a:lnTo>
                      <a:pt x="19" y="7"/>
                    </a:lnTo>
                    <a:lnTo>
                      <a:pt x="23" y="14"/>
                    </a:lnTo>
                    <a:lnTo>
                      <a:pt x="21" y="15"/>
                    </a:lnTo>
                    <a:lnTo>
                      <a:pt x="19" y="17"/>
                    </a:lnTo>
                    <a:lnTo>
                      <a:pt x="18"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7" name="Freeform 203"/>
              <p:cNvSpPr>
                <a:spLocks/>
              </p:cNvSpPr>
              <p:nvPr/>
            </p:nvSpPr>
            <p:spPr bwMode="auto">
              <a:xfrm>
                <a:off x="6971507" y="4206875"/>
                <a:ext cx="14288" cy="14287"/>
              </a:xfrm>
              <a:custGeom>
                <a:avLst/>
                <a:gdLst/>
                <a:ahLst/>
                <a:cxnLst>
                  <a:cxn ang="0">
                    <a:pos x="0" y="0"/>
                  </a:cxn>
                  <a:cxn ang="0">
                    <a:pos x="4" y="0"/>
                  </a:cxn>
                  <a:cxn ang="0">
                    <a:pos x="6" y="2"/>
                  </a:cxn>
                  <a:cxn ang="0">
                    <a:pos x="9" y="3"/>
                  </a:cxn>
                  <a:cxn ang="0">
                    <a:pos x="6" y="7"/>
                  </a:cxn>
                  <a:cxn ang="0">
                    <a:pos x="4" y="9"/>
                  </a:cxn>
                  <a:cxn ang="0">
                    <a:pos x="0" y="7"/>
                  </a:cxn>
                  <a:cxn ang="0">
                    <a:pos x="0" y="5"/>
                  </a:cxn>
                  <a:cxn ang="0">
                    <a:pos x="0" y="2"/>
                  </a:cxn>
                  <a:cxn ang="0">
                    <a:pos x="0" y="0"/>
                  </a:cxn>
                </a:cxnLst>
                <a:rect l="0" t="0" r="r" b="b"/>
                <a:pathLst>
                  <a:path w="9" h="9">
                    <a:moveTo>
                      <a:pt x="0" y="0"/>
                    </a:moveTo>
                    <a:lnTo>
                      <a:pt x="4" y="0"/>
                    </a:lnTo>
                    <a:lnTo>
                      <a:pt x="6" y="2"/>
                    </a:lnTo>
                    <a:lnTo>
                      <a:pt x="9" y="3"/>
                    </a:lnTo>
                    <a:lnTo>
                      <a:pt x="6" y="7"/>
                    </a:lnTo>
                    <a:lnTo>
                      <a:pt x="4" y="9"/>
                    </a:lnTo>
                    <a:lnTo>
                      <a:pt x="0" y="7"/>
                    </a:lnTo>
                    <a:lnTo>
                      <a:pt x="0" y="5"/>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8" name="Freeform 204"/>
              <p:cNvSpPr>
                <a:spLocks/>
              </p:cNvSpPr>
              <p:nvPr/>
            </p:nvSpPr>
            <p:spPr bwMode="auto">
              <a:xfrm>
                <a:off x="7141369" y="4210050"/>
                <a:ext cx="82550" cy="46037"/>
              </a:xfrm>
              <a:custGeom>
                <a:avLst/>
                <a:gdLst/>
                <a:ahLst/>
                <a:cxnLst>
                  <a:cxn ang="0">
                    <a:pos x="22" y="13"/>
                  </a:cxn>
                  <a:cxn ang="0">
                    <a:pos x="21" y="15"/>
                  </a:cxn>
                  <a:cxn ang="0">
                    <a:pos x="21" y="20"/>
                  </a:cxn>
                  <a:cxn ang="0">
                    <a:pos x="14" y="26"/>
                  </a:cxn>
                  <a:cxn ang="0">
                    <a:pos x="4" y="29"/>
                  </a:cxn>
                  <a:cxn ang="0">
                    <a:pos x="0" y="27"/>
                  </a:cxn>
                  <a:cxn ang="0">
                    <a:pos x="0" y="26"/>
                  </a:cxn>
                  <a:cxn ang="0">
                    <a:pos x="5" y="13"/>
                  </a:cxn>
                  <a:cxn ang="0">
                    <a:pos x="17" y="12"/>
                  </a:cxn>
                  <a:cxn ang="0">
                    <a:pos x="19" y="8"/>
                  </a:cxn>
                  <a:cxn ang="0">
                    <a:pos x="21" y="7"/>
                  </a:cxn>
                  <a:cxn ang="0">
                    <a:pos x="26" y="1"/>
                  </a:cxn>
                  <a:cxn ang="0">
                    <a:pos x="36" y="1"/>
                  </a:cxn>
                  <a:cxn ang="0">
                    <a:pos x="45" y="0"/>
                  </a:cxn>
                  <a:cxn ang="0">
                    <a:pos x="52" y="3"/>
                  </a:cxn>
                  <a:cxn ang="0">
                    <a:pos x="45" y="7"/>
                  </a:cxn>
                  <a:cxn ang="0">
                    <a:pos x="38" y="10"/>
                  </a:cxn>
                  <a:cxn ang="0">
                    <a:pos x="29" y="12"/>
                  </a:cxn>
                  <a:cxn ang="0">
                    <a:pos x="22" y="13"/>
                  </a:cxn>
                </a:cxnLst>
                <a:rect l="0" t="0" r="r" b="b"/>
                <a:pathLst>
                  <a:path w="52" h="29">
                    <a:moveTo>
                      <a:pt x="22" y="13"/>
                    </a:moveTo>
                    <a:lnTo>
                      <a:pt x="21" y="15"/>
                    </a:lnTo>
                    <a:lnTo>
                      <a:pt x="21" y="20"/>
                    </a:lnTo>
                    <a:lnTo>
                      <a:pt x="14" y="26"/>
                    </a:lnTo>
                    <a:lnTo>
                      <a:pt x="4" y="29"/>
                    </a:lnTo>
                    <a:lnTo>
                      <a:pt x="0" y="27"/>
                    </a:lnTo>
                    <a:lnTo>
                      <a:pt x="0" y="26"/>
                    </a:lnTo>
                    <a:lnTo>
                      <a:pt x="5" y="13"/>
                    </a:lnTo>
                    <a:lnTo>
                      <a:pt x="17" y="12"/>
                    </a:lnTo>
                    <a:lnTo>
                      <a:pt x="19" y="8"/>
                    </a:lnTo>
                    <a:lnTo>
                      <a:pt x="21" y="7"/>
                    </a:lnTo>
                    <a:lnTo>
                      <a:pt x="26" y="1"/>
                    </a:lnTo>
                    <a:lnTo>
                      <a:pt x="36" y="1"/>
                    </a:lnTo>
                    <a:lnTo>
                      <a:pt x="45" y="0"/>
                    </a:lnTo>
                    <a:lnTo>
                      <a:pt x="52" y="3"/>
                    </a:lnTo>
                    <a:lnTo>
                      <a:pt x="45" y="7"/>
                    </a:lnTo>
                    <a:lnTo>
                      <a:pt x="38" y="10"/>
                    </a:lnTo>
                    <a:lnTo>
                      <a:pt x="29" y="12"/>
                    </a:lnTo>
                    <a:lnTo>
                      <a:pt x="22"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69" name="Freeform 205"/>
              <p:cNvSpPr>
                <a:spLocks/>
              </p:cNvSpPr>
              <p:nvPr/>
            </p:nvSpPr>
            <p:spPr bwMode="auto">
              <a:xfrm>
                <a:off x="7384257" y="4143375"/>
                <a:ext cx="14288" cy="33337"/>
              </a:xfrm>
              <a:custGeom>
                <a:avLst/>
                <a:gdLst/>
                <a:ahLst/>
                <a:cxnLst>
                  <a:cxn ang="0">
                    <a:pos x="7" y="0"/>
                  </a:cxn>
                  <a:cxn ang="0">
                    <a:pos x="7" y="2"/>
                  </a:cxn>
                  <a:cxn ang="0">
                    <a:pos x="9" y="6"/>
                  </a:cxn>
                  <a:cxn ang="0">
                    <a:pos x="7" y="9"/>
                  </a:cxn>
                  <a:cxn ang="0">
                    <a:pos x="5" y="11"/>
                  </a:cxn>
                  <a:cxn ang="0">
                    <a:pos x="5" y="18"/>
                  </a:cxn>
                  <a:cxn ang="0">
                    <a:pos x="2" y="21"/>
                  </a:cxn>
                  <a:cxn ang="0">
                    <a:pos x="0" y="19"/>
                  </a:cxn>
                  <a:cxn ang="0">
                    <a:pos x="0" y="18"/>
                  </a:cxn>
                  <a:cxn ang="0">
                    <a:pos x="2" y="11"/>
                  </a:cxn>
                  <a:cxn ang="0">
                    <a:pos x="4" y="9"/>
                  </a:cxn>
                  <a:cxn ang="0">
                    <a:pos x="4" y="2"/>
                  </a:cxn>
                  <a:cxn ang="0">
                    <a:pos x="7" y="0"/>
                  </a:cxn>
                </a:cxnLst>
                <a:rect l="0" t="0" r="r" b="b"/>
                <a:pathLst>
                  <a:path w="9" h="21">
                    <a:moveTo>
                      <a:pt x="7" y="0"/>
                    </a:moveTo>
                    <a:lnTo>
                      <a:pt x="7" y="2"/>
                    </a:lnTo>
                    <a:lnTo>
                      <a:pt x="9" y="6"/>
                    </a:lnTo>
                    <a:lnTo>
                      <a:pt x="7" y="9"/>
                    </a:lnTo>
                    <a:lnTo>
                      <a:pt x="5" y="11"/>
                    </a:lnTo>
                    <a:lnTo>
                      <a:pt x="5" y="18"/>
                    </a:lnTo>
                    <a:lnTo>
                      <a:pt x="2" y="21"/>
                    </a:lnTo>
                    <a:lnTo>
                      <a:pt x="0" y="19"/>
                    </a:lnTo>
                    <a:lnTo>
                      <a:pt x="0" y="18"/>
                    </a:lnTo>
                    <a:lnTo>
                      <a:pt x="2" y="11"/>
                    </a:lnTo>
                    <a:lnTo>
                      <a:pt x="4" y="9"/>
                    </a:lnTo>
                    <a:lnTo>
                      <a:pt x="4" y="2"/>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0" name="Freeform 206"/>
              <p:cNvSpPr>
                <a:spLocks/>
              </p:cNvSpPr>
              <p:nvPr/>
            </p:nvSpPr>
            <p:spPr bwMode="auto">
              <a:xfrm>
                <a:off x="7201694" y="4084638"/>
                <a:ext cx="22225" cy="20637"/>
              </a:xfrm>
              <a:custGeom>
                <a:avLst/>
                <a:gdLst/>
                <a:ahLst/>
                <a:cxnLst>
                  <a:cxn ang="0">
                    <a:pos x="14" y="7"/>
                  </a:cxn>
                  <a:cxn ang="0">
                    <a:pos x="10" y="10"/>
                  </a:cxn>
                  <a:cxn ang="0">
                    <a:pos x="9" y="13"/>
                  </a:cxn>
                  <a:cxn ang="0">
                    <a:pos x="2" y="10"/>
                  </a:cxn>
                  <a:cxn ang="0">
                    <a:pos x="0" y="3"/>
                  </a:cxn>
                  <a:cxn ang="0">
                    <a:pos x="2" y="0"/>
                  </a:cxn>
                  <a:cxn ang="0">
                    <a:pos x="7" y="0"/>
                  </a:cxn>
                  <a:cxn ang="0">
                    <a:pos x="10" y="1"/>
                  </a:cxn>
                  <a:cxn ang="0">
                    <a:pos x="14" y="7"/>
                  </a:cxn>
                </a:cxnLst>
                <a:rect l="0" t="0" r="r" b="b"/>
                <a:pathLst>
                  <a:path w="14" h="13">
                    <a:moveTo>
                      <a:pt x="14" y="7"/>
                    </a:moveTo>
                    <a:lnTo>
                      <a:pt x="10" y="10"/>
                    </a:lnTo>
                    <a:lnTo>
                      <a:pt x="9" y="13"/>
                    </a:lnTo>
                    <a:lnTo>
                      <a:pt x="2" y="10"/>
                    </a:lnTo>
                    <a:lnTo>
                      <a:pt x="0" y="3"/>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1" name="Freeform 207"/>
              <p:cNvSpPr>
                <a:spLocks/>
              </p:cNvSpPr>
              <p:nvPr/>
            </p:nvSpPr>
            <p:spPr bwMode="auto">
              <a:xfrm>
                <a:off x="7242969" y="4084638"/>
                <a:ext cx="65088" cy="19050"/>
              </a:xfrm>
              <a:custGeom>
                <a:avLst/>
                <a:gdLst/>
                <a:ahLst/>
                <a:cxnLst>
                  <a:cxn ang="0">
                    <a:pos x="36" y="1"/>
                  </a:cxn>
                  <a:cxn ang="0">
                    <a:pos x="38" y="5"/>
                  </a:cxn>
                  <a:cxn ang="0">
                    <a:pos x="41" y="10"/>
                  </a:cxn>
                  <a:cxn ang="0">
                    <a:pos x="39" y="10"/>
                  </a:cxn>
                  <a:cxn ang="0">
                    <a:pos x="38" y="12"/>
                  </a:cxn>
                  <a:cxn ang="0">
                    <a:pos x="29" y="8"/>
                  </a:cxn>
                  <a:cxn ang="0">
                    <a:pos x="20" y="7"/>
                  </a:cxn>
                  <a:cxn ang="0">
                    <a:pos x="14" y="7"/>
                  </a:cxn>
                  <a:cxn ang="0">
                    <a:pos x="8" y="7"/>
                  </a:cxn>
                  <a:cxn ang="0">
                    <a:pos x="3" y="5"/>
                  </a:cxn>
                  <a:cxn ang="0">
                    <a:pos x="0" y="3"/>
                  </a:cxn>
                  <a:cxn ang="0">
                    <a:pos x="0" y="0"/>
                  </a:cxn>
                  <a:cxn ang="0">
                    <a:pos x="3" y="0"/>
                  </a:cxn>
                  <a:cxn ang="0">
                    <a:pos x="26" y="0"/>
                  </a:cxn>
                  <a:cxn ang="0">
                    <a:pos x="29" y="1"/>
                  </a:cxn>
                  <a:cxn ang="0">
                    <a:pos x="34" y="1"/>
                  </a:cxn>
                  <a:cxn ang="0">
                    <a:pos x="36" y="1"/>
                  </a:cxn>
                </a:cxnLst>
                <a:rect l="0" t="0" r="r" b="b"/>
                <a:pathLst>
                  <a:path w="41" h="12">
                    <a:moveTo>
                      <a:pt x="36" y="1"/>
                    </a:moveTo>
                    <a:lnTo>
                      <a:pt x="38" y="5"/>
                    </a:lnTo>
                    <a:lnTo>
                      <a:pt x="41" y="10"/>
                    </a:lnTo>
                    <a:lnTo>
                      <a:pt x="39" y="10"/>
                    </a:lnTo>
                    <a:lnTo>
                      <a:pt x="38" y="12"/>
                    </a:lnTo>
                    <a:lnTo>
                      <a:pt x="29" y="8"/>
                    </a:lnTo>
                    <a:lnTo>
                      <a:pt x="20" y="7"/>
                    </a:lnTo>
                    <a:lnTo>
                      <a:pt x="14" y="7"/>
                    </a:lnTo>
                    <a:lnTo>
                      <a:pt x="8" y="7"/>
                    </a:lnTo>
                    <a:lnTo>
                      <a:pt x="3" y="5"/>
                    </a:lnTo>
                    <a:lnTo>
                      <a:pt x="0" y="3"/>
                    </a:lnTo>
                    <a:lnTo>
                      <a:pt x="0" y="0"/>
                    </a:lnTo>
                    <a:lnTo>
                      <a:pt x="3" y="0"/>
                    </a:lnTo>
                    <a:lnTo>
                      <a:pt x="26" y="0"/>
                    </a:lnTo>
                    <a:lnTo>
                      <a:pt x="29" y="1"/>
                    </a:lnTo>
                    <a:lnTo>
                      <a:pt x="34" y="1"/>
                    </a:lnTo>
                    <a:lnTo>
                      <a:pt x="36"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2" name="Freeform 208"/>
              <p:cNvSpPr>
                <a:spLocks/>
              </p:cNvSpPr>
              <p:nvPr/>
            </p:nvSpPr>
            <p:spPr bwMode="auto">
              <a:xfrm>
                <a:off x="7231857" y="3963988"/>
                <a:ext cx="26988" cy="63500"/>
              </a:xfrm>
              <a:custGeom>
                <a:avLst/>
                <a:gdLst/>
                <a:ahLst/>
                <a:cxnLst>
                  <a:cxn ang="0">
                    <a:pos x="5" y="31"/>
                  </a:cxn>
                  <a:cxn ang="0">
                    <a:pos x="5" y="27"/>
                  </a:cxn>
                  <a:cxn ang="0">
                    <a:pos x="10" y="27"/>
                  </a:cxn>
                  <a:cxn ang="0">
                    <a:pos x="17" y="27"/>
                  </a:cxn>
                  <a:cxn ang="0">
                    <a:pos x="14" y="22"/>
                  </a:cxn>
                  <a:cxn ang="0">
                    <a:pos x="12" y="19"/>
                  </a:cxn>
                  <a:cxn ang="0">
                    <a:pos x="14" y="15"/>
                  </a:cxn>
                  <a:cxn ang="0">
                    <a:pos x="17" y="12"/>
                  </a:cxn>
                  <a:cxn ang="0">
                    <a:pos x="7" y="7"/>
                  </a:cxn>
                  <a:cxn ang="0">
                    <a:pos x="5" y="0"/>
                  </a:cxn>
                  <a:cxn ang="0">
                    <a:pos x="0" y="3"/>
                  </a:cxn>
                  <a:cxn ang="0">
                    <a:pos x="0" y="10"/>
                  </a:cxn>
                  <a:cxn ang="0">
                    <a:pos x="2" y="15"/>
                  </a:cxn>
                  <a:cxn ang="0">
                    <a:pos x="3" y="24"/>
                  </a:cxn>
                  <a:cxn ang="0">
                    <a:pos x="3" y="27"/>
                  </a:cxn>
                  <a:cxn ang="0">
                    <a:pos x="3" y="31"/>
                  </a:cxn>
                  <a:cxn ang="0">
                    <a:pos x="3" y="34"/>
                  </a:cxn>
                  <a:cxn ang="0">
                    <a:pos x="10" y="40"/>
                  </a:cxn>
                  <a:cxn ang="0">
                    <a:pos x="7" y="34"/>
                  </a:cxn>
                  <a:cxn ang="0">
                    <a:pos x="5" y="31"/>
                  </a:cxn>
                </a:cxnLst>
                <a:rect l="0" t="0" r="r" b="b"/>
                <a:pathLst>
                  <a:path w="17" h="40">
                    <a:moveTo>
                      <a:pt x="5" y="31"/>
                    </a:moveTo>
                    <a:lnTo>
                      <a:pt x="5" y="27"/>
                    </a:lnTo>
                    <a:lnTo>
                      <a:pt x="10" y="27"/>
                    </a:lnTo>
                    <a:lnTo>
                      <a:pt x="17" y="27"/>
                    </a:lnTo>
                    <a:lnTo>
                      <a:pt x="14" y="22"/>
                    </a:lnTo>
                    <a:lnTo>
                      <a:pt x="12" y="19"/>
                    </a:lnTo>
                    <a:lnTo>
                      <a:pt x="14" y="15"/>
                    </a:lnTo>
                    <a:lnTo>
                      <a:pt x="17" y="12"/>
                    </a:lnTo>
                    <a:lnTo>
                      <a:pt x="7" y="7"/>
                    </a:lnTo>
                    <a:lnTo>
                      <a:pt x="5" y="0"/>
                    </a:lnTo>
                    <a:lnTo>
                      <a:pt x="0" y="3"/>
                    </a:lnTo>
                    <a:lnTo>
                      <a:pt x="0" y="10"/>
                    </a:lnTo>
                    <a:lnTo>
                      <a:pt x="2" y="15"/>
                    </a:lnTo>
                    <a:lnTo>
                      <a:pt x="3" y="24"/>
                    </a:lnTo>
                    <a:lnTo>
                      <a:pt x="3" y="27"/>
                    </a:lnTo>
                    <a:lnTo>
                      <a:pt x="3" y="31"/>
                    </a:lnTo>
                    <a:lnTo>
                      <a:pt x="3" y="34"/>
                    </a:lnTo>
                    <a:lnTo>
                      <a:pt x="10" y="40"/>
                    </a:lnTo>
                    <a:lnTo>
                      <a:pt x="7" y="34"/>
                    </a:lnTo>
                    <a:lnTo>
                      <a:pt x="5"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3" name="Freeform 209"/>
              <p:cNvSpPr>
                <a:spLocks/>
              </p:cNvSpPr>
              <p:nvPr/>
            </p:nvSpPr>
            <p:spPr bwMode="auto">
              <a:xfrm>
                <a:off x="7717632" y="4111625"/>
                <a:ext cx="90488" cy="50800"/>
              </a:xfrm>
              <a:custGeom>
                <a:avLst/>
                <a:gdLst/>
                <a:ahLst/>
                <a:cxnLst>
                  <a:cxn ang="0">
                    <a:pos x="16" y="31"/>
                  </a:cxn>
                  <a:cxn ang="0">
                    <a:pos x="5" y="26"/>
                  </a:cxn>
                  <a:cxn ang="0">
                    <a:pos x="0" y="20"/>
                  </a:cxn>
                  <a:cxn ang="0">
                    <a:pos x="16" y="20"/>
                  </a:cxn>
                  <a:cxn ang="0">
                    <a:pos x="17" y="19"/>
                  </a:cxn>
                  <a:cxn ang="0">
                    <a:pos x="21" y="19"/>
                  </a:cxn>
                  <a:cxn ang="0">
                    <a:pos x="31" y="15"/>
                  </a:cxn>
                  <a:cxn ang="0">
                    <a:pos x="41" y="14"/>
                  </a:cxn>
                  <a:cxn ang="0">
                    <a:pos x="46" y="5"/>
                  </a:cxn>
                  <a:cxn ang="0">
                    <a:pos x="52" y="0"/>
                  </a:cxn>
                  <a:cxn ang="0">
                    <a:pos x="55" y="2"/>
                  </a:cxn>
                  <a:cxn ang="0">
                    <a:pos x="57" y="7"/>
                  </a:cxn>
                  <a:cxn ang="0">
                    <a:pos x="52" y="15"/>
                  </a:cxn>
                  <a:cxn ang="0">
                    <a:pos x="46" y="26"/>
                  </a:cxn>
                  <a:cxn ang="0">
                    <a:pos x="34" y="29"/>
                  </a:cxn>
                  <a:cxn ang="0">
                    <a:pos x="22" y="32"/>
                  </a:cxn>
                  <a:cxn ang="0">
                    <a:pos x="16" y="29"/>
                  </a:cxn>
                  <a:cxn ang="0">
                    <a:pos x="12" y="27"/>
                  </a:cxn>
                  <a:cxn ang="0">
                    <a:pos x="16" y="31"/>
                  </a:cxn>
                </a:cxnLst>
                <a:rect l="0" t="0" r="r" b="b"/>
                <a:pathLst>
                  <a:path w="57" h="32">
                    <a:moveTo>
                      <a:pt x="16" y="31"/>
                    </a:moveTo>
                    <a:lnTo>
                      <a:pt x="5" y="26"/>
                    </a:lnTo>
                    <a:lnTo>
                      <a:pt x="0" y="20"/>
                    </a:lnTo>
                    <a:lnTo>
                      <a:pt x="16" y="20"/>
                    </a:lnTo>
                    <a:lnTo>
                      <a:pt x="17" y="19"/>
                    </a:lnTo>
                    <a:lnTo>
                      <a:pt x="21" y="19"/>
                    </a:lnTo>
                    <a:lnTo>
                      <a:pt x="31" y="15"/>
                    </a:lnTo>
                    <a:lnTo>
                      <a:pt x="41" y="14"/>
                    </a:lnTo>
                    <a:lnTo>
                      <a:pt x="46" y="5"/>
                    </a:lnTo>
                    <a:lnTo>
                      <a:pt x="52" y="0"/>
                    </a:lnTo>
                    <a:lnTo>
                      <a:pt x="55" y="2"/>
                    </a:lnTo>
                    <a:lnTo>
                      <a:pt x="57" y="7"/>
                    </a:lnTo>
                    <a:lnTo>
                      <a:pt x="52" y="15"/>
                    </a:lnTo>
                    <a:lnTo>
                      <a:pt x="46" y="26"/>
                    </a:lnTo>
                    <a:lnTo>
                      <a:pt x="34" y="29"/>
                    </a:lnTo>
                    <a:lnTo>
                      <a:pt x="22" y="32"/>
                    </a:lnTo>
                    <a:lnTo>
                      <a:pt x="16" y="29"/>
                    </a:lnTo>
                    <a:lnTo>
                      <a:pt x="12" y="27"/>
                    </a:lnTo>
                    <a:lnTo>
                      <a:pt x="1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4" name="Freeform 210"/>
              <p:cNvSpPr>
                <a:spLocks/>
              </p:cNvSpPr>
              <p:nvPr/>
            </p:nvSpPr>
            <p:spPr bwMode="auto">
              <a:xfrm>
                <a:off x="7308057" y="4021138"/>
                <a:ext cx="466725" cy="242887"/>
              </a:xfrm>
              <a:custGeom>
                <a:avLst/>
                <a:gdLst/>
                <a:ahLst/>
                <a:cxnLst>
                  <a:cxn ang="0">
                    <a:pos x="162" y="40"/>
                  </a:cxn>
                  <a:cxn ang="0">
                    <a:pos x="191" y="48"/>
                  </a:cxn>
                  <a:cxn ang="0">
                    <a:pos x="205" y="57"/>
                  </a:cxn>
                  <a:cxn ang="0">
                    <a:pos x="225" y="74"/>
                  </a:cxn>
                  <a:cxn ang="0">
                    <a:pos x="249" y="89"/>
                  </a:cxn>
                  <a:cxn ang="0">
                    <a:pos x="243" y="103"/>
                  </a:cxn>
                  <a:cxn ang="0">
                    <a:pos x="256" y="124"/>
                  </a:cxn>
                  <a:cxn ang="0">
                    <a:pos x="270" y="131"/>
                  </a:cxn>
                  <a:cxn ang="0">
                    <a:pos x="279" y="136"/>
                  </a:cxn>
                  <a:cxn ang="0">
                    <a:pos x="287" y="143"/>
                  </a:cxn>
                  <a:cxn ang="0">
                    <a:pos x="287" y="153"/>
                  </a:cxn>
                  <a:cxn ang="0">
                    <a:pos x="279" y="150"/>
                  </a:cxn>
                  <a:cxn ang="0">
                    <a:pos x="248" y="141"/>
                  </a:cxn>
                  <a:cxn ang="0">
                    <a:pos x="237" y="129"/>
                  </a:cxn>
                  <a:cxn ang="0">
                    <a:pos x="210" y="107"/>
                  </a:cxn>
                  <a:cxn ang="0">
                    <a:pos x="189" y="108"/>
                  </a:cxn>
                  <a:cxn ang="0">
                    <a:pos x="181" y="124"/>
                  </a:cxn>
                  <a:cxn ang="0">
                    <a:pos x="160" y="131"/>
                  </a:cxn>
                  <a:cxn ang="0">
                    <a:pos x="138" y="115"/>
                  </a:cxn>
                  <a:cxn ang="0">
                    <a:pos x="122" y="117"/>
                  </a:cxn>
                  <a:cxn ang="0">
                    <a:pos x="103" y="114"/>
                  </a:cxn>
                  <a:cxn ang="0">
                    <a:pos x="110" y="91"/>
                  </a:cxn>
                  <a:cxn ang="0">
                    <a:pos x="100" y="72"/>
                  </a:cxn>
                  <a:cxn ang="0">
                    <a:pos x="81" y="64"/>
                  </a:cxn>
                  <a:cxn ang="0">
                    <a:pos x="62" y="62"/>
                  </a:cxn>
                  <a:cxn ang="0">
                    <a:pos x="46" y="50"/>
                  </a:cxn>
                  <a:cxn ang="0">
                    <a:pos x="38" y="53"/>
                  </a:cxn>
                  <a:cxn ang="0">
                    <a:pos x="29" y="55"/>
                  </a:cxn>
                  <a:cxn ang="0">
                    <a:pos x="21" y="40"/>
                  </a:cxn>
                  <a:cxn ang="0">
                    <a:pos x="31" y="33"/>
                  </a:cxn>
                  <a:cxn ang="0">
                    <a:pos x="40" y="29"/>
                  </a:cxn>
                  <a:cxn ang="0">
                    <a:pos x="21" y="29"/>
                  </a:cxn>
                  <a:cxn ang="0">
                    <a:pos x="16" y="24"/>
                  </a:cxn>
                  <a:cxn ang="0">
                    <a:pos x="2" y="9"/>
                  </a:cxn>
                  <a:cxn ang="0">
                    <a:pos x="26" y="0"/>
                  </a:cxn>
                  <a:cxn ang="0">
                    <a:pos x="50" y="19"/>
                  </a:cxn>
                  <a:cxn ang="0">
                    <a:pos x="57" y="33"/>
                  </a:cxn>
                  <a:cxn ang="0">
                    <a:pos x="72" y="38"/>
                  </a:cxn>
                  <a:cxn ang="0">
                    <a:pos x="89" y="28"/>
                  </a:cxn>
                  <a:cxn ang="0">
                    <a:pos x="108" y="17"/>
                  </a:cxn>
                  <a:cxn ang="0">
                    <a:pos x="126" y="29"/>
                  </a:cxn>
                  <a:cxn ang="0">
                    <a:pos x="148" y="33"/>
                  </a:cxn>
                </a:cxnLst>
                <a:rect l="0" t="0" r="r" b="b"/>
                <a:pathLst>
                  <a:path w="294" h="153">
                    <a:moveTo>
                      <a:pt x="146" y="31"/>
                    </a:moveTo>
                    <a:lnTo>
                      <a:pt x="151" y="34"/>
                    </a:lnTo>
                    <a:lnTo>
                      <a:pt x="162" y="40"/>
                    </a:lnTo>
                    <a:lnTo>
                      <a:pt x="172" y="43"/>
                    </a:lnTo>
                    <a:lnTo>
                      <a:pt x="184" y="45"/>
                    </a:lnTo>
                    <a:lnTo>
                      <a:pt x="191" y="48"/>
                    </a:lnTo>
                    <a:lnTo>
                      <a:pt x="198" y="52"/>
                    </a:lnTo>
                    <a:lnTo>
                      <a:pt x="200" y="55"/>
                    </a:lnTo>
                    <a:lnTo>
                      <a:pt x="205" y="57"/>
                    </a:lnTo>
                    <a:lnTo>
                      <a:pt x="213" y="60"/>
                    </a:lnTo>
                    <a:lnTo>
                      <a:pt x="220" y="69"/>
                    </a:lnTo>
                    <a:lnTo>
                      <a:pt x="225" y="74"/>
                    </a:lnTo>
                    <a:lnTo>
                      <a:pt x="234" y="81"/>
                    </a:lnTo>
                    <a:lnTo>
                      <a:pt x="243" y="81"/>
                    </a:lnTo>
                    <a:lnTo>
                      <a:pt x="249" y="89"/>
                    </a:lnTo>
                    <a:lnTo>
                      <a:pt x="244" y="93"/>
                    </a:lnTo>
                    <a:lnTo>
                      <a:pt x="239" y="98"/>
                    </a:lnTo>
                    <a:lnTo>
                      <a:pt x="243" y="103"/>
                    </a:lnTo>
                    <a:lnTo>
                      <a:pt x="249" y="110"/>
                    </a:lnTo>
                    <a:lnTo>
                      <a:pt x="253" y="117"/>
                    </a:lnTo>
                    <a:lnTo>
                      <a:pt x="256" y="124"/>
                    </a:lnTo>
                    <a:lnTo>
                      <a:pt x="261" y="127"/>
                    </a:lnTo>
                    <a:lnTo>
                      <a:pt x="268" y="129"/>
                    </a:lnTo>
                    <a:lnTo>
                      <a:pt x="270" y="131"/>
                    </a:lnTo>
                    <a:lnTo>
                      <a:pt x="272" y="136"/>
                    </a:lnTo>
                    <a:lnTo>
                      <a:pt x="275" y="136"/>
                    </a:lnTo>
                    <a:lnTo>
                      <a:pt x="279" y="136"/>
                    </a:lnTo>
                    <a:lnTo>
                      <a:pt x="280" y="138"/>
                    </a:lnTo>
                    <a:lnTo>
                      <a:pt x="284" y="143"/>
                    </a:lnTo>
                    <a:lnTo>
                      <a:pt x="287" y="143"/>
                    </a:lnTo>
                    <a:lnTo>
                      <a:pt x="294" y="145"/>
                    </a:lnTo>
                    <a:lnTo>
                      <a:pt x="289" y="146"/>
                    </a:lnTo>
                    <a:lnTo>
                      <a:pt x="287" y="153"/>
                    </a:lnTo>
                    <a:lnTo>
                      <a:pt x="286" y="153"/>
                    </a:lnTo>
                    <a:lnTo>
                      <a:pt x="284" y="153"/>
                    </a:lnTo>
                    <a:lnTo>
                      <a:pt x="279" y="150"/>
                    </a:lnTo>
                    <a:lnTo>
                      <a:pt x="274" y="146"/>
                    </a:lnTo>
                    <a:lnTo>
                      <a:pt x="261" y="146"/>
                    </a:lnTo>
                    <a:lnTo>
                      <a:pt x="248" y="141"/>
                    </a:lnTo>
                    <a:lnTo>
                      <a:pt x="241" y="134"/>
                    </a:lnTo>
                    <a:lnTo>
                      <a:pt x="239" y="131"/>
                    </a:lnTo>
                    <a:lnTo>
                      <a:pt x="237" y="129"/>
                    </a:lnTo>
                    <a:lnTo>
                      <a:pt x="229" y="120"/>
                    </a:lnTo>
                    <a:lnTo>
                      <a:pt x="220" y="112"/>
                    </a:lnTo>
                    <a:lnTo>
                      <a:pt x="210" y="107"/>
                    </a:lnTo>
                    <a:lnTo>
                      <a:pt x="201" y="105"/>
                    </a:lnTo>
                    <a:lnTo>
                      <a:pt x="193" y="105"/>
                    </a:lnTo>
                    <a:lnTo>
                      <a:pt x="189" y="108"/>
                    </a:lnTo>
                    <a:lnTo>
                      <a:pt x="186" y="114"/>
                    </a:lnTo>
                    <a:lnTo>
                      <a:pt x="182" y="119"/>
                    </a:lnTo>
                    <a:lnTo>
                      <a:pt x="181" y="124"/>
                    </a:lnTo>
                    <a:lnTo>
                      <a:pt x="179" y="131"/>
                    </a:lnTo>
                    <a:lnTo>
                      <a:pt x="167" y="131"/>
                    </a:lnTo>
                    <a:lnTo>
                      <a:pt x="160" y="131"/>
                    </a:lnTo>
                    <a:lnTo>
                      <a:pt x="150" y="127"/>
                    </a:lnTo>
                    <a:lnTo>
                      <a:pt x="145" y="122"/>
                    </a:lnTo>
                    <a:lnTo>
                      <a:pt x="138" y="115"/>
                    </a:lnTo>
                    <a:lnTo>
                      <a:pt x="131" y="114"/>
                    </a:lnTo>
                    <a:lnTo>
                      <a:pt x="124" y="114"/>
                    </a:lnTo>
                    <a:lnTo>
                      <a:pt x="122" y="117"/>
                    </a:lnTo>
                    <a:lnTo>
                      <a:pt x="112" y="117"/>
                    </a:lnTo>
                    <a:lnTo>
                      <a:pt x="105" y="115"/>
                    </a:lnTo>
                    <a:lnTo>
                      <a:pt x="103" y="114"/>
                    </a:lnTo>
                    <a:lnTo>
                      <a:pt x="108" y="105"/>
                    </a:lnTo>
                    <a:lnTo>
                      <a:pt x="117" y="103"/>
                    </a:lnTo>
                    <a:lnTo>
                      <a:pt x="110" y="91"/>
                    </a:lnTo>
                    <a:lnTo>
                      <a:pt x="110" y="81"/>
                    </a:lnTo>
                    <a:lnTo>
                      <a:pt x="105" y="76"/>
                    </a:lnTo>
                    <a:lnTo>
                      <a:pt x="100" y="72"/>
                    </a:lnTo>
                    <a:lnTo>
                      <a:pt x="91" y="69"/>
                    </a:lnTo>
                    <a:lnTo>
                      <a:pt x="88" y="67"/>
                    </a:lnTo>
                    <a:lnTo>
                      <a:pt x="81" y="64"/>
                    </a:lnTo>
                    <a:lnTo>
                      <a:pt x="74" y="64"/>
                    </a:lnTo>
                    <a:lnTo>
                      <a:pt x="67" y="62"/>
                    </a:lnTo>
                    <a:lnTo>
                      <a:pt x="62" y="62"/>
                    </a:lnTo>
                    <a:lnTo>
                      <a:pt x="55" y="59"/>
                    </a:lnTo>
                    <a:lnTo>
                      <a:pt x="52" y="55"/>
                    </a:lnTo>
                    <a:lnTo>
                      <a:pt x="46" y="50"/>
                    </a:lnTo>
                    <a:lnTo>
                      <a:pt x="43" y="52"/>
                    </a:lnTo>
                    <a:lnTo>
                      <a:pt x="43" y="47"/>
                    </a:lnTo>
                    <a:lnTo>
                      <a:pt x="38" y="53"/>
                    </a:lnTo>
                    <a:lnTo>
                      <a:pt x="34" y="57"/>
                    </a:lnTo>
                    <a:lnTo>
                      <a:pt x="31" y="55"/>
                    </a:lnTo>
                    <a:lnTo>
                      <a:pt x="29" y="55"/>
                    </a:lnTo>
                    <a:lnTo>
                      <a:pt x="28" y="48"/>
                    </a:lnTo>
                    <a:lnTo>
                      <a:pt x="28" y="43"/>
                    </a:lnTo>
                    <a:lnTo>
                      <a:pt x="21" y="40"/>
                    </a:lnTo>
                    <a:lnTo>
                      <a:pt x="17" y="38"/>
                    </a:lnTo>
                    <a:lnTo>
                      <a:pt x="22" y="34"/>
                    </a:lnTo>
                    <a:lnTo>
                      <a:pt x="31" y="33"/>
                    </a:lnTo>
                    <a:lnTo>
                      <a:pt x="38" y="31"/>
                    </a:lnTo>
                    <a:lnTo>
                      <a:pt x="43" y="29"/>
                    </a:lnTo>
                    <a:lnTo>
                      <a:pt x="40" y="29"/>
                    </a:lnTo>
                    <a:lnTo>
                      <a:pt x="33" y="29"/>
                    </a:lnTo>
                    <a:lnTo>
                      <a:pt x="26" y="31"/>
                    </a:lnTo>
                    <a:lnTo>
                      <a:pt x="21" y="29"/>
                    </a:lnTo>
                    <a:lnTo>
                      <a:pt x="19" y="29"/>
                    </a:lnTo>
                    <a:lnTo>
                      <a:pt x="16" y="26"/>
                    </a:lnTo>
                    <a:lnTo>
                      <a:pt x="16" y="24"/>
                    </a:lnTo>
                    <a:lnTo>
                      <a:pt x="5" y="19"/>
                    </a:lnTo>
                    <a:lnTo>
                      <a:pt x="0" y="14"/>
                    </a:lnTo>
                    <a:lnTo>
                      <a:pt x="2" y="9"/>
                    </a:lnTo>
                    <a:lnTo>
                      <a:pt x="7" y="9"/>
                    </a:lnTo>
                    <a:lnTo>
                      <a:pt x="14" y="4"/>
                    </a:lnTo>
                    <a:lnTo>
                      <a:pt x="26" y="0"/>
                    </a:lnTo>
                    <a:lnTo>
                      <a:pt x="38" y="4"/>
                    </a:lnTo>
                    <a:lnTo>
                      <a:pt x="50" y="10"/>
                    </a:lnTo>
                    <a:lnTo>
                      <a:pt x="50" y="19"/>
                    </a:lnTo>
                    <a:lnTo>
                      <a:pt x="50" y="29"/>
                    </a:lnTo>
                    <a:lnTo>
                      <a:pt x="52" y="31"/>
                    </a:lnTo>
                    <a:lnTo>
                      <a:pt x="57" y="33"/>
                    </a:lnTo>
                    <a:lnTo>
                      <a:pt x="60" y="38"/>
                    </a:lnTo>
                    <a:lnTo>
                      <a:pt x="67" y="43"/>
                    </a:lnTo>
                    <a:lnTo>
                      <a:pt x="72" y="38"/>
                    </a:lnTo>
                    <a:lnTo>
                      <a:pt x="77" y="34"/>
                    </a:lnTo>
                    <a:lnTo>
                      <a:pt x="81" y="29"/>
                    </a:lnTo>
                    <a:lnTo>
                      <a:pt x="89" y="28"/>
                    </a:lnTo>
                    <a:lnTo>
                      <a:pt x="96" y="21"/>
                    </a:lnTo>
                    <a:lnTo>
                      <a:pt x="105" y="16"/>
                    </a:lnTo>
                    <a:lnTo>
                      <a:pt x="108" y="17"/>
                    </a:lnTo>
                    <a:lnTo>
                      <a:pt x="112" y="19"/>
                    </a:lnTo>
                    <a:lnTo>
                      <a:pt x="119" y="24"/>
                    </a:lnTo>
                    <a:lnTo>
                      <a:pt x="126" y="29"/>
                    </a:lnTo>
                    <a:lnTo>
                      <a:pt x="139" y="29"/>
                    </a:lnTo>
                    <a:lnTo>
                      <a:pt x="143" y="31"/>
                    </a:lnTo>
                    <a:lnTo>
                      <a:pt x="148" y="33"/>
                    </a:lnTo>
                    <a:lnTo>
                      <a:pt x="148" y="34"/>
                    </a:lnTo>
                    <a:lnTo>
                      <a:pt x="14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5" name="Freeform 211"/>
              <p:cNvSpPr>
                <a:spLocks/>
              </p:cNvSpPr>
              <p:nvPr/>
            </p:nvSpPr>
            <p:spPr bwMode="auto">
              <a:xfrm>
                <a:off x="7781132" y="4075113"/>
                <a:ext cx="46038" cy="44450"/>
              </a:xfrm>
              <a:custGeom>
                <a:avLst/>
                <a:gdLst/>
                <a:ahLst/>
                <a:cxnLst>
                  <a:cxn ang="0">
                    <a:pos x="27" y="28"/>
                  </a:cxn>
                  <a:cxn ang="0">
                    <a:pos x="20" y="23"/>
                  </a:cxn>
                  <a:cxn ang="0">
                    <a:pos x="22" y="18"/>
                  </a:cxn>
                  <a:cxn ang="0">
                    <a:pos x="15" y="11"/>
                  </a:cxn>
                  <a:cxn ang="0">
                    <a:pos x="10" y="6"/>
                  </a:cxn>
                  <a:cxn ang="0">
                    <a:pos x="3" y="2"/>
                  </a:cxn>
                  <a:cxn ang="0">
                    <a:pos x="0" y="0"/>
                  </a:cxn>
                  <a:cxn ang="0">
                    <a:pos x="12" y="6"/>
                  </a:cxn>
                  <a:cxn ang="0">
                    <a:pos x="20" y="14"/>
                  </a:cxn>
                  <a:cxn ang="0">
                    <a:pos x="25" y="18"/>
                  </a:cxn>
                  <a:cxn ang="0">
                    <a:pos x="29" y="25"/>
                  </a:cxn>
                  <a:cxn ang="0">
                    <a:pos x="29" y="26"/>
                  </a:cxn>
                  <a:cxn ang="0">
                    <a:pos x="29" y="28"/>
                  </a:cxn>
                  <a:cxn ang="0">
                    <a:pos x="27" y="28"/>
                  </a:cxn>
                </a:cxnLst>
                <a:rect l="0" t="0" r="r" b="b"/>
                <a:pathLst>
                  <a:path w="29" h="28">
                    <a:moveTo>
                      <a:pt x="27" y="28"/>
                    </a:moveTo>
                    <a:lnTo>
                      <a:pt x="20" y="23"/>
                    </a:lnTo>
                    <a:lnTo>
                      <a:pt x="22" y="18"/>
                    </a:lnTo>
                    <a:lnTo>
                      <a:pt x="15" y="11"/>
                    </a:lnTo>
                    <a:lnTo>
                      <a:pt x="10" y="6"/>
                    </a:lnTo>
                    <a:lnTo>
                      <a:pt x="3" y="2"/>
                    </a:lnTo>
                    <a:lnTo>
                      <a:pt x="0" y="0"/>
                    </a:lnTo>
                    <a:lnTo>
                      <a:pt x="12" y="6"/>
                    </a:lnTo>
                    <a:lnTo>
                      <a:pt x="20" y="14"/>
                    </a:lnTo>
                    <a:lnTo>
                      <a:pt x="25" y="18"/>
                    </a:lnTo>
                    <a:lnTo>
                      <a:pt x="29" y="25"/>
                    </a:lnTo>
                    <a:lnTo>
                      <a:pt x="29" y="26"/>
                    </a:lnTo>
                    <a:lnTo>
                      <a:pt x="29" y="28"/>
                    </a:lnTo>
                    <a:lnTo>
                      <a:pt x="27"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6" name="Freeform 212"/>
              <p:cNvSpPr>
                <a:spLocks/>
              </p:cNvSpPr>
              <p:nvPr/>
            </p:nvSpPr>
            <p:spPr bwMode="auto">
              <a:xfrm>
                <a:off x="7865269" y="4141788"/>
                <a:ext cx="22225" cy="30162"/>
              </a:xfrm>
              <a:custGeom>
                <a:avLst/>
                <a:gdLst/>
                <a:ahLst/>
                <a:cxnLst>
                  <a:cxn ang="0">
                    <a:pos x="7" y="10"/>
                  </a:cxn>
                  <a:cxn ang="0">
                    <a:pos x="0" y="7"/>
                  </a:cxn>
                  <a:cxn ang="0">
                    <a:pos x="0" y="0"/>
                  </a:cxn>
                  <a:cxn ang="0">
                    <a:pos x="7" y="7"/>
                  </a:cxn>
                  <a:cxn ang="0">
                    <a:pos x="14" y="13"/>
                  </a:cxn>
                  <a:cxn ang="0">
                    <a:pos x="12" y="15"/>
                  </a:cxn>
                  <a:cxn ang="0">
                    <a:pos x="10" y="19"/>
                  </a:cxn>
                  <a:cxn ang="0">
                    <a:pos x="7" y="17"/>
                  </a:cxn>
                  <a:cxn ang="0">
                    <a:pos x="7" y="15"/>
                  </a:cxn>
                  <a:cxn ang="0">
                    <a:pos x="7" y="12"/>
                  </a:cxn>
                  <a:cxn ang="0">
                    <a:pos x="7" y="10"/>
                  </a:cxn>
                </a:cxnLst>
                <a:rect l="0" t="0" r="r" b="b"/>
                <a:pathLst>
                  <a:path w="14" h="19">
                    <a:moveTo>
                      <a:pt x="7" y="10"/>
                    </a:moveTo>
                    <a:lnTo>
                      <a:pt x="0" y="7"/>
                    </a:lnTo>
                    <a:lnTo>
                      <a:pt x="0" y="0"/>
                    </a:lnTo>
                    <a:lnTo>
                      <a:pt x="7" y="7"/>
                    </a:lnTo>
                    <a:lnTo>
                      <a:pt x="14" y="13"/>
                    </a:lnTo>
                    <a:lnTo>
                      <a:pt x="12" y="15"/>
                    </a:lnTo>
                    <a:lnTo>
                      <a:pt x="10" y="19"/>
                    </a:lnTo>
                    <a:lnTo>
                      <a:pt x="7" y="17"/>
                    </a:lnTo>
                    <a:lnTo>
                      <a:pt x="7" y="15"/>
                    </a:lnTo>
                    <a:lnTo>
                      <a:pt x="7" y="12"/>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7" name="Freeform 213"/>
              <p:cNvSpPr>
                <a:spLocks/>
              </p:cNvSpPr>
              <p:nvPr/>
            </p:nvSpPr>
            <p:spPr bwMode="auto">
              <a:xfrm>
                <a:off x="8020844" y="4248150"/>
                <a:ext cx="14288" cy="15875"/>
              </a:xfrm>
              <a:custGeom>
                <a:avLst/>
                <a:gdLst/>
                <a:ahLst/>
                <a:cxnLst>
                  <a:cxn ang="0">
                    <a:pos x="9" y="8"/>
                  </a:cxn>
                  <a:cxn ang="0">
                    <a:pos x="7" y="8"/>
                  </a:cxn>
                  <a:cxn ang="0">
                    <a:pos x="9" y="10"/>
                  </a:cxn>
                  <a:cxn ang="0">
                    <a:pos x="2" y="5"/>
                  </a:cxn>
                  <a:cxn ang="0">
                    <a:pos x="0" y="0"/>
                  </a:cxn>
                  <a:cxn ang="0">
                    <a:pos x="5" y="3"/>
                  </a:cxn>
                  <a:cxn ang="0">
                    <a:pos x="9" y="8"/>
                  </a:cxn>
                </a:cxnLst>
                <a:rect l="0" t="0" r="r" b="b"/>
                <a:pathLst>
                  <a:path w="9" h="10">
                    <a:moveTo>
                      <a:pt x="9" y="8"/>
                    </a:moveTo>
                    <a:lnTo>
                      <a:pt x="7" y="8"/>
                    </a:lnTo>
                    <a:lnTo>
                      <a:pt x="9" y="10"/>
                    </a:lnTo>
                    <a:lnTo>
                      <a:pt x="2" y="5"/>
                    </a:lnTo>
                    <a:lnTo>
                      <a:pt x="0" y="0"/>
                    </a:lnTo>
                    <a:lnTo>
                      <a:pt x="5" y="3"/>
                    </a:lnTo>
                    <a:lnTo>
                      <a:pt x="9" y="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8" name="Freeform 214"/>
              <p:cNvSpPr>
                <a:spLocks/>
              </p:cNvSpPr>
              <p:nvPr/>
            </p:nvSpPr>
            <p:spPr bwMode="auto">
              <a:xfrm>
                <a:off x="7985919" y="4237038"/>
                <a:ext cx="26988" cy="11112"/>
              </a:xfrm>
              <a:custGeom>
                <a:avLst/>
                <a:gdLst/>
                <a:ahLst/>
                <a:cxnLst>
                  <a:cxn ang="0">
                    <a:pos x="17" y="7"/>
                  </a:cxn>
                  <a:cxn ang="0">
                    <a:pos x="13" y="7"/>
                  </a:cxn>
                  <a:cxn ang="0">
                    <a:pos x="3" y="5"/>
                  </a:cxn>
                  <a:cxn ang="0">
                    <a:pos x="0" y="0"/>
                  </a:cxn>
                  <a:cxn ang="0">
                    <a:pos x="10" y="0"/>
                  </a:cxn>
                  <a:cxn ang="0">
                    <a:pos x="17" y="7"/>
                  </a:cxn>
                </a:cxnLst>
                <a:rect l="0" t="0" r="r" b="b"/>
                <a:pathLst>
                  <a:path w="17" h="7">
                    <a:moveTo>
                      <a:pt x="17" y="7"/>
                    </a:moveTo>
                    <a:lnTo>
                      <a:pt x="13" y="7"/>
                    </a:lnTo>
                    <a:lnTo>
                      <a:pt x="3" y="5"/>
                    </a:lnTo>
                    <a:lnTo>
                      <a:pt x="0" y="0"/>
                    </a:lnTo>
                    <a:lnTo>
                      <a:pt x="10" y="0"/>
                    </a:lnTo>
                    <a:lnTo>
                      <a:pt x="1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79" name="Freeform 215"/>
              <p:cNvSpPr>
                <a:spLocks/>
              </p:cNvSpPr>
              <p:nvPr/>
            </p:nvSpPr>
            <p:spPr bwMode="auto">
              <a:xfrm>
                <a:off x="7987507" y="4203700"/>
                <a:ext cx="25400" cy="25400"/>
              </a:xfrm>
              <a:custGeom>
                <a:avLst/>
                <a:gdLst/>
                <a:ahLst/>
                <a:cxnLst>
                  <a:cxn ang="0">
                    <a:pos x="16" y="16"/>
                  </a:cxn>
                  <a:cxn ang="0">
                    <a:pos x="5" y="9"/>
                  </a:cxn>
                  <a:cxn ang="0">
                    <a:pos x="0" y="0"/>
                  </a:cxn>
                  <a:cxn ang="0">
                    <a:pos x="9" y="5"/>
                  </a:cxn>
                  <a:cxn ang="0">
                    <a:pos x="16" y="16"/>
                  </a:cxn>
                </a:cxnLst>
                <a:rect l="0" t="0" r="r" b="b"/>
                <a:pathLst>
                  <a:path w="16" h="16">
                    <a:moveTo>
                      <a:pt x="16" y="16"/>
                    </a:moveTo>
                    <a:lnTo>
                      <a:pt x="5" y="9"/>
                    </a:lnTo>
                    <a:lnTo>
                      <a:pt x="0" y="0"/>
                    </a:lnTo>
                    <a:lnTo>
                      <a:pt x="9" y="5"/>
                    </a:lnTo>
                    <a:lnTo>
                      <a:pt x="16"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0" name="Freeform 216"/>
              <p:cNvSpPr>
                <a:spLocks/>
              </p:cNvSpPr>
              <p:nvPr/>
            </p:nvSpPr>
            <p:spPr bwMode="auto">
              <a:xfrm>
                <a:off x="7938294" y="4184650"/>
                <a:ext cx="33338" cy="17462"/>
              </a:xfrm>
              <a:custGeom>
                <a:avLst/>
                <a:gdLst/>
                <a:ahLst/>
                <a:cxnLst>
                  <a:cxn ang="0">
                    <a:pos x="4" y="0"/>
                  </a:cxn>
                  <a:cxn ang="0">
                    <a:pos x="12" y="4"/>
                  </a:cxn>
                  <a:cxn ang="0">
                    <a:pos x="21" y="11"/>
                  </a:cxn>
                  <a:cxn ang="0">
                    <a:pos x="18" y="11"/>
                  </a:cxn>
                  <a:cxn ang="0">
                    <a:pos x="5" y="7"/>
                  </a:cxn>
                  <a:cxn ang="0">
                    <a:pos x="0" y="2"/>
                  </a:cxn>
                  <a:cxn ang="0">
                    <a:pos x="2" y="2"/>
                  </a:cxn>
                  <a:cxn ang="0">
                    <a:pos x="4" y="0"/>
                  </a:cxn>
                </a:cxnLst>
                <a:rect l="0" t="0" r="r" b="b"/>
                <a:pathLst>
                  <a:path w="21" h="11">
                    <a:moveTo>
                      <a:pt x="4" y="0"/>
                    </a:moveTo>
                    <a:lnTo>
                      <a:pt x="12" y="4"/>
                    </a:lnTo>
                    <a:lnTo>
                      <a:pt x="21" y="11"/>
                    </a:lnTo>
                    <a:lnTo>
                      <a:pt x="18" y="11"/>
                    </a:lnTo>
                    <a:lnTo>
                      <a:pt x="5" y="7"/>
                    </a:lnTo>
                    <a:lnTo>
                      <a:pt x="0" y="2"/>
                    </a:lnTo>
                    <a:lnTo>
                      <a:pt x="2"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1" name="Freeform 217"/>
              <p:cNvSpPr>
                <a:spLocks/>
              </p:cNvSpPr>
              <p:nvPr/>
            </p:nvSpPr>
            <p:spPr bwMode="auto">
              <a:xfrm>
                <a:off x="7903369" y="4165600"/>
                <a:ext cx="19050" cy="11112"/>
              </a:xfrm>
              <a:custGeom>
                <a:avLst/>
                <a:gdLst/>
                <a:ahLst/>
                <a:cxnLst>
                  <a:cxn ang="0">
                    <a:pos x="0" y="0"/>
                  </a:cxn>
                  <a:cxn ang="0">
                    <a:pos x="5" y="2"/>
                  </a:cxn>
                  <a:cxn ang="0">
                    <a:pos x="12" y="7"/>
                  </a:cxn>
                  <a:cxn ang="0">
                    <a:pos x="9" y="7"/>
                  </a:cxn>
                  <a:cxn ang="0">
                    <a:pos x="0" y="2"/>
                  </a:cxn>
                  <a:cxn ang="0">
                    <a:pos x="2" y="0"/>
                  </a:cxn>
                  <a:cxn ang="0">
                    <a:pos x="3" y="0"/>
                  </a:cxn>
                  <a:cxn ang="0">
                    <a:pos x="0" y="0"/>
                  </a:cxn>
                </a:cxnLst>
                <a:rect l="0" t="0" r="r" b="b"/>
                <a:pathLst>
                  <a:path w="12" h="7">
                    <a:moveTo>
                      <a:pt x="0" y="0"/>
                    </a:moveTo>
                    <a:lnTo>
                      <a:pt x="5" y="2"/>
                    </a:lnTo>
                    <a:lnTo>
                      <a:pt x="12" y="7"/>
                    </a:lnTo>
                    <a:lnTo>
                      <a:pt x="9" y="7"/>
                    </a:lnTo>
                    <a:lnTo>
                      <a:pt x="0" y="2"/>
                    </a:lnTo>
                    <a:lnTo>
                      <a:pt x="2" y="0"/>
                    </a:lnTo>
                    <a:lnTo>
                      <a:pt x="3"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2" name="Freeform 218"/>
              <p:cNvSpPr>
                <a:spLocks/>
              </p:cNvSpPr>
              <p:nvPr/>
            </p:nvSpPr>
            <p:spPr bwMode="auto">
              <a:xfrm>
                <a:off x="7627144" y="5006975"/>
                <a:ext cx="87313" cy="84137"/>
              </a:xfrm>
              <a:custGeom>
                <a:avLst/>
                <a:gdLst/>
                <a:ahLst/>
                <a:cxnLst>
                  <a:cxn ang="0">
                    <a:pos x="28" y="5"/>
                  </a:cxn>
                  <a:cxn ang="0">
                    <a:pos x="38" y="2"/>
                  </a:cxn>
                  <a:cxn ang="0">
                    <a:pos x="50" y="0"/>
                  </a:cxn>
                  <a:cxn ang="0">
                    <a:pos x="52" y="7"/>
                  </a:cxn>
                  <a:cxn ang="0">
                    <a:pos x="55" y="15"/>
                  </a:cxn>
                  <a:cxn ang="0">
                    <a:pos x="52" y="24"/>
                  </a:cxn>
                  <a:cxn ang="0">
                    <a:pos x="47" y="38"/>
                  </a:cxn>
                  <a:cxn ang="0">
                    <a:pos x="38" y="48"/>
                  </a:cxn>
                  <a:cxn ang="0">
                    <a:pos x="31" y="53"/>
                  </a:cxn>
                  <a:cxn ang="0">
                    <a:pos x="19" y="46"/>
                  </a:cxn>
                  <a:cxn ang="0">
                    <a:pos x="9" y="32"/>
                  </a:cxn>
                  <a:cxn ang="0">
                    <a:pos x="2" y="15"/>
                  </a:cxn>
                  <a:cxn ang="0">
                    <a:pos x="0" y="5"/>
                  </a:cxn>
                  <a:cxn ang="0">
                    <a:pos x="4" y="0"/>
                  </a:cxn>
                  <a:cxn ang="0">
                    <a:pos x="12" y="2"/>
                  </a:cxn>
                  <a:cxn ang="0">
                    <a:pos x="21" y="3"/>
                  </a:cxn>
                  <a:cxn ang="0">
                    <a:pos x="28" y="5"/>
                  </a:cxn>
                </a:cxnLst>
                <a:rect l="0" t="0" r="r" b="b"/>
                <a:pathLst>
                  <a:path w="55" h="53">
                    <a:moveTo>
                      <a:pt x="28" y="5"/>
                    </a:moveTo>
                    <a:lnTo>
                      <a:pt x="38" y="2"/>
                    </a:lnTo>
                    <a:lnTo>
                      <a:pt x="50" y="0"/>
                    </a:lnTo>
                    <a:lnTo>
                      <a:pt x="52" y="7"/>
                    </a:lnTo>
                    <a:lnTo>
                      <a:pt x="55" y="15"/>
                    </a:lnTo>
                    <a:lnTo>
                      <a:pt x="52" y="24"/>
                    </a:lnTo>
                    <a:lnTo>
                      <a:pt x="47" y="38"/>
                    </a:lnTo>
                    <a:lnTo>
                      <a:pt x="38" y="48"/>
                    </a:lnTo>
                    <a:lnTo>
                      <a:pt x="31" y="53"/>
                    </a:lnTo>
                    <a:lnTo>
                      <a:pt x="19" y="46"/>
                    </a:lnTo>
                    <a:lnTo>
                      <a:pt x="9" y="32"/>
                    </a:lnTo>
                    <a:lnTo>
                      <a:pt x="2" y="15"/>
                    </a:lnTo>
                    <a:lnTo>
                      <a:pt x="0" y="5"/>
                    </a:lnTo>
                    <a:lnTo>
                      <a:pt x="4" y="0"/>
                    </a:lnTo>
                    <a:lnTo>
                      <a:pt x="12" y="2"/>
                    </a:lnTo>
                    <a:lnTo>
                      <a:pt x="21" y="3"/>
                    </a:lnTo>
                    <a:lnTo>
                      <a:pt x="2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3" name="Freeform 219"/>
              <p:cNvSpPr>
                <a:spLocks/>
              </p:cNvSpPr>
              <p:nvPr/>
            </p:nvSpPr>
            <p:spPr bwMode="auto">
              <a:xfrm>
                <a:off x="7703344" y="4984750"/>
                <a:ext cx="9525" cy="14287"/>
              </a:xfrm>
              <a:custGeom>
                <a:avLst/>
                <a:gdLst/>
                <a:ahLst/>
                <a:cxnLst>
                  <a:cxn ang="0">
                    <a:pos x="6" y="0"/>
                  </a:cxn>
                  <a:cxn ang="0">
                    <a:pos x="6" y="4"/>
                  </a:cxn>
                  <a:cxn ang="0">
                    <a:pos x="6" y="9"/>
                  </a:cxn>
                  <a:cxn ang="0">
                    <a:pos x="0" y="4"/>
                  </a:cxn>
                  <a:cxn ang="0">
                    <a:pos x="0" y="0"/>
                  </a:cxn>
                  <a:cxn ang="0">
                    <a:pos x="2" y="0"/>
                  </a:cxn>
                  <a:cxn ang="0">
                    <a:pos x="6" y="0"/>
                  </a:cxn>
                </a:cxnLst>
                <a:rect l="0" t="0" r="r" b="b"/>
                <a:pathLst>
                  <a:path w="6" h="9">
                    <a:moveTo>
                      <a:pt x="6" y="0"/>
                    </a:moveTo>
                    <a:lnTo>
                      <a:pt x="6" y="4"/>
                    </a:lnTo>
                    <a:lnTo>
                      <a:pt x="6" y="9"/>
                    </a:lnTo>
                    <a:lnTo>
                      <a:pt x="0" y="4"/>
                    </a:lnTo>
                    <a:lnTo>
                      <a:pt x="0" y="0"/>
                    </a:lnTo>
                    <a:lnTo>
                      <a:pt x="2" y="0"/>
                    </a:lnTo>
                    <a:lnTo>
                      <a:pt x="6"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4" name="Freeform 220"/>
              <p:cNvSpPr>
                <a:spLocks/>
              </p:cNvSpPr>
              <p:nvPr/>
            </p:nvSpPr>
            <p:spPr bwMode="auto">
              <a:xfrm>
                <a:off x="7441407" y="4873625"/>
                <a:ext cx="28575" cy="7937"/>
              </a:xfrm>
              <a:custGeom>
                <a:avLst/>
                <a:gdLst/>
                <a:ahLst/>
                <a:cxnLst>
                  <a:cxn ang="0">
                    <a:pos x="18" y="3"/>
                  </a:cxn>
                  <a:cxn ang="0">
                    <a:pos x="7" y="5"/>
                  </a:cxn>
                  <a:cxn ang="0">
                    <a:pos x="0" y="3"/>
                  </a:cxn>
                  <a:cxn ang="0">
                    <a:pos x="9" y="0"/>
                  </a:cxn>
                  <a:cxn ang="0">
                    <a:pos x="18" y="3"/>
                  </a:cxn>
                </a:cxnLst>
                <a:rect l="0" t="0" r="r" b="b"/>
                <a:pathLst>
                  <a:path w="18" h="5">
                    <a:moveTo>
                      <a:pt x="18" y="3"/>
                    </a:moveTo>
                    <a:lnTo>
                      <a:pt x="7" y="5"/>
                    </a:lnTo>
                    <a:lnTo>
                      <a:pt x="0" y="3"/>
                    </a:lnTo>
                    <a:lnTo>
                      <a:pt x="9" y="0"/>
                    </a:lnTo>
                    <a:lnTo>
                      <a:pt x="18"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5" name="Freeform 221"/>
              <p:cNvSpPr>
                <a:spLocks/>
              </p:cNvSpPr>
              <p:nvPr/>
            </p:nvSpPr>
            <p:spPr bwMode="auto">
              <a:xfrm>
                <a:off x="7292182" y="4278313"/>
                <a:ext cx="30163" cy="11112"/>
              </a:xfrm>
              <a:custGeom>
                <a:avLst/>
                <a:gdLst/>
                <a:ahLst/>
                <a:cxnLst>
                  <a:cxn ang="0">
                    <a:pos x="19" y="0"/>
                  </a:cxn>
                  <a:cxn ang="0">
                    <a:pos x="19" y="7"/>
                  </a:cxn>
                  <a:cxn ang="0">
                    <a:pos x="15" y="7"/>
                  </a:cxn>
                  <a:cxn ang="0">
                    <a:pos x="13" y="7"/>
                  </a:cxn>
                  <a:cxn ang="0">
                    <a:pos x="5" y="5"/>
                  </a:cxn>
                  <a:cxn ang="0">
                    <a:pos x="0" y="1"/>
                  </a:cxn>
                  <a:cxn ang="0">
                    <a:pos x="8" y="0"/>
                  </a:cxn>
                  <a:cxn ang="0">
                    <a:pos x="19" y="0"/>
                  </a:cxn>
                </a:cxnLst>
                <a:rect l="0" t="0" r="r" b="b"/>
                <a:pathLst>
                  <a:path w="19" h="7">
                    <a:moveTo>
                      <a:pt x="19" y="0"/>
                    </a:moveTo>
                    <a:lnTo>
                      <a:pt x="19" y="7"/>
                    </a:lnTo>
                    <a:lnTo>
                      <a:pt x="15" y="7"/>
                    </a:lnTo>
                    <a:lnTo>
                      <a:pt x="13" y="7"/>
                    </a:lnTo>
                    <a:lnTo>
                      <a:pt x="5" y="5"/>
                    </a:lnTo>
                    <a:lnTo>
                      <a:pt x="0" y="1"/>
                    </a:lnTo>
                    <a:lnTo>
                      <a:pt x="8"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6" name="Freeform 222"/>
              <p:cNvSpPr>
                <a:spLocks/>
              </p:cNvSpPr>
              <p:nvPr/>
            </p:nvSpPr>
            <p:spPr bwMode="auto">
              <a:xfrm>
                <a:off x="6909594" y="4264025"/>
                <a:ext cx="922338" cy="698500"/>
              </a:xfrm>
              <a:custGeom>
                <a:avLst/>
                <a:gdLst/>
                <a:ahLst/>
                <a:cxnLst>
                  <a:cxn ang="0">
                    <a:pos x="580" y="253"/>
                  </a:cxn>
                  <a:cxn ang="0">
                    <a:pos x="576" y="292"/>
                  </a:cxn>
                  <a:cxn ang="0">
                    <a:pos x="571" y="323"/>
                  </a:cxn>
                  <a:cxn ang="0">
                    <a:pos x="547" y="359"/>
                  </a:cxn>
                  <a:cxn ang="0">
                    <a:pos x="533" y="404"/>
                  </a:cxn>
                  <a:cxn ang="0">
                    <a:pos x="488" y="427"/>
                  </a:cxn>
                  <a:cxn ang="0">
                    <a:pos x="457" y="428"/>
                  </a:cxn>
                  <a:cxn ang="0">
                    <a:pos x="418" y="433"/>
                  </a:cxn>
                  <a:cxn ang="0">
                    <a:pos x="380" y="392"/>
                  </a:cxn>
                  <a:cxn ang="0">
                    <a:pos x="365" y="384"/>
                  </a:cxn>
                  <a:cxn ang="0">
                    <a:pos x="359" y="365"/>
                  </a:cxn>
                  <a:cxn ang="0">
                    <a:pos x="351" y="373"/>
                  </a:cxn>
                  <a:cxn ang="0">
                    <a:pos x="344" y="366"/>
                  </a:cxn>
                  <a:cxn ang="0">
                    <a:pos x="346" y="344"/>
                  </a:cxn>
                  <a:cxn ang="0">
                    <a:pos x="316" y="368"/>
                  </a:cxn>
                  <a:cxn ang="0">
                    <a:pos x="303" y="339"/>
                  </a:cxn>
                  <a:cxn ang="0">
                    <a:pos x="256" y="318"/>
                  </a:cxn>
                  <a:cxn ang="0">
                    <a:pos x="217" y="325"/>
                  </a:cxn>
                  <a:cxn ang="0">
                    <a:pos x="179" y="334"/>
                  </a:cxn>
                  <a:cxn ang="0">
                    <a:pos x="151" y="344"/>
                  </a:cxn>
                  <a:cxn ang="0">
                    <a:pos x="110" y="356"/>
                  </a:cxn>
                  <a:cxn ang="0">
                    <a:pos x="69" y="372"/>
                  </a:cxn>
                  <a:cxn ang="0">
                    <a:pos x="26" y="363"/>
                  </a:cxn>
                  <a:cxn ang="0">
                    <a:pos x="33" y="323"/>
                  </a:cxn>
                  <a:cxn ang="0">
                    <a:pos x="19" y="287"/>
                  </a:cxn>
                  <a:cxn ang="0">
                    <a:pos x="3" y="244"/>
                  </a:cxn>
                  <a:cxn ang="0">
                    <a:pos x="5" y="232"/>
                  </a:cxn>
                  <a:cxn ang="0">
                    <a:pos x="5" y="217"/>
                  </a:cxn>
                  <a:cxn ang="0">
                    <a:pos x="2" y="179"/>
                  </a:cxn>
                  <a:cxn ang="0">
                    <a:pos x="7" y="169"/>
                  </a:cxn>
                  <a:cxn ang="0">
                    <a:pos x="39" y="148"/>
                  </a:cxn>
                  <a:cxn ang="0">
                    <a:pos x="76" y="141"/>
                  </a:cxn>
                  <a:cxn ang="0">
                    <a:pos x="113" y="126"/>
                  </a:cxn>
                  <a:cxn ang="0">
                    <a:pos x="129" y="105"/>
                  </a:cxn>
                  <a:cxn ang="0">
                    <a:pos x="139" y="93"/>
                  </a:cxn>
                  <a:cxn ang="0">
                    <a:pos x="153" y="84"/>
                  </a:cxn>
                  <a:cxn ang="0">
                    <a:pos x="167" y="64"/>
                  </a:cxn>
                  <a:cxn ang="0">
                    <a:pos x="189" y="48"/>
                  </a:cxn>
                  <a:cxn ang="0">
                    <a:pos x="217" y="62"/>
                  </a:cxn>
                  <a:cxn ang="0">
                    <a:pos x="232" y="59"/>
                  </a:cxn>
                  <a:cxn ang="0">
                    <a:pos x="242" y="29"/>
                  </a:cxn>
                  <a:cxn ang="0">
                    <a:pos x="273" y="22"/>
                  </a:cxn>
                  <a:cxn ang="0">
                    <a:pos x="279" y="12"/>
                  </a:cxn>
                  <a:cxn ang="0">
                    <a:pos x="322" y="21"/>
                  </a:cxn>
                  <a:cxn ang="0">
                    <a:pos x="334" y="33"/>
                  </a:cxn>
                  <a:cxn ang="0">
                    <a:pos x="332" y="69"/>
                  </a:cxn>
                  <a:cxn ang="0">
                    <a:pos x="353" y="84"/>
                  </a:cxn>
                  <a:cxn ang="0">
                    <a:pos x="390" y="105"/>
                  </a:cxn>
                  <a:cxn ang="0">
                    <a:pos x="411" y="64"/>
                  </a:cxn>
                  <a:cxn ang="0">
                    <a:pos x="425" y="9"/>
                  </a:cxn>
                  <a:cxn ang="0">
                    <a:pos x="437" y="43"/>
                  </a:cxn>
                  <a:cxn ang="0">
                    <a:pos x="461" y="62"/>
                  </a:cxn>
                  <a:cxn ang="0">
                    <a:pos x="468" y="95"/>
                  </a:cxn>
                  <a:cxn ang="0">
                    <a:pos x="483" y="126"/>
                  </a:cxn>
                  <a:cxn ang="0">
                    <a:pos x="519" y="157"/>
                  </a:cxn>
                  <a:cxn ang="0">
                    <a:pos x="542" y="186"/>
                  </a:cxn>
                  <a:cxn ang="0">
                    <a:pos x="568" y="215"/>
                  </a:cxn>
                </a:cxnLst>
                <a:rect l="0" t="0" r="r" b="b"/>
                <a:pathLst>
                  <a:path w="581" h="440">
                    <a:moveTo>
                      <a:pt x="568" y="215"/>
                    </a:moveTo>
                    <a:lnTo>
                      <a:pt x="571" y="224"/>
                    </a:lnTo>
                    <a:lnTo>
                      <a:pt x="576" y="239"/>
                    </a:lnTo>
                    <a:lnTo>
                      <a:pt x="580" y="253"/>
                    </a:lnTo>
                    <a:lnTo>
                      <a:pt x="581" y="268"/>
                    </a:lnTo>
                    <a:lnTo>
                      <a:pt x="580" y="275"/>
                    </a:lnTo>
                    <a:lnTo>
                      <a:pt x="578" y="286"/>
                    </a:lnTo>
                    <a:lnTo>
                      <a:pt x="576" y="292"/>
                    </a:lnTo>
                    <a:lnTo>
                      <a:pt x="574" y="299"/>
                    </a:lnTo>
                    <a:lnTo>
                      <a:pt x="574" y="313"/>
                    </a:lnTo>
                    <a:lnTo>
                      <a:pt x="571" y="318"/>
                    </a:lnTo>
                    <a:lnTo>
                      <a:pt x="571" y="323"/>
                    </a:lnTo>
                    <a:lnTo>
                      <a:pt x="562" y="332"/>
                    </a:lnTo>
                    <a:lnTo>
                      <a:pt x="555" y="341"/>
                    </a:lnTo>
                    <a:lnTo>
                      <a:pt x="550" y="347"/>
                    </a:lnTo>
                    <a:lnTo>
                      <a:pt x="547" y="359"/>
                    </a:lnTo>
                    <a:lnTo>
                      <a:pt x="542" y="368"/>
                    </a:lnTo>
                    <a:lnTo>
                      <a:pt x="538" y="378"/>
                    </a:lnTo>
                    <a:lnTo>
                      <a:pt x="533" y="390"/>
                    </a:lnTo>
                    <a:lnTo>
                      <a:pt x="533" y="404"/>
                    </a:lnTo>
                    <a:lnTo>
                      <a:pt x="533" y="404"/>
                    </a:lnTo>
                    <a:lnTo>
                      <a:pt x="521" y="415"/>
                    </a:lnTo>
                    <a:lnTo>
                      <a:pt x="506" y="421"/>
                    </a:lnTo>
                    <a:lnTo>
                      <a:pt x="488" y="427"/>
                    </a:lnTo>
                    <a:lnTo>
                      <a:pt x="482" y="440"/>
                    </a:lnTo>
                    <a:lnTo>
                      <a:pt x="473" y="437"/>
                    </a:lnTo>
                    <a:lnTo>
                      <a:pt x="466" y="433"/>
                    </a:lnTo>
                    <a:lnTo>
                      <a:pt x="457" y="428"/>
                    </a:lnTo>
                    <a:lnTo>
                      <a:pt x="456" y="425"/>
                    </a:lnTo>
                    <a:lnTo>
                      <a:pt x="445" y="430"/>
                    </a:lnTo>
                    <a:lnTo>
                      <a:pt x="435" y="437"/>
                    </a:lnTo>
                    <a:lnTo>
                      <a:pt x="418" y="433"/>
                    </a:lnTo>
                    <a:lnTo>
                      <a:pt x="401" y="427"/>
                    </a:lnTo>
                    <a:lnTo>
                      <a:pt x="387" y="416"/>
                    </a:lnTo>
                    <a:lnTo>
                      <a:pt x="383" y="402"/>
                    </a:lnTo>
                    <a:lnTo>
                      <a:pt x="380" y="392"/>
                    </a:lnTo>
                    <a:lnTo>
                      <a:pt x="377" y="382"/>
                    </a:lnTo>
                    <a:lnTo>
                      <a:pt x="375" y="380"/>
                    </a:lnTo>
                    <a:lnTo>
                      <a:pt x="370" y="382"/>
                    </a:lnTo>
                    <a:lnTo>
                      <a:pt x="365" y="384"/>
                    </a:lnTo>
                    <a:lnTo>
                      <a:pt x="359" y="384"/>
                    </a:lnTo>
                    <a:lnTo>
                      <a:pt x="361" y="378"/>
                    </a:lnTo>
                    <a:lnTo>
                      <a:pt x="363" y="373"/>
                    </a:lnTo>
                    <a:lnTo>
                      <a:pt x="359" y="365"/>
                    </a:lnTo>
                    <a:lnTo>
                      <a:pt x="358" y="363"/>
                    </a:lnTo>
                    <a:lnTo>
                      <a:pt x="356" y="365"/>
                    </a:lnTo>
                    <a:lnTo>
                      <a:pt x="356" y="368"/>
                    </a:lnTo>
                    <a:lnTo>
                      <a:pt x="351" y="373"/>
                    </a:lnTo>
                    <a:lnTo>
                      <a:pt x="344" y="378"/>
                    </a:lnTo>
                    <a:lnTo>
                      <a:pt x="340" y="377"/>
                    </a:lnTo>
                    <a:lnTo>
                      <a:pt x="339" y="373"/>
                    </a:lnTo>
                    <a:lnTo>
                      <a:pt x="344" y="366"/>
                    </a:lnTo>
                    <a:lnTo>
                      <a:pt x="351" y="356"/>
                    </a:lnTo>
                    <a:lnTo>
                      <a:pt x="353" y="344"/>
                    </a:lnTo>
                    <a:lnTo>
                      <a:pt x="354" y="337"/>
                    </a:lnTo>
                    <a:lnTo>
                      <a:pt x="346" y="344"/>
                    </a:lnTo>
                    <a:lnTo>
                      <a:pt x="337" y="358"/>
                    </a:lnTo>
                    <a:lnTo>
                      <a:pt x="328" y="368"/>
                    </a:lnTo>
                    <a:lnTo>
                      <a:pt x="322" y="373"/>
                    </a:lnTo>
                    <a:lnTo>
                      <a:pt x="316" y="368"/>
                    </a:lnTo>
                    <a:lnTo>
                      <a:pt x="316" y="363"/>
                    </a:lnTo>
                    <a:lnTo>
                      <a:pt x="311" y="358"/>
                    </a:lnTo>
                    <a:lnTo>
                      <a:pt x="308" y="349"/>
                    </a:lnTo>
                    <a:lnTo>
                      <a:pt x="303" y="339"/>
                    </a:lnTo>
                    <a:lnTo>
                      <a:pt x="299" y="334"/>
                    </a:lnTo>
                    <a:lnTo>
                      <a:pt x="287" y="325"/>
                    </a:lnTo>
                    <a:lnTo>
                      <a:pt x="273" y="322"/>
                    </a:lnTo>
                    <a:lnTo>
                      <a:pt x="256" y="318"/>
                    </a:lnTo>
                    <a:lnTo>
                      <a:pt x="244" y="318"/>
                    </a:lnTo>
                    <a:lnTo>
                      <a:pt x="230" y="318"/>
                    </a:lnTo>
                    <a:lnTo>
                      <a:pt x="224" y="322"/>
                    </a:lnTo>
                    <a:lnTo>
                      <a:pt x="217" y="325"/>
                    </a:lnTo>
                    <a:lnTo>
                      <a:pt x="210" y="329"/>
                    </a:lnTo>
                    <a:lnTo>
                      <a:pt x="199" y="330"/>
                    </a:lnTo>
                    <a:lnTo>
                      <a:pt x="189" y="332"/>
                    </a:lnTo>
                    <a:lnTo>
                      <a:pt x="179" y="334"/>
                    </a:lnTo>
                    <a:lnTo>
                      <a:pt x="170" y="335"/>
                    </a:lnTo>
                    <a:lnTo>
                      <a:pt x="162" y="335"/>
                    </a:lnTo>
                    <a:lnTo>
                      <a:pt x="156" y="339"/>
                    </a:lnTo>
                    <a:lnTo>
                      <a:pt x="151" y="344"/>
                    </a:lnTo>
                    <a:lnTo>
                      <a:pt x="150" y="354"/>
                    </a:lnTo>
                    <a:lnTo>
                      <a:pt x="132" y="356"/>
                    </a:lnTo>
                    <a:lnTo>
                      <a:pt x="119" y="358"/>
                    </a:lnTo>
                    <a:lnTo>
                      <a:pt x="110" y="356"/>
                    </a:lnTo>
                    <a:lnTo>
                      <a:pt x="105" y="358"/>
                    </a:lnTo>
                    <a:lnTo>
                      <a:pt x="91" y="359"/>
                    </a:lnTo>
                    <a:lnTo>
                      <a:pt x="81" y="366"/>
                    </a:lnTo>
                    <a:lnTo>
                      <a:pt x="69" y="372"/>
                    </a:lnTo>
                    <a:lnTo>
                      <a:pt x="57" y="375"/>
                    </a:lnTo>
                    <a:lnTo>
                      <a:pt x="46" y="372"/>
                    </a:lnTo>
                    <a:lnTo>
                      <a:pt x="34" y="368"/>
                    </a:lnTo>
                    <a:lnTo>
                      <a:pt x="26" y="363"/>
                    </a:lnTo>
                    <a:lnTo>
                      <a:pt x="22" y="358"/>
                    </a:lnTo>
                    <a:lnTo>
                      <a:pt x="27" y="346"/>
                    </a:lnTo>
                    <a:lnTo>
                      <a:pt x="34" y="334"/>
                    </a:lnTo>
                    <a:lnTo>
                      <a:pt x="33" y="323"/>
                    </a:lnTo>
                    <a:lnTo>
                      <a:pt x="29" y="315"/>
                    </a:lnTo>
                    <a:lnTo>
                      <a:pt x="26" y="308"/>
                    </a:lnTo>
                    <a:lnTo>
                      <a:pt x="24" y="303"/>
                    </a:lnTo>
                    <a:lnTo>
                      <a:pt x="19" y="287"/>
                    </a:lnTo>
                    <a:lnTo>
                      <a:pt x="17" y="277"/>
                    </a:lnTo>
                    <a:lnTo>
                      <a:pt x="14" y="265"/>
                    </a:lnTo>
                    <a:lnTo>
                      <a:pt x="10" y="253"/>
                    </a:lnTo>
                    <a:lnTo>
                      <a:pt x="3" y="244"/>
                    </a:lnTo>
                    <a:lnTo>
                      <a:pt x="0" y="236"/>
                    </a:lnTo>
                    <a:lnTo>
                      <a:pt x="2" y="232"/>
                    </a:lnTo>
                    <a:lnTo>
                      <a:pt x="3" y="229"/>
                    </a:lnTo>
                    <a:lnTo>
                      <a:pt x="5" y="232"/>
                    </a:lnTo>
                    <a:lnTo>
                      <a:pt x="9" y="236"/>
                    </a:lnTo>
                    <a:lnTo>
                      <a:pt x="9" y="232"/>
                    </a:lnTo>
                    <a:lnTo>
                      <a:pt x="9" y="229"/>
                    </a:lnTo>
                    <a:lnTo>
                      <a:pt x="5" y="217"/>
                    </a:lnTo>
                    <a:lnTo>
                      <a:pt x="2" y="203"/>
                    </a:lnTo>
                    <a:lnTo>
                      <a:pt x="2" y="193"/>
                    </a:lnTo>
                    <a:lnTo>
                      <a:pt x="2" y="186"/>
                    </a:lnTo>
                    <a:lnTo>
                      <a:pt x="2" y="179"/>
                    </a:lnTo>
                    <a:lnTo>
                      <a:pt x="2" y="174"/>
                    </a:lnTo>
                    <a:lnTo>
                      <a:pt x="3" y="169"/>
                    </a:lnTo>
                    <a:lnTo>
                      <a:pt x="7" y="167"/>
                    </a:lnTo>
                    <a:lnTo>
                      <a:pt x="7" y="169"/>
                    </a:lnTo>
                    <a:lnTo>
                      <a:pt x="9" y="172"/>
                    </a:lnTo>
                    <a:lnTo>
                      <a:pt x="22" y="163"/>
                    </a:lnTo>
                    <a:lnTo>
                      <a:pt x="34" y="153"/>
                    </a:lnTo>
                    <a:lnTo>
                      <a:pt x="39" y="148"/>
                    </a:lnTo>
                    <a:lnTo>
                      <a:pt x="50" y="146"/>
                    </a:lnTo>
                    <a:lnTo>
                      <a:pt x="58" y="145"/>
                    </a:lnTo>
                    <a:lnTo>
                      <a:pt x="69" y="145"/>
                    </a:lnTo>
                    <a:lnTo>
                      <a:pt x="76" y="141"/>
                    </a:lnTo>
                    <a:lnTo>
                      <a:pt x="84" y="139"/>
                    </a:lnTo>
                    <a:lnTo>
                      <a:pt x="95" y="136"/>
                    </a:lnTo>
                    <a:lnTo>
                      <a:pt x="105" y="133"/>
                    </a:lnTo>
                    <a:lnTo>
                      <a:pt x="113" y="126"/>
                    </a:lnTo>
                    <a:lnTo>
                      <a:pt x="122" y="120"/>
                    </a:lnTo>
                    <a:lnTo>
                      <a:pt x="125" y="115"/>
                    </a:lnTo>
                    <a:lnTo>
                      <a:pt x="129" y="110"/>
                    </a:lnTo>
                    <a:lnTo>
                      <a:pt x="129" y="105"/>
                    </a:lnTo>
                    <a:lnTo>
                      <a:pt x="129" y="102"/>
                    </a:lnTo>
                    <a:lnTo>
                      <a:pt x="129" y="93"/>
                    </a:lnTo>
                    <a:lnTo>
                      <a:pt x="136" y="88"/>
                    </a:lnTo>
                    <a:lnTo>
                      <a:pt x="139" y="93"/>
                    </a:lnTo>
                    <a:lnTo>
                      <a:pt x="143" y="98"/>
                    </a:lnTo>
                    <a:lnTo>
                      <a:pt x="146" y="90"/>
                    </a:lnTo>
                    <a:lnTo>
                      <a:pt x="148" y="83"/>
                    </a:lnTo>
                    <a:lnTo>
                      <a:pt x="153" y="84"/>
                    </a:lnTo>
                    <a:lnTo>
                      <a:pt x="158" y="86"/>
                    </a:lnTo>
                    <a:lnTo>
                      <a:pt x="158" y="76"/>
                    </a:lnTo>
                    <a:lnTo>
                      <a:pt x="163" y="71"/>
                    </a:lnTo>
                    <a:lnTo>
                      <a:pt x="167" y="64"/>
                    </a:lnTo>
                    <a:lnTo>
                      <a:pt x="170" y="59"/>
                    </a:lnTo>
                    <a:lnTo>
                      <a:pt x="177" y="55"/>
                    </a:lnTo>
                    <a:lnTo>
                      <a:pt x="184" y="53"/>
                    </a:lnTo>
                    <a:lnTo>
                      <a:pt x="189" y="48"/>
                    </a:lnTo>
                    <a:lnTo>
                      <a:pt x="198" y="48"/>
                    </a:lnTo>
                    <a:lnTo>
                      <a:pt x="206" y="53"/>
                    </a:lnTo>
                    <a:lnTo>
                      <a:pt x="211" y="67"/>
                    </a:lnTo>
                    <a:lnTo>
                      <a:pt x="217" y="62"/>
                    </a:lnTo>
                    <a:lnTo>
                      <a:pt x="224" y="62"/>
                    </a:lnTo>
                    <a:lnTo>
                      <a:pt x="227" y="64"/>
                    </a:lnTo>
                    <a:lnTo>
                      <a:pt x="230" y="65"/>
                    </a:lnTo>
                    <a:lnTo>
                      <a:pt x="232" y="59"/>
                    </a:lnTo>
                    <a:lnTo>
                      <a:pt x="232" y="53"/>
                    </a:lnTo>
                    <a:lnTo>
                      <a:pt x="236" y="43"/>
                    </a:lnTo>
                    <a:lnTo>
                      <a:pt x="241" y="35"/>
                    </a:lnTo>
                    <a:lnTo>
                      <a:pt x="242" y="29"/>
                    </a:lnTo>
                    <a:lnTo>
                      <a:pt x="251" y="26"/>
                    </a:lnTo>
                    <a:lnTo>
                      <a:pt x="260" y="24"/>
                    </a:lnTo>
                    <a:lnTo>
                      <a:pt x="268" y="24"/>
                    </a:lnTo>
                    <a:lnTo>
                      <a:pt x="273" y="22"/>
                    </a:lnTo>
                    <a:lnTo>
                      <a:pt x="279" y="21"/>
                    </a:lnTo>
                    <a:lnTo>
                      <a:pt x="272" y="14"/>
                    </a:lnTo>
                    <a:lnTo>
                      <a:pt x="268" y="9"/>
                    </a:lnTo>
                    <a:lnTo>
                      <a:pt x="279" y="12"/>
                    </a:lnTo>
                    <a:lnTo>
                      <a:pt x="291" y="17"/>
                    </a:lnTo>
                    <a:lnTo>
                      <a:pt x="301" y="21"/>
                    </a:lnTo>
                    <a:lnTo>
                      <a:pt x="315" y="22"/>
                    </a:lnTo>
                    <a:lnTo>
                      <a:pt x="322" y="21"/>
                    </a:lnTo>
                    <a:lnTo>
                      <a:pt x="328" y="19"/>
                    </a:lnTo>
                    <a:lnTo>
                      <a:pt x="334" y="21"/>
                    </a:lnTo>
                    <a:lnTo>
                      <a:pt x="339" y="28"/>
                    </a:lnTo>
                    <a:lnTo>
                      <a:pt x="334" y="33"/>
                    </a:lnTo>
                    <a:lnTo>
                      <a:pt x="327" y="38"/>
                    </a:lnTo>
                    <a:lnTo>
                      <a:pt x="322" y="64"/>
                    </a:lnTo>
                    <a:lnTo>
                      <a:pt x="325" y="65"/>
                    </a:lnTo>
                    <a:lnTo>
                      <a:pt x="332" y="69"/>
                    </a:lnTo>
                    <a:lnTo>
                      <a:pt x="334" y="74"/>
                    </a:lnTo>
                    <a:lnTo>
                      <a:pt x="337" y="79"/>
                    </a:lnTo>
                    <a:lnTo>
                      <a:pt x="346" y="81"/>
                    </a:lnTo>
                    <a:lnTo>
                      <a:pt x="353" y="84"/>
                    </a:lnTo>
                    <a:lnTo>
                      <a:pt x="359" y="86"/>
                    </a:lnTo>
                    <a:lnTo>
                      <a:pt x="370" y="91"/>
                    </a:lnTo>
                    <a:lnTo>
                      <a:pt x="378" y="98"/>
                    </a:lnTo>
                    <a:lnTo>
                      <a:pt x="390" y="105"/>
                    </a:lnTo>
                    <a:lnTo>
                      <a:pt x="399" y="98"/>
                    </a:lnTo>
                    <a:lnTo>
                      <a:pt x="406" y="88"/>
                    </a:lnTo>
                    <a:lnTo>
                      <a:pt x="408" y="74"/>
                    </a:lnTo>
                    <a:lnTo>
                      <a:pt x="411" y="64"/>
                    </a:lnTo>
                    <a:lnTo>
                      <a:pt x="411" y="17"/>
                    </a:lnTo>
                    <a:lnTo>
                      <a:pt x="418" y="9"/>
                    </a:lnTo>
                    <a:lnTo>
                      <a:pt x="425" y="0"/>
                    </a:lnTo>
                    <a:lnTo>
                      <a:pt x="425" y="9"/>
                    </a:lnTo>
                    <a:lnTo>
                      <a:pt x="430" y="17"/>
                    </a:lnTo>
                    <a:lnTo>
                      <a:pt x="433" y="24"/>
                    </a:lnTo>
                    <a:lnTo>
                      <a:pt x="437" y="33"/>
                    </a:lnTo>
                    <a:lnTo>
                      <a:pt x="437" y="43"/>
                    </a:lnTo>
                    <a:lnTo>
                      <a:pt x="442" y="53"/>
                    </a:lnTo>
                    <a:lnTo>
                      <a:pt x="451" y="55"/>
                    </a:lnTo>
                    <a:lnTo>
                      <a:pt x="457" y="59"/>
                    </a:lnTo>
                    <a:lnTo>
                      <a:pt x="461" y="62"/>
                    </a:lnTo>
                    <a:lnTo>
                      <a:pt x="463" y="71"/>
                    </a:lnTo>
                    <a:lnTo>
                      <a:pt x="464" y="79"/>
                    </a:lnTo>
                    <a:lnTo>
                      <a:pt x="466" y="88"/>
                    </a:lnTo>
                    <a:lnTo>
                      <a:pt x="468" y="95"/>
                    </a:lnTo>
                    <a:lnTo>
                      <a:pt x="473" y="103"/>
                    </a:lnTo>
                    <a:lnTo>
                      <a:pt x="475" y="110"/>
                    </a:lnTo>
                    <a:lnTo>
                      <a:pt x="480" y="120"/>
                    </a:lnTo>
                    <a:lnTo>
                      <a:pt x="483" y="126"/>
                    </a:lnTo>
                    <a:lnTo>
                      <a:pt x="494" y="133"/>
                    </a:lnTo>
                    <a:lnTo>
                      <a:pt x="504" y="138"/>
                    </a:lnTo>
                    <a:lnTo>
                      <a:pt x="514" y="145"/>
                    </a:lnTo>
                    <a:lnTo>
                      <a:pt x="519" y="157"/>
                    </a:lnTo>
                    <a:lnTo>
                      <a:pt x="523" y="169"/>
                    </a:lnTo>
                    <a:lnTo>
                      <a:pt x="528" y="174"/>
                    </a:lnTo>
                    <a:lnTo>
                      <a:pt x="540" y="176"/>
                    </a:lnTo>
                    <a:lnTo>
                      <a:pt x="542" y="186"/>
                    </a:lnTo>
                    <a:lnTo>
                      <a:pt x="550" y="196"/>
                    </a:lnTo>
                    <a:lnTo>
                      <a:pt x="559" y="205"/>
                    </a:lnTo>
                    <a:lnTo>
                      <a:pt x="569" y="213"/>
                    </a:lnTo>
                    <a:lnTo>
                      <a:pt x="568" y="2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7" name="Freeform 223"/>
              <p:cNvSpPr>
                <a:spLocks/>
              </p:cNvSpPr>
              <p:nvPr/>
            </p:nvSpPr>
            <p:spPr bwMode="auto">
              <a:xfrm>
                <a:off x="8149432" y="5181600"/>
                <a:ext cx="15875" cy="12700"/>
              </a:xfrm>
              <a:custGeom>
                <a:avLst/>
                <a:gdLst/>
                <a:ahLst/>
                <a:cxnLst>
                  <a:cxn ang="0">
                    <a:pos x="10" y="0"/>
                  </a:cxn>
                  <a:cxn ang="0">
                    <a:pos x="5" y="5"/>
                  </a:cxn>
                  <a:cxn ang="0">
                    <a:pos x="0" y="8"/>
                  </a:cxn>
                  <a:cxn ang="0">
                    <a:pos x="0" y="3"/>
                  </a:cxn>
                  <a:cxn ang="0">
                    <a:pos x="0" y="0"/>
                  </a:cxn>
                  <a:cxn ang="0">
                    <a:pos x="10" y="0"/>
                  </a:cxn>
                </a:cxnLst>
                <a:rect l="0" t="0" r="r" b="b"/>
                <a:pathLst>
                  <a:path w="10" h="8">
                    <a:moveTo>
                      <a:pt x="10" y="0"/>
                    </a:moveTo>
                    <a:lnTo>
                      <a:pt x="5" y="5"/>
                    </a:lnTo>
                    <a:lnTo>
                      <a:pt x="0" y="8"/>
                    </a:lnTo>
                    <a:lnTo>
                      <a:pt x="0" y="3"/>
                    </a:lnTo>
                    <a:lnTo>
                      <a:pt x="0"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8" name="Freeform 224"/>
              <p:cNvSpPr>
                <a:spLocks/>
              </p:cNvSpPr>
              <p:nvPr/>
            </p:nvSpPr>
            <p:spPr bwMode="auto">
              <a:xfrm>
                <a:off x="8127207" y="5006975"/>
                <a:ext cx="174625" cy="171450"/>
              </a:xfrm>
              <a:custGeom>
                <a:avLst/>
                <a:gdLst/>
                <a:ahLst/>
                <a:cxnLst>
                  <a:cxn ang="0">
                    <a:pos x="67" y="29"/>
                  </a:cxn>
                  <a:cxn ang="0">
                    <a:pos x="67" y="26"/>
                  </a:cxn>
                  <a:cxn ang="0">
                    <a:pos x="67" y="24"/>
                  </a:cxn>
                  <a:cxn ang="0">
                    <a:pos x="71" y="19"/>
                  </a:cxn>
                  <a:cxn ang="0">
                    <a:pos x="77" y="19"/>
                  </a:cxn>
                  <a:cxn ang="0">
                    <a:pos x="77" y="17"/>
                  </a:cxn>
                  <a:cxn ang="0">
                    <a:pos x="77" y="15"/>
                  </a:cxn>
                  <a:cxn ang="0">
                    <a:pos x="81" y="5"/>
                  </a:cxn>
                  <a:cxn ang="0">
                    <a:pos x="89" y="0"/>
                  </a:cxn>
                  <a:cxn ang="0">
                    <a:pos x="89" y="3"/>
                  </a:cxn>
                  <a:cxn ang="0">
                    <a:pos x="93" y="5"/>
                  </a:cxn>
                  <a:cxn ang="0">
                    <a:pos x="93" y="8"/>
                  </a:cxn>
                  <a:cxn ang="0">
                    <a:pos x="96" y="12"/>
                  </a:cxn>
                  <a:cxn ang="0">
                    <a:pos x="100" y="8"/>
                  </a:cxn>
                  <a:cxn ang="0">
                    <a:pos x="105" y="7"/>
                  </a:cxn>
                  <a:cxn ang="0">
                    <a:pos x="108" y="8"/>
                  </a:cxn>
                  <a:cxn ang="0">
                    <a:pos x="108" y="14"/>
                  </a:cxn>
                  <a:cxn ang="0">
                    <a:pos x="110" y="17"/>
                  </a:cxn>
                  <a:cxn ang="0">
                    <a:pos x="107" y="22"/>
                  </a:cxn>
                  <a:cxn ang="0">
                    <a:pos x="103" y="31"/>
                  </a:cxn>
                  <a:cxn ang="0">
                    <a:pos x="96" y="39"/>
                  </a:cxn>
                  <a:cxn ang="0">
                    <a:pos x="91" y="43"/>
                  </a:cxn>
                  <a:cxn ang="0">
                    <a:pos x="89" y="50"/>
                  </a:cxn>
                  <a:cxn ang="0">
                    <a:pos x="91" y="58"/>
                  </a:cxn>
                  <a:cxn ang="0">
                    <a:pos x="81" y="58"/>
                  </a:cxn>
                  <a:cxn ang="0">
                    <a:pos x="72" y="60"/>
                  </a:cxn>
                  <a:cxn ang="0">
                    <a:pos x="67" y="67"/>
                  </a:cxn>
                  <a:cxn ang="0">
                    <a:pos x="64" y="81"/>
                  </a:cxn>
                  <a:cxn ang="0">
                    <a:pos x="58" y="91"/>
                  </a:cxn>
                  <a:cxn ang="0">
                    <a:pos x="57" y="96"/>
                  </a:cxn>
                  <a:cxn ang="0">
                    <a:pos x="46" y="103"/>
                  </a:cxn>
                  <a:cxn ang="0">
                    <a:pos x="38" y="108"/>
                  </a:cxn>
                  <a:cxn ang="0">
                    <a:pos x="31" y="106"/>
                  </a:cxn>
                  <a:cxn ang="0">
                    <a:pos x="26" y="105"/>
                  </a:cxn>
                  <a:cxn ang="0">
                    <a:pos x="19" y="103"/>
                  </a:cxn>
                  <a:cxn ang="0">
                    <a:pos x="12" y="100"/>
                  </a:cxn>
                  <a:cxn ang="0">
                    <a:pos x="5" y="96"/>
                  </a:cxn>
                  <a:cxn ang="0">
                    <a:pos x="3" y="94"/>
                  </a:cxn>
                  <a:cxn ang="0">
                    <a:pos x="0" y="93"/>
                  </a:cxn>
                  <a:cxn ang="0">
                    <a:pos x="2" y="82"/>
                  </a:cxn>
                  <a:cxn ang="0">
                    <a:pos x="7" y="75"/>
                  </a:cxn>
                  <a:cxn ang="0">
                    <a:pos x="14" y="70"/>
                  </a:cxn>
                  <a:cxn ang="0">
                    <a:pos x="21" y="65"/>
                  </a:cxn>
                  <a:cxn ang="0">
                    <a:pos x="24" y="60"/>
                  </a:cxn>
                  <a:cxn ang="0">
                    <a:pos x="29" y="58"/>
                  </a:cxn>
                  <a:cxn ang="0">
                    <a:pos x="43" y="51"/>
                  </a:cxn>
                  <a:cxn ang="0">
                    <a:pos x="57" y="43"/>
                  </a:cxn>
                  <a:cxn ang="0">
                    <a:pos x="62" y="34"/>
                  </a:cxn>
                  <a:cxn ang="0">
                    <a:pos x="67" y="29"/>
                  </a:cxn>
                </a:cxnLst>
                <a:rect l="0" t="0" r="r" b="b"/>
                <a:pathLst>
                  <a:path w="110" h="108">
                    <a:moveTo>
                      <a:pt x="67" y="29"/>
                    </a:moveTo>
                    <a:lnTo>
                      <a:pt x="67" y="26"/>
                    </a:lnTo>
                    <a:lnTo>
                      <a:pt x="67" y="24"/>
                    </a:lnTo>
                    <a:lnTo>
                      <a:pt x="71" y="19"/>
                    </a:lnTo>
                    <a:lnTo>
                      <a:pt x="77" y="19"/>
                    </a:lnTo>
                    <a:lnTo>
                      <a:pt x="77" y="17"/>
                    </a:lnTo>
                    <a:lnTo>
                      <a:pt x="77" y="15"/>
                    </a:lnTo>
                    <a:lnTo>
                      <a:pt x="81" y="5"/>
                    </a:lnTo>
                    <a:lnTo>
                      <a:pt x="89" y="0"/>
                    </a:lnTo>
                    <a:lnTo>
                      <a:pt x="89" y="3"/>
                    </a:lnTo>
                    <a:lnTo>
                      <a:pt x="93" y="5"/>
                    </a:lnTo>
                    <a:lnTo>
                      <a:pt x="93" y="8"/>
                    </a:lnTo>
                    <a:lnTo>
                      <a:pt x="96" y="12"/>
                    </a:lnTo>
                    <a:lnTo>
                      <a:pt x="100" y="8"/>
                    </a:lnTo>
                    <a:lnTo>
                      <a:pt x="105" y="7"/>
                    </a:lnTo>
                    <a:lnTo>
                      <a:pt x="108" y="8"/>
                    </a:lnTo>
                    <a:lnTo>
                      <a:pt x="108" y="14"/>
                    </a:lnTo>
                    <a:lnTo>
                      <a:pt x="110" y="17"/>
                    </a:lnTo>
                    <a:lnTo>
                      <a:pt x="107" y="22"/>
                    </a:lnTo>
                    <a:lnTo>
                      <a:pt x="103" y="31"/>
                    </a:lnTo>
                    <a:lnTo>
                      <a:pt x="96" y="39"/>
                    </a:lnTo>
                    <a:lnTo>
                      <a:pt x="91" y="43"/>
                    </a:lnTo>
                    <a:lnTo>
                      <a:pt x="89" y="50"/>
                    </a:lnTo>
                    <a:lnTo>
                      <a:pt x="91" y="58"/>
                    </a:lnTo>
                    <a:lnTo>
                      <a:pt x="81" y="58"/>
                    </a:lnTo>
                    <a:lnTo>
                      <a:pt x="72" y="60"/>
                    </a:lnTo>
                    <a:lnTo>
                      <a:pt x="67" y="67"/>
                    </a:lnTo>
                    <a:lnTo>
                      <a:pt x="64" y="81"/>
                    </a:lnTo>
                    <a:lnTo>
                      <a:pt x="58" y="91"/>
                    </a:lnTo>
                    <a:lnTo>
                      <a:pt x="57" y="96"/>
                    </a:lnTo>
                    <a:lnTo>
                      <a:pt x="46" y="103"/>
                    </a:lnTo>
                    <a:lnTo>
                      <a:pt x="38" y="108"/>
                    </a:lnTo>
                    <a:lnTo>
                      <a:pt x="31" y="106"/>
                    </a:lnTo>
                    <a:lnTo>
                      <a:pt x="26" y="105"/>
                    </a:lnTo>
                    <a:lnTo>
                      <a:pt x="19" y="103"/>
                    </a:lnTo>
                    <a:lnTo>
                      <a:pt x="12" y="100"/>
                    </a:lnTo>
                    <a:lnTo>
                      <a:pt x="5" y="96"/>
                    </a:lnTo>
                    <a:lnTo>
                      <a:pt x="3" y="94"/>
                    </a:lnTo>
                    <a:lnTo>
                      <a:pt x="0" y="93"/>
                    </a:lnTo>
                    <a:lnTo>
                      <a:pt x="2" y="82"/>
                    </a:lnTo>
                    <a:lnTo>
                      <a:pt x="7" y="75"/>
                    </a:lnTo>
                    <a:lnTo>
                      <a:pt x="14" y="70"/>
                    </a:lnTo>
                    <a:lnTo>
                      <a:pt x="21" y="65"/>
                    </a:lnTo>
                    <a:lnTo>
                      <a:pt x="24" y="60"/>
                    </a:lnTo>
                    <a:lnTo>
                      <a:pt x="29" y="58"/>
                    </a:lnTo>
                    <a:lnTo>
                      <a:pt x="43" y="51"/>
                    </a:lnTo>
                    <a:lnTo>
                      <a:pt x="57" y="43"/>
                    </a:lnTo>
                    <a:lnTo>
                      <a:pt x="62" y="34"/>
                    </a:lnTo>
                    <a:lnTo>
                      <a:pt x="67"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89" name="Freeform 225"/>
              <p:cNvSpPr>
                <a:spLocks/>
              </p:cNvSpPr>
              <p:nvPr/>
            </p:nvSpPr>
            <p:spPr bwMode="auto">
              <a:xfrm>
                <a:off x="8271669" y="4840288"/>
                <a:ext cx="131763" cy="190500"/>
              </a:xfrm>
              <a:custGeom>
                <a:avLst/>
                <a:gdLst/>
                <a:ahLst/>
                <a:cxnLst>
                  <a:cxn ang="0">
                    <a:pos x="26" y="45"/>
                  </a:cxn>
                  <a:cxn ang="0">
                    <a:pos x="21" y="39"/>
                  </a:cxn>
                  <a:cxn ang="0">
                    <a:pos x="19" y="36"/>
                  </a:cxn>
                  <a:cxn ang="0">
                    <a:pos x="19" y="33"/>
                  </a:cxn>
                  <a:cxn ang="0">
                    <a:pos x="21" y="31"/>
                  </a:cxn>
                  <a:cxn ang="0">
                    <a:pos x="12" y="26"/>
                  </a:cxn>
                  <a:cxn ang="0">
                    <a:pos x="7" y="19"/>
                  </a:cxn>
                  <a:cxn ang="0">
                    <a:pos x="2" y="9"/>
                  </a:cxn>
                  <a:cxn ang="0">
                    <a:pos x="0" y="0"/>
                  </a:cxn>
                  <a:cxn ang="0">
                    <a:pos x="9" y="7"/>
                  </a:cxn>
                  <a:cxn ang="0">
                    <a:pos x="19" y="14"/>
                  </a:cxn>
                  <a:cxn ang="0">
                    <a:pos x="21" y="17"/>
                  </a:cxn>
                  <a:cxn ang="0">
                    <a:pos x="24" y="22"/>
                  </a:cxn>
                  <a:cxn ang="0">
                    <a:pos x="23" y="24"/>
                  </a:cxn>
                  <a:cxn ang="0">
                    <a:pos x="23" y="26"/>
                  </a:cxn>
                  <a:cxn ang="0">
                    <a:pos x="26" y="33"/>
                  </a:cxn>
                  <a:cxn ang="0">
                    <a:pos x="31" y="41"/>
                  </a:cxn>
                  <a:cxn ang="0">
                    <a:pos x="35" y="41"/>
                  </a:cxn>
                  <a:cxn ang="0">
                    <a:pos x="35" y="38"/>
                  </a:cxn>
                  <a:cxn ang="0">
                    <a:pos x="40" y="38"/>
                  </a:cxn>
                  <a:cxn ang="0">
                    <a:pos x="41" y="38"/>
                  </a:cxn>
                  <a:cxn ang="0">
                    <a:pos x="45" y="52"/>
                  </a:cxn>
                  <a:cxn ang="0">
                    <a:pos x="60" y="58"/>
                  </a:cxn>
                  <a:cxn ang="0">
                    <a:pos x="69" y="55"/>
                  </a:cxn>
                  <a:cxn ang="0">
                    <a:pos x="78" y="53"/>
                  </a:cxn>
                  <a:cxn ang="0">
                    <a:pos x="79" y="53"/>
                  </a:cxn>
                  <a:cxn ang="0">
                    <a:pos x="83" y="55"/>
                  </a:cxn>
                  <a:cxn ang="0">
                    <a:pos x="76" y="67"/>
                  </a:cxn>
                  <a:cxn ang="0">
                    <a:pos x="72" y="81"/>
                  </a:cxn>
                  <a:cxn ang="0">
                    <a:pos x="71" y="79"/>
                  </a:cxn>
                  <a:cxn ang="0">
                    <a:pos x="69" y="79"/>
                  </a:cxn>
                  <a:cxn ang="0">
                    <a:pos x="60" y="81"/>
                  </a:cxn>
                  <a:cxn ang="0">
                    <a:pos x="59" y="86"/>
                  </a:cxn>
                  <a:cxn ang="0">
                    <a:pos x="59" y="88"/>
                  </a:cxn>
                  <a:cxn ang="0">
                    <a:pos x="60" y="91"/>
                  </a:cxn>
                  <a:cxn ang="0">
                    <a:pos x="57" y="96"/>
                  </a:cxn>
                  <a:cxn ang="0">
                    <a:pos x="53" y="101"/>
                  </a:cxn>
                  <a:cxn ang="0">
                    <a:pos x="45" y="113"/>
                  </a:cxn>
                  <a:cxn ang="0">
                    <a:pos x="35" y="120"/>
                  </a:cxn>
                  <a:cxn ang="0">
                    <a:pos x="28" y="117"/>
                  </a:cxn>
                  <a:cxn ang="0">
                    <a:pos x="28" y="113"/>
                  </a:cxn>
                  <a:cxn ang="0">
                    <a:pos x="29" y="105"/>
                  </a:cxn>
                  <a:cxn ang="0">
                    <a:pos x="33" y="98"/>
                  </a:cxn>
                  <a:cxn ang="0">
                    <a:pos x="29" y="91"/>
                  </a:cxn>
                  <a:cxn ang="0">
                    <a:pos x="23" y="89"/>
                  </a:cxn>
                  <a:cxn ang="0">
                    <a:pos x="16" y="86"/>
                  </a:cxn>
                  <a:cxn ang="0">
                    <a:pos x="14" y="82"/>
                  </a:cxn>
                  <a:cxn ang="0">
                    <a:pos x="16" y="77"/>
                  </a:cxn>
                  <a:cxn ang="0">
                    <a:pos x="21" y="76"/>
                  </a:cxn>
                  <a:cxn ang="0">
                    <a:pos x="26" y="65"/>
                  </a:cxn>
                  <a:cxn ang="0">
                    <a:pos x="28" y="55"/>
                  </a:cxn>
                  <a:cxn ang="0">
                    <a:pos x="26" y="48"/>
                  </a:cxn>
                  <a:cxn ang="0">
                    <a:pos x="24" y="43"/>
                  </a:cxn>
                  <a:cxn ang="0">
                    <a:pos x="26" y="43"/>
                  </a:cxn>
                  <a:cxn ang="0">
                    <a:pos x="26" y="45"/>
                  </a:cxn>
                </a:cxnLst>
                <a:rect l="0" t="0" r="r" b="b"/>
                <a:pathLst>
                  <a:path w="83" h="120">
                    <a:moveTo>
                      <a:pt x="26" y="45"/>
                    </a:moveTo>
                    <a:lnTo>
                      <a:pt x="21" y="39"/>
                    </a:lnTo>
                    <a:lnTo>
                      <a:pt x="19" y="36"/>
                    </a:lnTo>
                    <a:lnTo>
                      <a:pt x="19" y="33"/>
                    </a:lnTo>
                    <a:lnTo>
                      <a:pt x="21" y="31"/>
                    </a:lnTo>
                    <a:lnTo>
                      <a:pt x="12" y="26"/>
                    </a:lnTo>
                    <a:lnTo>
                      <a:pt x="7" y="19"/>
                    </a:lnTo>
                    <a:lnTo>
                      <a:pt x="2" y="9"/>
                    </a:lnTo>
                    <a:lnTo>
                      <a:pt x="0" y="0"/>
                    </a:lnTo>
                    <a:lnTo>
                      <a:pt x="9" y="7"/>
                    </a:lnTo>
                    <a:lnTo>
                      <a:pt x="19" y="14"/>
                    </a:lnTo>
                    <a:lnTo>
                      <a:pt x="21" y="17"/>
                    </a:lnTo>
                    <a:lnTo>
                      <a:pt x="24" y="22"/>
                    </a:lnTo>
                    <a:lnTo>
                      <a:pt x="23" y="24"/>
                    </a:lnTo>
                    <a:lnTo>
                      <a:pt x="23" y="26"/>
                    </a:lnTo>
                    <a:lnTo>
                      <a:pt x="26" y="33"/>
                    </a:lnTo>
                    <a:lnTo>
                      <a:pt x="31" y="41"/>
                    </a:lnTo>
                    <a:lnTo>
                      <a:pt x="35" y="41"/>
                    </a:lnTo>
                    <a:lnTo>
                      <a:pt x="35" y="38"/>
                    </a:lnTo>
                    <a:lnTo>
                      <a:pt x="40" y="38"/>
                    </a:lnTo>
                    <a:lnTo>
                      <a:pt x="41" y="38"/>
                    </a:lnTo>
                    <a:lnTo>
                      <a:pt x="45" y="52"/>
                    </a:lnTo>
                    <a:lnTo>
                      <a:pt x="60" y="58"/>
                    </a:lnTo>
                    <a:lnTo>
                      <a:pt x="69" y="55"/>
                    </a:lnTo>
                    <a:lnTo>
                      <a:pt x="78" y="53"/>
                    </a:lnTo>
                    <a:lnTo>
                      <a:pt x="79" y="53"/>
                    </a:lnTo>
                    <a:lnTo>
                      <a:pt x="83" y="55"/>
                    </a:lnTo>
                    <a:lnTo>
                      <a:pt x="76" y="67"/>
                    </a:lnTo>
                    <a:lnTo>
                      <a:pt x="72" y="81"/>
                    </a:lnTo>
                    <a:lnTo>
                      <a:pt x="71" y="79"/>
                    </a:lnTo>
                    <a:lnTo>
                      <a:pt x="69" y="79"/>
                    </a:lnTo>
                    <a:lnTo>
                      <a:pt x="60" y="81"/>
                    </a:lnTo>
                    <a:lnTo>
                      <a:pt x="59" y="86"/>
                    </a:lnTo>
                    <a:lnTo>
                      <a:pt x="59" y="88"/>
                    </a:lnTo>
                    <a:lnTo>
                      <a:pt x="60" y="91"/>
                    </a:lnTo>
                    <a:lnTo>
                      <a:pt x="57" y="96"/>
                    </a:lnTo>
                    <a:lnTo>
                      <a:pt x="53" y="101"/>
                    </a:lnTo>
                    <a:lnTo>
                      <a:pt x="45" y="113"/>
                    </a:lnTo>
                    <a:lnTo>
                      <a:pt x="35" y="120"/>
                    </a:lnTo>
                    <a:lnTo>
                      <a:pt x="28" y="117"/>
                    </a:lnTo>
                    <a:lnTo>
                      <a:pt x="28" y="113"/>
                    </a:lnTo>
                    <a:lnTo>
                      <a:pt x="29" y="105"/>
                    </a:lnTo>
                    <a:lnTo>
                      <a:pt x="33" y="98"/>
                    </a:lnTo>
                    <a:lnTo>
                      <a:pt x="29" y="91"/>
                    </a:lnTo>
                    <a:lnTo>
                      <a:pt x="23" y="89"/>
                    </a:lnTo>
                    <a:lnTo>
                      <a:pt x="16" y="86"/>
                    </a:lnTo>
                    <a:lnTo>
                      <a:pt x="14" y="82"/>
                    </a:lnTo>
                    <a:lnTo>
                      <a:pt x="16" y="77"/>
                    </a:lnTo>
                    <a:lnTo>
                      <a:pt x="21" y="76"/>
                    </a:lnTo>
                    <a:lnTo>
                      <a:pt x="26" y="65"/>
                    </a:lnTo>
                    <a:lnTo>
                      <a:pt x="28" y="55"/>
                    </a:lnTo>
                    <a:lnTo>
                      <a:pt x="26" y="48"/>
                    </a:lnTo>
                    <a:lnTo>
                      <a:pt x="24" y="43"/>
                    </a:lnTo>
                    <a:lnTo>
                      <a:pt x="26" y="43"/>
                    </a:lnTo>
                    <a:lnTo>
                      <a:pt x="2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0" name="Freeform 226"/>
              <p:cNvSpPr>
                <a:spLocks/>
              </p:cNvSpPr>
              <p:nvPr/>
            </p:nvSpPr>
            <p:spPr bwMode="auto">
              <a:xfrm>
                <a:off x="8370094" y="4416425"/>
                <a:ext cx="26988" cy="22225"/>
              </a:xfrm>
              <a:custGeom>
                <a:avLst/>
                <a:gdLst/>
                <a:ahLst/>
                <a:cxnLst>
                  <a:cxn ang="0">
                    <a:pos x="12" y="0"/>
                  </a:cxn>
                  <a:cxn ang="0">
                    <a:pos x="14" y="4"/>
                  </a:cxn>
                  <a:cxn ang="0">
                    <a:pos x="17" y="6"/>
                  </a:cxn>
                  <a:cxn ang="0">
                    <a:pos x="17" y="11"/>
                  </a:cxn>
                  <a:cxn ang="0">
                    <a:pos x="14" y="12"/>
                  </a:cxn>
                  <a:cxn ang="0">
                    <a:pos x="10" y="14"/>
                  </a:cxn>
                  <a:cxn ang="0">
                    <a:pos x="4" y="12"/>
                  </a:cxn>
                  <a:cxn ang="0">
                    <a:pos x="0" y="11"/>
                  </a:cxn>
                  <a:cxn ang="0">
                    <a:pos x="4" y="2"/>
                  </a:cxn>
                  <a:cxn ang="0">
                    <a:pos x="12" y="0"/>
                  </a:cxn>
                </a:cxnLst>
                <a:rect l="0" t="0" r="r" b="b"/>
                <a:pathLst>
                  <a:path w="17" h="14">
                    <a:moveTo>
                      <a:pt x="12" y="0"/>
                    </a:moveTo>
                    <a:lnTo>
                      <a:pt x="14" y="4"/>
                    </a:lnTo>
                    <a:lnTo>
                      <a:pt x="17" y="6"/>
                    </a:lnTo>
                    <a:lnTo>
                      <a:pt x="17" y="11"/>
                    </a:lnTo>
                    <a:lnTo>
                      <a:pt x="14" y="12"/>
                    </a:lnTo>
                    <a:lnTo>
                      <a:pt x="10" y="14"/>
                    </a:lnTo>
                    <a:lnTo>
                      <a:pt x="4" y="12"/>
                    </a:lnTo>
                    <a:lnTo>
                      <a:pt x="0" y="11"/>
                    </a:lnTo>
                    <a:lnTo>
                      <a:pt x="4" y="2"/>
                    </a:lnTo>
                    <a:lnTo>
                      <a:pt x="1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1" name="Freeform 227"/>
              <p:cNvSpPr>
                <a:spLocks/>
              </p:cNvSpPr>
              <p:nvPr/>
            </p:nvSpPr>
            <p:spPr bwMode="auto">
              <a:xfrm>
                <a:off x="8403432" y="4395788"/>
                <a:ext cx="23813" cy="15875"/>
              </a:xfrm>
              <a:custGeom>
                <a:avLst/>
                <a:gdLst/>
                <a:ahLst/>
                <a:cxnLst>
                  <a:cxn ang="0">
                    <a:pos x="15" y="0"/>
                  </a:cxn>
                  <a:cxn ang="0">
                    <a:pos x="15" y="3"/>
                  </a:cxn>
                  <a:cxn ang="0">
                    <a:pos x="7" y="7"/>
                  </a:cxn>
                  <a:cxn ang="0">
                    <a:pos x="1" y="10"/>
                  </a:cxn>
                  <a:cxn ang="0">
                    <a:pos x="0" y="7"/>
                  </a:cxn>
                  <a:cxn ang="0">
                    <a:pos x="0" y="5"/>
                  </a:cxn>
                  <a:cxn ang="0">
                    <a:pos x="5" y="0"/>
                  </a:cxn>
                  <a:cxn ang="0">
                    <a:pos x="15" y="0"/>
                  </a:cxn>
                </a:cxnLst>
                <a:rect l="0" t="0" r="r" b="b"/>
                <a:pathLst>
                  <a:path w="15" h="10">
                    <a:moveTo>
                      <a:pt x="15" y="0"/>
                    </a:moveTo>
                    <a:lnTo>
                      <a:pt x="15" y="3"/>
                    </a:lnTo>
                    <a:lnTo>
                      <a:pt x="7" y="7"/>
                    </a:lnTo>
                    <a:lnTo>
                      <a:pt x="1" y="10"/>
                    </a:lnTo>
                    <a:lnTo>
                      <a:pt x="0" y="7"/>
                    </a:lnTo>
                    <a:lnTo>
                      <a:pt x="0" y="5"/>
                    </a:lnTo>
                    <a:lnTo>
                      <a:pt x="5"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2" name="Freeform 228"/>
              <p:cNvSpPr>
                <a:spLocks/>
              </p:cNvSpPr>
              <p:nvPr/>
            </p:nvSpPr>
            <p:spPr bwMode="auto">
              <a:xfrm>
                <a:off x="7114382" y="3789363"/>
                <a:ext cx="101600" cy="98425"/>
              </a:xfrm>
              <a:custGeom>
                <a:avLst/>
                <a:gdLst/>
                <a:ahLst/>
                <a:cxnLst>
                  <a:cxn ang="0">
                    <a:pos x="53" y="43"/>
                  </a:cxn>
                  <a:cxn ang="0">
                    <a:pos x="52" y="41"/>
                  </a:cxn>
                  <a:cxn ang="0">
                    <a:pos x="50" y="39"/>
                  </a:cxn>
                  <a:cxn ang="0">
                    <a:pos x="46" y="43"/>
                  </a:cxn>
                  <a:cxn ang="0">
                    <a:pos x="46" y="46"/>
                  </a:cxn>
                  <a:cxn ang="0">
                    <a:pos x="48" y="48"/>
                  </a:cxn>
                  <a:cxn ang="0">
                    <a:pos x="52" y="55"/>
                  </a:cxn>
                  <a:cxn ang="0">
                    <a:pos x="50" y="58"/>
                  </a:cxn>
                  <a:cxn ang="0">
                    <a:pos x="46" y="62"/>
                  </a:cxn>
                  <a:cxn ang="0">
                    <a:pos x="43" y="60"/>
                  </a:cxn>
                  <a:cxn ang="0">
                    <a:pos x="43" y="58"/>
                  </a:cxn>
                  <a:cxn ang="0">
                    <a:pos x="41" y="58"/>
                  </a:cxn>
                  <a:cxn ang="0">
                    <a:pos x="39" y="58"/>
                  </a:cxn>
                  <a:cxn ang="0">
                    <a:pos x="31" y="53"/>
                  </a:cxn>
                  <a:cxn ang="0">
                    <a:pos x="27" y="43"/>
                  </a:cxn>
                  <a:cxn ang="0">
                    <a:pos x="27" y="38"/>
                  </a:cxn>
                  <a:cxn ang="0">
                    <a:pos x="29" y="38"/>
                  </a:cxn>
                  <a:cxn ang="0">
                    <a:pos x="27" y="34"/>
                  </a:cxn>
                  <a:cxn ang="0">
                    <a:pos x="27" y="33"/>
                  </a:cxn>
                  <a:cxn ang="0">
                    <a:pos x="21" y="33"/>
                  </a:cxn>
                  <a:cxn ang="0">
                    <a:pos x="21" y="34"/>
                  </a:cxn>
                  <a:cxn ang="0">
                    <a:pos x="21" y="36"/>
                  </a:cxn>
                  <a:cxn ang="0">
                    <a:pos x="17" y="34"/>
                  </a:cxn>
                  <a:cxn ang="0">
                    <a:pos x="15" y="34"/>
                  </a:cxn>
                  <a:cxn ang="0">
                    <a:pos x="15" y="36"/>
                  </a:cxn>
                  <a:cxn ang="0">
                    <a:pos x="12" y="34"/>
                  </a:cxn>
                  <a:cxn ang="0">
                    <a:pos x="10" y="33"/>
                  </a:cxn>
                  <a:cxn ang="0">
                    <a:pos x="7" y="36"/>
                  </a:cxn>
                  <a:cxn ang="0">
                    <a:pos x="5" y="43"/>
                  </a:cxn>
                  <a:cxn ang="0">
                    <a:pos x="3" y="48"/>
                  </a:cxn>
                  <a:cxn ang="0">
                    <a:pos x="2" y="52"/>
                  </a:cxn>
                  <a:cxn ang="0">
                    <a:pos x="0" y="46"/>
                  </a:cxn>
                  <a:cxn ang="0">
                    <a:pos x="2" y="41"/>
                  </a:cxn>
                  <a:cxn ang="0">
                    <a:pos x="0" y="38"/>
                  </a:cxn>
                  <a:cxn ang="0">
                    <a:pos x="0" y="36"/>
                  </a:cxn>
                  <a:cxn ang="0">
                    <a:pos x="0" y="31"/>
                  </a:cxn>
                  <a:cxn ang="0">
                    <a:pos x="3" y="26"/>
                  </a:cxn>
                  <a:cxn ang="0">
                    <a:pos x="10" y="21"/>
                  </a:cxn>
                  <a:cxn ang="0">
                    <a:pos x="19" y="15"/>
                  </a:cxn>
                  <a:cxn ang="0">
                    <a:pos x="24" y="19"/>
                  </a:cxn>
                  <a:cxn ang="0">
                    <a:pos x="27" y="22"/>
                  </a:cxn>
                  <a:cxn ang="0">
                    <a:pos x="31" y="22"/>
                  </a:cxn>
                  <a:cxn ang="0">
                    <a:pos x="31" y="19"/>
                  </a:cxn>
                  <a:cxn ang="0">
                    <a:pos x="34" y="17"/>
                  </a:cxn>
                  <a:cxn ang="0">
                    <a:pos x="38" y="12"/>
                  </a:cxn>
                  <a:cxn ang="0">
                    <a:pos x="45" y="10"/>
                  </a:cxn>
                  <a:cxn ang="0">
                    <a:pos x="45" y="3"/>
                  </a:cxn>
                  <a:cxn ang="0">
                    <a:pos x="46" y="0"/>
                  </a:cxn>
                  <a:cxn ang="0">
                    <a:pos x="50" y="0"/>
                  </a:cxn>
                  <a:cxn ang="0">
                    <a:pos x="53" y="3"/>
                  </a:cxn>
                  <a:cxn ang="0">
                    <a:pos x="55" y="9"/>
                  </a:cxn>
                  <a:cxn ang="0">
                    <a:pos x="58" y="21"/>
                  </a:cxn>
                  <a:cxn ang="0">
                    <a:pos x="62" y="31"/>
                  </a:cxn>
                  <a:cxn ang="0">
                    <a:pos x="64" y="38"/>
                  </a:cxn>
                  <a:cxn ang="0">
                    <a:pos x="60" y="43"/>
                  </a:cxn>
                  <a:cxn ang="0">
                    <a:pos x="58" y="53"/>
                  </a:cxn>
                  <a:cxn ang="0">
                    <a:pos x="53" y="46"/>
                  </a:cxn>
                  <a:cxn ang="0">
                    <a:pos x="52" y="41"/>
                  </a:cxn>
                  <a:cxn ang="0">
                    <a:pos x="53" y="43"/>
                  </a:cxn>
                </a:cxnLst>
                <a:rect l="0" t="0" r="r" b="b"/>
                <a:pathLst>
                  <a:path w="64" h="62">
                    <a:moveTo>
                      <a:pt x="53" y="43"/>
                    </a:moveTo>
                    <a:lnTo>
                      <a:pt x="52" y="41"/>
                    </a:lnTo>
                    <a:lnTo>
                      <a:pt x="50" y="39"/>
                    </a:lnTo>
                    <a:lnTo>
                      <a:pt x="46" y="43"/>
                    </a:lnTo>
                    <a:lnTo>
                      <a:pt x="46" y="46"/>
                    </a:lnTo>
                    <a:lnTo>
                      <a:pt x="48" y="48"/>
                    </a:lnTo>
                    <a:lnTo>
                      <a:pt x="52" y="55"/>
                    </a:lnTo>
                    <a:lnTo>
                      <a:pt x="50" y="58"/>
                    </a:lnTo>
                    <a:lnTo>
                      <a:pt x="46" y="62"/>
                    </a:lnTo>
                    <a:lnTo>
                      <a:pt x="43" y="60"/>
                    </a:lnTo>
                    <a:lnTo>
                      <a:pt x="43" y="58"/>
                    </a:lnTo>
                    <a:lnTo>
                      <a:pt x="41" y="58"/>
                    </a:lnTo>
                    <a:lnTo>
                      <a:pt x="39" y="58"/>
                    </a:lnTo>
                    <a:lnTo>
                      <a:pt x="31" y="53"/>
                    </a:lnTo>
                    <a:lnTo>
                      <a:pt x="27" y="43"/>
                    </a:lnTo>
                    <a:lnTo>
                      <a:pt x="27" y="38"/>
                    </a:lnTo>
                    <a:lnTo>
                      <a:pt x="29" y="38"/>
                    </a:lnTo>
                    <a:lnTo>
                      <a:pt x="27" y="34"/>
                    </a:lnTo>
                    <a:lnTo>
                      <a:pt x="27" y="33"/>
                    </a:lnTo>
                    <a:lnTo>
                      <a:pt x="21" y="33"/>
                    </a:lnTo>
                    <a:lnTo>
                      <a:pt x="21" y="34"/>
                    </a:lnTo>
                    <a:lnTo>
                      <a:pt x="21" y="36"/>
                    </a:lnTo>
                    <a:lnTo>
                      <a:pt x="17" y="34"/>
                    </a:lnTo>
                    <a:lnTo>
                      <a:pt x="15" y="34"/>
                    </a:lnTo>
                    <a:lnTo>
                      <a:pt x="15" y="36"/>
                    </a:lnTo>
                    <a:lnTo>
                      <a:pt x="12" y="34"/>
                    </a:lnTo>
                    <a:lnTo>
                      <a:pt x="10" y="33"/>
                    </a:lnTo>
                    <a:lnTo>
                      <a:pt x="7" y="36"/>
                    </a:lnTo>
                    <a:lnTo>
                      <a:pt x="5" y="43"/>
                    </a:lnTo>
                    <a:lnTo>
                      <a:pt x="3" y="48"/>
                    </a:lnTo>
                    <a:lnTo>
                      <a:pt x="2" y="52"/>
                    </a:lnTo>
                    <a:lnTo>
                      <a:pt x="0" y="46"/>
                    </a:lnTo>
                    <a:lnTo>
                      <a:pt x="2" y="41"/>
                    </a:lnTo>
                    <a:lnTo>
                      <a:pt x="0" y="38"/>
                    </a:lnTo>
                    <a:lnTo>
                      <a:pt x="0" y="36"/>
                    </a:lnTo>
                    <a:lnTo>
                      <a:pt x="0" y="31"/>
                    </a:lnTo>
                    <a:lnTo>
                      <a:pt x="3" y="26"/>
                    </a:lnTo>
                    <a:lnTo>
                      <a:pt x="10" y="21"/>
                    </a:lnTo>
                    <a:lnTo>
                      <a:pt x="19" y="15"/>
                    </a:lnTo>
                    <a:lnTo>
                      <a:pt x="24" y="19"/>
                    </a:lnTo>
                    <a:lnTo>
                      <a:pt x="27" y="22"/>
                    </a:lnTo>
                    <a:lnTo>
                      <a:pt x="31" y="22"/>
                    </a:lnTo>
                    <a:lnTo>
                      <a:pt x="31" y="19"/>
                    </a:lnTo>
                    <a:lnTo>
                      <a:pt x="34" y="17"/>
                    </a:lnTo>
                    <a:lnTo>
                      <a:pt x="38" y="12"/>
                    </a:lnTo>
                    <a:lnTo>
                      <a:pt x="45" y="10"/>
                    </a:lnTo>
                    <a:lnTo>
                      <a:pt x="45" y="3"/>
                    </a:lnTo>
                    <a:lnTo>
                      <a:pt x="46" y="0"/>
                    </a:lnTo>
                    <a:lnTo>
                      <a:pt x="50" y="0"/>
                    </a:lnTo>
                    <a:lnTo>
                      <a:pt x="53" y="3"/>
                    </a:lnTo>
                    <a:lnTo>
                      <a:pt x="55" y="9"/>
                    </a:lnTo>
                    <a:lnTo>
                      <a:pt x="58" y="21"/>
                    </a:lnTo>
                    <a:lnTo>
                      <a:pt x="62" y="31"/>
                    </a:lnTo>
                    <a:lnTo>
                      <a:pt x="64" y="38"/>
                    </a:lnTo>
                    <a:lnTo>
                      <a:pt x="60" y="43"/>
                    </a:lnTo>
                    <a:lnTo>
                      <a:pt x="58" y="53"/>
                    </a:lnTo>
                    <a:lnTo>
                      <a:pt x="53" y="46"/>
                    </a:lnTo>
                    <a:lnTo>
                      <a:pt x="52" y="41"/>
                    </a:lnTo>
                    <a:lnTo>
                      <a:pt x="53"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3" name="Freeform 229"/>
              <p:cNvSpPr>
                <a:spLocks/>
              </p:cNvSpPr>
              <p:nvPr/>
            </p:nvSpPr>
            <p:spPr bwMode="auto">
              <a:xfrm>
                <a:off x="7015957" y="3763963"/>
                <a:ext cx="52388" cy="52387"/>
              </a:xfrm>
              <a:custGeom>
                <a:avLst/>
                <a:gdLst/>
                <a:ahLst/>
                <a:cxnLst>
                  <a:cxn ang="0">
                    <a:pos x="3" y="33"/>
                  </a:cxn>
                  <a:cxn ang="0">
                    <a:pos x="0" y="33"/>
                  </a:cxn>
                  <a:cxn ang="0">
                    <a:pos x="3" y="23"/>
                  </a:cxn>
                  <a:cxn ang="0">
                    <a:pos x="12" y="18"/>
                  </a:cxn>
                  <a:cxn ang="0">
                    <a:pos x="19" y="11"/>
                  </a:cxn>
                  <a:cxn ang="0">
                    <a:pos x="26" y="6"/>
                  </a:cxn>
                  <a:cxn ang="0">
                    <a:pos x="26" y="2"/>
                  </a:cxn>
                  <a:cxn ang="0">
                    <a:pos x="28" y="0"/>
                  </a:cxn>
                  <a:cxn ang="0">
                    <a:pos x="29" y="4"/>
                  </a:cxn>
                  <a:cxn ang="0">
                    <a:pos x="33" y="7"/>
                  </a:cxn>
                  <a:cxn ang="0">
                    <a:pos x="29" y="7"/>
                  </a:cxn>
                  <a:cxn ang="0">
                    <a:pos x="28" y="9"/>
                  </a:cxn>
                  <a:cxn ang="0">
                    <a:pos x="22" y="12"/>
                  </a:cxn>
                  <a:cxn ang="0">
                    <a:pos x="19" y="14"/>
                  </a:cxn>
                  <a:cxn ang="0">
                    <a:pos x="12" y="26"/>
                  </a:cxn>
                  <a:cxn ang="0">
                    <a:pos x="3" y="33"/>
                  </a:cxn>
                </a:cxnLst>
                <a:rect l="0" t="0" r="r" b="b"/>
                <a:pathLst>
                  <a:path w="33" h="33">
                    <a:moveTo>
                      <a:pt x="3" y="33"/>
                    </a:moveTo>
                    <a:lnTo>
                      <a:pt x="0" y="33"/>
                    </a:lnTo>
                    <a:lnTo>
                      <a:pt x="3" y="23"/>
                    </a:lnTo>
                    <a:lnTo>
                      <a:pt x="12" y="18"/>
                    </a:lnTo>
                    <a:lnTo>
                      <a:pt x="19" y="11"/>
                    </a:lnTo>
                    <a:lnTo>
                      <a:pt x="26" y="6"/>
                    </a:lnTo>
                    <a:lnTo>
                      <a:pt x="26" y="2"/>
                    </a:lnTo>
                    <a:lnTo>
                      <a:pt x="28" y="0"/>
                    </a:lnTo>
                    <a:lnTo>
                      <a:pt x="29" y="4"/>
                    </a:lnTo>
                    <a:lnTo>
                      <a:pt x="33" y="7"/>
                    </a:lnTo>
                    <a:lnTo>
                      <a:pt x="29" y="7"/>
                    </a:lnTo>
                    <a:lnTo>
                      <a:pt x="28" y="9"/>
                    </a:lnTo>
                    <a:lnTo>
                      <a:pt x="22" y="12"/>
                    </a:lnTo>
                    <a:lnTo>
                      <a:pt x="19" y="14"/>
                    </a:lnTo>
                    <a:lnTo>
                      <a:pt x="12" y="26"/>
                    </a:lnTo>
                    <a:lnTo>
                      <a:pt x="3"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4" name="Freeform 230"/>
              <p:cNvSpPr>
                <a:spLocks/>
              </p:cNvSpPr>
              <p:nvPr/>
            </p:nvSpPr>
            <p:spPr bwMode="auto">
              <a:xfrm>
                <a:off x="7054057" y="3587750"/>
                <a:ext cx="98425" cy="138112"/>
              </a:xfrm>
              <a:custGeom>
                <a:avLst/>
                <a:gdLst/>
                <a:ahLst/>
                <a:cxnLst>
                  <a:cxn ang="0">
                    <a:pos x="4" y="36"/>
                  </a:cxn>
                  <a:cxn ang="0">
                    <a:pos x="5" y="29"/>
                  </a:cxn>
                  <a:cxn ang="0">
                    <a:pos x="7" y="24"/>
                  </a:cxn>
                  <a:cxn ang="0">
                    <a:pos x="5" y="15"/>
                  </a:cxn>
                  <a:cxn ang="0">
                    <a:pos x="5" y="8"/>
                  </a:cxn>
                  <a:cxn ang="0">
                    <a:pos x="5" y="1"/>
                  </a:cxn>
                  <a:cxn ang="0">
                    <a:pos x="10" y="0"/>
                  </a:cxn>
                  <a:cxn ang="0">
                    <a:pos x="14" y="3"/>
                  </a:cxn>
                  <a:cxn ang="0">
                    <a:pos x="17" y="8"/>
                  </a:cxn>
                  <a:cxn ang="0">
                    <a:pos x="21" y="5"/>
                  </a:cxn>
                  <a:cxn ang="0">
                    <a:pos x="24" y="3"/>
                  </a:cxn>
                  <a:cxn ang="0">
                    <a:pos x="24" y="5"/>
                  </a:cxn>
                  <a:cxn ang="0">
                    <a:pos x="26" y="7"/>
                  </a:cxn>
                  <a:cxn ang="0">
                    <a:pos x="26" y="8"/>
                  </a:cxn>
                  <a:cxn ang="0">
                    <a:pos x="28" y="19"/>
                  </a:cxn>
                  <a:cxn ang="0">
                    <a:pos x="31" y="29"/>
                  </a:cxn>
                  <a:cxn ang="0">
                    <a:pos x="26" y="38"/>
                  </a:cxn>
                  <a:cxn ang="0">
                    <a:pos x="22" y="48"/>
                  </a:cxn>
                  <a:cxn ang="0">
                    <a:pos x="26" y="60"/>
                  </a:cxn>
                  <a:cxn ang="0">
                    <a:pos x="34" y="68"/>
                  </a:cxn>
                  <a:cxn ang="0">
                    <a:pos x="34" y="67"/>
                  </a:cxn>
                  <a:cxn ang="0">
                    <a:pos x="34" y="63"/>
                  </a:cxn>
                  <a:cxn ang="0">
                    <a:pos x="40" y="63"/>
                  </a:cxn>
                  <a:cxn ang="0">
                    <a:pos x="45" y="68"/>
                  </a:cxn>
                  <a:cxn ang="0">
                    <a:pos x="48" y="74"/>
                  </a:cxn>
                  <a:cxn ang="0">
                    <a:pos x="50" y="72"/>
                  </a:cxn>
                  <a:cxn ang="0">
                    <a:pos x="53" y="70"/>
                  </a:cxn>
                  <a:cxn ang="0">
                    <a:pos x="55" y="72"/>
                  </a:cxn>
                  <a:cxn ang="0">
                    <a:pos x="53" y="74"/>
                  </a:cxn>
                  <a:cxn ang="0">
                    <a:pos x="53" y="77"/>
                  </a:cxn>
                  <a:cxn ang="0">
                    <a:pos x="57" y="77"/>
                  </a:cxn>
                  <a:cxn ang="0">
                    <a:pos x="57" y="80"/>
                  </a:cxn>
                  <a:cxn ang="0">
                    <a:pos x="62" y="82"/>
                  </a:cxn>
                  <a:cxn ang="0">
                    <a:pos x="62" y="84"/>
                  </a:cxn>
                  <a:cxn ang="0">
                    <a:pos x="62" y="86"/>
                  </a:cxn>
                  <a:cxn ang="0">
                    <a:pos x="60" y="86"/>
                  </a:cxn>
                  <a:cxn ang="0">
                    <a:pos x="60" y="87"/>
                  </a:cxn>
                  <a:cxn ang="0">
                    <a:pos x="59" y="86"/>
                  </a:cxn>
                  <a:cxn ang="0">
                    <a:pos x="59" y="84"/>
                  </a:cxn>
                  <a:cxn ang="0">
                    <a:pos x="50" y="77"/>
                  </a:cxn>
                  <a:cxn ang="0">
                    <a:pos x="41" y="72"/>
                  </a:cxn>
                  <a:cxn ang="0">
                    <a:pos x="40" y="74"/>
                  </a:cxn>
                  <a:cxn ang="0">
                    <a:pos x="41" y="79"/>
                  </a:cxn>
                  <a:cxn ang="0">
                    <a:pos x="34" y="74"/>
                  </a:cxn>
                  <a:cxn ang="0">
                    <a:pos x="29" y="70"/>
                  </a:cxn>
                  <a:cxn ang="0">
                    <a:pos x="24" y="70"/>
                  </a:cxn>
                  <a:cxn ang="0">
                    <a:pos x="21" y="72"/>
                  </a:cxn>
                  <a:cxn ang="0">
                    <a:pos x="16" y="68"/>
                  </a:cxn>
                  <a:cxn ang="0">
                    <a:pos x="14" y="65"/>
                  </a:cxn>
                  <a:cxn ang="0">
                    <a:pos x="14" y="62"/>
                  </a:cxn>
                  <a:cxn ang="0">
                    <a:pos x="17" y="62"/>
                  </a:cxn>
                  <a:cxn ang="0">
                    <a:pos x="17" y="56"/>
                  </a:cxn>
                  <a:cxn ang="0">
                    <a:pos x="14" y="56"/>
                  </a:cxn>
                  <a:cxn ang="0">
                    <a:pos x="12" y="58"/>
                  </a:cxn>
                  <a:cxn ang="0">
                    <a:pos x="10" y="60"/>
                  </a:cxn>
                  <a:cxn ang="0">
                    <a:pos x="5" y="56"/>
                  </a:cxn>
                  <a:cxn ang="0">
                    <a:pos x="2" y="51"/>
                  </a:cxn>
                  <a:cxn ang="0">
                    <a:pos x="0" y="41"/>
                  </a:cxn>
                  <a:cxn ang="0">
                    <a:pos x="4" y="36"/>
                  </a:cxn>
                </a:cxnLst>
                <a:rect l="0" t="0" r="r" b="b"/>
                <a:pathLst>
                  <a:path w="62" h="87">
                    <a:moveTo>
                      <a:pt x="4" y="36"/>
                    </a:moveTo>
                    <a:lnTo>
                      <a:pt x="5" y="29"/>
                    </a:lnTo>
                    <a:lnTo>
                      <a:pt x="7" y="24"/>
                    </a:lnTo>
                    <a:lnTo>
                      <a:pt x="5" y="15"/>
                    </a:lnTo>
                    <a:lnTo>
                      <a:pt x="5" y="8"/>
                    </a:lnTo>
                    <a:lnTo>
                      <a:pt x="5" y="1"/>
                    </a:lnTo>
                    <a:lnTo>
                      <a:pt x="10" y="0"/>
                    </a:lnTo>
                    <a:lnTo>
                      <a:pt x="14" y="3"/>
                    </a:lnTo>
                    <a:lnTo>
                      <a:pt x="17" y="8"/>
                    </a:lnTo>
                    <a:lnTo>
                      <a:pt x="21" y="5"/>
                    </a:lnTo>
                    <a:lnTo>
                      <a:pt x="24" y="3"/>
                    </a:lnTo>
                    <a:lnTo>
                      <a:pt x="24" y="5"/>
                    </a:lnTo>
                    <a:lnTo>
                      <a:pt x="26" y="7"/>
                    </a:lnTo>
                    <a:lnTo>
                      <a:pt x="26" y="8"/>
                    </a:lnTo>
                    <a:lnTo>
                      <a:pt x="28" y="19"/>
                    </a:lnTo>
                    <a:lnTo>
                      <a:pt x="31" y="29"/>
                    </a:lnTo>
                    <a:lnTo>
                      <a:pt x="26" y="38"/>
                    </a:lnTo>
                    <a:lnTo>
                      <a:pt x="22" y="48"/>
                    </a:lnTo>
                    <a:lnTo>
                      <a:pt x="26" y="60"/>
                    </a:lnTo>
                    <a:lnTo>
                      <a:pt x="34" y="68"/>
                    </a:lnTo>
                    <a:lnTo>
                      <a:pt x="34" y="67"/>
                    </a:lnTo>
                    <a:lnTo>
                      <a:pt x="34" y="63"/>
                    </a:lnTo>
                    <a:lnTo>
                      <a:pt x="40" y="63"/>
                    </a:lnTo>
                    <a:lnTo>
                      <a:pt x="45" y="68"/>
                    </a:lnTo>
                    <a:lnTo>
                      <a:pt x="48" y="74"/>
                    </a:lnTo>
                    <a:lnTo>
                      <a:pt x="50" y="72"/>
                    </a:lnTo>
                    <a:lnTo>
                      <a:pt x="53" y="70"/>
                    </a:lnTo>
                    <a:lnTo>
                      <a:pt x="55" y="72"/>
                    </a:lnTo>
                    <a:lnTo>
                      <a:pt x="53" y="74"/>
                    </a:lnTo>
                    <a:lnTo>
                      <a:pt x="53" y="77"/>
                    </a:lnTo>
                    <a:lnTo>
                      <a:pt x="57" y="77"/>
                    </a:lnTo>
                    <a:lnTo>
                      <a:pt x="57" y="80"/>
                    </a:lnTo>
                    <a:lnTo>
                      <a:pt x="62" y="82"/>
                    </a:lnTo>
                    <a:lnTo>
                      <a:pt x="62" y="84"/>
                    </a:lnTo>
                    <a:lnTo>
                      <a:pt x="62" y="86"/>
                    </a:lnTo>
                    <a:lnTo>
                      <a:pt x="60" y="86"/>
                    </a:lnTo>
                    <a:lnTo>
                      <a:pt x="60" y="87"/>
                    </a:lnTo>
                    <a:lnTo>
                      <a:pt x="59" y="86"/>
                    </a:lnTo>
                    <a:lnTo>
                      <a:pt x="59" y="84"/>
                    </a:lnTo>
                    <a:lnTo>
                      <a:pt x="50" y="77"/>
                    </a:lnTo>
                    <a:lnTo>
                      <a:pt x="41" y="72"/>
                    </a:lnTo>
                    <a:lnTo>
                      <a:pt x="40" y="74"/>
                    </a:lnTo>
                    <a:lnTo>
                      <a:pt x="41" y="79"/>
                    </a:lnTo>
                    <a:lnTo>
                      <a:pt x="34" y="74"/>
                    </a:lnTo>
                    <a:lnTo>
                      <a:pt x="29" y="70"/>
                    </a:lnTo>
                    <a:lnTo>
                      <a:pt x="24" y="70"/>
                    </a:lnTo>
                    <a:lnTo>
                      <a:pt x="21" y="72"/>
                    </a:lnTo>
                    <a:lnTo>
                      <a:pt x="16" y="68"/>
                    </a:lnTo>
                    <a:lnTo>
                      <a:pt x="14" y="65"/>
                    </a:lnTo>
                    <a:lnTo>
                      <a:pt x="14" y="62"/>
                    </a:lnTo>
                    <a:lnTo>
                      <a:pt x="17" y="62"/>
                    </a:lnTo>
                    <a:lnTo>
                      <a:pt x="17" y="56"/>
                    </a:lnTo>
                    <a:lnTo>
                      <a:pt x="14" y="56"/>
                    </a:lnTo>
                    <a:lnTo>
                      <a:pt x="12" y="58"/>
                    </a:lnTo>
                    <a:lnTo>
                      <a:pt x="10" y="60"/>
                    </a:lnTo>
                    <a:lnTo>
                      <a:pt x="5" y="56"/>
                    </a:lnTo>
                    <a:lnTo>
                      <a:pt x="2" y="51"/>
                    </a:lnTo>
                    <a:lnTo>
                      <a:pt x="0" y="41"/>
                    </a:lnTo>
                    <a:lnTo>
                      <a:pt x="4"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5" name="Freeform 231"/>
              <p:cNvSpPr>
                <a:spLocks/>
              </p:cNvSpPr>
              <p:nvPr/>
            </p:nvSpPr>
            <p:spPr bwMode="auto">
              <a:xfrm>
                <a:off x="7155657" y="3729038"/>
                <a:ext cx="31750" cy="53975"/>
              </a:xfrm>
              <a:custGeom>
                <a:avLst/>
                <a:gdLst/>
                <a:ahLst/>
                <a:cxnLst>
                  <a:cxn ang="0">
                    <a:pos x="19" y="22"/>
                  </a:cxn>
                  <a:cxn ang="0">
                    <a:pos x="12" y="22"/>
                  </a:cxn>
                  <a:cxn ang="0">
                    <a:pos x="12" y="28"/>
                  </a:cxn>
                  <a:cxn ang="0">
                    <a:pos x="15" y="33"/>
                  </a:cxn>
                  <a:cxn ang="0">
                    <a:pos x="15" y="34"/>
                  </a:cxn>
                  <a:cxn ang="0">
                    <a:pos x="13" y="34"/>
                  </a:cxn>
                  <a:cxn ang="0">
                    <a:pos x="12" y="34"/>
                  </a:cxn>
                  <a:cxn ang="0">
                    <a:pos x="8" y="31"/>
                  </a:cxn>
                  <a:cxn ang="0">
                    <a:pos x="10" y="29"/>
                  </a:cxn>
                  <a:cxn ang="0">
                    <a:pos x="10" y="26"/>
                  </a:cxn>
                  <a:cxn ang="0">
                    <a:pos x="5" y="22"/>
                  </a:cxn>
                  <a:cxn ang="0">
                    <a:pos x="3" y="21"/>
                  </a:cxn>
                  <a:cxn ang="0">
                    <a:pos x="3" y="17"/>
                  </a:cxn>
                  <a:cxn ang="0">
                    <a:pos x="5" y="17"/>
                  </a:cxn>
                  <a:cxn ang="0">
                    <a:pos x="8" y="17"/>
                  </a:cxn>
                  <a:cxn ang="0">
                    <a:pos x="10" y="16"/>
                  </a:cxn>
                  <a:cxn ang="0">
                    <a:pos x="12" y="16"/>
                  </a:cxn>
                  <a:cxn ang="0">
                    <a:pos x="5" y="7"/>
                  </a:cxn>
                  <a:cxn ang="0">
                    <a:pos x="0" y="2"/>
                  </a:cxn>
                  <a:cxn ang="0">
                    <a:pos x="1" y="0"/>
                  </a:cxn>
                  <a:cxn ang="0">
                    <a:pos x="5" y="0"/>
                  </a:cxn>
                  <a:cxn ang="0">
                    <a:pos x="10" y="0"/>
                  </a:cxn>
                  <a:cxn ang="0">
                    <a:pos x="15" y="2"/>
                  </a:cxn>
                  <a:cxn ang="0">
                    <a:pos x="15" y="4"/>
                  </a:cxn>
                  <a:cxn ang="0">
                    <a:pos x="15" y="7"/>
                  </a:cxn>
                  <a:cxn ang="0">
                    <a:pos x="17" y="7"/>
                  </a:cxn>
                  <a:cxn ang="0">
                    <a:pos x="17" y="10"/>
                  </a:cxn>
                  <a:cxn ang="0">
                    <a:pos x="17" y="14"/>
                  </a:cxn>
                  <a:cxn ang="0">
                    <a:pos x="19" y="16"/>
                  </a:cxn>
                  <a:cxn ang="0">
                    <a:pos x="20" y="17"/>
                  </a:cxn>
                  <a:cxn ang="0">
                    <a:pos x="19" y="19"/>
                  </a:cxn>
                  <a:cxn ang="0">
                    <a:pos x="19" y="22"/>
                  </a:cxn>
                </a:cxnLst>
                <a:rect l="0" t="0" r="r" b="b"/>
                <a:pathLst>
                  <a:path w="20" h="34">
                    <a:moveTo>
                      <a:pt x="19" y="22"/>
                    </a:moveTo>
                    <a:lnTo>
                      <a:pt x="12" y="22"/>
                    </a:lnTo>
                    <a:lnTo>
                      <a:pt x="12" y="28"/>
                    </a:lnTo>
                    <a:lnTo>
                      <a:pt x="15" y="33"/>
                    </a:lnTo>
                    <a:lnTo>
                      <a:pt x="15" y="34"/>
                    </a:lnTo>
                    <a:lnTo>
                      <a:pt x="13" y="34"/>
                    </a:lnTo>
                    <a:lnTo>
                      <a:pt x="12" y="34"/>
                    </a:lnTo>
                    <a:lnTo>
                      <a:pt x="8" y="31"/>
                    </a:lnTo>
                    <a:lnTo>
                      <a:pt x="10" y="29"/>
                    </a:lnTo>
                    <a:lnTo>
                      <a:pt x="10" y="26"/>
                    </a:lnTo>
                    <a:lnTo>
                      <a:pt x="5" y="22"/>
                    </a:lnTo>
                    <a:lnTo>
                      <a:pt x="3" y="21"/>
                    </a:lnTo>
                    <a:lnTo>
                      <a:pt x="3" y="17"/>
                    </a:lnTo>
                    <a:lnTo>
                      <a:pt x="5" y="17"/>
                    </a:lnTo>
                    <a:lnTo>
                      <a:pt x="8" y="17"/>
                    </a:lnTo>
                    <a:lnTo>
                      <a:pt x="10" y="16"/>
                    </a:lnTo>
                    <a:lnTo>
                      <a:pt x="12" y="16"/>
                    </a:lnTo>
                    <a:lnTo>
                      <a:pt x="5" y="7"/>
                    </a:lnTo>
                    <a:lnTo>
                      <a:pt x="0" y="2"/>
                    </a:lnTo>
                    <a:lnTo>
                      <a:pt x="1" y="0"/>
                    </a:lnTo>
                    <a:lnTo>
                      <a:pt x="5" y="0"/>
                    </a:lnTo>
                    <a:lnTo>
                      <a:pt x="10" y="0"/>
                    </a:lnTo>
                    <a:lnTo>
                      <a:pt x="15" y="2"/>
                    </a:lnTo>
                    <a:lnTo>
                      <a:pt x="15" y="4"/>
                    </a:lnTo>
                    <a:lnTo>
                      <a:pt x="15" y="7"/>
                    </a:lnTo>
                    <a:lnTo>
                      <a:pt x="17" y="7"/>
                    </a:lnTo>
                    <a:lnTo>
                      <a:pt x="17" y="10"/>
                    </a:lnTo>
                    <a:lnTo>
                      <a:pt x="17" y="14"/>
                    </a:lnTo>
                    <a:lnTo>
                      <a:pt x="19" y="16"/>
                    </a:lnTo>
                    <a:lnTo>
                      <a:pt x="20" y="17"/>
                    </a:lnTo>
                    <a:lnTo>
                      <a:pt x="19" y="19"/>
                    </a:lnTo>
                    <a:lnTo>
                      <a:pt x="19"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6" name="Freeform 232"/>
              <p:cNvSpPr>
                <a:spLocks/>
              </p:cNvSpPr>
              <p:nvPr/>
            </p:nvSpPr>
            <p:spPr bwMode="auto">
              <a:xfrm>
                <a:off x="7108032" y="3743325"/>
                <a:ext cx="25400" cy="34925"/>
              </a:xfrm>
              <a:custGeom>
                <a:avLst/>
                <a:gdLst/>
                <a:ahLst/>
                <a:cxnLst>
                  <a:cxn ang="0">
                    <a:pos x="4" y="1"/>
                  </a:cxn>
                  <a:cxn ang="0">
                    <a:pos x="9" y="3"/>
                  </a:cxn>
                  <a:cxn ang="0">
                    <a:pos x="16" y="8"/>
                  </a:cxn>
                  <a:cxn ang="0">
                    <a:pos x="9" y="17"/>
                  </a:cxn>
                  <a:cxn ang="0">
                    <a:pos x="2" y="22"/>
                  </a:cxn>
                  <a:cxn ang="0">
                    <a:pos x="0" y="10"/>
                  </a:cxn>
                  <a:cxn ang="0">
                    <a:pos x="0" y="3"/>
                  </a:cxn>
                  <a:cxn ang="0">
                    <a:pos x="0" y="0"/>
                  </a:cxn>
                  <a:cxn ang="0">
                    <a:pos x="2" y="0"/>
                  </a:cxn>
                  <a:cxn ang="0">
                    <a:pos x="4" y="0"/>
                  </a:cxn>
                  <a:cxn ang="0">
                    <a:pos x="6" y="3"/>
                  </a:cxn>
                  <a:cxn ang="0">
                    <a:pos x="4" y="1"/>
                  </a:cxn>
                </a:cxnLst>
                <a:rect l="0" t="0" r="r" b="b"/>
                <a:pathLst>
                  <a:path w="16" h="22">
                    <a:moveTo>
                      <a:pt x="4" y="1"/>
                    </a:moveTo>
                    <a:lnTo>
                      <a:pt x="9" y="3"/>
                    </a:lnTo>
                    <a:lnTo>
                      <a:pt x="16" y="8"/>
                    </a:lnTo>
                    <a:lnTo>
                      <a:pt x="9" y="17"/>
                    </a:lnTo>
                    <a:lnTo>
                      <a:pt x="2" y="22"/>
                    </a:lnTo>
                    <a:lnTo>
                      <a:pt x="0" y="10"/>
                    </a:lnTo>
                    <a:lnTo>
                      <a:pt x="0" y="3"/>
                    </a:lnTo>
                    <a:lnTo>
                      <a:pt x="0" y="0"/>
                    </a:lnTo>
                    <a:lnTo>
                      <a:pt x="2" y="0"/>
                    </a:lnTo>
                    <a:lnTo>
                      <a:pt x="4" y="0"/>
                    </a:lnTo>
                    <a:lnTo>
                      <a:pt x="6" y="3"/>
                    </a:lnTo>
                    <a:lnTo>
                      <a:pt x="4"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7" name="Freeform 233"/>
              <p:cNvSpPr>
                <a:spLocks/>
              </p:cNvSpPr>
              <p:nvPr/>
            </p:nvSpPr>
            <p:spPr bwMode="auto">
              <a:xfrm>
                <a:off x="7122319" y="3767138"/>
                <a:ext cx="26988" cy="41275"/>
              </a:xfrm>
              <a:custGeom>
                <a:avLst/>
                <a:gdLst/>
                <a:ahLst/>
                <a:cxnLst>
                  <a:cxn ang="0">
                    <a:pos x="17" y="5"/>
                  </a:cxn>
                  <a:cxn ang="0">
                    <a:pos x="14" y="12"/>
                  </a:cxn>
                  <a:cxn ang="0">
                    <a:pos x="12" y="19"/>
                  </a:cxn>
                  <a:cxn ang="0">
                    <a:pos x="12" y="21"/>
                  </a:cxn>
                  <a:cxn ang="0">
                    <a:pos x="14" y="24"/>
                  </a:cxn>
                  <a:cxn ang="0">
                    <a:pos x="12" y="24"/>
                  </a:cxn>
                  <a:cxn ang="0">
                    <a:pos x="10" y="26"/>
                  </a:cxn>
                  <a:cxn ang="0">
                    <a:pos x="4" y="21"/>
                  </a:cxn>
                  <a:cxn ang="0">
                    <a:pos x="0" y="16"/>
                  </a:cxn>
                  <a:cxn ang="0">
                    <a:pos x="2" y="12"/>
                  </a:cxn>
                  <a:cxn ang="0">
                    <a:pos x="5" y="12"/>
                  </a:cxn>
                  <a:cxn ang="0">
                    <a:pos x="5" y="5"/>
                  </a:cxn>
                  <a:cxn ang="0">
                    <a:pos x="10" y="0"/>
                  </a:cxn>
                  <a:cxn ang="0">
                    <a:pos x="14" y="0"/>
                  </a:cxn>
                  <a:cxn ang="0">
                    <a:pos x="17" y="5"/>
                  </a:cxn>
                </a:cxnLst>
                <a:rect l="0" t="0" r="r" b="b"/>
                <a:pathLst>
                  <a:path w="17" h="26">
                    <a:moveTo>
                      <a:pt x="17" y="5"/>
                    </a:moveTo>
                    <a:lnTo>
                      <a:pt x="14" y="12"/>
                    </a:lnTo>
                    <a:lnTo>
                      <a:pt x="12" y="19"/>
                    </a:lnTo>
                    <a:lnTo>
                      <a:pt x="12" y="21"/>
                    </a:lnTo>
                    <a:lnTo>
                      <a:pt x="14" y="24"/>
                    </a:lnTo>
                    <a:lnTo>
                      <a:pt x="12" y="24"/>
                    </a:lnTo>
                    <a:lnTo>
                      <a:pt x="10" y="26"/>
                    </a:lnTo>
                    <a:lnTo>
                      <a:pt x="4" y="21"/>
                    </a:lnTo>
                    <a:lnTo>
                      <a:pt x="0" y="16"/>
                    </a:lnTo>
                    <a:lnTo>
                      <a:pt x="2" y="12"/>
                    </a:lnTo>
                    <a:lnTo>
                      <a:pt x="5" y="12"/>
                    </a:lnTo>
                    <a:lnTo>
                      <a:pt x="5" y="5"/>
                    </a:lnTo>
                    <a:lnTo>
                      <a:pt x="10" y="0"/>
                    </a:lnTo>
                    <a:lnTo>
                      <a:pt x="14" y="0"/>
                    </a:lnTo>
                    <a:lnTo>
                      <a:pt x="1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8" name="Freeform 234"/>
              <p:cNvSpPr>
                <a:spLocks/>
              </p:cNvSpPr>
              <p:nvPr/>
            </p:nvSpPr>
            <p:spPr bwMode="auto">
              <a:xfrm>
                <a:off x="7144544" y="3767138"/>
                <a:ext cx="12700" cy="26987"/>
              </a:xfrm>
              <a:custGeom>
                <a:avLst/>
                <a:gdLst/>
                <a:ahLst/>
                <a:cxnLst>
                  <a:cxn ang="0">
                    <a:pos x="8" y="0"/>
                  </a:cxn>
                  <a:cxn ang="0">
                    <a:pos x="5" y="9"/>
                  </a:cxn>
                  <a:cxn ang="0">
                    <a:pos x="3" y="17"/>
                  </a:cxn>
                  <a:cxn ang="0">
                    <a:pos x="0" y="17"/>
                  </a:cxn>
                  <a:cxn ang="0">
                    <a:pos x="2" y="9"/>
                  </a:cxn>
                  <a:cxn ang="0">
                    <a:pos x="5" y="0"/>
                  </a:cxn>
                  <a:cxn ang="0">
                    <a:pos x="7" y="0"/>
                  </a:cxn>
                  <a:cxn ang="0">
                    <a:pos x="8" y="0"/>
                  </a:cxn>
                </a:cxnLst>
                <a:rect l="0" t="0" r="r" b="b"/>
                <a:pathLst>
                  <a:path w="8" h="17">
                    <a:moveTo>
                      <a:pt x="8" y="0"/>
                    </a:moveTo>
                    <a:lnTo>
                      <a:pt x="5" y="9"/>
                    </a:lnTo>
                    <a:lnTo>
                      <a:pt x="3" y="17"/>
                    </a:lnTo>
                    <a:lnTo>
                      <a:pt x="0" y="17"/>
                    </a:lnTo>
                    <a:lnTo>
                      <a:pt x="2" y="9"/>
                    </a:lnTo>
                    <a:lnTo>
                      <a:pt x="5" y="0"/>
                    </a:lnTo>
                    <a:lnTo>
                      <a:pt x="7" y="0"/>
                    </a:lnTo>
                    <a:lnTo>
                      <a:pt x="8"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499" name="Freeform 235"/>
              <p:cNvSpPr>
                <a:spLocks/>
              </p:cNvSpPr>
              <p:nvPr/>
            </p:nvSpPr>
            <p:spPr bwMode="auto">
              <a:xfrm>
                <a:off x="7152482" y="3786188"/>
                <a:ext cx="15875" cy="14287"/>
              </a:xfrm>
              <a:custGeom>
                <a:avLst/>
                <a:gdLst/>
                <a:ahLst/>
                <a:cxnLst>
                  <a:cxn ang="0">
                    <a:pos x="10" y="0"/>
                  </a:cxn>
                  <a:cxn ang="0">
                    <a:pos x="7" y="5"/>
                  </a:cxn>
                  <a:cxn ang="0">
                    <a:pos x="2" y="9"/>
                  </a:cxn>
                  <a:cxn ang="0">
                    <a:pos x="0" y="7"/>
                  </a:cxn>
                  <a:cxn ang="0">
                    <a:pos x="0" y="5"/>
                  </a:cxn>
                  <a:cxn ang="0">
                    <a:pos x="0" y="2"/>
                  </a:cxn>
                  <a:cxn ang="0">
                    <a:pos x="3" y="0"/>
                  </a:cxn>
                  <a:cxn ang="0">
                    <a:pos x="7" y="0"/>
                  </a:cxn>
                  <a:cxn ang="0">
                    <a:pos x="10" y="0"/>
                  </a:cxn>
                </a:cxnLst>
                <a:rect l="0" t="0" r="r" b="b"/>
                <a:pathLst>
                  <a:path w="10" h="9">
                    <a:moveTo>
                      <a:pt x="10" y="0"/>
                    </a:moveTo>
                    <a:lnTo>
                      <a:pt x="7" y="5"/>
                    </a:lnTo>
                    <a:lnTo>
                      <a:pt x="2" y="9"/>
                    </a:lnTo>
                    <a:lnTo>
                      <a:pt x="0" y="7"/>
                    </a:lnTo>
                    <a:lnTo>
                      <a:pt x="0" y="5"/>
                    </a:lnTo>
                    <a:lnTo>
                      <a:pt x="0" y="2"/>
                    </a:lnTo>
                    <a:lnTo>
                      <a:pt x="3" y="0"/>
                    </a:lnTo>
                    <a:lnTo>
                      <a:pt x="7"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0" name="Freeform 236"/>
              <p:cNvSpPr>
                <a:spLocks/>
              </p:cNvSpPr>
              <p:nvPr/>
            </p:nvSpPr>
            <p:spPr bwMode="auto">
              <a:xfrm>
                <a:off x="7133432" y="3729038"/>
                <a:ext cx="19050" cy="15875"/>
              </a:xfrm>
              <a:custGeom>
                <a:avLst/>
                <a:gdLst/>
                <a:ahLst/>
                <a:cxnLst>
                  <a:cxn ang="0">
                    <a:pos x="0" y="7"/>
                  </a:cxn>
                  <a:cxn ang="0">
                    <a:pos x="0" y="2"/>
                  </a:cxn>
                  <a:cxn ang="0">
                    <a:pos x="0" y="0"/>
                  </a:cxn>
                  <a:cxn ang="0">
                    <a:pos x="5" y="0"/>
                  </a:cxn>
                  <a:cxn ang="0">
                    <a:pos x="9" y="4"/>
                  </a:cxn>
                  <a:cxn ang="0">
                    <a:pos x="12" y="10"/>
                  </a:cxn>
                  <a:cxn ang="0">
                    <a:pos x="9" y="10"/>
                  </a:cxn>
                  <a:cxn ang="0">
                    <a:pos x="7" y="7"/>
                  </a:cxn>
                  <a:cxn ang="0">
                    <a:pos x="3" y="5"/>
                  </a:cxn>
                  <a:cxn ang="0">
                    <a:pos x="0" y="7"/>
                  </a:cxn>
                </a:cxnLst>
                <a:rect l="0" t="0" r="r" b="b"/>
                <a:pathLst>
                  <a:path w="12" h="10">
                    <a:moveTo>
                      <a:pt x="0" y="7"/>
                    </a:moveTo>
                    <a:lnTo>
                      <a:pt x="0" y="2"/>
                    </a:lnTo>
                    <a:lnTo>
                      <a:pt x="0" y="0"/>
                    </a:lnTo>
                    <a:lnTo>
                      <a:pt x="5" y="0"/>
                    </a:lnTo>
                    <a:lnTo>
                      <a:pt x="9" y="4"/>
                    </a:lnTo>
                    <a:lnTo>
                      <a:pt x="12" y="10"/>
                    </a:lnTo>
                    <a:lnTo>
                      <a:pt x="9" y="10"/>
                    </a:lnTo>
                    <a:lnTo>
                      <a:pt x="7" y="7"/>
                    </a:lnTo>
                    <a:lnTo>
                      <a:pt x="3" y="5"/>
                    </a:lnTo>
                    <a:lnTo>
                      <a:pt x="0"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1" name="Freeform 237"/>
              <p:cNvSpPr>
                <a:spLocks/>
              </p:cNvSpPr>
              <p:nvPr/>
            </p:nvSpPr>
            <p:spPr bwMode="auto">
              <a:xfrm>
                <a:off x="7073107" y="3706813"/>
                <a:ext cx="25400" cy="28575"/>
              </a:xfrm>
              <a:custGeom>
                <a:avLst/>
                <a:gdLst/>
                <a:ahLst/>
                <a:cxnLst>
                  <a:cxn ang="0">
                    <a:pos x="12" y="18"/>
                  </a:cxn>
                  <a:cxn ang="0">
                    <a:pos x="9" y="14"/>
                  </a:cxn>
                  <a:cxn ang="0">
                    <a:pos x="5" y="9"/>
                  </a:cxn>
                  <a:cxn ang="0">
                    <a:pos x="0" y="2"/>
                  </a:cxn>
                  <a:cxn ang="0">
                    <a:pos x="0" y="0"/>
                  </a:cxn>
                  <a:cxn ang="0">
                    <a:pos x="4" y="0"/>
                  </a:cxn>
                  <a:cxn ang="0">
                    <a:pos x="12" y="2"/>
                  </a:cxn>
                  <a:cxn ang="0">
                    <a:pos x="16" y="9"/>
                  </a:cxn>
                  <a:cxn ang="0">
                    <a:pos x="16" y="14"/>
                  </a:cxn>
                  <a:cxn ang="0">
                    <a:pos x="12" y="18"/>
                  </a:cxn>
                </a:cxnLst>
                <a:rect l="0" t="0" r="r" b="b"/>
                <a:pathLst>
                  <a:path w="16" h="18">
                    <a:moveTo>
                      <a:pt x="12" y="18"/>
                    </a:moveTo>
                    <a:lnTo>
                      <a:pt x="9" y="14"/>
                    </a:lnTo>
                    <a:lnTo>
                      <a:pt x="5" y="9"/>
                    </a:lnTo>
                    <a:lnTo>
                      <a:pt x="0" y="2"/>
                    </a:lnTo>
                    <a:lnTo>
                      <a:pt x="0" y="0"/>
                    </a:lnTo>
                    <a:lnTo>
                      <a:pt x="4" y="0"/>
                    </a:lnTo>
                    <a:lnTo>
                      <a:pt x="12" y="2"/>
                    </a:lnTo>
                    <a:lnTo>
                      <a:pt x="16" y="9"/>
                    </a:lnTo>
                    <a:lnTo>
                      <a:pt x="16" y="14"/>
                    </a:lnTo>
                    <a:lnTo>
                      <a:pt x="12" y="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2" name="Freeform 238"/>
              <p:cNvSpPr>
                <a:spLocks/>
              </p:cNvSpPr>
              <p:nvPr/>
            </p:nvSpPr>
            <p:spPr bwMode="auto">
              <a:xfrm>
                <a:off x="7100094" y="3709988"/>
                <a:ext cx="7938" cy="3175"/>
              </a:xfrm>
              <a:custGeom>
                <a:avLst/>
                <a:gdLst/>
                <a:ahLst/>
                <a:cxnLst>
                  <a:cxn ang="0">
                    <a:pos x="0" y="0"/>
                  </a:cxn>
                  <a:cxn ang="0">
                    <a:pos x="2" y="0"/>
                  </a:cxn>
                  <a:cxn ang="0">
                    <a:pos x="5" y="2"/>
                  </a:cxn>
                  <a:cxn ang="0">
                    <a:pos x="2" y="0"/>
                  </a:cxn>
                  <a:cxn ang="0">
                    <a:pos x="0" y="0"/>
                  </a:cxn>
                </a:cxnLst>
                <a:rect l="0" t="0" r="r" b="b"/>
                <a:pathLst>
                  <a:path w="5" h="2">
                    <a:moveTo>
                      <a:pt x="0" y="0"/>
                    </a:moveTo>
                    <a:lnTo>
                      <a:pt x="2" y="0"/>
                    </a:lnTo>
                    <a:lnTo>
                      <a:pt x="5" y="2"/>
                    </a:lnTo>
                    <a:lnTo>
                      <a:pt x="2"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3" name="Freeform 239"/>
              <p:cNvSpPr>
                <a:spLocks/>
              </p:cNvSpPr>
              <p:nvPr/>
            </p:nvSpPr>
            <p:spPr bwMode="auto">
              <a:xfrm>
                <a:off x="7061994" y="3421063"/>
                <a:ext cx="36513" cy="69850"/>
              </a:xfrm>
              <a:custGeom>
                <a:avLst/>
                <a:gdLst/>
                <a:ahLst/>
                <a:cxnLst>
                  <a:cxn ang="0">
                    <a:pos x="9" y="44"/>
                  </a:cxn>
                  <a:cxn ang="0">
                    <a:pos x="0" y="39"/>
                  </a:cxn>
                  <a:cxn ang="0">
                    <a:pos x="0" y="29"/>
                  </a:cxn>
                  <a:cxn ang="0">
                    <a:pos x="0" y="19"/>
                  </a:cxn>
                  <a:cxn ang="0">
                    <a:pos x="5" y="10"/>
                  </a:cxn>
                  <a:cxn ang="0">
                    <a:pos x="11" y="2"/>
                  </a:cxn>
                  <a:cxn ang="0">
                    <a:pos x="17" y="0"/>
                  </a:cxn>
                  <a:cxn ang="0">
                    <a:pos x="23" y="5"/>
                  </a:cxn>
                  <a:cxn ang="0">
                    <a:pos x="21" y="22"/>
                  </a:cxn>
                  <a:cxn ang="0">
                    <a:pos x="16" y="36"/>
                  </a:cxn>
                  <a:cxn ang="0">
                    <a:pos x="9" y="44"/>
                  </a:cxn>
                </a:cxnLst>
                <a:rect l="0" t="0" r="r" b="b"/>
                <a:pathLst>
                  <a:path w="23" h="44">
                    <a:moveTo>
                      <a:pt x="9" y="44"/>
                    </a:moveTo>
                    <a:lnTo>
                      <a:pt x="0" y="39"/>
                    </a:lnTo>
                    <a:lnTo>
                      <a:pt x="0" y="29"/>
                    </a:lnTo>
                    <a:lnTo>
                      <a:pt x="0" y="19"/>
                    </a:lnTo>
                    <a:lnTo>
                      <a:pt x="5" y="10"/>
                    </a:lnTo>
                    <a:lnTo>
                      <a:pt x="11" y="2"/>
                    </a:lnTo>
                    <a:lnTo>
                      <a:pt x="17" y="0"/>
                    </a:lnTo>
                    <a:lnTo>
                      <a:pt x="23" y="5"/>
                    </a:lnTo>
                    <a:lnTo>
                      <a:pt x="21" y="22"/>
                    </a:lnTo>
                    <a:lnTo>
                      <a:pt x="16" y="36"/>
                    </a:lnTo>
                    <a:lnTo>
                      <a:pt x="9" y="4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4" name="Freeform 240"/>
              <p:cNvSpPr>
                <a:spLocks/>
              </p:cNvSpPr>
              <p:nvPr/>
            </p:nvSpPr>
            <p:spPr bwMode="auto">
              <a:xfrm>
                <a:off x="6796882" y="3543300"/>
                <a:ext cx="55563" cy="49212"/>
              </a:xfrm>
              <a:custGeom>
                <a:avLst/>
                <a:gdLst/>
                <a:ahLst/>
                <a:cxnLst>
                  <a:cxn ang="0">
                    <a:pos x="2" y="14"/>
                  </a:cxn>
                  <a:cxn ang="0">
                    <a:pos x="6" y="10"/>
                  </a:cxn>
                  <a:cxn ang="0">
                    <a:pos x="14" y="7"/>
                  </a:cxn>
                  <a:cxn ang="0">
                    <a:pos x="21" y="2"/>
                  </a:cxn>
                  <a:cxn ang="0">
                    <a:pos x="30" y="0"/>
                  </a:cxn>
                  <a:cxn ang="0">
                    <a:pos x="31" y="2"/>
                  </a:cxn>
                  <a:cxn ang="0">
                    <a:pos x="35" y="9"/>
                  </a:cxn>
                  <a:cxn ang="0">
                    <a:pos x="31" y="14"/>
                  </a:cxn>
                  <a:cxn ang="0">
                    <a:pos x="26" y="23"/>
                  </a:cxn>
                  <a:cxn ang="0">
                    <a:pos x="18" y="28"/>
                  </a:cxn>
                  <a:cxn ang="0">
                    <a:pos x="12" y="31"/>
                  </a:cxn>
                  <a:cxn ang="0">
                    <a:pos x="4" y="28"/>
                  </a:cxn>
                  <a:cxn ang="0">
                    <a:pos x="2" y="21"/>
                  </a:cxn>
                  <a:cxn ang="0">
                    <a:pos x="0" y="16"/>
                  </a:cxn>
                  <a:cxn ang="0">
                    <a:pos x="2" y="14"/>
                  </a:cxn>
                </a:cxnLst>
                <a:rect l="0" t="0" r="r" b="b"/>
                <a:pathLst>
                  <a:path w="35" h="31">
                    <a:moveTo>
                      <a:pt x="2" y="14"/>
                    </a:moveTo>
                    <a:lnTo>
                      <a:pt x="6" y="10"/>
                    </a:lnTo>
                    <a:lnTo>
                      <a:pt x="14" y="7"/>
                    </a:lnTo>
                    <a:lnTo>
                      <a:pt x="21" y="2"/>
                    </a:lnTo>
                    <a:lnTo>
                      <a:pt x="30" y="0"/>
                    </a:lnTo>
                    <a:lnTo>
                      <a:pt x="31" y="2"/>
                    </a:lnTo>
                    <a:lnTo>
                      <a:pt x="35" y="9"/>
                    </a:lnTo>
                    <a:lnTo>
                      <a:pt x="31" y="14"/>
                    </a:lnTo>
                    <a:lnTo>
                      <a:pt x="26" y="23"/>
                    </a:lnTo>
                    <a:lnTo>
                      <a:pt x="18" y="28"/>
                    </a:lnTo>
                    <a:lnTo>
                      <a:pt x="12" y="31"/>
                    </a:lnTo>
                    <a:lnTo>
                      <a:pt x="4" y="28"/>
                    </a:lnTo>
                    <a:lnTo>
                      <a:pt x="2" y="21"/>
                    </a:lnTo>
                    <a:lnTo>
                      <a:pt x="0" y="16"/>
                    </a:lnTo>
                    <a:lnTo>
                      <a:pt x="2"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5" name="Freeform 241"/>
              <p:cNvSpPr>
                <a:spLocks/>
              </p:cNvSpPr>
              <p:nvPr/>
            </p:nvSpPr>
            <p:spPr bwMode="auto">
              <a:xfrm>
                <a:off x="6549232" y="3467100"/>
                <a:ext cx="266700" cy="515937"/>
              </a:xfrm>
              <a:custGeom>
                <a:avLst/>
                <a:gdLst/>
                <a:ahLst/>
                <a:cxnLst>
                  <a:cxn ang="0">
                    <a:pos x="24" y="175"/>
                  </a:cxn>
                  <a:cxn ang="0">
                    <a:pos x="27" y="162"/>
                  </a:cxn>
                  <a:cxn ang="0">
                    <a:pos x="19" y="138"/>
                  </a:cxn>
                  <a:cxn ang="0">
                    <a:pos x="8" y="124"/>
                  </a:cxn>
                  <a:cxn ang="0">
                    <a:pos x="12" y="117"/>
                  </a:cxn>
                  <a:cxn ang="0">
                    <a:pos x="10" y="89"/>
                  </a:cxn>
                  <a:cxn ang="0">
                    <a:pos x="2" y="62"/>
                  </a:cxn>
                  <a:cxn ang="0">
                    <a:pos x="22" y="50"/>
                  </a:cxn>
                  <a:cxn ang="0">
                    <a:pos x="43" y="31"/>
                  </a:cxn>
                  <a:cxn ang="0">
                    <a:pos x="55" y="26"/>
                  </a:cxn>
                  <a:cxn ang="0">
                    <a:pos x="60" y="24"/>
                  </a:cxn>
                  <a:cxn ang="0">
                    <a:pos x="65" y="9"/>
                  </a:cxn>
                  <a:cxn ang="0">
                    <a:pos x="100" y="3"/>
                  </a:cxn>
                  <a:cxn ang="0">
                    <a:pos x="132" y="7"/>
                  </a:cxn>
                  <a:cxn ang="0">
                    <a:pos x="139" y="34"/>
                  </a:cxn>
                  <a:cxn ang="0">
                    <a:pos x="115" y="67"/>
                  </a:cxn>
                  <a:cxn ang="0">
                    <a:pos x="125" y="83"/>
                  </a:cxn>
                  <a:cxn ang="0">
                    <a:pos x="150" y="107"/>
                  </a:cxn>
                  <a:cxn ang="0">
                    <a:pos x="167" y="141"/>
                  </a:cxn>
                  <a:cxn ang="0">
                    <a:pos x="163" y="181"/>
                  </a:cxn>
                  <a:cxn ang="0">
                    <a:pos x="139" y="191"/>
                  </a:cxn>
                  <a:cxn ang="0">
                    <a:pos x="120" y="206"/>
                  </a:cxn>
                  <a:cxn ang="0">
                    <a:pos x="119" y="206"/>
                  </a:cxn>
                  <a:cxn ang="0">
                    <a:pos x="107" y="220"/>
                  </a:cxn>
                  <a:cxn ang="0">
                    <a:pos x="103" y="205"/>
                  </a:cxn>
                  <a:cxn ang="0">
                    <a:pos x="101" y="196"/>
                  </a:cxn>
                  <a:cxn ang="0">
                    <a:pos x="76" y="181"/>
                  </a:cxn>
                  <a:cxn ang="0">
                    <a:pos x="50" y="162"/>
                  </a:cxn>
                  <a:cxn ang="0">
                    <a:pos x="41" y="150"/>
                  </a:cxn>
                  <a:cxn ang="0">
                    <a:pos x="31" y="155"/>
                  </a:cxn>
                  <a:cxn ang="0">
                    <a:pos x="29" y="172"/>
                  </a:cxn>
                  <a:cxn ang="0">
                    <a:pos x="19" y="198"/>
                  </a:cxn>
                  <a:cxn ang="0">
                    <a:pos x="33" y="213"/>
                  </a:cxn>
                  <a:cxn ang="0">
                    <a:pos x="36" y="229"/>
                  </a:cxn>
                  <a:cxn ang="0">
                    <a:pos x="67" y="253"/>
                  </a:cxn>
                  <a:cxn ang="0">
                    <a:pos x="81" y="270"/>
                  </a:cxn>
                  <a:cxn ang="0">
                    <a:pos x="82" y="289"/>
                  </a:cxn>
                  <a:cxn ang="0">
                    <a:pos x="94" y="315"/>
                  </a:cxn>
                  <a:cxn ang="0">
                    <a:pos x="89" y="323"/>
                  </a:cxn>
                  <a:cxn ang="0">
                    <a:pos x="81" y="322"/>
                  </a:cxn>
                  <a:cxn ang="0">
                    <a:pos x="55" y="304"/>
                  </a:cxn>
                  <a:cxn ang="0">
                    <a:pos x="38" y="272"/>
                  </a:cxn>
                  <a:cxn ang="0">
                    <a:pos x="31" y="246"/>
                  </a:cxn>
                  <a:cxn ang="0">
                    <a:pos x="19" y="222"/>
                  </a:cxn>
                  <a:cxn ang="0">
                    <a:pos x="10" y="220"/>
                  </a:cxn>
                  <a:cxn ang="0">
                    <a:pos x="10" y="208"/>
                  </a:cxn>
                </a:cxnLst>
                <a:rect l="0" t="0" r="r" b="b"/>
                <a:pathLst>
                  <a:path w="168" h="325">
                    <a:moveTo>
                      <a:pt x="14" y="199"/>
                    </a:moveTo>
                    <a:lnTo>
                      <a:pt x="19" y="186"/>
                    </a:lnTo>
                    <a:lnTo>
                      <a:pt x="24" y="175"/>
                    </a:lnTo>
                    <a:lnTo>
                      <a:pt x="26" y="172"/>
                    </a:lnTo>
                    <a:lnTo>
                      <a:pt x="29" y="169"/>
                    </a:lnTo>
                    <a:lnTo>
                      <a:pt x="27" y="162"/>
                    </a:lnTo>
                    <a:lnTo>
                      <a:pt x="24" y="153"/>
                    </a:lnTo>
                    <a:lnTo>
                      <a:pt x="21" y="143"/>
                    </a:lnTo>
                    <a:lnTo>
                      <a:pt x="19" y="138"/>
                    </a:lnTo>
                    <a:lnTo>
                      <a:pt x="10" y="132"/>
                    </a:lnTo>
                    <a:lnTo>
                      <a:pt x="8" y="126"/>
                    </a:lnTo>
                    <a:lnTo>
                      <a:pt x="8" y="124"/>
                    </a:lnTo>
                    <a:lnTo>
                      <a:pt x="10" y="122"/>
                    </a:lnTo>
                    <a:lnTo>
                      <a:pt x="10" y="122"/>
                    </a:lnTo>
                    <a:lnTo>
                      <a:pt x="12" y="117"/>
                    </a:lnTo>
                    <a:lnTo>
                      <a:pt x="14" y="112"/>
                    </a:lnTo>
                    <a:lnTo>
                      <a:pt x="12" y="100"/>
                    </a:lnTo>
                    <a:lnTo>
                      <a:pt x="10" y="89"/>
                    </a:lnTo>
                    <a:lnTo>
                      <a:pt x="3" y="83"/>
                    </a:lnTo>
                    <a:lnTo>
                      <a:pt x="0" y="76"/>
                    </a:lnTo>
                    <a:lnTo>
                      <a:pt x="2" y="62"/>
                    </a:lnTo>
                    <a:lnTo>
                      <a:pt x="8" y="55"/>
                    </a:lnTo>
                    <a:lnTo>
                      <a:pt x="14" y="52"/>
                    </a:lnTo>
                    <a:lnTo>
                      <a:pt x="22" y="50"/>
                    </a:lnTo>
                    <a:lnTo>
                      <a:pt x="29" y="43"/>
                    </a:lnTo>
                    <a:lnTo>
                      <a:pt x="36" y="38"/>
                    </a:lnTo>
                    <a:lnTo>
                      <a:pt x="43" y="31"/>
                    </a:lnTo>
                    <a:lnTo>
                      <a:pt x="51" y="22"/>
                    </a:lnTo>
                    <a:lnTo>
                      <a:pt x="55" y="22"/>
                    </a:lnTo>
                    <a:lnTo>
                      <a:pt x="55" y="26"/>
                    </a:lnTo>
                    <a:lnTo>
                      <a:pt x="58" y="28"/>
                    </a:lnTo>
                    <a:lnTo>
                      <a:pt x="58" y="26"/>
                    </a:lnTo>
                    <a:lnTo>
                      <a:pt x="60" y="24"/>
                    </a:lnTo>
                    <a:lnTo>
                      <a:pt x="60" y="17"/>
                    </a:lnTo>
                    <a:lnTo>
                      <a:pt x="60" y="10"/>
                    </a:lnTo>
                    <a:lnTo>
                      <a:pt x="65" y="9"/>
                    </a:lnTo>
                    <a:lnTo>
                      <a:pt x="74" y="7"/>
                    </a:lnTo>
                    <a:lnTo>
                      <a:pt x="89" y="7"/>
                    </a:lnTo>
                    <a:lnTo>
                      <a:pt x="100" y="3"/>
                    </a:lnTo>
                    <a:lnTo>
                      <a:pt x="110" y="0"/>
                    </a:lnTo>
                    <a:lnTo>
                      <a:pt x="120" y="3"/>
                    </a:lnTo>
                    <a:lnTo>
                      <a:pt x="132" y="7"/>
                    </a:lnTo>
                    <a:lnTo>
                      <a:pt x="137" y="19"/>
                    </a:lnTo>
                    <a:lnTo>
                      <a:pt x="150" y="26"/>
                    </a:lnTo>
                    <a:lnTo>
                      <a:pt x="139" y="34"/>
                    </a:lnTo>
                    <a:lnTo>
                      <a:pt x="127" y="43"/>
                    </a:lnTo>
                    <a:lnTo>
                      <a:pt x="119" y="52"/>
                    </a:lnTo>
                    <a:lnTo>
                      <a:pt x="115" y="67"/>
                    </a:lnTo>
                    <a:lnTo>
                      <a:pt x="115" y="71"/>
                    </a:lnTo>
                    <a:lnTo>
                      <a:pt x="119" y="74"/>
                    </a:lnTo>
                    <a:lnTo>
                      <a:pt x="125" y="83"/>
                    </a:lnTo>
                    <a:lnTo>
                      <a:pt x="132" y="91"/>
                    </a:lnTo>
                    <a:lnTo>
                      <a:pt x="139" y="100"/>
                    </a:lnTo>
                    <a:lnTo>
                      <a:pt x="150" y="107"/>
                    </a:lnTo>
                    <a:lnTo>
                      <a:pt x="156" y="114"/>
                    </a:lnTo>
                    <a:lnTo>
                      <a:pt x="163" y="127"/>
                    </a:lnTo>
                    <a:lnTo>
                      <a:pt x="167" y="141"/>
                    </a:lnTo>
                    <a:lnTo>
                      <a:pt x="168" y="155"/>
                    </a:lnTo>
                    <a:lnTo>
                      <a:pt x="165" y="167"/>
                    </a:lnTo>
                    <a:lnTo>
                      <a:pt x="163" y="181"/>
                    </a:lnTo>
                    <a:lnTo>
                      <a:pt x="151" y="182"/>
                    </a:lnTo>
                    <a:lnTo>
                      <a:pt x="146" y="186"/>
                    </a:lnTo>
                    <a:lnTo>
                      <a:pt x="139" y="191"/>
                    </a:lnTo>
                    <a:lnTo>
                      <a:pt x="132" y="196"/>
                    </a:lnTo>
                    <a:lnTo>
                      <a:pt x="125" y="201"/>
                    </a:lnTo>
                    <a:lnTo>
                      <a:pt x="120" y="206"/>
                    </a:lnTo>
                    <a:lnTo>
                      <a:pt x="119" y="205"/>
                    </a:lnTo>
                    <a:lnTo>
                      <a:pt x="119" y="203"/>
                    </a:lnTo>
                    <a:lnTo>
                      <a:pt x="119" y="206"/>
                    </a:lnTo>
                    <a:lnTo>
                      <a:pt x="119" y="208"/>
                    </a:lnTo>
                    <a:lnTo>
                      <a:pt x="113" y="215"/>
                    </a:lnTo>
                    <a:lnTo>
                      <a:pt x="107" y="220"/>
                    </a:lnTo>
                    <a:lnTo>
                      <a:pt x="103" y="215"/>
                    </a:lnTo>
                    <a:lnTo>
                      <a:pt x="103" y="212"/>
                    </a:lnTo>
                    <a:lnTo>
                      <a:pt x="103" y="205"/>
                    </a:lnTo>
                    <a:lnTo>
                      <a:pt x="105" y="203"/>
                    </a:lnTo>
                    <a:lnTo>
                      <a:pt x="101" y="199"/>
                    </a:lnTo>
                    <a:lnTo>
                      <a:pt x="101" y="196"/>
                    </a:lnTo>
                    <a:lnTo>
                      <a:pt x="89" y="193"/>
                    </a:lnTo>
                    <a:lnTo>
                      <a:pt x="84" y="186"/>
                    </a:lnTo>
                    <a:lnTo>
                      <a:pt x="76" y="181"/>
                    </a:lnTo>
                    <a:lnTo>
                      <a:pt x="72" y="172"/>
                    </a:lnTo>
                    <a:lnTo>
                      <a:pt x="60" y="165"/>
                    </a:lnTo>
                    <a:lnTo>
                      <a:pt x="50" y="162"/>
                    </a:lnTo>
                    <a:lnTo>
                      <a:pt x="48" y="158"/>
                    </a:lnTo>
                    <a:lnTo>
                      <a:pt x="48" y="155"/>
                    </a:lnTo>
                    <a:lnTo>
                      <a:pt x="41" y="150"/>
                    </a:lnTo>
                    <a:lnTo>
                      <a:pt x="34" y="150"/>
                    </a:lnTo>
                    <a:lnTo>
                      <a:pt x="31" y="150"/>
                    </a:lnTo>
                    <a:lnTo>
                      <a:pt x="31" y="155"/>
                    </a:lnTo>
                    <a:lnTo>
                      <a:pt x="31" y="158"/>
                    </a:lnTo>
                    <a:lnTo>
                      <a:pt x="33" y="165"/>
                    </a:lnTo>
                    <a:lnTo>
                      <a:pt x="29" y="172"/>
                    </a:lnTo>
                    <a:lnTo>
                      <a:pt x="26" y="181"/>
                    </a:lnTo>
                    <a:lnTo>
                      <a:pt x="21" y="187"/>
                    </a:lnTo>
                    <a:lnTo>
                      <a:pt x="19" y="198"/>
                    </a:lnTo>
                    <a:lnTo>
                      <a:pt x="21" y="205"/>
                    </a:lnTo>
                    <a:lnTo>
                      <a:pt x="27" y="210"/>
                    </a:lnTo>
                    <a:lnTo>
                      <a:pt x="33" y="213"/>
                    </a:lnTo>
                    <a:lnTo>
                      <a:pt x="36" y="222"/>
                    </a:lnTo>
                    <a:lnTo>
                      <a:pt x="34" y="222"/>
                    </a:lnTo>
                    <a:lnTo>
                      <a:pt x="36" y="229"/>
                    </a:lnTo>
                    <a:lnTo>
                      <a:pt x="41" y="237"/>
                    </a:lnTo>
                    <a:lnTo>
                      <a:pt x="53" y="244"/>
                    </a:lnTo>
                    <a:lnTo>
                      <a:pt x="67" y="253"/>
                    </a:lnTo>
                    <a:lnTo>
                      <a:pt x="72" y="258"/>
                    </a:lnTo>
                    <a:lnTo>
                      <a:pt x="77" y="263"/>
                    </a:lnTo>
                    <a:lnTo>
                      <a:pt x="81" y="270"/>
                    </a:lnTo>
                    <a:lnTo>
                      <a:pt x="84" y="280"/>
                    </a:lnTo>
                    <a:lnTo>
                      <a:pt x="82" y="284"/>
                    </a:lnTo>
                    <a:lnTo>
                      <a:pt x="82" y="289"/>
                    </a:lnTo>
                    <a:lnTo>
                      <a:pt x="86" y="299"/>
                    </a:lnTo>
                    <a:lnTo>
                      <a:pt x="93" y="308"/>
                    </a:lnTo>
                    <a:lnTo>
                      <a:pt x="94" y="315"/>
                    </a:lnTo>
                    <a:lnTo>
                      <a:pt x="96" y="323"/>
                    </a:lnTo>
                    <a:lnTo>
                      <a:pt x="93" y="323"/>
                    </a:lnTo>
                    <a:lnTo>
                      <a:pt x="89" y="323"/>
                    </a:lnTo>
                    <a:lnTo>
                      <a:pt x="88" y="323"/>
                    </a:lnTo>
                    <a:lnTo>
                      <a:pt x="86" y="325"/>
                    </a:lnTo>
                    <a:lnTo>
                      <a:pt x="81" y="322"/>
                    </a:lnTo>
                    <a:lnTo>
                      <a:pt x="77" y="320"/>
                    </a:lnTo>
                    <a:lnTo>
                      <a:pt x="65" y="313"/>
                    </a:lnTo>
                    <a:lnTo>
                      <a:pt x="55" y="304"/>
                    </a:lnTo>
                    <a:lnTo>
                      <a:pt x="46" y="294"/>
                    </a:lnTo>
                    <a:lnTo>
                      <a:pt x="43" y="284"/>
                    </a:lnTo>
                    <a:lnTo>
                      <a:pt x="38" y="272"/>
                    </a:lnTo>
                    <a:lnTo>
                      <a:pt x="36" y="263"/>
                    </a:lnTo>
                    <a:lnTo>
                      <a:pt x="33" y="253"/>
                    </a:lnTo>
                    <a:lnTo>
                      <a:pt x="31" y="246"/>
                    </a:lnTo>
                    <a:lnTo>
                      <a:pt x="27" y="237"/>
                    </a:lnTo>
                    <a:lnTo>
                      <a:pt x="24" y="230"/>
                    </a:lnTo>
                    <a:lnTo>
                      <a:pt x="19" y="222"/>
                    </a:lnTo>
                    <a:lnTo>
                      <a:pt x="15" y="220"/>
                    </a:lnTo>
                    <a:lnTo>
                      <a:pt x="12" y="220"/>
                    </a:lnTo>
                    <a:lnTo>
                      <a:pt x="10" y="220"/>
                    </a:lnTo>
                    <a:lnTo>
                      <a:pt x="8" y="218"/>
                    </a:lnTo>
                    <a:lnTo>
                      <a:pt x="10" y="218"/>
                    </a:lnTo>
                    <a:lnTo>
                      <a:pt x="10" y="208"/>
                    </a:lnTo>
                    <a:lnTo>
                      <a:pt x="12" y="199"/>
                    </a:lnTo>
                    <a:lnTo>
                      <a:pt x="14" y="19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6" name="Freeform 242"/>
              <p:cNvSpPr>
                <a:spLocks/>
              </p:cNvSpPr>
              <p:nvPr/>
            </p:nvSpPr>
            <p:spPr bwMode="auto">
              <a:xfrm>
                <a:off x="6723857" y="4048125"/>
                <a:ext cx="34925" cy="36512"/>
              </a:xfrm>
              <a:custGeom>
                <a:avLst/>
                <a:gdLst/>
                <a:ahLst/>
                <a:cxnLst>
                  <a:cxn ang="0">
                    <a:pos x="14" y="19"/>
                  </a:cxn>
                  <a:cxn ang="0">
                    <a:pos x="10" y="16"/>
                  </a:cxn>
                  <a:cxn ang="0">
                    <a:pos x="9" y="12"/>
                  </a:cxn>
                  <a:cxn ang="0">
                    <a:pos x="3" y="9"/>
                  </a:cxn>
                  <a:cxn ang="0">
                    <a:pos x="0" y="7"/>
                  </a:cxn>
                  <a:cxn ang="0">
                    <a:pos x="3" y="2"/>
                  </a:cxn>
                  <a:cxn ang="0">
                    <a:pos x="10" y="0"/>
                  </a:cxn>
                  <a:cxn ang="0">
                    <a:pos x="14" y="11"/>
                  </a:cxn>
                  <a:cxn ang="0">
                    <a:pos x="22" y="17"/>
                  </a:cxn>
                  <a:cxn ang="0">
                    <a:pos x="22" y="19"/>
                  </a:cxn>
                  <a:cxn ang="0">
                    <a:pos x="22" y="23"/>
                  </a:cxn>
                  <a:cxn ang="0">
                    <a:pos x="21" y="23"/>
                  </a:cxn>
                  <a:cxn ang="0">
                    <a:pos x="19" y="23"/>
                  </a:cxn>
                  <a:cxn ang="0">
                    <a:pos x="15" y="21"/>
                  </a:cxn>
                  <a:cxn ang="0">
                    <a:pos x="14" y="19"/>
                  </a:cxn>
                </a:cxnLst>
                <a:rect l="0" t="0" r="r" b="b"/>
                <a:pathLst>
                  <a:path w="22" h="23">
                    <a:moveTo>
                      <a:pt x="14" y="19"/>
                    </a:moveTo>
                    <a:lnTo>
                      <a:pt x="10" y="16"/>
                    </a:lnTo>
                    <a:lnTo>
                      <a:pt x="9" y="12"/>
                    </a:lnTo>
                    <a:lnTo>
                      <a:pt x="3" y="9"/>
                    </a:lnTo>
                    <a:lnTo>
                      <a:pt x="0" y="7"/>
                    </a:lnTo>
                    <a:lnTo>
                      <a:pt x="3" y="2"/>
                    </a:lnTo>
                    <a:lnTo>
                      <a:pt x="10" y="0"/>
                    </a:lnTo>
                    <a:lnTo>
                      <a:pt x="14" y="11"/>
                    </a:lnTo>
                    <a:lnTo>
                      <a:pt x="22" y="17"/>
                    </a:lnTo>
                    <a:lnTo>
                      <a:pt x="22" y="19"/>
                    </a:lnTo>
                    <a:lnTo>
                      <a:pt x="22" y="23"/>
                    </a:lnTo>
                    <a:lnTo>
                      <a:pt x="21" y="23"/>
                    </a:lnTo>
                    <a:lnTo>
                      <a:pt x="19" y="23"/>
                    </a:lnTo>
                    <a:lnTo>
                      <a:pt x="15" y="21"/>
                    </a:lnTo>
                    <a:lnTo>
                      <a:pt x="14"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7" name="Freeform 243"/>
              <p:cNvSpPr>
                <a:spLocks/>
              </p:cNvSpPr>
              <p:nvPr/>
            </p:nvSpPr>
            <p:spPr bwMode="auto">
              <a:xfrm>
                <a:off x="6781007" y="4075113"/>
                <a:ext cx="15875" cy="14287"/>
              </a:xfrm>
              <a:custGeom>
                <a:avLst/>
                <a:gdLst/>
                <a:ahLst/>
                <a:cxnLst>
                  <a:cxn ang="0">
                    <a:pos x="0" y="0"/>
                  </a:cxn>
                  <a:cxn ang="0">
                    <a:pos x="2" y="0"/>
                  </a:cxn>
                  <a:cxn ang="0">
                    <a:pos x="5" y="0"/>
                  </a:cxn>
                  <a:cxn ang="0">
                    <a:pos x="7" y="0"/>
                  </a:cxn>
                  <a:cxn ang="0">
                    <a:pos x="10" y="2"/>
                  </a:cxn>
                  <a:cxn ang="0">
                    <a:pos x="7" y="6"/>
                  </a:cxn>
                  <a:cxn ang="0">
                    <a:pos x="4" y="9"/>
                  </a:cxn>
                  <a:cxn ang="0">
                    <a:pos x="0" y="6"/>
                  </a:cxn>
                  <a:cxn ang="0">
                    <a:pos x="0" y="2"/>
                  </a:cxn>
                  <a:cxn ang="0">
                    <a:pos x="0" y="0"/>
                  </a:cxn>
                </a:cxnLst>
                <a:rect l="0" t="0" r="r" b="b"/>
                <a:pathLst>
                  <a:path w="10" h="9">
                    <a:moveTo>
                      <a:pt x="0" y="0"/>
                    </a:moveTo>
                    <a:lnTo>
                      <a:pt x="2" y="0"/>
                    </a:lnTo>
                    <a:lnTo>
                      <a:pt x="5" y="0"/>
                    </a:lnTo>
                    <a:lnTo>
                      <a:pt x="7" y="0"/>
                    </a:lnTo>
                    <a:lnTo>
                      <a:pt x="10" y="2"/>
                    </a:lnTo>
                    <a:lnTo>
                      <a:pt x="7" y="6"/>
                    </a:lnTo>
                    <a:lnTo>
                      <a:pt x="4" y="9"/>
                    </a:lnTo>
                    <a:lnTo>
                      <a:pt x="0" y="6"/>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8" name="Freeform 244"/>
              <p:cNvSpPr>
                <a:spLocks/>
              </p:cNvSpPr>
              <p:nvPr/>
            </p:nvSpPr>
            <p:spPr bwMode="auto">
              <a:xfrm>
                <a:off x="6576219" y="4040188"/>
                <a:ext cx="14288" cy="22225"/>
              </a:xfrm>
              <a:custGeom>
                <a:avLst/>
                <a:gdLst/>
                <a:ahLst/>
                <a:cxnLst>
                  <a:cxn ang="0">
                    <a:pos x="2" y="0"/>
                  </a:cxn>
                  <a:cxn ang="0">
                    <a:pos x="7" y="5"/>
                  </a:cxn>
                  <a:cxn ang="0">
                    <a:pos x="9" y="14"/>
                  </a:cxn>
                  <a:cxn ang="0">
                    <a:pos x="4" y="9"/>
                  </a:cxn>
                  <a:cxn ang="0">
                    <a:pos x="0" y="2"/>
                  </a:cxn>
                  <a:cxn ang="0">
                    <a:pos x="0" y="0"/>
                  </a:cxn>
                  <a:cxn ang="0">
                    <a:pos x="4" y="0"/>
                  </a:cxn>
                  <a:cxn ang="0">
                    <a:pos x="4" y="2"/>
                  </a:cxn>
                  <a:cxn ang="0">
                    <a:pos x="2" y="0"/>
                  </a:cxn>
                </a:cxnLst>
                <a:rect l="0" t="0" r="r" b="b"/>
                <a:pathLst>
                  <a:path w="9" h="14">
                    <a:moveTo>
                      <a:pt x="2" y="0"/>
                    </a:moveTo>
                    <a:lnTo>
                      <a:pt x="7" y="5"/>
                    </a:lnTo>
                    <a:lnTo>
                      <a:pt x="9" y="14"/>
                    </a:lnTo>
                    <a:lnTo>
                      <a:pt x="4" y="9"/>
                    </a:lnTo>
                    <a:lnTo>
                      <a:pt x="0" y="2"/>
                    </a:lnTo>
                    <a:lnTo>
                      <a:pt x="0" y="0"/>
                    </a:lnTo>
                    <a:lnTo>
                      <a:pt x="4" y="0"/>
                    </a:lnTo>
                    <a:lnTo>
                      <a:pt x="4" y="2"/>
                    </a:lnTo>
                    <a:lnTo>
                      <a:pt x="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09" name="Freeform 245"/>
              <p:cNvSpPr>
                <a:spLocks/>
              </p:cNvSpPr>
              <p:nvPr/>
            </p:nvSpPr>
            <p:spPr bwMode="auto">
              <a:xfrm>
                <a:off x="6546057" y="3990975"/>
                <a:ext cx="15875" cy="19050"/>
              </a:xfrm>
              <a:custGeom>
                <a:avLst/>
                <a:gdLst/>
                <a:ahLst/>
                <a:cxnLst>
                  <a:cxn ang="0">
                    <a:pos x="4" y="0"/>
                  </a:cxn>
                  <a:cxn ang="0">
                    <a:pos x="9" y="5"/>
                  </a:cxn>
                  <a:cxn ang="0">
                    <a:pos x="10" y="12"/>
                  </a:cxn>
                  <a:cxn ang="0">
                    <a:pos x="5" y="7"/>
                  </a:cxn>
                  <a:cxn ang="0">
                    <a:pos x="2" y="0"/>
                  </a:cxn>
                  <a:cxn ang="0">
                    <a:pos x="0" y="0"/>
                  </a:cxn>
                  <a:cxn ang="0">
                    <a:pos x="4" y="0"/>
                  </a:cxn>
                </a:cxnLst>
                <a:rect l="0" t="0" r="r" b="b"/>
                <a:pathLst>
                  <a:path w="10" h="12">
                    <a:moveTo>
                      <a:pt x="4" y="0"/>
                    </a:moveTo>
                    <a:lnTo>
                      <a:pt x="9" y="5"/>
                    </a:lnTo>
                    <a:lnTo>
                      <a:pt x="10" y="12"/>
                    </a:lnTo>
                    <a:lnTo>
                      <a:pt x="5" y="7"/>
                    </a:lnTo>
                    <a:lnTo>
                      <a:pt x="2" y="0"/>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0" name="Freeform 246"/>
              <p:cNvSpPr>
                <a:spLocks/>
              </p:cNvSpPr>
              <p:nvPr/>
            </p:nvSpPr>
            <p:spPr bwMode="auto">
              <a:xfrm>
                <a:off x="7284244" y="3205163"/>
                <a:ext cx="50800" cy="68262"/>
              </a:xfrm>
              <a:custGeom>
                <a:avLst/>
                <a:gdLst/>
                <a:ahLst/>
                <a:cxnLst>
                  <a:cxn ang="0">
                    <a:pos x="12" y="26"/>
                  </a:cxn>
                  <a:cxn ang="0">
                    <a:pos x="15" y="17"/>
                  </a:cxn>
                  <a:cxn ang="0">
                    <a:pos x="10" y="14"/>
                  </a:cxn>
                  <a:cxn ang="0">
                    <a:pos x="10" y="12"/>
                  </a:cxn>
                  <a:cxn ang="0">
                    <a:pos x="10" y="14"/>
                  </a:cxn>
                  <a:cxn ang="0">
                    <a:pos x="10" y="15"/>
                  </a:cxn>
                  <a:cxn ang="0">
                    <a:pos x="6" y="15"/>
                  </a:cxn>
                  <a:cxn ang="0">
                    <a:pos x="5" y="17"/>
                  </a:cxn>
                  <a:cxn ang="0">
                    <a:pos x="0" y="15"/>
                  </a:cxn>
                  <a:cxn ang="0">
                    <a:pos x="0" y="12"/>
                  </a:cxn>
                  <a:cxn ang="0">
                    <a:pos x="1" y="7"/>
                  </a:cxn>
                  <a:cxn ang="0">
                    <a:pos x="6" y="3"/>
                  </a:cxn>
                  <a:cxn ang="0">
                    <a:pos x="10" y="0"/>
                  </a:cxn>
                  <a:cxn ang="0">
                    <a:pos x="15" y="0"/>
                  </a:cxn>
                  <a:cxn ang="0">
                    <a:pos x="20" y="2"/>
                  </a:cxn>
                  <a:cxn ang="0">
                    <a:pos x="27" y="3"/>
                  </a:cxn>
                  <a:cxn ang="0">
                    <a:pos x="27" y="5"/>
                  </a:cxn>
                  <a:cxn ang="0">
                    <a:pos x="29" y="9"/>
                  </a:cxn>
                  <a:cxn ang="0">
                    <a:pos x="32" y="14"/>
                  </a:cxn>
                  <a:cxn ang="0">
                    <a:pos x="32" y="15"/>
                  </a:cxn>
                  <a:cxn ang="0">
                    <a:pos x="32" y="17"/>
                  </a:cxn>
                  <a:cxn ang="0">
                    <a:pos x="31" y="17"/>
                  </a:cxn>
                  <a:cxn ang="0">
                    <a:pos x="29" y="17"/>
                  </a:cxn>
                  <a:cxn ang="0">
                    <a:pos x="25" y="24"/>
                  </a:cxn>
                  <a:cxn ang="0">
                    <a:pos x="24" y="33"/>
                  </a:cxn>
                  <a:cxn ang="0">
                    <a:pos x="18" y="39"/>
                  </a:cxn>
                  <a:cxn ang="0">
                    <a:pos x="15" y="43"/>
                  </a:cxn>
                  <a:cxn ang="0">
                    <a:pos x="15" y="39"/>
                  </a:cxn>
                  <a:cxn ang="0">
                    <a:pos x="15" y="38"/>
                  </a:cxn>
                  <a:cxn ang="0">
                    <a:pos x="15" y="41"/>
                  </a:cxn>
                  <a:cxn ang="0">
                    <a:pos x="8" y="36"/>
                  </a:cxn>
                  <a:cxn ang="0">
                    <a:pos x="6" y="33"/>
                  </a:cxn>
                  <a:cxn ang="0">
                    <a:pos x="8" y="29"/>
                  </a:cxn>
                  <a:cxn ang="0">
                    <a:pos x="12" y="26"/>
                  </a:cxn>
                </a:cxnLst>
                <a:rect l="0" t="0" r="r" b="b"/>
                <a:pathLst>
                  <a:path w="32" h="43">
                    <a:moveTo>
                      <a:pt x="12" y="26"/>
                    </a:moveTo>
                    <a:lnTo>
                      <a:pt x="15" y="17"/>
                    </a:lnTo>
                    <a:lnTo>
                      <a:pt x="10" y="14"/>
                    </a:lnTo>
                    <a:lnTo>
                      <a:pt x="10" y="12"/>
                    </a:lnTo>
                    <a:lnTo>
                      <a:pt x="10" y="14"/>
                    </a:lnTo>
                    <a:lnTo>
                      <a:pt x="10" y="15"/>
                    </a:lnTo>
                    <a:lnTo>
                      <a:pt x="6" y="15"/>
                    </a:lnTo>
                    <a:lnTo>
                      <a:pt x="5" y="17"/>
                    </a:lnTo>
                    <a:lnTo>
                      <a:pt x="0" y="15"/>
                    </a:lnTo>
                    <a:lnTo>
                      <a:pt x="0" y="12"/>
                    </a:lnTo>
                    <a:lnTo>
                      <a:pt x="1" y="7"/>
                    </a:lnTo>
                    <a:lnTo>
                      <a:pt x="6" y="3"/>
                    </a:lnTo>
                    <a:lnTo>
                      <a:pt x="10" y="0"/>
                    </a:lnTo>
                    <a:lnTo>
                      <a:pt x="15" y="0"/>
                    </a:lnTo>
                    <a:lnTo>
                      <a:pt x="20" y="2"/>
                    </a:lnTo>
                    <a:lnTo>
                      <a:pt x="27" y="3"/>
                    </a:lnTo>
                    <a:lnTo>
                      <a:pt x="27" y="5"/>
                    </a:lnTo>
                    <a:lnTo>
                      <a:pt x="29" y="9"/>
                    </a:lnTo>
                    <a:lnTo>
                      <a:pt x="32" y="14"/>
                    </a:lnTo>
                    <a:lnTo>
                      <a:pt x="32" y="15"/>
                    </a:lnTo>
                    <a:lnTo>
                      <a:pt x="32" y="17"/>
                    </a:lnTo>
                    <a:lnTo>
                      <a:pt x="31" y="17"/>
                    </a:lnTo>
                    <a:lnTo>
                      <a:pt x="29" y="17"/>
                    </a:lnTo>
                    <a:lnTo>
                      <a:pt x="25" y="24"/>
                    </a:lnTo>
                    <a:lnTo>
                      <a:pt x="24" y="33"/>
                    </a:lnTo>
                    <a:lnTo>
                      <a:pt x="18" y="39"/>
                    </a:lnTo>
                    <a:lnTo>
                      <a:pt x="15" y="43"/>
                    </a:lnTo>
                    <a:lnTo>
                      <a:pt x="15" y="39"/>
                    </a:lnTo>
                    <a:lnTo>
                      <a:pt x="15" y="38"/>
                    </a:lnTo>
                    <a:lnTo>
                      <a:pt x="15" y="41"/>
                    </a:lnTo>
                    <a:lnTo>
                      <a:pt x="8" y="36"/>
                    </a:lnTo>
                    <a:lnTo>
                      <a:pt x="6" y="33"/>
                    </a:lnTo>
                    <a:lnTo>
                      <a:pt x="8" y="29"/>
                    </a:lnTo>
                    <a:lnTo>
                      <a:pt x="12"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1" name="Freeform 247"/>
              <p:cNvSpPr>
                <a:spLocks/>
              </p:cNvSpPr>
              <p:nvPr/>
            </p:nvSpPr>
            <p:spPr bwMode="auto">
              <a:xfrm>
                <a:off x="7346157" y="3189288"/>
                <a:ext cx="49213" cy="42862"/>
              </a:xfrm>
              <a:custGeom>
                <a:avLst/>
                <a:gdLst/>
                <a:ahLst/>
                <a:cxnLst>
                  <a:cxn ang="0">
                    <a:pos x="26" y="17"/>
                  </a:cxn>
                  <a:cxn ang="0">
                    <a:pos x="21" y="15"/>
                  </a:cxn>
                  <a:cxn ang="0">
                    <a:pos x="19" y="13"/>
                  </a:cxn>
                  <a:cxn ang="0">
                    <a:pos x="12" y="22"/>
                  </a:cxn>
                  <a:cxn ang="0">
                    <a:pos x="7" y="27"/>
                  </a:cxn>
                  <a:cxn ang="0">
                    <a:pos x="4" y="24"/>
                  </a:cxn>
                  <a:cxn ang="0">
                    <a:pos x="4" y="19"/>
                  </a:cxn>
                  <a:cxn ang="0">
                    <a:pos x="0" y="15"/>
                  </a:cxn>
                  <a:cxn ang="0">
                    <a:pos x="0" y="13"/>
                  </a:cxn>
                  <a:cxn ang="0">
                    <a:pos x="4" y="10"/>
                  </a:cxn>
                  <a:cxn ang="0">
                    <a:pos x="9" y="7"/>
                  </a:cxn>
                  <a:cxn ang="0">
                    <a:pos x="17" y="3"/>
                  </a:cxn>
                  <a:cxn ang="0">
                    <a:pos x="26" y="0"/>
                  </a:cxn>
                  <a:cxn ang="0">
                    <a:pos x="31" y="1"/>
                  </a:cxn>
                  <a:cxn ang="0">
                    <a:pos x="31" y="8"/>
                  </a:cxn>
                  <a:cxn ang="0">
                    <a:pos x="28" y="13"/>
                  </a:cxn>
                  <a:cxn ang="0">
                    <a:pos x="26" y="17"/>
                  </a:cxn>
                </a:cxnLst>
                <a:rect l="0" t="0" r="r" b="b"/>
                <a:pathLst>
                  <a:path w="31" h="27">
                    <a:moveTo>
                      <a:pt x="26" y="17"/>
                    </a:moveTo>
                    <a:lnTo>
                      <a:pt x="21" y="15"/>
                    </a:lnTo>
                    <a:lnTo>
                      <a:pt x="19" y="13"/>
                    </a:lnTo>
                    <a:lnTo>
                      <a:pt x="12" y="22"/>
                    </a:lnTo>
                    <a:lnTo>
                      <a:pt x="7" y="27"/>
                    </a:lnTo>
                    <a:lnTo>
                      <a:pt x="4" y="24"/>
                    </a:lnTo>
                    <a:lnTo>
                      <a:pt x="4" y="19"/>
                    </a:lnTo>
                    <a:lnTo>
                      <a:pt x="0" y="15"/>
                    </a:lnTo>
                    <a:lnTo>
                      <a:pt x="0" y="13"/>
                    </a:lnTo>
                    <a:lnTo>
                      <a:pt x="4" y="10"/>
                    </a:lnTo>
                    <a:lnTo>
                      <a:pt x="9" y="7"/>
                    </a:lnTo>
                    <a:lnTo>
                      <a:pt x="17" y="3"/>
                    </a:lnTo>
                    <a:lnTo>
                      <a:pt x="26" y="0"/>
                    </a:lnTo>
                    <a:lnTo>
                      <a:pt x="31" y="1"/>
                    </a:lnTo>
                    <a:lnTo>
                      <a:pt x="31" y="8"/>
                    </a:lnTo>
                    <a:lnTo>
                      <a:pt x="28" y="13"/>
                    </a:lnTo>
                    <a:lnTo>
                      <a:pt x="26"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2" name="Freeform 248"/>
              <p:cNvSpPr>
                <a:spLocks/>
              </p:cNvSpPr>
              <p:nvPr/>
            </p:nvSpPr>
            <p:spPr bwMode="auto">
              <a:xfrm>
                <a:off x="7312819" y="3003550"/>
                <a:ext cx="257175" cy="209550"/>
              </a:xfrm>
              <a:custGeom>
                <a:avLst/>
                <a:gdLst/>
                <a:ahLst/>
                <a:cxnLst>
                  <a:cxn ang="0">
                    <a:pos x="62" y="125"/>
                  </a:cxn>
                  <a:cxn ang="0">
                    <a:pos x="62" y="118"/>
                  </a:cxn>
                  <a:cxn ang="0">
                    <a:pos x="56" y="111"/>
                  </a:cxn>
                  <a:cxn ang="0">
                    <a:pos x="45" y="111"/>
                  </a:cxn>
                  <a:cxn ang="0">
                    <a:pos x="38" y="113"/>
                  </a:cxn>
                  <a:cxn ang="0">
                    <a:pos x="21" y="120"/>
                  </a:cxn>
                  <a:cxn ang="0">
                    <a:pos x="2" y="122"/>
                  </a:cxn>
                  <a:cxn ang="0">
                    <a:pos x="2" y="118"/>
                  </a:cxn>
                  <a:cxn ang="0">
                    <a:pos x="13" y="110"/>
                  </a:cxn>
                  <a:cxn ang="0">
                    <a:pos x="25" y="98"/>
                  </a:cxn>
                  <a:cxn ang="0">
                    <a:pos x="43" y="98"/>
                  </a:cxn>
                  <a:cxn ang="0">
                    <a:pos x="57" y="98"/>
                  </a:cxn>
                  <a:cxn ang="0">
                    <a:pos x="69" y="94"/>
                  </a:cxn>
                  <a:cxn ang="0">
                    <a:pos x="78" y="84"/>
                  </a:cxn>
                  <a:cxn ang="0">
                    <a:pos x="86" y="75"/>
                  </a:cxn>
                  <a:cxn ang="0">
                    <a:pos x="88" y="70"/>
                  </a:cxn>
                  <a:cxn ang="0">
                    <a:pos x="88" y="75"/>
                  </a:cxn>
                  <a:cxn ang="0">
                    <a:pos x="99" y="74"/>
                  </a:cxn>
                  <a:cxn ang="0">
                    <a:pos x="114" y="63"/>
                  </a:cxn>
                  <a:cxn ang="0">
                    <a:pos x="131" y="41"/>
                  </a:cxn>
                  <a:cxn ang="0">
                    <a:pos x="133" y="25"/>
                  </a:cxn>
                  <a:cxn ang="0">
                    <a:pos x="131" y="15"/>
                  </a:cxn>
                  <a:cxn ang="0">
                    <a:pos x="138" y="5"/>
                  </a:cxn>
                  <a:cxn ang="0">
                    <a:pos x="143" y="5"/>
                  </a:cxn>
                  <a:cxn ang="0">
                    <a:pos x="148" y="5"/>
                  </a:cxn>
                  <a:cxn ang="0">
                    <a:pos x="147" y="0"/>
                  </a:cxn>
                  <a:cxn ang="0">
                    <a:pos x="154" y="3"/>
                  </a:cxn>
                  <a:cxn ang="0">
                    <a:pos x="155" y="13"/>
                  </a:cxn>
                  <a:cxn ang="0">
                    <a:pos x="162" y="31"/>
                  </a:cxn>
                  <a:cxn ang="0">
                    <a:pos x="155" y="46"/>
                  </a:cxn>
                  <a:cxn ang="0">
                    <a:pos x="155" y="50"/>
                  </a:cxn>
                  <a:cxn ang="0">
                    <a:pos x="150" y="51"/>
                  </a:cxn>
                  <a:cxn ang="0">
                    <a:pos x="145" y="60"/>
                  </a:cxn>
                  <a:cxn ang="0">
                    <a:pos x="147" y="74"/>
                  </a:cxn>
                  <a:cxn ang="0">
                    <a:pos x="142" y="87"/>
                  </a:cxn>
                  <a:cxn ang="0">
                    <a:pos x="143" y="98"/>
                  </a:cxn>
                  <a:cxn ang="0">
                    <a:pos x="131" y="108"/>
                  </a:cxn>
                  <a:cxn ang="0">
                    <a:pos x="131" y="99"/>
                  </a:cxn>
                  <a:cxn ang="0">
                    <a:pos x="117" y="111"/>
                  </a:cxn>
                  <a:cxn ang="0">
                    <a:pos x="111" y="110"/>
                  </a:cxn>
                  <a:cxn ang="0">
                    <a:pos x="100" y="115"/>
                  </a:cxn>
                  <a:cxn ang="0">
                    <a:pos x="85" y="106"/>
                  </a:cxn>
                  <a:cxn ang="0">
                    <a:pos x="83" y="110"/>
                  </a:cxn>
                  <a:cxn ang="0">
                    <a:pos x="88" y="118"/>
                  </a:cxn>
                  <a:cxn ang="0">
                    <a:pos x="83" y="118"/>
                  </a:cxn>
                  <a:cxn ang="0">
                    <a:pos x="71" y="132"/>
                  </a:cxn>
                  <a:cxn ang="0">
                    <a:pos x="62" y="127"/>
                  </a:cxn>
                </a:cxnLst>
                <a:rect l="0" t="0" r="r" b="b"/>
                <a:pathLst>
                  <a:path w="162" h="132">
                    <a:moveTo>
                      <a:pt x="62" y="127"/>
                    </a:moveTo>
                    <a:lnTo>
                      <a:pt x="62" y="125"/>
                    </a:lnTo>
                    <a:lnTo>
                      <a:pt x="62" y="124"/>
                    </a:lnTo>
                    <a:lnTo>
                      <a:pt x="62" y="118"/>
                    </a:lnTo>
                    <a:lnTo>
                      <a:pt x="64" y="115"/>
                    </a:lnTo>
                    <a:lnTo>
                      <a:pt x="56" y="111"/>
                    </a:lnTo>
                    <a:lnTo>
                      <a:pt x="49" y="110"/>
                    </a:lnTo>
                    <a:lnTo>
                      <a:pt x="45" y="111"/>
                    </a:lnTo>
                    <a:lnTo>
                      <a:pt x="45" y="113"/>
                    </a:lnTo>
                    <a:lnTo>
                      <a:pt x="38" y="113"/>
                    </a:lnTo>
                    <a:lnTo>
                      <a:pt x="33" y="115"/>
                    </a:lnTo>
                    <a:lnTo>
                      <a:pt x="21" y="120"/>
                    </a:lnTo>
                    <a:lnTo>
                      <a:pt x="7" y="124"/>
                    </a:lnTo>
                    <a:lnTo>
                      <a:pt x="2" y="122"/>
                    </a:lnTo>
                    <a:lnTo>
                      <a:pt x="0" y="120"/>
                    </a:lnTo>
                    <a:lnTo>
                      <a:pt x="2" y="118"/>
                    </a:lnTo>
                    <a:lnTo>
                      <a:pt x="6" y="117"/>
                    </a:lnTo>
                    <a:lnTo>
                      <a:pt x="13" y="110"/>
                    </a:lnTo>
                    <a:lnTo>
                      <a:pt x="19" y="105"/>
                    </a:lnTo>
                    <a:lnTo>
                      <a:pt x="25" y="98"/>
                    </a:lnTo>
                    <a:lnTo>
                      <a:pt x="35" y="98"/>
                    </a:lnTo>
                    <a:lnTo>
                      <a:pt x="43" y="98"/>
                    </a:lnTo>
                    <a:lnTo>
                      <a:pt x="50" y="98"/>
                    </a:lnTo>
                    <a:lnTo>
                      <a:pt x="57" y="98"/>
                    </a:lnTo>
                    <a:lnTo>
                      <a:pt x="66" y="98"/>
                    </a:lnTo>
                    <a:lnTo>
                      <a:pt x="69" y="94"/>
                    </a:lnTo>
                    <a:lnTo>
                      <a:pt x="74" y="89"/>
                    </a:lnTo>
                    <a:lnTo>
                      <a:pt x="78" y="84"/>
                    </a:lnTo>
                    <a:lnTo>
                      <a:pt x="83" y="82"/>
                    </a:lnTo>
                    <a:lnTo>
                      <a:pt x="86" y="75"/>
                    </a:lnTo>
                    <a:lnTo>
                      <a:pt x="92" y="68"/>
                    </a:lnTo>
                    <a:lnTo>
                      <a:pt x="88" y="70"/>
                    </a:lnTo>
                    <a:lnTo>
                      <a:pt x="88" y="74"/>
                    </a:lnTo>
                    <a:lnTo>
                      <a:pt x="88" y="75"/>
                    </a:lnTo>
                    <a:lnTo>
                      <a:pt x="92" y="77"/>
                    </a:lnTo>
                    <a:lnTo>
                      <a:pt x="99" y="74"/>
                    </a:lnTo>
                    <a:lnTo>
                      <a:pt x="105" y="70"/>
                    </a:lnTo>
                    <a:lnTo>
                      <a:pt x="114" y="63"/>
                    </a:lnTo>
                    <a:lnTo>
                      <a:pt x="123" y="53"/>
                    </a:lnTo>
                    <a:lnTo>
                      <a:pt x="131" y="41"/>
                    </a:lnTo>
                    <a:lnTo>
                      <a:pt x="135" y="29"/>
                    </a:lnTo>
                    <a:lnTo>
                      <a:pt x="133" y="25"/>
                    </a:lnTo>
                    <a:lnTo>
                      <a:pt x="131" y="22"/>
                    </a:lnTo>
                    <a:lnTo>
                      <a:pt x="131" y="15"/>
                    </a:lnTo>
                    <a:lnTo>
                      <a:pt x="135" y="10"/>
                    </a:lnTo>
                    <a:lnTo>
                      <a:pt x="138" y="5"/>
                    </a:lnTo>
                    <a:lnTo>
                      <a:pt x="143" y="3"/>
                    </a:lnTo>
                    <a:lnTo>
                      <a:pt x="143" y="5"/>
                    </a:lnTo>
                    <a:lnTo>
                      <a:pt x="150" y="5"/>
                    </a:lnTo>
                    <a:lnTo>
                      <a:pt x="148" y="5"/>
                    </a:lnTo>
                    <a:lnTo>
                      <a:pt x="145" y="1"/>
                    </a:lnTo>
                    <a:lnTo>
                      <a:pt x="147" y="0"/>
                    </a:lnTo>
                    <a:lnTo>
                      <a:pt x="152" y="0"/>
                    </a:lnTo>
                    <a:lnTo>
                      <a:pt x="154" y="3"/>
                    </a:lnTo>
                    <a:lnTo>
                      <a:pt x="154" y="8"/>
                    </a:lnTo>
                    <a:lnTo>
                      <a:pt x="155" y="13"/>
                    </a:lnTo>
                    <a:lnTo>
                      <a:pt x="159" y="22"/>
                    </a:lnTo>
                    <a:lnTo>
                      <a:pt x="162" y="31"/>
                    </a:lnTo>
                    <a:lnTo>
                      <a:pt x="159" y="38"/>
                    </a:lnTo>
                    <a:lnTo>
                      <a:pt x="155" y="46"/>
                    </a:lnTo>
                    <a:lnTo>
                      <a:pt x="155" y="48"/>
                    </a:lnTo>
                    <a:lnTo>
                      <a:pt x="155" y="50"/>
                    </a:lnTo>
                    <a:lnTo>
                      <a:pt x="152" y="50"/>
                    </a:lnTo>
                    <a:lnTo>
                      <a:pt x="150" y="51"/>
                    </a:lnTo>
                    <a:lnTo>
                      <a:pt x="147" y="53"/>
                    </a:lnTo>
                    <a:lnTo>
                      <a:pt x="145" y="60"/>
                    </a:lnTo>
                    <a:lnTo>
                      <a:pt x="145" y="67"/>
                    </a:lnTo>
                    <a:lnTo>
                      <a:pt x="147" y="74"/>
                    </a:lnTo>
                    <a:lnTo>
                      <a:pt x="143" y="79"/>
                    </a:lnTo>
                    <a:lnTo>
                      <a:pt x="142" y="87"/>
                    </a:lnTo>
                    <a:lnTo>
                      <a:pt x="142" y="93"/>
                    </a:lnTo>
                    <a:lnTo>
                      <a:pt x="143" y="98"/>
                    </a:lnTo>
                    <a:lnTo>
                      <a:pt x="136" y="101"/>
                    </a:lnTo>
                    <a:lnTo>
                      <a:pt x="131" y="108"/>
                    </a:lnTo>
                    <a:lnTo>
                      <a:pt x="129" y="103"/>
                    </a:lnTo>
                    <a:lnTo>
                      <a:pt x="131" y="99"/>
                    </a:lnTo>
                    <a:lnTo>
                      <a:pt x="123" y="105"/>
                    </a:lnTo>
                    <a:lnTo>
                      <a:pt x="117" y="111"/>
                    </a:lnTo>
                    <a:lnTo>
                      <a:pt x="116" y="110"/>
                    </a:lnTo>
                    <a:lnTo>
                      <a:pt x="111" y="110"/>
                    </a:lnTo>
                    <a:lnTo>
                      <a:pt x="105" y="111"/>
                    </a:lnTo>
                    <a:lnTo>
                      <a:pt x="100" y="115"/>
                    </a:lnTo>
                    <a:lnTo>
                      <a:pt x="90" y="110"/>
                    </a:lnTo>
                    <a:lnTo>
                      <a:pt x="85" y="106"/>
                    </a:lnTo>
                    <a:lnTo>
                      <a:pt x="83" y="108"/>
                    </a:lnTo>
                    <a:lnTo>
                      <a:pt x="83" y="110"/>
                    </a:lnTo>
                    <a:lnTo>
                      <a:pt x="85" y="115"/>
                    </a:lnTo>
                    <a:lnTo>
                      <a:pt x="88" y="118"/>
                    </a:lnTo>
                    <a:lnTo>
                      <a:pt x="85" y="118"/>
                    </a:lnTo>
                    <a:lnTo>
                      <a:pt x="83" y="118"/>
                    </a:lnTo>
                    <a:lnTo>
                      <a:pt x="76" y="122"/>
                    </a:lnTo>
                    <a:lnTo>
                      <a:pt x="71" y="132"/>
                    </a:lnTo>
                    <a:lnTo>
                      <a:pt x="66" y="129"/>
                    </a:lnTo>
                    <a:lnTo>
                      <a:pt x="62" y="12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3" name="Freeform 249"/>
              <p:cNvSpPr>
                <a:spLocks/>
              </p:cNvSpPr>
              <p:nvPr/>
            </p:nvSpPr>
            <p:spPr bwMode="auto">
              <a:xfrm>
                <a:off x="7520782" y="2887663"/>
                <a:ext cx="131763" cy="112712"/>
              </a:xfrm>
              <a:custGeom>
                <a:avLst/>
                <a:gdLst/>
                <a:ahLst/>
                <a:cxnLst>
                  <a:cxn ang="0">
                    <a:pos x="11" y="38"/>
                  </a:cxn>
                  <a:cxn ang="0">
                    <a:pos x="12" y="38"/>
                  </a:cxn>
                  <a:cxn ang="0">
                    <a:pos x="16" y="38"/>
                  </a:cxn>
                  <a:cxn ang="0">
                    <a:pos x="19" y="35"/>
                  </a:cxn>
                  <a:cxn ang="0">
                    <a:pos x="24" y="28"/>
                  </a:cxn>
                  <a:cxn ang="0">
                    <a:pos x="26" y="18"/>
                  </a:cxn>
                  <a:cxn ang="0">
                    <a:pos x="28" y="13"/>
                  </a:cxn>
                  <a:cxn ang="0">
                    <a:pos x="26" y="9"/>
                  </a:cxn>
                  <a:cxn ang="0">
                    <a:pos x="26" y="7"/>
                  </a:cxn>
                  <a:cxn ang="0">
                    <a:pos x="26" y="2"/>
                  </a:cxn>
                  <a:cxn ang="0">
                    <a:pos x="29" y="0"/>
                  </a:cxn>
                  <a:cxn ang="0">
                    <a:pos x="38" y="7"/>
                  </a:cxn>
                  <a:cxn ang="0">
                    <a:pos x="47" y="16"/>
                  </a:cxn>
                  <a:cxn ang="0">
                    <a:pos x="55" y="23"/>
                  </a:cxn>
                  <a:cxn ang="0">
                    <a:pos x="69" y="26"/>
                  </a:cxn>
                  <a:cxn ang="0">
                    <a:pos x="74" y="25"/>
                  </a:cxn>
                  <a:cxn ang="0">
                    <a:pos x="79" y="25"/>
                  </a:cxn>
                  <a:cxn ang="0">
                    <a:pos x="76" y="28"/>
                  </a:cxn>
                  <a:cxn ang="0">
                    <a:pos x="76" y="31"/>
                  </a:cxn>
                  <a:cxn ang="0">
                    <a:pos x="78" y="35"/>
                  </a:cxn>
                  <a:cxn ang="0">
                    <a:pos x="83" y="38"/>
                  </a:cxn>
                  <a:cxn ang="0">
                    <a:pos x="74" y="40"/>
                  </a:cxn>
                  <a:cxn ang="0">
                    <a:pos x="67" y="42"/>
                  </a:cxn>
                  <a:cxn ang="0">
                    <a:pos x="54" y="49"/>
                  </a:cxn>
                  <a:cxn ang="0">
                    <a:pos x="48" y="61"/>
                  </a:cxn>
                  <a:cxn ang="0">
                    <a:pos x="36" y="54"/>
                  </a:cxn>
                  <a:cxn ang="0">
                    <a:pos x="26" y="49"/>
                  </a:cxn>
                  <a:cxn ang="0">
                    <a:pos x="23" y="49"/>
                  </a:cxn>
                  <a:cxn ang="0">
                    <a:pos x="23" y="52"/>
                  </a:cxn>
                  <a:cxn ang="0">
                    <a:pos x="12" y="50"/>
                  </a:cxn>
                  <a:cxn ang="0">
                    <a:pos x="7" y="56"/>
                  </a:cxn>
                  <a:cxn ang="0">
                    <a:pos x="11" y="59"/>
                  </a:cxn>
                  <a:cxn ang="0">
                    <a:pos x="17" y="64"/>
                  </a:cxn>
                  <a:cxn ang="0">
                    <a:pos x="11" y="68"/>
                  </a:cxn>
                  <a:cxn ang="0">
                    <a:pos x="5" y="71"/>
                  </a:cxn>
                  <a:cxn ang="0">
                    <a:pos x="2" y="71"/>
                  </a:cxn>
                  <a:cxn ang="0">
                    <a:pos x="2" y="64"/>
                  </a:cxn>
                  <a:cxn ang="0">
                    <a:pos x="2" y="59"/>
                  </a:cxn>
                  <a:cxn ang="0">
                    <a:pos x="0" y="56"/>
                  </a:cxn>
                  <a:cxn ang="0">
                    <a:pos x="0" y="54"/>
                  </a:cxn>
                  <a:cxn ang="0">
                    <a:pos x="4" y="47"/>
                  </a:cxn>
                  <a:cxn ang="0">
                    <a:pos x="9" y="42"/>
                  </a:cxn>
                  <a:cxn ang="0">
                    <a:pos x="9" y="38"/>
                  </a:cxn>
                  <a:cxn ang="0">
                    <a:pos x="11" y="38"/>
                  </a:cxn>
                  <a:cxn ang="0">
                    <a:pos x="12" y="40"/>
                  </a:cxn>
                  <a:cxn ang="0">
                    <a:pos x="11" y="38"/>
                  </a:cxn>
                </a:cxnLst>
                <a:rect l="0" t="0" r="r" b="b"/>
                <a:pathLst>
                  <a:path w="83" h="71">
                    <a:moveTo>
                      <a:pt x="11" y="38"/>
                    </a:moveTo>
                    <a:lnTo>
                      <a:pt x="12" y="38"/>
                    </a:lnTo>
                    <a:lnTo>
                      <a:pt x="16" y="38"/>
                    </a:lnTo>
                    <a:lnTo>
                      <a:pt x="19" y="35"/>
                    </a:lnTo>
                    <a:lnTo>
                      <a:pt x="24" y="28"/>
                    </a:lnTo>
                    <a:lnTo>
                      <a:pt x="26" y="18"/>
                    </a:lnTo>
                    <a:lnTo>
                      <a:pt x="28" y="13"/>
                    </a:lnTo>
                    <a:lnTo>
                      <a:pt x="26" y="9"/>
                    </a:lnTo>
                    <a:lnTo>
                      <a:pt x="26" y="7"/>
                    </a:lnTo>
                    <a:lnTo>
                      <a:pt x="26" y="2"/>
                    </a:lnTo>
                    <a:lnTo>
                      <a:pt x="29" y="0"/>
                    </a:lnTo>
                    <a:lnTo>
                      <a:pt x="38" y="7"/>
                    </a:lnTo>
                    <a:lnTo>
                      <a:pt x="47" y="16"/>
                    </a:lnTo>
                    <a:lnTo>
                      <a:pt x="55" y="23"/>
                    </a:lnTo>
                    <a:lnTo>
                      <a:pt x="69" y="26"/>
                    </a:lnTo>
                    <a:lnTo>
                      <a:pt x="74" y="25"/>
                    </a:lnTo>
                    <a:lnTo>
                      <a:pt x="79" y="25"/>
                    </a:lnTo>
                    <a:lnTo>
                      <a:pt x="76" y="28"/>
                    </a:lnTo>
                    <a:lnTo>
                      <a:pt x="76" y="31"/>
                    </a:lnTo>
                    <a:lnTo>
                      <a:pt x="78" y="35"/>
                    </a:lnTo>
                    <a:lnTo>
                      <a:pt x="83" y="38"/>
                    </a:lnTo>
                    <a:lnTo>
                      <a:pt x="74" y="40"/>
                    </a:lnTo>
                    <a:lnTo>
                      <a:pt x="67" y="42"/>
                    </a:lnTo>
                    <a:lnTo>
                      <a:pt x="54" y="49"/>
                    </a:lnTo>
                    <a:lnTo>
                      <a:pt x="48" y="61"/>
                    </a:lnTo>
                    <a:lnTo>
                      <a:pt x="36" y="54"/>
                    </a:lnTo>
                    <a:lnTo>
                      <a:pt x="26" y="49"/>
                    </a:lnTo>
                    <a:lnTo>
                      <a:pt x="23" y="49"/>
                    </a:lnTo>
                    <a:lnTo>
                      <a:pt x="23" y="52"/>
                    </a:lnTo>
                    <a:lnTo>
                      <a:pt x="12" y="50"/>
                    </a:lnTo>
                    <a:lnTo>
                      <a:pt x="7" y="56"/>
                    </a:lnTo>
                    <a:lnTo>
                      <a:pt x="11" y="59"/>
                    </a:lnTo>
                    <a:lnTo>
                      <a:pt x="17" y="64"/>
                    </a:lnTo>
                    <a:lnTo>
                      <a:pt x="11" y="68"/>
                    </a:lnTo>
                    <a:lnTo>
                      <a:pt x="5" y="71"/>
                    </a:lnTo>
                    <a:lnTo>
                      <a:pt x="2" y="71"/>
                    </a:lnTo>
                    <a:lnTo>
                      <a:pt x="2" y="64"/>
                    </a:lnTo>
                    <a:lnTo>
                      <a:pt x="2" y="59"/>
                    </a:lnTo>
                    <a:lnTo>
                      <a:pt x="0" y="56"/>
                    </a:lnTo>
                    <a:lnTo>
                      <a:pt x="0" y="54"/>
                    </a:lnTo>
                    <a:lnTo>
                      <a:pt x="4" y="47"/>
                    </a:lnTo>
                    <a:lnTo>
                      <a:pt x="9" y="42"/>
                    </a:lnTo>
                    <a:lnTo>
                      <a:pt x="9" y="38"/>
                    </a:lnTo>
                    <a:lnTo>
                      <a:pt x="11" y="38"/>
                    </a:lnTo>
                    <a:lnTo>
                      <a:pt x="12" y="40"/>
                    </a:lnTo>
                    <a:lnTo>
                      <a:pt x="11" y="3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4" name="Freeform 250"/>
              <p:cNvSpPr>
                <a:spLocks/>
              </p:cNvSpPr>
              <p:nvPr/>
            </p:nvSpPr>
            <p:spPr bwMode="auto">
              <a:xfrm>
                <a:off x="7649369" y="2916238"/>
                <a:ext cx="22225" cy="20637"/>
              </a:xfrm>
              <a:custGeom>
                <a:avLst/>
                <a:gdLst/>
                <a:ahLst/>
                <a:cxnLst>
                  <a:cxn ang="0">
                    <a:pos x="10" y="0"/>
                  </a:cxn>
                  <a:cxn ang="0">
                    <a:pos x="14" y="1"/>
                  </a:cxn>
                  <a:cxn ang="0">
                    <a:pos x="7" y="8"/>
                  </a:cxn>
                  <a:cxn ang="0">
                    <a:pos x="0" y="13"/>
                  </a:cxn>
                  <a:cxn ang="0">
                    <a:pos x="0" y="10"/>
                  </a:cxn>
                  <a:cxn ang="0">
                    <a:pos x="0" y="8"/>
                  </a:cxn>
                  <a:cxn ang="0">
                    <a:pos x="5" y="3"/>
                  </a:cxn>
                  <a:cxn ang="0">
                    <a:pos x="12" y="1"/>
                  </a:cxn>
                  <a:cxn ang="0">
                    <a:pos x="10" y="0"/>
                  </a:cxn>
                </a:cxnLst>
                <a:rect l="0" t="0" r="r" b="b"/>
                <a:pathLst>
                  <a:path w="14" h="13">
                    <a:moveTo>
                      <a:pt x="10" y="0"/>
                    </a:moveTo>
                    <a:lnTo>
                      <a:pt x="14" y="1"/>
                    </a:lnTo>
                    <a:lnTo>
                      <a:pt x="7" y="8"/>
                    </a:lnTo>
                    <a:lnTo>
                      <a:pt x="0" y="13"/>
                    </a:lnTo>
                    <a:lnTo>
                      <a:pt x="0" y="10"/>
                    </a:lnTo>
                    <a:lnTo>
                      <a:pt x="0" y="8"/>
                    </a:lnTo>
                    <a:lnTo>
                      <a:pt x="5" y="3"/>
                    </a:lnTo>
                    <a:lnTo>
                      <a:pt x="12" y="1"/>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5" name="Freeform 251"/>
              <p:cNvSpPr>
                <a:spLocks/>
              </p:cNvSpPr>
              <p:nvPr/>
            </p:nvSpPr>
            <p:spPr bwMode="auto">
              <a:xfrm>
                <a:off x="7693819" y="2887663"/>
                <a:ext cx="28575" cy="22225"/>
              </a:xfrm>
              <a:custGeom>
                <a:avLst/>
                <a:gdLst/>
                <a:ahLst/>
                <a:cxnLst>
                  <a:cxn ang="0">
                    <a:pos x="18" y="4"/>
                  </a:cxn>
                  <a:cxn ang="0">
                    <a:pos x="8" y="9"/>
                  </a:cxn>
                  <a:cxn ang="0">
                    <a:pos x="0" y="14"/>
                  </a:cxn>
                  <a:cxn ang="0">
                    <a:pos x="0" y="13"/>
                  </a:cxn>
                  <a:cxn ang="0">
                    <a:pos x="0" y="11"/>
                  </a:cxn>
                  <a:cxn ang="0">
                    <a:pos x="3" y="6"/>
                  </a:cxn>
                  <a:cxn ang="0">
                    <a:pos x="12" y="0"/>
                  </a:cxn>
                  <a:cxn ang="0">
                    <a:pos x="15" y="0"/>
                  </a:cxn>
                  <a:cxn ang="0">
                    <a:pos x="18" y="0"/>
                  </a:cxn>
                  <a:cxn ang="0">
                    <a:pos x="18" y="4"/>
                  </a:cxn>
                </a:cxnLst>
                <a:rect l="0" t="0" r="r" b="b"/>
                <a:pathLst>
                  <a:path w="18" h="14">
                    <a:moveTo>
                      <a:pt x="18" y="4"/>
                    </a:moveTo>
                    <a:lnTo>
                      <a:pt x="8" y="9"/>
                    </a:lnTo>
                    <a:lnTo>
                      <a:pt x="0" y="14"/>
                    </a:lnTo>
                    <a:lnTo>
                      <a:pt x="0" y="13"/>
                    </a:lnTo>
                    <a:lnTo>
                      <a:pt x="0" y="11"/>
                    </a:lnTo>
                    <a:lnTo>
                      <a:pt x="3" y="6"/>
                    </a:lnTo>
                    <a:lnTo>
                      <a:pt x="12" y="0"/>
                    </a:lnTo>
                    <a:lnTo>
                      <a:pt x="15" y="0"/>
                    </a:lnTo>
                    <a:lnTo>
                      <a:pt x="18" y="0"/>
                    </a:lnTo>
                    <a:lnTo>
                      <a:pt x="18"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6" name="Freeform 252"/>
              <p:cNvSpPr>
                <a:spLocks/>
              </p:cNvSpPr>
              <p:nvPr/>
            </p:nvSpPr>
            <p:spPr bwMode="auto">
              <a:xfrm>
                <a:off x="7747794" y="2863850"/>
                <a:ext cx="15875" cy="15875"/>
              </a:xfrm>
              <a:custGeom>
                <a:avLst/>
                <a:gdLst/>
                <a:ahLst/>
                <a:cxnLst>
                  <a:cxn ang="0">
                    <a:pos x="2" y="7"/>
                  </a:cxn>
                  <a:cxn ang="0">
                    <a:pos x="2" y="5"/>
                  </a:cxn>
                  <a:cxn ang="0">
                    <a:pos x="2" y="3"/>
                  </a:cxn>
                  <a:cxn ang="0">
                    <a:pos x="5" y="0"/>
                  </a:cxn>
                  <a:cxn ang="0">
                    <a:pos x="10" y="0"/>
                  </a:cxn>
                  <a:cxn ang="0">
                    <a:pos x="5" y="5"/>
                  </a:cxn>
                  <a:cxn ang="0">
                    <a:pos x="2" y="10"/>
                  </a:cxn>
                  <a:cxn ang="0">
                    <a:pos x="0" y="9"/>
                  </a:cxn>
                  <a:cxn ang="0">
                    <a:pos x="2" y="7"/>
                  </a:cxn>
                </a:cxnLst>
                <a:rect l="0" t="0" r="r" b="b"/>
                <a:pathLst>
                  <a:path w="10" h="10">
                    <a:moveTo>
                      <a:pt x="2" y="7"/>
                    </a:moveTo>
                    <a:lnTo>
                      <a:pt x="2" y="5"/>
                    </a:lnTo>
                    <a:lnTo>
                      <a:pt x="2" y="3"/>
                    </a:lnTo>
                    <a:lnTo>
                      <a:pt x="5" y="0"/>
                    </a:lnTo>
                    <a:lnTo>
                      <a:pt x="10" y="0"/>
                    </a:lnTo>
                    <a:lnTo>
                      <a:pt x="5" y="5"/>
                    </a:lnTo>
                    <a:lnTo>
                      <a:pt x="2" y="10"/>
                    </a:lnTo>
                    <a:lnTo>
                      <a:pt x="0" y="9"/>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7" name="Freeform 253"/>
              <p:cNvSpPr>
                <a:spLocks/>
              </p:cNvSpPr>
              <p:nvPr/>
            </p:nvSpPr>
            <p:spPr bwMode="auto">
              <a:xfrm>
                <a:off x="7562057" y="2617788"/>
                <a:ext cx="65088" cy="250825"/>
              </a:xfrm>
              <a:custGeom>
                <a:avLst/>
                <a:gdLst/>
                <a:ahLst/>
                <a:cxnLst>
                  <a:cxn ang="0">
                    <a:pos x="29" y="98"/>
                  </a:cxn>
                  <a:cxn ang="0">
                    <a:pos x="21" y="100"/>
                  </a:cxn>
                  <a:cxn ang="0">
                    <a:pos x="17" y="107"/>
                  </a:cxn>
                  <a:cxn ang="0">
                    <a:pos x="15" y="115"/>
                  </a:cxn>
                  <a:cxn ang="0">
                    <a:pos x="15" y="127"/>
                  </a:cxn>
                  <a:cxn ang="0">
                    <a:pos x="21" y="140"/>
                  </a:cxn>
                  <a:cxn ang="0">
                    <a:pos x="29" y="153"/>
                  </a:cxn>
                  <a:cxn ang="0">
                    <a:pos x="28" y="153"/>
                  </a:cxn>
                  <a:cxn ang="0">
                    <a:pos x="24" y="150"/>
                  </a:cxn>
                  <a:cxn ang="0">
                    <a:pos x="22" y="148"/>
                  </a:cxn>
                  <a:cxn ang="0">
                    <a:pos x="19" y="148"/>
                  </a:cxn>
                  <a:cxn ang="0">
                    <a:pos x="17" y="148"/>
                  </a:cxn>
                  <a:cxn ang="0">
                    <a:pos x="10" y="153"/>
                  </a:cxn>
                  <a:cxn ang="0">
                    <a:pos x="5" y="158"/>
                  </a:cxn>
                  <a:cxn ang="0">
                    <a:pos x="3" y="152"/>
                  </a:cxn>
                  <a:cxn ang="0">
                    <a:pos x="5" y="145"/>
                  </a:cxn>
                  <a:cxn ang="0">
                    <a:pos x="5" y="133"/>
                  </a:cxn>
                  <a:cxn ang="0">
                    <a:pos x="7" y="122"/>
                  </a:cxn>
                  <a:cxn ang="0">
                    <a:pos x="5" y="114"/>
                  </a:cxn>
                  <a:cxn ang="0">
                    <a:pos x="5" y="107"/>
                  </a:cxn>
                  <a:cxn ang="0">
                    <a:pos x="5" y="98"/>
                  </a:cxn>
                  <a:cxn ang="0">
                    <a:pos x="7" y="91"/>
                  </a:cxn>
                  <a:cxn ang="0">
                    <a:pos x="7" y="76"/>
                  </a:cxn>
                  <a:cxn ang="0">
                    <a:pos x="7" y="62"/>
                  </a:cxn>
                  <a:cxn ang="0">
                    <a:pos x="3" y="52"/>
                  </a:cxn>
                  <a:cxn ang="0">
                    <a:pos x="0" y="43"/>
                  </a:cxn>
                  <a:cxn ang="0">
                    <a:pos x="0" y="35"/>
                  </a:cxn>
                  <a:cxn ang="0">
                    <a:pos x="2" y="26"/>
                  </a:cxn>
                  <a:cxn ang="0">
                    <a:pos x="3" y="19"/>
                  </a:cxn>
                  <a:cxn ang="0">
                    <a:pos x="10" y="17"/>
                  </a:cxn>
                  <a:cxn ang="0">
                    <a:pos x="10" y="14"/>
                  </a:cxn>
                  <a:cxn ang="0">
                    <a:pos x="12" y="11"/>
                  </a:cxn>
                  <a:cxn ang="0">
                    <a:pos x="12" y="5"/>
                  </a:cxn>
                  <a:cxn ang="0">
                    <a:pos x="12" y="0"/>
                  </a:cxn>
                  <a:cxn ang="0">
                    <a:pos x="14" y="0"/>
                  </a:cxn>
                  <a:cxn ang="0">
                    <a:pos x="15" y="0"/>
                  </a:cxn>
                  <a:cxn ang="0">
                    <a:pos x="17" y="12"/>
                  </a:cxn>
                  <a:cxn ang="0">
                    <a:pos x="22" y="24"/>
                  </a:cxn>
                  <a:cxn ang="0">
                    <a:pos x="21" y="33"/>
                  </a:cxn>
                  <a:cxn ang="0">
                    <a:pos x="24" y="43"/>
                  </a:cxn>
                  <a:cxn ang="0">
                    <a:pos x="24" y="55"/>
                  </a:cxn>
                  <a:cxn ang="0">
                    <a:pos x="24" y="62"/>
                  </a:cxn>
                  <a:cxn ang="0">
                    <a:pos x="28" y="69"/>
                  </a:cxn>
                  <a:cxn ang="0">
                    <a:pos x="34" y="86"/>
                  </a:cxn>
                  <a:cxn ang="0">
                    <a:pos x="41" y="103"/>
                  </a:cxn>
                  <a:cxn ang="0">
                    <a:pos x="34" y="98"/>
                  </a:cxn>
                  <a:cxn ang="0">
                    <a:pos x="29" y="98"/>
                  </a:cxn>
                </a:cxnLst>
                <a:rect l="0" t="0" r="r" b="b"/>
                <a:pathLst>
                  <a:path w="41" h="158">
                    <a:moveTo>
                      <a:pt x="29" y="98"/>
                    </a:moveTo>
                    <a:lnTo>
                      <a:pt x="21" y="100"/>
                    </a:lnTo>
                    <a:lnTo>
                      <a:pt x="17" y="107"/>
                    </a:lnTo>
                    <a:lnTo>
                      <a:pt x="15" y="115"/>
                    </a:lnTo>
                    <a:lnTo>
                      <a:pt x="15" y="127"/>
                    </a:lnTo>
                    <a:lnTo>
                      <a:pt x="21" y="140"/>
                    </a:lnTo>
                    <a:lnTo>
                      <a:pt x="29" y="153"/>
                    </a:lnTo>
                    <a:lnTo>
                      <a:pt x="28" y="153"/>
                    </a:lnTo>
                    <a:lnTo>
                      <a:pt x="24" y="150"/>
                    </a:lnTo>
                    <a:lnTo>
                      <a:pt x="22" y="148"/>
                    </a:lnTo>
                    <a:lnTo>
                      <a:pt x="19" y="148"/>
                    </a:lnTo>
                    <a:lnTo>
                      <a:pt x="17" y="148"/>
                    </a:lnTo>
                    <a:lnTo>
                      <a:pt x="10" y="153"/>
                    </a:lnTo>
                    <a:lnTo>
                      <a:pt x="5" y="158"/>
                    </a:lnTo>
                    <a:lnTo>
                      <a:pt x="3" y="152"/>
                    </a:lnTo>
                    <a:lnTo>
                      <a:pt x="5" y="145"/>
                    </a:lnTo>
                    <a:lnTo>
                      <a:pt x="5" y="133"/>
                    </a:lnTo>
                    <a:lnTo>
                      <a:pt x="7" y="122"/>
                    </a:lnTo>
                    <a:lnTo>
                      <a:pt x="5" y="114"/>
                    </a:lnTo>
                    <a:lnTo>
                      <a:pt x="5" y="107"/>
                    </a:lnTo>
                    <a:lnTo>
                      <a:pt x="5" y="98"/>
                    </a:lnTo>
                    <a:lnTo>
                      <a:pt x="7" y="91"/>
                    </a:lnTo>
                    <a:lnTo>
                      <a:pt x="7" y="76"/>
                    </a:lnTo>
                    <a:lnTo>
                      <a:pt x="7" y="62"/>
                    </a:lnTo>
                    <a:lnTo>
                      <a:pt x="3" y="52"/>
                    </a:lnTo>
                    <a:lnTo>
                      <a:pt x="0" y="43"/>
                    </a:lnTo>
                    <a:lnTo>
                      <a:pt x="0" y="35"/>
                    </a:lnTo>
                    <a:lnTo>
                      <a:pt x="2" y="26"/>
                    </a:lnTo>
                    <a:lnTo>
                      <a:pt x="3" y="19"/>
                    </a:lnTo>
                    <a:lnTo>
                      <a:pt x="10" y="17"/>
                    </a:lnTo>
                    <a:lnTo>
                      <a:pt x="10" y="14"/>
                    </a:lnTo>
                    <a:lnTo>
                      <a:pt x="12" y="11"/>
                    </a:lnTo>
                    <a:lnTo>
                      <a:pt x="12" y="5"/>
                    </a:lnTo>
                    <a:lnTo>
                      <a:pt x="12" y="0"/>
                    </a:lnTo>
                    <a:lnTo>
                      <a:pt x="14" y="0"/>
                    </a:lnTo>
                    <a:lnTo>
                      <a:pt x="15" y="0"/>
                    </a:lnTo>
                    <a:lnTo>
                      <a:pt x="17" y="12"/>
                    </a:lnTo>
                    <a:lnTo>
                      <a:pt x="22" y="24"/>
                    </a:lnTo>
                    <a:lnTo>
                      <a:pt x="21" y="33"/>
                    </a:lnTo>
                    <a:lnTo>
                      <a:pt x="24" y="43"/>
                    </a:lnTo>
                    <a:lnTo>
                      <a:pt x="24" y="55"/>
                    </a:lnTo>
                    <a:lnTo>
                      <a:pt x="24" y="62"/>
                    </a:lnTo>
                    <a:lnTo>
                      <a:pt x="28" y="69"/>
                    </a:lnTo>
                    <a:lnTo>
                      <a:pt x="34" y="86"/>
                    </a:lnTo>
                    <a:lnTo>
                      <a:pt x="41" y="103"/>
                    </a:lnTo>
                    <a:lnTo>
                      <a:pt x="34" y="98"/>
                    </a:lnTo>
                    <a:lnTo>
                      <a:pt x="29" y="9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8" name="Freeform 254"/>
              <p:cNvSpPr>
                <a:spLocks/>
              </p:cNvSpPr>
              <p:nvPr/>
            </p:nvSpPr>
            <p:spPr bwMode="auto">
              <a:xfrm>
                <a:off x="5487194" y="1744663"/>
                <a:ext cx="403225" cy="295275"/>
              </a:xfrm>
              <a:custGeom>
                <a:avLst/>
                <a:gdLst/>
                <a:ahLst/>
                <a:cxnLst>
                  <a:cxn ang="0">
                    <a:pos x="77" y="177"/>
                  </a:cxn>
                  <a:cxn ang="0">
                    <a:pos x="60" y="162"/>
                  </a:cxn>
                  <a:cxn ang="0">
                    <a:pos x="58" y="138"/>
                  </a:cxn>
                  <a:cxn ang="0">
                    <a:pos x="69" y="113"/>
                  </a:cxn>
                  <a:cxn ang="0">
                    <a:pos x="88" y="93"/>
                  </a:cxn>
                  <a:cxn ang="0">
                    <a:pos x="108" y="81"/>
                  </a:cxn>
                  <a:cxn ang="0">
                    <a:pos x="124" y="72"/>
                  </a:cxn>
                  <a:cxn ang="0">
                    <a:pos x="134" y="64"/>
                  </a:cxn>
                  <a:cxn ang="0">
                    <a:pos x="149" y="57"/>
                  </a:cxn>
                  <a:cxn ang="0">
                    <a:pos x="167" y="46"/>
                  </a:cxn>
                  <a:cxn ang="0">
                    <a:pos x="189" y="43"/>
                  </a:cxn>
                  <a:cxn ang="0">
                    <a:pos x="206" y="36"/>
                  </a:cxn>
                  <a:cxn ang="0">
                    <a:pos x="223" y="31"/>
                  </a:cxn>
                  <a:cxn ang="0">
                    <a:pos x="248" y="22"/>
                  </a:cxn>
                  <a:cxn ang="0">
                    <a:pos x="251" y="7"/>
                  </a:cxn>
                  <a:cxn ang="0">
                    <a:pos x="239" y="0"/>
                  </a:cxn>
                  <a:cxn ang="0">
                    <a:pos x="223" y="0"/>
                  </a:cxn>
                  <a:cxn ang="0">
                    <a:pos x="205" y="9"/>
                  </a:cxn>
                  <a:cxn ang="0">
                    <a:pos x="186" y="19"/>
                  </a:cxn>
                  <a:cxn ang="0">
                    <a:pos x="167" y="26"/>
                  </a:cxn>
                  <a:cxn ang="0">
                    <a:pos x="149" y="26"/>
                  </a:cxn>
                  <a:cxn ang="0">
                    <a:pos x="132" y="26"/>
                  </a:cxn>
                  <a:cxn ang="0">
                    <a:pos x="112" y="33"/>
                  </a:cxn>
                  <a:cxn ang="0">
                    <a:pos x="89" y="48"/>
                  </a:cxn>
                  <a:cxn ang="0">
                    <a:pos x="70" y="55"/>
                  </a:cxn>
                  <a:cxn ang="0">
                    <a:pos x="55" y="58"/>
                  </a:cxn>
                  <a:cxn ang="0">
                    <a:pos x="57" y="65"/>
                  </a:cxn>
                  <a:cxn ang="0">
                    <a:pos x="53" y="79"/>
                  </a:cxn>
                  <a:cxn ang="0">
                    <a:pos x="36" y="95"/>
                  </a:cxn>
                  <a:cxn ang="0">
                    <a:pos x="36" y="105"/>
                  </a:cxn>
                  <a:cxn ang="0">
                    <a:pos x="31" y="113"/>
                  </a:cxn>
                  <a:cxn ang="0">
                    <a:pos x="17" y="120"/>
                  </a:cxn>
                  <a:cxn ang="0">
                    <a:pos x="15" y="132"/>
                  </a:cxn>
                  <a:cxn ang="0">
                    <a:pos x="12" y="139"/>
                  </a:cxn>
                  <a:cxn ang="0">
                    <a:pos x="2" y="146"/>
                  </a:cxn>
                  <a:cxn ang="0">
                    <a:pos x="5" y="162"/>
                  </a:cxn>
                  <a:cxn ang="0">
                    <a:pos x="12" y="165"/>
                  </a:cxn>
                  <a:cxn ang="0">
                    <a:pos x="20" y="165"/>
                  </a:cxn>
                  <a:cxn ang="0">
                    <a:pos x="31" y="170"/>
                  </a:cxn>
                  <a:cxn ang="0">
                    <a:pos x="38" y="182"/>
                  </a:cxn>
                  <a:cxn ang="0">
                    <a:pos x="46" y="184"/>
                  </a:cxn>
                  <a:cxn ang="0">
                    <a:pos x="88" y="186"/>
                  </a:cxn>
                  <a:cxn ang="0">
                    <a:pos x="82" y="181"/>
                  </a:cxn>
                </a:cxnLst>
                <a:rect l="0" t="0" r="r" b="b"/>
                <a:pathLst>
                  <a:path w="254" h="186">
                    <a:moveTo>
                      <a:pt x="88" y="186"/>
                    </a:moveTo>
                    <a:lnTo>
                      <a:pt x="77" y="177"/>
                    </a:lnTo>
                    <a:lnTo>
                      <a:pt x="69" y="170"/>
                    </a:lnTo>
                    <a:lnTo>
                      <a:pt x="60" y="162"/>
                    </a:lnTo>
                    <a:lnTo>
                      <a:pt x="58" y="151"/>
                    </a:lnTo>
                    <a:lnTo>
                      <a:pt x="58" y="138"/>
                    </a:lnTo>
                    <a:lnTo>
                      <a:pt x="63" y="126"/>
                    </a:lnTo>
                    <a:lnTo>
                      <a:pt x="69" y="113"/>
                    </a:lnTo>
                    <a:lnTo>
                      <a:pt x="79" y="103"/>
                    </a:lnTo>
                    <a:lnTo>
                      <a:pt x="88" y="93"/>
                    </a:lnTo>
                    <a:lnTo>
                      <a:pt x="98" y="86"/>
                    </a:lnTo>
                    <a:lnTo>
                      <a:pt x="108" y="81"/>
                    </a:lnTo>
                    <a:lnTo>
                      <a:pt x="120" y="77"/>
                    </a:lnTo>
                    <a:lnTo>
                      <a:pt x="124" y="72"/>
                    </a:lnTo>
                    <a:lnTo>
                      <a:pt x="129" y="69"/>
                    </a:lnTo>
                    <a:lnTo>
                      <a:pt x="134" y="64"/>
                    </a:lnTo>
                    <a:lnTo>
                      <a:pt x="144" y="64"/>
                    </a:lnTo>
                    <a:lnTo>
                      <a:pt x="149" y="57"/>
                    </a:lnTo>
                    <a:lnTo>
                      <a:pt x="155" y="52"/>
                    </a:lnTo>
                    <a:lnTo>
                      <a:pt x="167" y="46"/>
                    </a:lnTo>
                    <a:lnTo>
                      <a:pt x="179" y="45"/>
                    </a:lnTo>
                    <a:lnTo>
                      <a:pt x="189" y="43"/>
                    </a:lnTo>
                    <a:lnTo>
                      <a:pt x="203" y="40"/>
                    </a:lnTo>
                    <a:lnTo>
                      <a:pt x="206" y="36"/>
                    </a:lnTo>
                    <a:lnTo>
                      <a:pt x="215" y="34"/>
                    </a:lnTo>
                    <a:lnTo>
                      <a:pt x="223" y="31"/>
                    </a:lnTo>
                    <a:lnTo>
                      <a:pt x="232" y="29"/>
                    </a:lnTo>
                    <a:lnTo>
                      <a:pt x="248" y="22"/>
                    </a:lnTo>
                    <a:lnTo>
                      <a:pt x="254" y="12"/>
                    </a:lnTo>
                    <a:lnTo>
                      <a:pt x="251" y="7"/>
                    </a:lnTo>
                    <a:lnTo>
                      <a:pt x="246" y="3"/>
                    </a:lnTo>
                    <a:lnTo>
                      <a:pt x="239" y="0"/>
                    </a:lnTo>
                    <a:lnTo>
                      <a:pt x="234" y="0"/>
                    </a:lnTo>
                    <a:lnTo>
                      <a:pt x="223" y="0"/>
                    </a:lnTo>
                    <a:lnTo>
                      <a:pt x="213" y="3"/>
                    </a:lnTo>
                    <a:lnTo>
                      <a:pt x="205" y="9"/>
                    </a:lnTo>
                    <a:lnTo>
                      <a:pt x="196" y="14"/>
                    </a:lnTo>
                    <a:lnTo>
                      <a:pt x="186" y="19"/>
                    </a:lnTo>
                    <a:lnTo>
                      <a:pt x="177" y="24"/>
                    </a:lnTo>
                    <a:lnTo>
                      <a:pt x="167" y="26"/>
                    </a:lnTo>
                    <a:lnTo>
                      <a:pt x="158" y="29"/>
                    </a:lnTo>
                    <a:lnTo>
                      <a:pt x="149" y="26"/>
                    </a:lnTo>
                    <a:lnTo>
                      <a:pt x="143" y="22"/>
                    </a:lnTo>
                    <a:lnTo>
                      <a:pt x="132" y="26"/>
                    </a:lnTo>
                    <a:lnTo>
                      <a:pt x="127" y="29"/>
                    </a:lnTo>
                    <a:lnTo>
                      <a:pt x="112" y="33"/>
                    </a:lnTo>
                    <a:lnTo>
                      <a:pt x="101" y="41"/>
                    </a:lnTo>
                    <a:lnTo>
                      <a:pt x="89" y="48"/>
                    </a:lnTo>
                    <a:lnTo>
                      <a:pt x="81" y="53"/>
                    </a:lnTo>
                    <a:lnTo>
                      <a:pt x="70" y="55"/>
                    </a:lnTo>
                    <a:lnTo>
                      <a:pt x="60" y="57"/>
                    </a:lnTo>
                    <a:lnTo>
                      <a:pt x="55" y="58"/>
                    </a:lnTo>
                    <a:lnTo>
                      <a:pt x="55" y="62"/>
                    </a:lnTo>
                    <a:lnTo>
                      <a:pt x="57" y="65"/>
                    </a:lnTo>
                    <a:lnTo>
                      <a:pt x="58" y="71"/>
                    </a:lnTo>
                    <a:lnTo>
                      <a:pt x="53" y="79"/>
                    </a:lnTo>
                    <a:lnTo>
                      <a:pt x="45" y="88"/>
                    </a:lnTo>
                    <a:lnTo>
                      <a:pt x="36" y="95"/>
                    </a:lnTo>
                    <a:lnTo>
                      <a:pt x="33" y="101"/>
                    </a:lnTo>
                    <a:lnTo>
                      <a:pt x="36" y="105"/>
                    </a:lnTo>
                    <a:lnTo>
                      <a:pt x="39" y="113"/>
                    </a:lnTo>
                    <a:lnTo>
                      <a:pt x="31" y="113"/>
                    </a:lnTo>
                    <a:lnTo>
                      <a:pt x="24" y="117"/>
                    </a:lnTo>
                    <a:lnTo>
                      <a:pt x="17" y="120"/>
                    </a:lnTo>
                    <a:lnTo>
                      <a:pt x="15" y="127"/>
                    </a:lnTo>
                    <a:lnTo>
                      <a:pt x="15" y="132"/>
                    </a:lnTo>
                    <a:lnTo>
                      <a:pt x="15" y="134"/>
                    </a:lnTo>
                    <a:lnTo>
                      <a:pt x="12" y="139"/>
                    </a:lnTo>
                    <a:lnTo>
                      <a:pt x="7" y="143"/>
                    </a:lnTo>
                    <a:lnTo>
                      <a:pt x="2" y="146"/>
                    </a:lnTo>
                    <a:lnTo>
                      <a:pt x="0" y="155"/>
                    </a:lnTo>
                    <a:lnTo>
                      <a:pt x="5" y="162"/>
                    </a:lnTo>
                    <a:lnTo>
                      <a:pt x="10" y="165"/>
                    </a:lnTo>
                    <a:lnTo>
                      <a:pt x="12" y="165"/>
                    </a:lnTo>
                    <a:lnTo>
                      <a:pt x="17" y="165"/>
                    </a:lnTo>
                    <a:lnTo>
                      <a:pt x="20" y="165"/>
                    </a:lnTo>
                    <a:lnTo>
                      <a:pt x="26" y="165"/>
                    </a:lnTo>
                    <a:lnTo>
                      <a:pt x="31" y="170"/>
                    </a:lnTo>
                    <a:lnTo>
                      <a:pt x="33" y="182"/>
                    </a:lnTo>
                    <a:lnTo>
                      <a:pt x="38" y="182"/>
                    </a:lnTo>
                    <a:lnTo>
                      <a:pt x="45" y="182"/>
                    </a:lnTo>
                    <a:lnTo>
                      <a:pt x="46" y="184"/>
                    </a:lnTo>
                    <a:lnTo>
                      <a:pt x="48" y="186"/>
                    </a:lnTo>
                    <a:lnTo>
                      <a:pt x="88" y="186"/>
                    </a:lnTo>
                    <a:lnTo>
                      <a:pt x="84" y="181"/>
                    </a:lnTo>
                    <a:lnTo>
                      <a:pt x="82" y="181"/>
                    </a:lnTo>
                    <a:lnTo>
                      <a:pt x="88" y="1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19" name="Freeform 255"/>
              <p:cNvSpPr>
                <a:spLocks/>
              </p:cNvSpPr>
              <p:nvPr/>
            </p:nvSpPr>
            <p:spPr bwMode="auto">
              <a:xfrm>
                <a:off x="4102894" y="2519363"/>
                <a:ext cx="884238" cy="633412"/>
              </a:xfrm>
              <a:custGeom>
                <a:avLst/>
                <a:gdLst/>
                <a:ahLst/>
                <a:cxnLst>
                  <a:cxn ang="0">
                    <a:pos x="530" y="291"/>
                  </a:cxn>
                  <a:cxn ang="0">
                    <a:pos x="540" y="313"/>
                  </a:cxn>
                  <a:cxn ang="0">
                    <a:pos x="492" y="315"/>
                  </a:cxn>
                  <a:cxn ang="0">
                    <a:pos x="461" y="325"/>
                  </a:cxn>
                  <a:cxn ang="0">
                    <a:pos x="466" y="349"/>
                  </a:cxn>
                  <a:cxn ang="0">
                    <a:pos x="478" y="367"/>
                  </a:cxn>
                  <a:cxn ang="0">
                    <a:pos x="462" y="370"/>
                  </a:cxn>
                  <a:cxn ang="0">
                    <a:pos x="445" y="380"/>
                  </a:cxn>
                  <a:cxn ang="0">
                    <a:pos x="437" y="358"/>
                  </a:cxn>
                  <a:cxn ang="0">
                    <a:pos x="411" y="312"/>
                  </a:cxn>
                  <a:cxn ang="0">
                    <a:pos x="373" y="274"/>
                  </a:cxn>
                  <a:cxn ang="0">
                    <a:pos x="339" y="245"/>
                  </a:cxn>
                  <a:cxn ang="0">
                    <a:pos x="308" y="241"/>
                  </a:cxn>
                  <a:cxn ang="0">
                    <a:pos x="328" y="270"/>
                  </a:cxn>
                  <a:cxn ang="0">
                    <a:pos x="361" y="300"/>
                  </a:cxn>
                  <a:cxn ang="0">
                    <a:pos x="387" y="329"/>
                  </a:cxn>
                  <a:cxn ang="0">
                    <a:pos x="373" y="349"/>
                  </a:cxn>
                  <a:cxn ang="0">
                    <a:pos x="361" y="356"/>
                  </a:cxn>
                  <a:cxn ang="0">
                    <a:pos x="337" y="317"/>
                  </a:cxn>
                  <a:cxn ang="0">
                    <a:pos x="299" y="293"/>
                  </a:cxn>
                  <a:cxn ang="0">
                    <a:pos x="253" y="258"/>
                  </a:cxn>
                  <a:cxn ang="0">
                    <a:pos x="182" y="275"/>
                  </a:cxn>
                  <a:cxn ang="0">
                    <a:pos x="139" y="325"/>
                  </a:cxn>
                  <a:cxn ang="0">
                    <a:pos x="117" y="375"/>
                  </a:cxn>
                  <a:cxn ang="0">
                    <a:pos x="89" y="387"/>
                  </a:cxn>
                  <a:cxn ang="0">
                    <a:pos x="38" y="382"/>
                  </a:cxn>
                  <a:cxn ang="0">
                    <a:pos x="7" y="367"/>
                  </a:cxn>
                  <a:cxn ang="0">
                    <a:pos x="5" y="330"/>
                  </a:cxn>
                  <a:cxn ang="0">
                    <a:pos x="5" y="277"/>
                  </a:cxn>
                  <a:cxn ang="0">
                    <a:pos x="55" y="270"/>
                  </a:cxn>
                  <a:cxn ang="0">
                    <a:pos x="108" y="274"/>
                  </a:cxn>
                  <a:cxn ang="0">
                    <a:pos x="120" y="238"/>
                  </a:cxn>
                  <a:cxn ang="0">
                    <a:pos x="105" y="205"/>
                  </a:cxn>
                  <a:cxn ang="0">
                    <a:pos x="69" y="186"/>
                  </a:cxn>
                  <a:cxn ang="0">
                    <a:pos x="93" y="179"/>
                  </a:cxn>
                  <a:cxn ang="0">
                    <a:pos x="110" y="164"/>
                  </a:cxn>
                  <a:cxn ang="0">
                    <a:pos x="139" y="160"/>
                  </a:cxn>
                  <a:cxn ang="0">
                    <a:pos x="168" y="134"/>
                  </a:cxn>
                  <a:cxn ang="0">
                    <a:pos x="198" y="107"/>
                  </a:cxn>
                  <a:cxn ang="0">
                    <a:pos x="235" y="86"/>
                  </a:cxn>
                  <a:cxn ang="0">
                    <a:pos x="263" y="74"/>
                  </a:cxn>
                  <a:cxn ang="0">
                    <a:pos x="249" y="31"/>
                  </a:cxn>
                  <a:cxn ang="0">
                    <a:pos x="278" y="12"/>
                  </a:cxn>
                  <a:cxn ang="0">
                    <a:pos x="284" y="30"/>
                  </a:cxn>
                  <a:cxn ang="0">
                    <a:pos x="277" y="64"/>
                  </a:cxn>
                  <a:cxn ang="0">
                    <a:pos x="301" y="73"/>
                  </a:cxn>
                  <a:cxn ang="0">
                    <a:pos x="328" y="74"/>
                  </a:cxn>
                  <a:cxn ang="0">
                    <a:pos x="371" y="61"/>
                  </a:cxn>
                  <a:cxn ang="0">
                    <a:pos x="407" y="64"/>
                  </a:cxn>
                  <a:cxn ang="0">
                    <a:pos x="466" y="64"/>
                  </a:cxn>
                  <a:cxn ang="0">
                    <a:pos x="473" y="122"/>
                  </a:cxn>
                  <a:cxn ang="0">
                    <a:pos x="459" y="183"/>
                  </a:cxn>
                  <a:cxn ang="0">
                    <a:pos x="507" y="181"/>
                  </a:cxn>
                  <a:cxn ang="0">
                    <a:pos x="540" y="227"/>
                  </a:cxn>
                  <a:cxn ang="0">
                    <a:pos x="557" y="234"/>
                  </a:cxn>
                </a:cxnLst>
                <a:rect l="0" t="0" r="r" b="b"/>
                <a:pathLst>
                  <a:path w="557" h="399">
                    <a:moveTo>
                      <a:pt x="547" y="248"/>
                    </a:moveTo>
                    <a:lnTo>
                      <a:pt x="545" y="253"/>
                    </a:lnTo>
                    <a:lnTo>
                      <a:pt x="543" y="255"/>
                    </a:lnTo>
                    <a:lnTo>
                      <a:pt x="543" y="269"/>
                    </a:lnTo>
                    <a:lnTo>
                      <a:pt x="535" y="277"/>
                    </a:lnTo>
                    <a:lnTo>
                      <a:pt x="530" y="291"/>
                    </a:lnTo>
                    <a:lnTo>
                      <a:pt x="531" y="296"/>
                    </a:lnTo>
                    <a:lnTo>
                      <a:pt x="536" y="303"/>
                    </a:lnTo>
                    <a:lnTo>
                      <a:pt x="542" y="306"/>
                    </a:lnTo>
                    <a:lnTo>
                      <a:pt x="547" y="312"/>
                    </a:lnTo>
                    <a:lnTo>
                      <a:pt x="543" y="312"/>
                    </a:lnTo>
                    <a:lnTo>
                      <a:pt x="540" y="313"/>
                    </a:lnTo>
                    <a:lnTo>
                      <a:pt x="533" y="313"/>
                    </a:lnTo>
                    <a:lnTo>
                      <a:pt x="528" y="315"/>
                    </a:lnTo>
                    <a:lnTo>
                      <a:pt x="519" y="320"/>
                    </a:lnTo>
                    <a:lnTo>
                      <a:pt x="512" y="325"/>
                    </a:lnTo>
                    <a:lnTo>
                      <a:pt x="502" y="320"/>
                    </a:lnTo>
                    <a:lnTo>
                      <a:pt x="492" y="315"/>
                    </a:lnTo>
                    <a:lnTo>
                      <a:pt x="481" y="317"/>
                    </a:lnTo>
                    <a:lnTo>
                      <a:pt x="475" y="322"/>
                    </a:lnTo>
                    <a:lnTo>
                      <a:pt x="475" y="327"/>
                    </a:lnTo>
                    <a:lnTo>
                      <a:pt x="475" y="332"/>
                    </a:lnTo>
                    <a:lnTo>
                      <a:pt x="466" y="329"/>
                    </a:lnTo>
                    <a:lnTo>
                      <a:pt x="461" y="325"/>
                    </a:lnTo>
                    <a:lnTo>
                      <a:pt x="457" y="327"/>
                    </a:lnTo>
                    <a:lnTo>
                      <a:pt x="456" y="330"/>
                    </a:lnTo>
                    <a:lnTo>
                      <a:pt x="466" y="343"/>
                    </a:lnTo>
                    <a:lnTo>
                      <a:pt x="464" y="344"/>
                    </a:lnTo>
                    <a:lnTo>
                      <a:pt x="464" y="348"/>
                    </a:lnTo>
                    <a:lnTo>
                      <a:pt x="466" y="349"/>
                    </a:lnTo>
                    <a:lnTo>
                      <a:pt x="471" y="355"/>
                    </a:lnTo>
                    <a:lnTo>
                      <a:pt x="476" y="358"/>
                    </a:lnTo>
                    <a:lnTo>
                      <a:pt x="481" y="361"/>
                    </a:lnTo>
                    <a:lnTo>
                      <a:pt x="481" y="363"/>
                    </a:lnTo>
                    <a:lnTo>
                      <a:pt x="483" y="367"/>
                    </a:lnTo>
                    <a:lnTo>
                      <a:pt x="478" y="367"/>
                    </a:lnTo>
                    <a:lnTo>
                      <a:pt x="475" y="370"/>
                    </a:lnTo>
                    <a:lnTo>
                      <a:pt x="475" y="370"/>
                    </a:lnTo>
                    <a:lnTo>
                      <a:pt x="464" y="365"/>
                    </a:lnTo>
                    <a:lnTo>
                      <a:pt x="461" y="361"/>
                    </a:lnTo>
                    <a:lnTo>
                      <a:pt x="461" y="367"/>
                    </a:lnTo>
                    <a:lnTo>
                      <a:pt x="462" y="370"/>
                    </a:lnTo>
                    <a:lnTo>
                      <a:pt x="464" y="375"/>
                    </a:lnTo>
                    <a:lnTo>
                      <a:pt x="461" y="380"/>
                    </a:lnTo>
                    <a:lnTo>
                      <a:pt x="464" y="387"/>
                    </a:lnTo>
                    <a:lnTo>
                      <a:pt x="459" y="387"/>
                    </a:lnTo>
                    <a:lnTo>
                      <a:pt x="456" y="387"/>
                    </a:lnTo>
                    <a:lnTo>
                      <a:pt x="445" y="380"/>
                    </a:lnTo>
                    <a:lnTo>
                      <a:pt x="442" y="370"/>
                    </a:lnTo>
                    <a:lnTo>
                      <a:pt x="444" y="365"/>
                    </a:lnTo>
                    <a:lnTo>
                      <a:pt x="447" y="361"/>
                    </a:lnTo>
                    <a:lnTo>
                      <a:pt x="442" y="361"/>
                    </a:lnTo>
                    <a:lnTo>
                      <a:pt x="438" y="361"/>
                    </a:lnTo>
                    <a:lnTo>
                      <a:pt x="437" y="358"/>
                    </a:lnTo>
                    <a:lnTo>
                      <a:pt x="437" y="356"/>
                    </a:lnTo>
                    <a:lnTo>
                      <a:pt x="430" y="346"/>
                    </a:lnTo>
                    <a:lnTo>
                      <a:pt x="425" y="341"/>
                    </a:lnTo>
                    <a:lnTo>
                      <a:pt x="414" y="330"/>
                    </a:lnTo>
                    <a:lnTo>
                      <a:pt x="411" y="318"/>
                    </a:lnTo>
                    <a:lnTo>
                      <a:pt x="411" y="312"/>
                    </a:lnTo>
                    <a:lnTo>
                      <a:pt x="411" y="306"/>
                    </a:lnTo>
                    <a:lnTo>
                      <a:pt x="404" y="293"/>
                    </a:lnTo>
                    <a:lnTo>
                      <a:pt x="394" y="284"/>
                    </a:lnTo>
                    <a:lnTo>
                      <a:pt x="382" y="279"/>
                    </a:lnTo>
                    <a:lnTo>
                      <a:pt x="378" y="274"/>
                    </a:lnTo>
                    <a:lnTo>
                      <a:pt x="373" y="274"/>
                    </a:lnTo>
                    <a:lnTo>
                      <a:pt x="371" y="274"/>
                    </a:lnTo>
                    <a:lnTo>
                      <a:pt x="361" y="270"/>
                    </a:lnTo>
                    <a:lnTo>
                      <a:pt x="354" y="263"/>
                    </a:lnTo>
                    <a:lnTo>
                      <a:pt x="347" y="253"/>
                    </a:lnTo>
                    <a:lnTo>
                      <a:pt x="347" y="245"/>
                    </a:lnTo>
                    <a:lnTo>
                      <a:pt x="339" y="245"/>
                    </a:lnTo>
                    <a:lnTo>
                      <a:pt x="332" y="245"/>
                    </a:lnTo>
                    <a:lnTo>
                      <a:pt x="327" y="238"/>
                    </a:lnTo>
                    <a:lnTo>
                      <a:pt x="325" y="231"/>
                    </a:lnTo>
                    <a:lnTo>
                      <a:pt x="313" y="234"/>
                    </a:lnTo>
                    <a:lnTo>
                      <a:pt x="308" y="239"/>
                    </a:lnTo>
                    <a:lnTo>
                      <a:pt x="308" y="241"/>
                    </a:lnTo>
                    <a:lnTo>
                      <a:pt x="311" y="243"/>
                    </a:lnTo>
                    <a:lnTo>
                      <a:pt x="309" y="246"/>
                    </a:lnTo>
                    <a:lnTo>
                      <a:pt x="309" y="251"/>
                    </a:lnTo>
                    <a:lnTo>
                      <a:pt x="311" y="260"/>
                    </a:lnTo>
                    <a:lnTo>
                      <a:pt x="320" y="265"/>
                    </a:lnTo>
                    <a:lnTo>
                      <a:pt x="328" y="270"/>
                    </a:lnTo>
                    <a:lnTo>
                      <a:pt x="332" y="281"/>
                    </a:lnTo>
                    <a:lnTo>
                      <a:pt x="337" y="291"/>
                    </a:lnTo>
                    <a:lnTo>
                      <a:pt x="342" y="298"/>
                    </a:lnTo>
                    <a:lnTo>
                      <a:pt x="352" y="300"/>
                    </a:lnTo>
                    <a:lnTo>
                      <a:pt x="363" y="300"/>
                    </a:lnTo>
                    <a:lnTo>
                      <a:pt x="361" y="300"/>
                    </a:lnTo>
                    <a:lnTo>
                      <a:pt x="361" y="303"/>
                    </a:lnTo>
                    <a:lnTo>
                      <a:pt x="364" y="308"/>
                    </a:lnTo>
                    <a:lnTo>
                      <a:pt x="375" y="313"/>
                    </a:lnTo>
                    <a:lnTo>
                      <a:pt x="389" y="320"/>
                    </a:lnTo>
                    <a:lnTo>
                      <a:pt x="395" y="332"/>
                    </a:lnTo>
                    <a:lnTo>
                      <a:pt x="387" y="329"/>
                    </a:lnTo>
                    <a:lnTo>
                      <a:pt x="380" y="325"/>
                    </a:lnTo>
                    <a:lnTo>
                      <a:pt x="371" y="327"/>
                    </a:lnTo>
                    <a:lnTo>
                      <a:pt x="368" y="334"/>
                    </a:lnTo>
                    <a:lnTo>
                      <a:pt x="371" y="339"/>
                    </a:lnTo>
                    <a:lnTo>
                      <a:pt x="376" y="348"/>
                    </a:lnTo>
                    <a:lnTo>
                      <a:pt x="373" y="349"/>
                    </a:lnTo>
                    <a:lnTo>
                      <a:pt x="371" y="351"/>
                    </a:lnTo>
                    <a:lnTo>
                      <a:pt x="366" y="360"/>
                    </a:lnTo>
                    <a:lnTo>
                      <a:pt x="359" y="367"/>
                    </a:lnTo>
                    <a:lnTo>
                      <a:pt x="354" y="365"/>
                    </a:lnTo>
                    <a:lnTo>
                      <a:pt x="354" y="361"/>
                    </a:lnTo>
                    <a:lnTo>
                      <a:pt x="361" y="356"/>
                    </a:lnTo>
                    <a:lnTo>
                      <a:pt x="363" y="349"/>
                    </a:lnTo>
                    <a:lnTo>
                      <a:pt x="359" y="339"/>
                    </a:lnTo>
                    <a:lnTo>
                      <a:pt x="358" y="334"/>
                    </a:lnTo>
                    <a:lnTo>
                      <a:pt x="349" y="327"/>
                    </a:lnTo>
                    <a:lnTo>
                      <a:pt x="344" y="318"/>
                    </a:lnTo>
                    <a:lnTo>
                      <a:pt x="337" y="317"/>
                    </a:lnTo>
                    <a:lnTo>
                      <a:pt x="333" y="313"/>
                    </a:lnTo>
                    <a:lnTo>
                      <a:pt x="321" y="310"/>
                    </a:lnTo>
                    <a:lnTo>
                      <a:pt x="316" y="306"/>
                    </a:lnTo>
                    <a:lnTo>
                      <a:pt x="311" y="301"/>
                    </a:lnTo>
                    <a:lnTo>
                      <a:pt x="306" y="298"/>
                    </a:lnTo>
                    <a:lnTo>
                      <a:pt x="299" y="293"/>
                    </a:lnTo>
                    <a:lnTo>
                      <a:pt x="294" y="288"/>
                    </a:lnTo>
                    <a:lnTo>
                      <a:pt x="287" y="277"/>
                    </a:lnTo>
                    <a:lnTo>
                      <a:pt x="282" y="267"/>
                    </a:lnTo>
                    <a:lnTo>
                      <a:pt x="273" y="258"/>
                    </a:lnTo>
                    <a:lnTo>
                      <a:pt x="263" y="257"/>
                    </a:lnTo>
                    <a:lnTo>
                      <a:pt x="253" y="258"/>
                    </a:lnTo>
                    <a:lnTo>
                      <a:pt x="249" y="265"/>
                    </a:lnTo>
                    <a:lnTo>
                      <a:pt x="235" y="272"/>
                    </a:lnTo>
                    <a:lnTo>
                      <a:pt x="222" y="279"/>
                    </a:lnTo>
                    <a:lnTo>
                      <a:pt x="206" y="275"/>
                    </a:lnTo>
                    <a:lnTo>
                      <a:pt x="192" y="272"/>
                    </a:lnTo>
                    <a:lnTo>
                      <a:pt x="182" y="275"/>
                    </a:lnTo>
                    <a:lnTo>
                      <a:pt x="177" y="286"/>
                    </a:lnTo>
                    <a:lnTo>
                      <a:pt x="180" y="296"/>
                    </a:lnTo>
                    <a:lnTo>
                      <a:pt x="170" y="306"/>
                    </a:lnTo>
                    <a:lnTo>
                      <a:pt x="155" y="313"/>
                    </a:lnTo>
                    <a:lnTo>
                      <a:pt x="146" y="317"/>
                    </a:lnTo>
                    <a:lnTo>
                      <a:pt x="139" y="325"/>
                    </a:lnTo>
                    <a:lnTo>
                      <a:pt x="132" y="336"/>
                    </a:lnTo>
                    <a:lnTo>
                      <a:pt x="131" y="346"/>
                    </a:lnTo>
                    <a:lnTo>
                      <a:pt x="132" y="351"/>
                    </a:lnTo>
                    <a:lnTo>
                      <a:pt x="136" y="353"/>
                    </a:lnTo>
                    <a:lnTo>
                      <a:pt x="127" y="365"/>
                    </a:lnTo>
                    <a:lnTo>
                      <a:pt x="117" y="375"/>
                    </a:lnTo>
                    <a:lnTo>
                      <a:pt x="112" y="377"/>
                    </a:lnTo>
                    <a:lnTo>
                      <a:pt x="108" y="382"/>
                    </a:lnTo>
                    <a:lnTo>
                      <a:pt x="103" y="386"/>
                    </a:lnTo>
                    <a:lnTo>
                      <a:pt x="98" y="387"/>
                    </a:lnTo>
                    <a:lnTo>
                      <a:pt x="98" y="387"/>
                    </a:lnTo>
                    <a:lnTo>
                      <a:pt x="89" y="387"/>
                    </a:lnTo>
                    <a:lnTo>
                      <a:pt x="82" y="389"/>
                    </a:lnTo>
                    <a:lnTo>
                      <a:pt x="67" y="394"/>
                    </a:lnTo>
                    <a:lnTo>
                      <a:pt x="53" y="399"/>
                    </a:lnTo>
                    <a:lnTo>
                      <a:pt x="48" y="396"/>
                    </a:lnTo>
                    <a:lnTo>
                      <a:pt x="45" y="389"/>
                    </a:lnTo>
                    <a:lnTo>
                      <a:pt x="38" y="382"/>
                    </a:lnTo>
                    <a:lnTo>
                      <a:pt x="33" y="380"/>
                    </a:lnTo>
                    <a:lnTo>
                      <a:pt x="20" y="382"/>
                    </a:lnTo>
                    <a:lnTo>
                      <a:pt x="12" y="384"/>
                    </a:lnTo>
                    <a:lnTo>
                      <a:pt x="7" y="380"/>
                    </a:lnTo>
                    <a:lnTo>
                      <a:pt x="7" y="379"/>
                    </a:lnTo>
                    <a:lnTo>
                      <a:pt x="7" y="367"/>
                    </a:lnTo>
                    <a:lnTo>
                      <a:pt x="7" y="360"/>
                    </a:lnTo>
                    <a:lnTo>
                      <a:pt x="2" y="356"/>
                    </a:lnTo>
                    <a:lnTo>
                      <a:pt x="0" y="353"/>
                    </a:lnTo>
                    <a:lnTo>
                      <a:pt x="2" y="344"/>
                    </a:lnTo>
                    <a:lnTo>
                      <a:pt x="5" y="341"/>
                    </a:lnTo>
                    <a:lnTo>
                      <a:pt x="5" y="330"/>
                    </a:lnTo>
                    <a:lnTo>
                      <a:pt x="7" y="320"/>
                    </a:lnTo>
                    <a:lnTo>
                      <a:pt x="8" y="310"/>
                    </a:lnTo>
                    <a:lnTo>
                      <a:pt x="10" y="301"/>
                    </a:lnTo>
                    <a:lnTo>
                      <a:pt x="7" y="291"/>
                    </a:lnTo>
                    <a:lnTo>
                      <a:pt x="3" y="282"/>
                    </a:lnTo>
                    <a:lnTo>
                      <a:pt x="5" y="277"/>
                    </a:lnTo>
                    <a:lnTo>
                      <a:pt x="12" y="274"/>
                    </a:lnTo>
                    <a:lnTo>
                      <a:pt x="19" y="269"/>
                    </a:lnTo>
                    <a:lnTo>
                      <a:pt x="24" y="269"/>
                    </a:lnTo>
                    <a:lnTo>
                      <a:pt x="27" y="269"/>
                    </a:lnTo>
                    <a:lnTo>
                      <a:pt x="33" y="270"/>
                    </a:lnTo>
                    <a:lnTo>
                      <a:pt x="55" y="270"/>
                    </a:lnTo>
                    <a:lnTo>
                      <a:pt x="58" y="272"/>
                    </a:lnTo>
                    <a:lnTo>
                      <a:pt x="63" y="274"/>
                    </a:lnTo>
                    <a:lnTo>
                      <a:pt x="88" y="274"/>
                    </a:lnTo>
                    <a:lnTo>
                      <a:pt x="94" y="274"/>
                    </a:lnTo>
                    <a:lnTo>
                      <a:pt x="101" y="275"/>
                    </a:lnTo>
                    <a:lnTo>
                      <a:pt x="108" y="274"/>
                    </a:lnTo>
                    <a:lnTo>
                      <a:pt x="115" y="274"/>
                    </a:lnTo>
                    <a:lnTo>
                      <a:pt x="119" y="262"/>
                    </a:lnTo>
                    <a:lnTo>
                      <a:pt x="122" y="250"/>
                    </a:lnTo>
                    <a:lnTo>
                      <a:pt x="120" y="243"/>
                    </a:lnTo>
                    <a:lnTo>
                      <a:pt x="120" y="236"/>
                    </a:lnTo>
                    <a:lnTo>
                      <a:pt x="120" y="238"/>
                    </a:lnTo>
                    <a:lnTo>
                      <a:pt x="120" y="232"/>
                    </a:lnTo>
                    <a:lnTo>
                      <a:pt x="122" y="229"/>
                    </a:lnTo>
                    <a:lnTo>
                      <a:pt x="120" y="226"/>
                    </a:lnTo>
                    <a:lnTo>
                      <a:pt x="119" y="222"/>
                    </a:lnTo>
                    <a:lnTo>
                      <a:pt x="106" y="215"/>
                    </a:lnTo>
                    <a:lnTo>
                      <a:pt x="105" y="205"/>
                    </a:lnTo>
                    <a:lnTo>
                      <a:pt x="101" y="202"/>
                    </a:lnTo>
                    <a:lnTo>
                      <a:pt x="100" y="202"/>
                    </a:lnTo>
                    <a:lnTo>
                      <a:pt x="89" y="198"/>
                    </a:lnTo>
                    <a:lnTo>
                      <a:pt x="81" y="195"/>
                    </a:lnTo>
                    <a:lnTo>
                      <a:pt x="72" y="189"/>
                    </a:lnTo>
                    <a:lnTo>
                      <a:pt x="69" y="186"/>
                    </a:lnTo>
                    <a:lnTo>
                      <a:pt x="69" y="184"/>
                    </a:lnTo>
                    <a:lnTo>
                      <a:pt x="70" y="181"/>
                    </a:lnTo>
                    <a:lnTo>
                      <a:pt x="76" y="179"/>
                    </a:lnTo>
                    <a:lnTo>
                      <a:pt x="81" y="176"/>
                    </a:lnTo>
                    <a:lnTo>
                      <a:pt x="88" y="176"/>
                    </a:lnTo>
                    <a:lnTo>
                      <a:pt x="93" y="179"/>
                    </a:lnTo>
                    <a:lnTo>
                      <a:pt x="101" y="181"/>
                    </a:lnTo>
                    <a:lnTo>
                      <a:pt x="106" y="179"/>
                    </a:lnTo>
                    <a:lnTo>
                      <a:pt x="113" y="177"/>
                    </a:lnTo>
                    <a:lnTo>
                      <a:pt x="113" y="174"/>
                    </a:lnTo>
                    <a:lnTo>
                      <a:pt x="110" y="169"/>
                    </a:lnTo>
                    <a:lnTo>
                      <a:pt x="110" y="164"/>
                    </a:lnTo>
                    <a:lnTo>
                      <a:pt x="110" y="160"/>
                    </a:lnTo>
                    <a:lnTo>
                      <a:pt x="115" y="160"/>
                    </a:lnTo>
                    <a:lnTo>
                      <a:pt x="122" y="164"/>
                    </a:lnTo>
                    <a:lnTo>
                      <a:pt x="131" y="167"/>
                    </a:lnTo>
                    <a:lnTo>
                      <a:pt x="136" y="164"/>
                    </a:lnTo>
                    <a:lnTo>
                      <a:pt x="139" y="160"/>
                    </a:lnTo>
                    <a:lnTo>
                      <a:pt x="148" y="157"/>
                    </a:lnTo>
                    <a:lnTo>
                      <a:pt x="155" y="152"/>
                    </a:lnTo>
                    <a:lnTo>
                      <a:pt x="158" y="143"/>
                    </a:lnTo>
                    <a:lnTo>
                      <a:pt x="162" y="136"/>
                    </a:lnTo>
                    <a:lnTo>
                      <a:pt x="165" y="134"/>
                    </a:lnTo>
                    <a:lnTo>
                      <a:pt x="168" y="134"/>
                    </a:lnTo>
                    <a:lnTo>
                      <a:pt x="172" y="131"/>
                    </a:lnTo>
                    <a:lnTo>
                      <a:pt x="180" y="129"/>
                    </a:lnTo>
                    <a:lnTo>
                      <a:pt x="189" y="126"/>
                    </a:lnTo>
                    <a:lnTo>
                      <a:pt x="194" y="124"/>
                    </a:lnTo>
                    <a:lnTo>
                      <a:pt x="196" y="116"/>
                    </a:lnTo>
                    <a:lnTo>
                      <a:pt x="198" y="107"/>
                    </a:lnTo>
                    <a:lnTo>
                      <a:pt x="199" y="104"/>
                    </a:lnTo>
                    <a:lnTo>
                      <a:pt x="201" y="102"/>
                    </a:lnTo>
                    <a:lnTo>
                      <a:pt x="211" y="91"/>
                    </a:lnTo>
                    <a:lnTo>
                      <a:pt x="229" y="86"/>
                    </a:lnTo>
                    <a:lnTo>
                      <a:pt x="232" y="86"/>
                    </a:lnTo>
                    <a:lnTo>
                      <a:pt x="235" y="86"/>
                    </a:lnTo>
                    <a:lnTo>
                      <a:pt x="235" y="85"/>
                    </a:lnTo>
                    <a:lnTo>
                      <a:pt x="239" y="83"/>
                    </a:lnTo>
                    <a:lnTo>
                      <a:pt x="244" y="81"/>
                    </a:lnTo>
                    <a:lnTo>
                      <a:pt x="251" y="83"/>
                    </a:lnTo>
                    <a:lnTo>
                      <a:pt x="258" y="79"/>
                    </a:lnTo>
                    <a:lnTo>
                      <a:pt x="263" y="74"/>
                    </a:lnTo>
                    <a:lnTo>
                      <a:pt x="261" y="67"/>
                    </a:lnTo>
                    <a:lnTo>
                      <a:pt x="260" y="62"/>
                    </a:lnTo>
                    <a:lnTo>
                      <a:pt x="256" y="52"/>
                    </a:lnTo>
                    <a:lnTo>
                      <a:pt x="253" y="45"/>
                    </a:lnTo>
                    <a:lnTo>
                      <a:pt x="249" y="38"/>
                    </a:lnTo>
                    <a:lnTo>
                      <a:pt x="249" y="31"/>
                    </a:lnTo>
                    <a:lnTo>
                      <a:pt x="251" y="18"/>
                    </a:lnTo>
                    <a:lnTo>
                      <a:pt x="260" y="11"/>
                    </a:lnTo>
                    <a:lnTo>
                      <a:pt x="270" y="6"/>
                    </a:lnTo>
                    <a:lnTo>
                      <a:pt x="282" y="0"/>
                    </a:lnTo>
                    <a:lnTo>
                      <a:pt x="282" y="6"/>
                    </a:lnTo>
                    <a:lnTo>
                      <a:pt x="278" y="12"/>
                    </a:lnTo>
                    <a:lnTo>
                      <a:pt x="278" y="19"/>
                    </a:lnTo>
                    <a:lnTo>
                      <a:pt x="280" y="23"/>
                    </a:lnTo>
                    <a:lnTo>
                      <a:pt x="287" y="24"/>
                    </a:lnTo>
                    <a:lnTo>
                      <a:pt x="287" y="26"/>
                    </a:lnTo>
                    <a:lnTo>
                      <a:pt x="287" y="28"/>
                    </a:lnTo>
                    <a:lnTo>
                      <a:pt x="284" y="30"/>
                    </a:lnTo>
                    <a:lnTo>
                      <a:pt x="282" y="33"/>
                    </a:lnTo>
                    <a:lnTo>
                      <a:pt x="273" y="40"/>
                    </a:lnTo>
                    <a:lnTo>
                      <a:pt x="270" y="52"/>
                    </a:lnTo>
                    <a:lnTo>
                      <a:pt x="272" y="57"/>
                    </a:lnTo>
                    <a:lnTo>
                      <a:pt x="277" y="62"/>
                    </a:lnTo>
                    <a:lnTo>
                      <a:pt x="277" y="64"/>
                    </a:lnTo>
                    <a:lnTo>
                      <a:pt x="277" y="67"/>
                    </a:lnTo>
                    <a:lnTo>
                      <a:pt x="282" y="67"/>
                    </a:lnTo>
                    <a:lnTo>
                      <a:pt x="289" y="69"/>
                    </a:lnTo>
                    <a:lnTo>
                      <a:pt x="289" y="73"/>
                    </a:lnTo>
                    <a:lnTo>
                      <a:pt x="292" y="76"/>
                    </a:lnTo>
                    <a:lnTo>
                      <a:pt x="301" y="73"/>
                    </a:lnTo>
                    <a:lnTo>
                      <a:pt x="309" y="69"/>
                    </a:lnTo>
                    <a:lnTo>
                      <a:pt x="316" y="66"/>
                    </a:lnTo>
                    <a:lnTo>
                      <a:pt x="327" y="66"/>
                    </a:lnTo>
                    <a:lnTo>
                      <a:pt x="325" y="67"/>
                    </a:lnTo>
                    <a:lnTo>
                      <a:pt x="325" y="71"/>
                    </a:lnTo>
                    <a:lnTo>
                      <a:pt x="328" y="74"/>
                    </a:lnTo>
                    <a:lnTo>
                      <a:pt x="332" y="78"/>
                    </a:lnTo>
                    <a:lnTo>
                      <a:pt x="337" y="74"/>
                    </a:lnTo>
                    <a:lnTo>
                      <a:pt x="342" y="73"/>
                    </a:lnTo>
                    <a:lnTo>
                      <a:pt x="352" y="69"/>
                    </a:lnTo>
                    <a:lnTo>
                      <a:pt x="364" y="67"/>
                    </a:lnTo>
                    <a:lnTo>
                      <a:pt x="371" y="61"/>
                    </a:lnTo>
                    <a:lnTo>
                      <a:pt x="383" y="57"/>
                    </a:lnTo>
                    <a:lnTo>
                      <a:pt x="392" y="57"/>
                    </a:lnTo>
                    <a:lnTo>
                      <a:pt x="401" y="59"/>
                    </a:lnTo>
                    <a:lnTo>
                      <a:pt x="399" y="62"/>
                    </a:lnTo>
                    <a:lnTo>
                      <a:pt x="399" y="66"/>
                    </a:lnTo>
                    <a:lnTo>
                      <a:pt x="407" y="64"/>
                    </a:lnTo>
                    <a:lnTo>
                      <a:pt x="416" y="64"/>
                    </a:lnTo>
                    <a:lnTo>
                      <a:pt x="425" y="62"/>
                    </a:lnTo>
                    <a:lnTo>
                      <a:pt x="435" y="62"/>
                    </a:lnTo>
                    <a:lnTo>
                      <a:pt x="447" y="62"/>
                    </a:lnTo>
                    <a:lnTo>
                      <a:pt x="461" y="62"/>
                    </a:lnTo>
                    <a:lnTo>
                      <a:pt x="466" y="64"/>
                    </a:lnTo>
                    <a:lnTo>
                      <a:pt x="471" y="73"/>
                    </a:lnTo>
                    <a:lnTo>
                      <a:pt x="475" y="81"/>
                    </a:lnTo>
                    <a:lnTo>
                      <a:pt x="476" y="91"/>
                    </a:lnTo>
                    <a:lnTo>
                      <a:pt x="473" y="100"/>
                    </a:lnTo>
                    <a:lnTo>
                      <a:pt x="469" y="109"/>
                    </a:lnTo>
                    <a:lnTo>
                      <a:pt x="473" y="122"/>
                    </a:lnTo>
                    <a:lnTo>
                      <a:pt x="478" y="136"/>
                    </a:lnTo>
                    <a:lnTo>
                      <a:pt x="473" y="141"/>
                    </a:lnTo>
                    <a:lnTo>
                      <a:pt x="468" y="147"/>
                    </a:lnTo>
                    <a:lnTo>
                      <a:pt x="461" y="159"/>
                    </a:lnTo>
                    <a:lnTo>
                      <a:pt x="459" y="176"/>
                    </a:lnTo>
                    <a:lnTo>
                      <a:pt x="459" y="183"/>
                    </a:lnTo>
                    <a:lnTo>
                      <a:pt x="464" y="186"/>
                    </a:lnTo>
                    <a:lnTo>
                      <a:pt x="471" y="186"/>
                    </a:lnTo>
                    <a:lnTo>
                      <a:pt x="481" y="188"/>
                    </a:lnTo>
                    <a:lnTo>
                      <a:pt x="490" y="186"/>
                    </a:lnTo>
                    <a:lnTo>
                      <a:pt x="500" y="184"/>
                    </a:lnTo>
                    <a:lnTo>
                      <a:pt x="507" y="181"/>
                    </a:lnTo>
                    <a:lnTo>
                      <a:pt x="518" y="181"/>
                    </a:lnTo>
                    <a:lnTo>
                      <a:pt x="524" y="184"/>
                    </a:lnTo>
                    <a:lnTo>
                      <a:pt x="528" y="193"/>
                    </a:lnTo>
                    <a:lnTo>
                      <a:pt x="531" y="202"/>
                    </a:lnTo>
                    <a:lnTo>
                      <a:pt x="540" y="207"/>
                    </a:lnTo>
                    <a:lnTo>
                      <a:pt x="540" y="227"/>
                    </a:lnTo>
                    <a:lnTo>
                      <a:pt x="540" y="229"/>
                    </a:lnTo>
                    <a:lnTo>
                      <a:pt x="543" y="231"/>
                    </a:lnTo>
                    <a:lnTo>
                      <a:pt x="545" y="234"/>
                    </a:lnTo>
                    <a:lnTo>
                      <a:pt x="550" y="232"/>
                    </a:lnTo>
                    <a:lnTo>
                      <a:pt x="557" y="231"/>
                    </a:lnTo>
                    <a:lnTo>
                      <a:pt x="557" y="234"/>
                    </a:lnTo>
                    <a:lnTo>
                      <a:pt x="557" y="239"/>
                    </a:lnTo>
                    <a:lnTo>
                      <a:pt x="550" y="241"/>
                    </a:lnTo>
                    <a:lnTo>
                      <a:pt x="547" y="2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0" name="Freeform 256"/>
              <p:cNvSpPr>
                <a:spLocks/>
              </p:cNvSpPr>
              <p:nvPr/>
            </p:nvSpPr>
            <p:spPr bwMode="auto">
              <a:xfrm>
                <a:off x="4429919" y="2020888"/>
                <a:ext cx="598488" cy="574675"/>
              </a:xfrm>
              <a:custGeom>
                <a:avLst/>
                <a:gdLst/>
                <a:ahLst/>
                <a:cxnLst>
                  <a:cxn ang="0">
                    <a:pos x="66" y="278"/>
                  </a:cxn>
                  <a:cxn ang="0">
                    <a:pos x="23" y="299"/>
                  </a:cxn>
                  <a:cxn ang="0">
                    <a:pos x="9" y="283"/>
                  </a:cxn>
                  <a:cxn ang="0">
                    <a:pos x="2" y="277"/>
                  </a:cxn>
                  <a:cxn ang="0">
                    <a:pos x="2" y="246"/>
                  </a:cxn>
                  <a:cxn ang="0">
                    <a:pos x="12" y="215"/>
                  </a:cxn>
                  <a:cxn ang="0">
                    <a:pos x="45" y="187"/>
                  </a:cxn>
                  <a:cxn ang="0">
                    <a:pos x="52" y="180"/>
                  </a:cxn>
                  <a:cxn ang="0">
                    <a:pos x="98" y="146"/>
                  </a:cxn>
                  <a:cxn ang="0">
                    <a:pos x="107" y="125"/>
                  </a:cxn>
                  <a:cxn ang="0">
                    <a:pos x="136" y="93"/>
                  </a:cxn>
                  <a:cxn ang="0">
                    <a:pos x="164" y="60"/>
                  </a:cxn>
                  <a:cxn ang="0">
                    <a:pos x="145" y="62"/>
                  </a:cxn>
                  <a:cxn ang="0">
                    <a:pos x="145" y="53"/>
                  </a:cxn>
                  <a:cxn ang="0">
                    <a:pos x="153" y="51"/>
                  </a:cxn>
                  <a:cxn ang="0">
                    <a:pos x="176" y="55"/>
                  </a:cxn>
                  <a:cxn ang="0">
                    <a:pos x="176" y="41"/>
                  </a:cxn>
                  <a:cxn ang="0">
                    <a:pos x="191" y="36"/>
                  </a:cxn>
                  <a:cxn ang="0">
                    <a:pos x="212" y="36"/>
                  </a:cxn>
                  <a:cxn ang="0">
                    <a:pos x="241" y="19"/>
                  </a:cxn>
                  <a:cxn ang="0">
                    <a:pos x="251" y="5"/>
                  </a:cxn>
                  <a:cxn ang="0">
                    <a:pos x="274" y="7"/>
                  </a:cxn>
                  <a:cxn ang="0">
                    <a:pos x="289" y="10"/>
                  </a:cxn>
                  <a:cxn ang="0">
                    <a:pos x="306" y="8"/>
                  </a:cxn>
                  <a:cxn ang="0">
                    <a:pos x="329" y="7"/>
                  </a:cxn>
                  <a:cxn ang="0">
                    <a:pos x="349" y="7"/>
                  </a:cxn>
                  <a:cxn ang="0">
                    <a:pos x="344" y="27"/>
                  </a:cxn>
                  <a:cxn ang="0">
                    <a:pos x="355" y="38"/>
                  </a:cxn>
                  <a:cxn ang="0">
                    <a:pos x="339" y="63"/>
                  </a:cxn>
                  <a:cxn ang="0">
                    <a:pos x="351" y="89"/>
                  </a:cxn>
                  <a:cxn ang="0">
                    <a:pos x="353" y="132"/>
                  </a:cxn>
                  <a:cxn ang="0">
                    <a:pos x="363" y="160"/>
                  </a:cxn>
                  <a:cxn ang="0">
                    <a:pos x="370" y="182"/>
                  </a:cxn>
                  <a:cxn ang="0">
                    <a:pos x="342" y="232"/>
                  </a:cxn>
                  <a:cxn ang="0">
                    <a:pos x="301" y="252"/>
                  </a:cxn>
                  <a:cxn ang="0">
                    <a:pos x="255" y="261"/>
                  </a:cxn>
                  <a:cxn ang="0">
                    <a:pos x="232" y="230"/>
                  </a:cxn>
                  <a:cxn ang="0">
                    <a:pos x="227" y="203"/>
                  </a:cxn>
                  <a:cxn ang="0">
                    <a:pos x="263" y="168"/>
                  </a:cxn>
                  <a:cxn ang="0">
                    <a:pos x="289" y="137"/>
                  </a:cxn>
                  <a:cxn ang="0">
                    <a:pos x="250" y="132"/>
                  </a:cxn>
                  <a:cxn ang="0">
                    <a:pos x="232" y="158"/>
                  </a:cxn>
                  <a:cxn ang="0">
                    <a:pos x="207" y="184"/>
                  </a:cxn>
                  <a:cxn ang="0">
                    <a:pos x="174" y="218"/>
                  </a:cxn>
                  <a:cxn ang="0">
                    <a:pos x="174" y="247"/>
                  </a:cxn>
                  <a:cxn ang="0">
                    <a:pos x="196" y="266"/>
                  </a:cxn>
                  <a:cxn ang="0">
                    <a:pos x="176" y="287"/>
                  </a:cxn>
                  <a:cxn ang="0">
                    <a:pos x="162" y="313"/>
                  </a:cxn>
                  <a:cxn ang="0">
                    <a:pos x="160" y="335"/>
                  </a:cxn>
                  <a:cxn ang="0">
                    <a:pos x="140" y="345"/>
                  </a:cxn>
                  <a:cxn ang="0">
                    <a:pos x="115" y="362"/>
                  </a:cxn>
                  <a:cxn ang="0">
                    <a:pos x="105" y="338"/>
                  </a:cxn>
                  <a:cxn ang="0">
                    <a:pos x="95" y="306"/>
                  </a:cxn>
                  <a:cxn ang="0">
                    <a:pos x="88" y="278"/>
                  </a:cxn>
                </a:cxnLst>
                <a:rect l="0" t="0" r="r" b="b"/>
                <a:pathLst>
                  <a:path w="377" h="362">
                    <a:moveTo>
                      <a:pt x="88" y="280"/>
                    </a:moveTo>
                    <a:lnTo>
                      <a:pt x="81" y="275"/>
                    </a:lnTo>
                    <a:lnTo>
                      <a:pt x="78" y="268"/>
                    </a:lnTo>
                    <a:lnTo>
                      <a:pt x="66" y="278"/>
                    </a:lnTo>
                    <a:lnTo>
                      <a:pt x="55" y="290"/>
                    </a:lnTo>
                    <a:lnTo>
                      <a:pt x="43" y="299"/>
                    </a:lnTo>
                    <a:lnTo>
                      <a:pt x="29" y="302"/>
                    </a:lnTo>
                    <a:lnTo>
                      <a:pt x="23" y="299"/>
                    </a:lnTo>
                    <a:lnTo>
                      <a:pt x="16" y="295"/>
                    </a:lnTo>
                    <a:lnTo>
                      <a:pt x="7" y="290"/>
                    </a:lnTo>
                    <a:lnTo>
                      <a:pt x="5" y="289"/>
                    </a:lnTo>
                    <a:lnTo>
                      <a:pt x="9" y="283"/>
                    </a:lnTo>
                    <a:lnTo>
                      <a:pt x="14" y="280"/>
                    </a:lnTo>
                    <a:lnTo>
                      <a:pt x="14" y="273"/>
                    </a:lnTo>
                    <a:lnTo>
                      <a:pt x="7" y="273"/>
                    </a:lnTo>
                    <a:lnTo>
                      <a:pt x="2" y="277"/>
                    </a:lnTo>
                    <a:lnTo>
                      <a:pt x="4" y="270"/>
                    </a:lnTo>
                    <a:lnTo>
                      <a:pt x="9" y="263"/>
                    </a:lnTo>
                    <a:lnTo>
                      <a:pt x="4" y="254"/>
                    </a:lnTo>
                    <a:lnTo>
                      <a:pt x="2" y="246"/>
                    </a:lnTo>
                    <a:lnTo>
                      <a:pt x="0" y="235"/>
                    </a:lnTo>
                    <a:lnTo>
                      <a:pt x="0" y="227"/>
                    </a:lnTo>
                    <a:lnTo>
                      <a:pt x="4" y="218"/>
                    </a:lnTo>
                    <a:lnTo>
                      <a:pt x="12" y="215"/>
                    </a:lnTo>
                    <a:lnTo>
                      <a:pt x="21" y="203"/>
                    </a:lnTo>
                    <a:lnTo>
                      <a:pt x="35" y="197"/>
                    </a:lnTo>
                    <a:lnTo>
                      <a:pt x="40" y="192"/>
                    </a:lnTo>
                    <a:lnTo>
                      <a:pt x="45" y="187"/>
                    </a:lnTo>
                    <a:lnTo>
                      <a:pt x="52" y="184"/>
                    </a:lnTo>
                    <a:lnTo>
                      <a:pt x="64" y="184"/>
                    </a:lnTo>
                    <a:lnTo>
                      <a:pt x="57" y="182"/>
                    </a:lnTo>
                    <a:lnTo>
                      <a:pt x="52" y="180"/>
                    </a:lnTo>
                    <a:lnTo>
                      <a:pt x="66" y="173"/>
                    </a:lnTo>
                    <a:lnTo>
                      <a:pt x="78" y="165"/>
                    </a:lnTo>
                    <a:lnTo>
                      <a:pt x="86" y="154"/>
                    </a:lnTo>
                    <a:lnTo>
                      <a:pt x="98" y="146"/>
                    </a:lnTo>
                    <a:lnTo>
                      <a:pt x="100" y="139"/>
                    </a:lnTo>
                    <a:lnTo>
                      <a:pt x="103" y="132"/>
                    </a:lnTo>
                    <a:lnTo>
                      <a:pt x="103" y="127"/>
                    </a:lnTo>
                    <a:lnTo>
                      <a:pt x="107" y="125"/>
                    </a:lnTo>
                    <a:lnTo>
                      <a:pt x="109" y="118"/>
                    </a:lnTo>
                    <a:lnTo>
                      <a:pt x="112" y="113"/>
                    </a:lnTo>
                    <a:lnTo>
                      <a:pt x="122" y="99"/>
                    </a:lnTo>
                    <a:lnTo>
                      <a:pt x="136" y="93"/>
                    </a:lnTo>
                    <a:lnTo>
                      <a:pt x="143" y="86"/>
                    </a:lnTo>
                    <a:lnTo>
                      <a:pt x="152" y="77"/>
                    </a:lnTo>
                    <a:lnTo>
                      <a:pt x="158" y="68"/>
                    </a:lnTo>
                    <a:lnTo>
                      <a:pt x="164" y="60"/>
                    </a:lnTo>
                    <a:lnTo>
                      <a:pt x="148" y="65"/>
                    </a:lnTo>
                    <a:lnTo>
                      <a:pt x="134" y="70"/>
                    </a:lnTo>
                    <a:lnTo>
                      <a:pt x="138" y="65"/>
                    </a:lnTo>
                    <a:lnTo>
                      <a:pt x="145" y="62"/>
                    </a:lnTo>
                    <a:lnTo>
                      <a:pt x="138" y="60"/>
                    </a:lnTo>
                    <a:lnTo>
                      <a:pt x="136" y="60"/>
                    </a:lnTo>
                    <a:lnTo>
                      <a:pt x="138" y="55"/>
                    </a:lnTo>
                    <a:lnTo>
                      <a:pt x="145" y="53"/>
                    </a:lnTo>
                    <a:lnTo>
                      <a:pt x="148" y="55"/>
                    </a:lnTo>
                    <a:lnTo>
                      <a:pt x="150" y="50"/>
                    </a:lnTo>
                    <a:lnTo>
                      <a:pt x="153" y="48"/>
                    </a:lnTo>
                    <a:lnTo>
                      <a:pt x="153" y="51"/>
                    </a:lnTo>
                    <a:lnTo>
                      <a:pt x="153" y="56"/>
                    </a:lnTo>
                    <a:lnTo>
                      <a:pt x="162" y="58"/>
                    </a:lnTo>
                    <a:lnTo>
                      <a:pt x="170" y="62"/>
                    </a:lnTo>
                    <a:lnTo>
                      <a:pt x="176" y="55"/>
                    </a:lnTo>
                    <a:lnTo>
                      <a:pt x="179" y="50"/>
                    </a:lnTo>
                    <a:lnTo>
                      <a:pt x="176" y="48"/>
                    </a:lnTo>
                    <a:lnTo>
                      <a:pt x="172" y="48"/>
                    </a:lnTo>
                    <a:lnTo>
                      <a:pt x="176" y="41"/>
                    </a:lnTo>
                    <a:lnTo>
                      <a:pt x="184" y="39"/>
                    </a:lnTo>
                    <a:lnTo>
                      <a:pt x="188" y="39"/>
                    </a:lnTo>
                    <a:lnTo>
                      <a:pt x="193" y="39"/>
                    </a:lnTo>
                    <a:lnTo>
                      <a:pt x="191" y="36"/>
                    </a:lnTo>
                    <a:lnTo>
                      <a:pt x="189" y="36"/>
                    </a:lnTo>
                    <a:lnTo>
                      <a:pt x="198" y="29"/>
                    </a:lnTo>
                    <a:lnTo>
                      <a:pt x="212" y="29"/>
                    </a:lnTo>
                    <a:lnTo>
                      <a:pt x="212" y="36"/>
                    </a:lnTo>
                    <a:lnTo>
                      <a:pt x="219" y="27"/>
                    </a:lnTo>
                    <a:lnTo>
                      <a:pt x="231" y="22"/>
                    </a:lnTo>
                    <a:lnTo>
                      <a:pt x="231" y="29"/>
                    </a:lnTo>
                    <a:lnTo>
                      <a:pt x="241" y="19"/>
                    </a:lnTo>
                    <a:lnTo>
                      <a:pt x="255" y="15"/>
                    </a:lnTo>
                    <a:lnTo>
                      <a:pt x="248" y="12"/>
                    </a:lnTo>
                    <a:lnTo>
                      <a:pt x="246" y="10"/>
                    </a:lnTo>
                    <a:lnTo>
                      <a:pt x="251" y="5"/>
                    </a:lnTo>
                    <a:lnTo>
                      <a:pt x="258" y="1"/>
                    </a:lnTo>
                    <a:lnTo>
                      <a:pt x="262" y="7"/>
                    </a:lnTo>
                    <a:lnTo>
                      <a:pt x="269" y="10"/>
                    </a:lnTo>
                    <a:lnTo>
                      <a:pt x="274" y="7"/>
                    </a:lnTo>
                    <a:lnTo>
                      <a:pt x="284" y="3"/>
                    </a:lnTo>
                    <a:lnTo>
                      <a:pt x="291" y="0"/>
                    </a:lnTo>
                    <a:lnTo>
                      <a:pt x="294" y="3"/>
                    </a:lnTo>
                    <a:lnTo>
                      <a:pt x="289" y="10"/>
                    </a:lnTo>
                    <a:lnTo>
                      <a:pt x="284" y="20"/>
                    </a:lnTo>
                    <a:lnTo>
                      <a:pt x="294" y="13"/>
                    </a:lnTo>
                    <a:lnTo>
                      <a:pt x="306" y="5"/>
                    </a:lnTo>
                    <a:lnTo>
                      <a:pt x="306" y="8"/>
                    </a:lnTo>
                    <a:lnTo>
                      <a:pt x="308" y="13"/>
                    </a:lnTo>
                    <a:lnTo>
                      <a:pt x="318" y="5"/>
                    </a:lnTo>
                    <a:lnTo>
                      <a:pt x="329" y="0"/>
                    </a:lnTo>
                    <a:lnTo>
                      <a:pt x="329" y="7"/>
                    </a:lnTo>
                    <a:lnTo>
                      <a:pt x="334" y="12"/>
                    </a:lnTo>
                    <a:lnTo>
                      <a:pt x="336" y="5"/>
                    </a:lnTo>
                    <a:lnTo>
                      <a:pt x="341" y="3"/>
                    </a:lnTo>
                    <a:lnTo>
                      <a:pt x="349" y="7"/>
                    </a:lnTo>
                    <a:lnTo>
                      <a:pt x="358" y="12"/>
                    </a:lnTo>
                    <a:lnTo>
                      <a:pt x="349" y="20"/>
                    </a:lnTo>
                    <a:lnTo>
                      <a:pt x="337" y="24"/>
                    </a:lnTo>
                    <a:lnTo>
                      <a:pt x="344" y="27"/>
                    </a:lnTo>
                    <a:lnTo>
                      <a:pt x="348" y="31"/>
                    </a:lnTo>
                    <a:lnTo>
                      <a:pt x="355" y="32"/>
                    </a:lnTo>
                    <a:lnTo>
                      <a:pt x="363" y="34"/>
                    </a:lnTo>
                    <a:lnTo>
                      <a:pt x="355" y="38"/>
                    </a:lnTo>
                    <a:lnTo>
                      <a:pt x="348" y="44"/>
                    </a:lnTo>
                    <a:lnTo>
                      <a:pt x="339" y="50"/>
                    </a:lnTo>
                    <a:lnTo>
                      <a:pt x="337" y="60"/>
                    </a:lnTo>
                    <a:lnTo>
                      <a:pt x="339" y="63"/>
                    </a:lnTo>
                    <a:lnTo>
                      <a:pt x="346" y="68"/>
                    </a:lnTo>
                    <a:lnTo>
                      <a:pt x="353" y="72"/>
                    </a:lnTo>
                    <a:lnTo>
                      <a:pt x="356" y="80"/>
                    </a:lnTo>
                    <a:lnTo>
                      <a:pt x="351" y="89"/>
                    </a:lnTo>
                    <a:lnTo>
                      <a:pt x="348" y="101"/>
                    </a:lnTo>
                    <a:lnTo>
                      <a:pt x="351" y="113"/>
                    </a:lnTo>
                    <a:lnTo>
                      <a:pt x="356" y="125"/>
                    </a:lnTo>
                    <a:lnTo>
                      <a:pt x="353" y="132"/>
                    </a:lnTo>
                    <a:lnTo>
                      <a:pt x="351" y="141"/>
                    </a:lnTo>
                    <a:lnTo>
                      <a:pt x="353" y="146"/>
                    </a:lnTo>
                    <a:lnTo>
                      <a:pt x="358" y="153"/>
                    </a:lnTo>
                    <a:lnTo>
                      <a:pt x="363" y="160"/>
                    </a:lnTo>
                    <a:lnTo>
                      <a:pt x="367" y="166"/>
                    </a:lnTo>
                    <a:lnTo>
                      <a:pt x="363" y="170"/>
                    </a:lnTo>
                    <a:lnTo>
                      <a:pt x="361" y="173"/>
                    </a:lnTo>
                    <a:lnTo>
                      <a:pt x="370" y="182"/>
                    </a:lnTo>
                    <a:lnTo>
                      <a:pt x="377" y="194"/>
                    </a:lnTo>
                    <a:lnTo>
                      <a:pt x="370" y="206"/>
                    </a:lnTo>
                    <a:lnTo>
                      <a:pt x="358" y="220"/>
                    </a:lnTo>
                    <a:lnTo>
                      <a:pt x="342" y="232"/>
                    </a:lnTo>
                    <a:lnTo>
                      <a:pt x="332" y="244"/>
                    </a:lnTo>
                    <a:lnTo>
                      <a:pt x="324" y="249"/>
                    </a:lnTo>
                    <a:lnTo>
                      <a:pt x="313" y="252"/>
                    </a:lnTo>
                    <a:lnTo>
                      <a:pt x="301" y="252"/>
                    </a:lnTo>
                    <a:lnTo>
                      <a:pt x="294" y="254"/>
                    </a:lnTo>
                    <a:lnTo>
                      <a:pt x="277" y="259"/>
                    </a:lnTo>
                    <a:lnTo>
                      <a:pt x="263" y="263"/>
                    </a:lnTo>
                    <a:lnTo>
                      <a:pt x="255" y="261"/>
                    </a:lnTo>
                    <a:lnTo>
                      <a:pt x="251" y="256"/>
                    </a:lnTo>
                    <a:lnTo>
                      <a:pt x="236" y="251"/>
                    </a:lnTo>
                    <a:lnTo>
                      <a:pt x="231" y="237"/>
                    </a:lnTo>
                    <a:lnTo>
                      <a:pt x="232" y="230"/>
                    </a:lnTo>
                    <a:lnTo>
                      <a:pt x="238" y="227"/>
                    </a:lnTo>
                    <a:lnTo>
                      <a:pt x="229" y="218"/>
                    </a:lnTo>
                    <a:lnTo>
                      <a:pt x="227" y="208"/>
                    </a:lnTo>
                    <a:lnTo>
                      <a:pt x="227" y="203"/>
                    </a:lnTo>
                    <a:lnTo>
                      <a:pt x="227" y="197"/>
                    </a:lnTo>
                    <a:lnTo>
                      <a:pt x="241" y="192"/>
                    </a:lnTo>
                    <a:lnTo>
                      <a:pt x="253" y="182"/>
                    </a:lnTo>
                    <a:lnTo>
                      <a:pt x="263" y="168"/>
                    </a:lnTo>
                    <a:lnTo>
                      <a:pt x="274" y="161"/>
                    </a:lnTo>
                    <a:lnTo>
                      <a:pt x="286" y="154"/>
                    </a:lnTo>
                    <a:lnTo>
                      <a:pt x="293" y="146"/>
                    </a:lnTo>
                    <a:lnTo>
                      <a:pt x="289" y="137"/>
                    </a:lnTo>
                    <a:lnTo>
                      <a:pt x="282" y="134"/>
                    </a:lnTo>
                    <a:lnTo>
                      <a:pt x="272" y="132"/>
                    </a:lnTo>
                    <a:lnTo>
                      <a:pt x="263" y="132"/>
                    </a:lnTo>
                    <a:lnTo>
                      <a:pt x="250" y="132"/>
                    </a:lnTo>
                    <a:lnTo>
                      <a:pt x="241" y="136"/>
                    </a:lnTo>
                    <a:lnTo>
                      <a:pt x="234" y="141"/>
                    </a:lnTo>
                    <a:lnTo>
                      <a:pt x="232" y="151"/>
                    </a:lnTo>
                    <a:lnTo>
                      <a:pt x="232" y="158"/>
                    </a:lnTo>
                    <a:lnTo>
                      <a:pt x="232" y="163"/>
                    </a:lnTo>
                    <a:lnTo>
                      <a:pt x="227" y="170"/>
                    </a:lnTo>
                    <a:lnTo>
                      <a:pt x="219" y="179"/>
                    </a:lnTo>
                    <a:lnTo>
                      <a:pt x="207" y="184"/>
                    </a:lnTo>
                    <a:lnTo>
                      <a:pt x="198" y="191"/>
                    </a:lnTo>
                    <a:lnTo>
                      <a:pt x="184" y="196"/>
                    </a:lnTo>
                    <a:lnTo>
                      <a:pt x="176" y="208"/>
                    </a:lnTo>
                    <a:lnTo>
                      <a:pt x="174" y="218"/>
                    </a:lnTo>
                    <a:lnTo>
                      <a:pt x="169" y="228"/>
                    </a:lnTo>
                    <a:lnTo>
                      <a:pt x="169" y="237"/>
                    </a:lnTo>
                    <a:lnTo>
                      <a:pt x="172" y="242"/>
                    </a:lnTo>
                    <a:lnTo>
                      <a:pt x="174" y="247"/>
                    </a:lnTo>
                    <a:lnTo>
                      <a:pt x="179" y="249"/>
                    </a:lnTo>
                    <a:lnTo>
                      <a:pt x="188" y="254"/>
                    </a:lnTo>
                    <a:lnTo>
                      <a:pt x="193" y="259"/>
                    </a:lnTo>
                    <a:lnTo>
                      <a:pt x="196" y="266"/>
                    </a:lnTo>
                    <a:lnTo>
                      <a:pt x="193" y="271"/>
                    </a:lnTo>
                    <a:lnTo>
                      <a:pt x="188" y="278"/>
                    </a:lnTo>
                    <a:lnTo>
                      <a:pt x="179" y="283"/>
                    </a:lnTo>
                    <a:lnTo>
                      <a:pt x="176" y="287"/>
                    </a:lnTo>
                    <a:lnTo>
                      <a:pt x="169" y="289"/>
                    </a:lnTo>
                    <a:lnTo>
                      <a:pt x="164" y="295"/>
                    </a:lnTo>
                    <a:lnTo>
                      <a:pt x="162" y="304"/>
                    </a:lnTo>
                    <a:lnTo>
                      <a:pt x="162" y="313"/>
                    </a:lnTo>
                    <a:lnTo>
                      <a:pt x="164" y="320"/>
                    </a:lnTo>
                    <a:lnTo>
                      <a:pt x="169" y="321"/>
                    </a:lnTo>
                    <a:lnTo>
                      <a:pt x="164" y="328"/>
                    </a:lnTo>
                    <a:lnTo>
                      <a:pt x="160" y="335"/>
                    </a:lnTo>
                    <a:lnTo>
                      <a:pt x="155" y="338"/>
                    </a:lnTo>
                    <a:lnTo>
                      <a:pt x="153" y="345"/>
                    </a:lnTo>
                    <a:lnTo>
                      <a:pt x="145" y="345"/>
                    </a:lnTo>
                    <a:lnTo>
                      <a:pt x="140" y="345"/>
                    </a:lnTo>
                    <a:lnTo>
                      <a:pt x="133" y="347"/>
                    </a:lnTo>
                    <a:lnTo>
                      <a:pt x="129" y="354"/>
                    </a:lnTo>
                    <a:lnTo>
                      <a:pt x="122" y="359"/>
                    </a:lnTo>
                    <a:lnTo>
                      <a:pt x="115" y="362"/>
                    </a:lnTo>
                    <a:lnTo>
                      <a:pt x="112" y="357"/>
                    </a:lnTo>
                    <a:lnTo>
                      <a:pt x="109" y="350"/>
                    </a:lnTo>
                    <a:lnTo>
                      <a:pt x="105" y="342"/>
                    </a:lnTo>
                    <a:lnTo>
                      <a:pt x="105" y="338"/>
                    </a:lnTo>
                    <a:lnTo>
                      <a:pt x="105" y="335"/>
                    </a:lnTo>
                    <a:lnTo>
                      <a:pt x="105" y="333"/>
                    </a:lnTo>
                    <a:lnTo>
                      <a:pt x="97" y="320"/>
                    </a:lnTo>
                    <a:lnTo>
                      <a:pt x="95" y="306"/>
                    </a:lnTo>
                    <a:lnTo>
                      <a:pt x="88" y="297"/>
                    </a:lnTo>
                    <a:lnTo>
                      <a:pt x="85" y="287"/>
                    </a:lnTo>
                    <a:lnTo>
                      <a:pt x="86" y="282"/>
                    </a:lnTo>
                    <a:lnTo>
                      <a:pt x="88" y="278"/>
                    </a:lnTo>
                    <a:lnTo>
                      <a:pt x="88" y="2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1" name="Freeform 257"/>
              <p:cNvSpPr>
                <a:spLocks/>
              </p:cNvSpPr>
              <p:nvPr/>
            </p:nvSpPr>
            <p:spPr bwMode="auto">
              <a:xfrm>
                <a:off x="4763294" y="1717675"/>
                <a:ext cx="3906838" cy="1449387"/>
              </a:xfrm>
              <a:custGeom>
                <a:avLst/>
                <a:gdLst/>
                <a:ahLst/>
                <a:cxnLst>
                  <a:cxn ang="0">
                    <a:pos x="1720" y="708"/>
                  </a:cxn>
                  <a:cxn ang="0">
                    <a:pos x="1734" y="571"/>
                  </a:cxn>
                  <a:cxn ang="0">
                    <a:pos x="1744" y="488"/>
                  </a:cxn>
                  <a:cxn ang="0">
                    <a:pos x="1906" y="464"/>
                  </a:cxn>
                  <a:cxn ang="0">
                    <a:pos x="2002" y="416"/>
                  </a:cxn>
                  <a:cxn ang="0">
                    <a:pos x="2086" y="409"/>
                  </a:cxn>
                  <a:cxn ang="0">
                    <a:pos x="1976" y="507"/>
                  </a:cxn>
                  <a:cxn ang="0">
                    <a:pos x="2011" y="584"/>
                  </a:cxn>
                  <a:cxn ang="0">
                    <a:pos x="2091" y="452"/>
                  </a:cxn>
                  <a:cxn ang="0">
                    <a:pos x="2257" y="399"/>
                  </a:cxn>
                  <a:cxn ang="0">
                    <a:pos x="2324" y="328"/>
                  </a:cxn>
                  <a:cxn ang="0">
                    <a:pos x="2425" y="333"/>
                  </a:cxn>
                  <a:cxn ang="0">
                    <a:pos x="2355" y="261"/>
                  </a:cxn>
                  <a:cxn ang="0">
                    <a:pos x="2177" y="234"/>
                  </a:cxn>
                  <a:cxn ang="0">
                    <a:pos x="1978" y="184"/>
                  </a:cxn>
                  <a:cxn ang="0">
                    <a:pos x="1835" y="143"/>
                  </a:cxn>
                  <a:cxn ang="0">
                    <a:pos x="1696" y="179"/>
                  </a:cxn>
                  <a:cxn ang="0">
                    <a:pos x="1582" y="173"/>
                  </a:cxn>
                  <a:cxn ang="0">
                    <a:pos x="1436" y="130"/>
                  </a:cxn>
                  <a:cxn ang="0">
                    <a:pos x="1266" y="122"/>
                  </a:cxn>
                  <a:cxn ang="0">
                    <a:pos x="1233" y="2"/>
                  </a:cxn>
                  <a:cxn ang="0">
                    <a:pos x="1106" y="48"/>
                  </a:cxn>
                  <a:cxn ang="0">
                    <a:pos x="958" y="106"/>
                  </a:cxn>
                  <a:cxn ang="0">
                    <a:pos x="863" y="156"/>
                  </a:cxn>
                  <a:cxn ang="0">
                    <a:pos x="790" y="148"/>
                  </a:cxn>
                  <a:cxn ang="0">
                    <a:pos x="769" y="251"/>
                  </a:cxn>
                  <a:cxn ang="0">
                    <a:pos x="731" y="137"/>
                  </a:cxn>
                  <a:cxn ang="0">
                    <a:pos x="704" y="256"/>
                  </a:cxn>
                  <a:cxn ang="0">
                    <a:pos x="585" y="247"/>
                  </a:cxn>
                  <a:cxn ang="0">
                    <a:pos x="470" y="247"/>
                  </a:cxn>
                  <a:cxn ang="0">
                    <a:pos x="363" y="247"/>
                  </a:cxn>
                  <a:cxn ang="0">
                    <a:pos x="294" y="335"/>
                  </a:cxn>
                  <a:cxn ang="0">
                    <a:pos x="237" y="311"/>
                  </a:cxn>
                  <a:cxn ang="0">
                    <a:pos x="225" y="244"/>
                  </a:cxn>
                  <a:cxn ang="0">
                    <a:pos x="136" y="259"/>
                  </a:cxn>
                  <a:cxn ang="0">
                    <a:pos x="153" y="361"/>
                  </a:cxn>
                  <a:cxn ang="0">
                    <a:pos x="107" y="464"/>
                  </a:cxn>
                  <a:cxn ang="0">
                    <a:pos x="41" y="500"/>
                  </a:cxn>
                  <a:cxn ang="0">
                    <a:pos x="45" y="567"/>
                  </a:cxn>
                  <a:cxn ang="0">
                    <a:pos x="43" y="688"/>
                  </a:cxn>
                  <a:cxn ang="0">
                    <a:pos x="124" y="734"/>
                  </a:cxn>
                  <a:cxn ang="0">
                    <a:pos x="212" y="755"/>
                  </a:cxn>
                  <a:cxn ang="0">
                    <a:pos x="253" y="713"/>
                  </a:cxn>
                  <a:cxn ang="0">
                    <a:pos x="270" y="765"/>
                  </a:cxn>
                  <a:cxn ang="0">
                    <a:pos x="353" y="829"/>
                  </a:cxn>
                  <a:cxn ang="0">
                    <a:pos x="415" y="851"/>
                  </a:cxn>
                  <a:cxn ang="0">
                    <a:pos x="403" y="727"/>
                  </a:cxn>
                  <a:cxn ang="0">
                    <a:pos x="492" y="729"/>
                  </a:cxn>
                  <a:cxn ang="0">
                    <a:pos x="473" y="811"/>
                  </a:cxn>
                  <a:cxn ang="0">
                    <a:pos x="494" y="880"/>
                  </a:cxn>
                  <a:cxn ang="0">
                    <a:pos x="599" y="889"/>
                  </a:cxn>
                  <a:cxn ang="0">
                    <a:pos x="666" y="875"/>
                  </a:cxn>
                  <a:cxn ang="0">
                    <a:pos x="747" y="872"/>
                  </a:cxn>
                  <a:cxn ang="0">
                    <a:pos x="798" y="825"/>
                  </a:cxn>
                  <a:cxn ang="0">
                    <a:pos x="932" y="710"/>
                  </a:cxn>
                  <a:cxn ang="0">
                    <a:pos x="1030" y="648"/>
                  </a:cxn>
                  <a:cxn ang="0">
                    <a:pos x="1152" y="612"/>
                  </a:cxn>
                  <a:cxn ang="0">
                    <a:pos x="1268" y="653"/>
                  </a:cxn>
                  <a:cxn ang="0">
                    <a:pos x="1422" y="653"/>
                  </a:cxn>
                  <a:cxn ang="0">
                    <a:pos x="1546" y="629"/>
                  </a:cxn>
                  <a:cxn ang="0">
                    <a:pos x="1649" y="682"/>
                  </a:cxn>
                  <a:cxn ang="0">
                    <a:pos x="1610" y="780"/>
                  </a:cxn>
                </a:cxnLst>
                <a:rect l="0" t="0" r="r" b="b"/>
                <a:pathLst>
                  <a:path w="2461" h="913">
                    <a:moveTo>
                      <a:pt x="1608" y="786"/>
                    </a:moveTo>
                    <a:lnTo>
                      <a:pt x="1612" y="786"/>
                    </a:lnTo>
                    <a:lnTo>
                      <a:pt x="1620" y="787"/>
                    </a:lnTo>
                    <a:lnTo>
                      <a:pt x="1631" y="789"/>
                    </a:lnTo>
                    <a:lnTo>
                      <a:pt x="1644" y="791"/>
                    </a:lnTo>
                    <a:lnTo>
                      <a:pt x="1653" y="787"/>
                    </a:lnTo>
                    <a:lnTo>
                      <a:pt x="1663" y="780"/>
                    </a:lnTo>
                    <a:lnTo>
                      <a:pt x="1674" y="768"/>
                    </a:lnTo>
                    <a:lnTo>
                      <a:pt x="1684" y="756"/>
                    </a:lnTo>
                    <a:lnTo>
                      <a:pt x="1692" y="743"/>
                    </a:lnTo>
                    <a:lnTo>
                      <a:pt x="1703" y="729"/>
                    </a:lnTo>
                    <a:lnTo>
                      <a:pt x="1711" y="717"/>
                    </a:lnTo>
                    <a:lnTo>
                      <a:pt x="1720" y="708"/>
                    </a:lnTo>
                    <a:lnTo>
                      <a:pt x="1725" y="700"/>
                    </a:lnTo>
                    <a:lnTo>
                      <a:pt x="1734" y="691"/>
                    </a:lnTo>
                    <a:lnTo>
                      <a:pt x="1737" y="681"/>
                    </a:lnTo>
                    <a:lnTo>
                      <a:pt x="1742" y="670"/>
                    </a:lnTo>
                    <a:lnTo>
                      <a:pt x="1742" y="660"/>
                    </a:lnTo>
                    <a:lnTo>
                      <a:pt x="1742" y="652"/>
                    </a:lnTo>
                    <a:lnTo>
                      <a:pt x="1742" y="641"/>
                    </a:lnTo>
                    <a:lnTo>
                      <a:pt x="1748" y="633"/>
                    </a:lnTo>
                    <a:lnTo>
                      <a:pt x="1753" y="621"/>
                    </a:lnTo>
                    <a:lnTo>
                      <a:pt x="1758" y="605"/>
                    </a:lnTo>
                    <a:lnTo>
                      <a:pt x="1753" y="591"/>
                    </a:lnTo>
                    <a:lnTo>
                      <a:pt x="1744" y="579"/>
                    </a:lnTo>
                    <a:lnTo>
                      <a:pt x="1734" y="571"/>
                    </a:lnTo>
                    <a:lnTo>
                      <a:pt x="1725" y="572"/>
                    </a:lnTo>
                    <a:lnTo>
                      <a:pt x="1713" y="578"/>
                    </a:lnTo>
                    <a:lnTo>
                      <a:pt x="1705" y="578"/>
                    </a:lnTo>
                    <a:lnTo>
                      <a:pt x="1694" y="576"/>
                    </a:lnTo>
                    <a:lnTo>
                      <a:pt x="1689" y="574"/>
                    </a:lnTo>
                    <a:lnTo>
                      <a:pt x="1680" y="562"/>
                    </a:lnTo>
                    <a:lnTo>
                      <a:pt x="1679" y="557"/>
                    </a:lnTo>
                    <a:lnTo>
                      <a:pt x="1682" y="545"/>
                    </a:lnTo>
                    <a:lnTo>
                      <a:pt x="1692" y="535"/>
                    </a:lnTo>
                    <a:lnTo>
                      <a:pt x="1705" y="524"/>
                    </a:lnTo>
                    <a:lnTo>
                      <a:pt x="1717" y="516"/>
                    </a:lnTo>
                    <a:lnTo>
                      <a:pt x="1729" y="502"/>
                    </a:lnTo>
                    <a:lnTo>
                      <a:pt x="1744" y="488"/>
                    </a:lnTo>
                    <a:lnTo>
                      <a:pt x="1760" y="474"/>
                    </a:lnTo>
                    <a:lnTo>
                      <a:pt x="1775" y="468"/>
                    </a:lnTo>
                    <a:lnTo>
                      <a:pt x="1784" y="464"/>
                    </a:lnTo>
                    <a:lnTo>
                      <a:pt x="1796" y="464"/>
                    </a:lnTo>
                    <a:lnTo>
                      <a:pt x="1809" y="461"/>
                    </a:lnTo>
                    <a:lnTo>
                      <a:pt x="1825" y="461"/>
                    </a:lnTo>
                    <a:lnTo>
                      <a:pt x="1837" y="459"/>
                    </a:lnTo>
                    <a:lnTo>
                      <a:pt x="1851" y="457"/>
                    </a:lnTo>
                    <a:lnTo>
                      <a:pt x="1861" y="457"/>
                    </a:lnTo>
                    <a:lnTo>
                      <a:pt x="1871" y="457"/>
                    </a:lnTo>
                    <a:lnTo>
                      <a:pt x="1885" y="457"/>
                    </a:lnTo>
                    <a:lnTo>
                      <a:pt x="1895" y="462"/>
                    </a:lnTo>
                    <a:lnTo>
                      <a:pt x="1906" y="464"/>
                    </a:lnTo>
                    <a:lnTo>
                      <a:pt x="1916" y="468"/>
                    </a:lnTo>
                    <a:lnTo>
                      <a:pt x="1920" y="468"/>
                    </a:lnTo>
                    <a:lnTo>
                      <a:pt x="1925" y="468"/>
                    </a:lnTo>
                    <a:lnTo>
                      <a:pt x="1932" y="468"/>
                    </a:lnTo>
                    <a:lnTo>
                      <a:pt x="1944" y="468"/>
                    </a:lnTo>
                    <a:lnTo>
                      <a:pt x="1945" y="454"/>
                    </a:lnTo>
                    <a:lnTo>
                      <a:pt x="1949" y="445"/>
                    </a:lnTo>
                    <a:lnTo>
                      <a:pt x="1954" y="435"/>
                    </a:lnTo>
                    <a:lnTo>
                      <a:pt x="1961" y="428"/>
                    </a:lnTo>
                    <a:lnTo>
                      <a:pt x="1968" y="421"/>
                    </a:lnTo>
                    <a:lnTo>
                      <a:pt x="1978" y="418"/>
                    </a:lnTo>
                    <a:lnTo>
                      <a:pt x="1988" y="416"/>
                    </a:lnTo>
                    <a:lnTo>
                      <a:pt x="2002" y="416"/>
                    </a:lnTo>
                    <a:lnTo>
                      <a:pt x="2007" y="414"/>
                    </a:lnTo>
                    <a:lnTo>
                      <a:pt x="2012" y="414"/>
                    </a:lnTo>
                    <a:lnTo>
                      <a:pt x="2019" y="414"/>
                    </a:lnTo>
                    <a:lnTo>
                      <a:pt x="2031" y="416"/>
                    </a:lnTo>
                    <a:lnTo>
                      <a:pt x="2024" y="423"/>
                    </a:lnTo>
                    <a:lnTo>
                      <a:pt x="2028" y="433"/>
                    </a:lnTo>
                    <a:lnTo>
                      <a:pt x="2031" y="433"/>
                    </a:lnTo>
                    <a:lnTo>
                      <a:pt x="2042" y="428"/>
                    </a:lnTo>
                    <a:lnTo>
                      <a:pt x="2055" y="416"/>
                    </a:lnTo>
                    <a:lnTo>
                      <a:pt x="2074" y="397"/>
                    </a:lnTo>
                    <a:lnTo>
                      <a:pt x="2081" y="397"/>
                    </a:lnTo>
                    <a:lnTo>
                      <a:pt x="2088" y="404"/>
                    </a:lnTo>
                    <a:lnTo>
                      <a:pt x="2086" y="409"/>
                    </a:lnTo>
                    <a:lnTo>
                      <a:pt x="2085" y="416"/>
                    </a:lnTo>
                    <a:lnTo>
                      <a:pt x="2078" y="423"/>
                    </a:lnTo>
                    <a:lnTo>
                      <a:pt x="2067" y="433"/>
                    </a:lnTo>
                    <a:lnTo>
                      <a:pt x="2057" y="437"/>
                    </a:lnTo>
                    <a:lnTo>
                      <a:pt x="2047" y="438"/>
                    </a:lnTo>
                    <a:lnTo>
                      <a:pt x="2038" y="442"/>
                    </a:lnTo>
                    <a:lnTo>
                      <a:pt x="2031" y="450"/>
                    </a:lnTo>
                    <a:lnTo>
                      <a:pt x="2023" y="461"/>
                    </a:lnTo>
                    <a:lnTo>
                      <a:pt x="2016" y="474"/>
                    </a:lnTo>
                    <a:lnTo>
                      <a:pt x="2005" y="483"/>
                    </a:lnTo>
                    <a:lnTo>
                      <a:pt x="1997" y="493"/>
                    </a:lnTo>
                    <a:lnTo>
                      <a:pt x="1985" y="498"/>
                    </a:lnTo>
                    <a:lnTo>
                      <a:pt x="1976" y="507"/>
                    </a:lnTo>
                    <a:lnTo>
                      <a:pt x="1968" y="517"/>
                    </a:lnTo>
                    <a:lnTo>
                      <a:pt x="1966" y="535"/>
                    </a:lnTo>
                    <a:lnTo>
                      <a:pt x="1966" y="541"/>
                    </a:lnTo>
                    <a:lnTo>
                      <a:pt x="1966" y="553"/>
                    </a:lnTo>
                    <a:lnTo>
                      <a:pt x="1968" y="567"/>
                    </a:lnTo>
                    <a:lnTo>
                      <a:pt x="1971" y="583"/>
                    </a:lnTo>
                    <a:lnTo>
                      <a:pt x="1973" y="595"/>
                    </a:lnTo>
                    <a:lnTo>
                      <a:pt x="1976" y="609"/>
                    </a:lnTo>
                    <a:lnTo>
                      <a:pt x="1981" y="617"/>
                    </a:lnTo>
                    <a:lnTo>
                      <a:pt x="1987" y="626"/>
                    </a:lnTo>
                    <a:lnTo>
                      <a:pt x="1993" y="610"/>
                    </a:lnTo>
                    <a:lnTo>
                      <a:pt x="2000" y="596"/>
                    </a:lnTo>
                    <a:lnTo>
                      <a:pt x="2011" y="584"/>
                    </a:lnTo>
                    <a:lnTo>
                      <a:pt x="2024" y="578"/>
                    </a:lnTo>
                    <a:lnTo>
                      <a:pt x="2026" y="567"/>
                    </a:lnTo>
                    <a:lnTo>
                      <a:pt x="2033" y="562"/>
                    </a:lnTo>
                    <a:lnTo>
                      <a:pt x="2040" y="555"/>
                    </a:lnTo>
                    <a:lnTo>
                      <a:pt x="2045" y="550"/>
                    </a:lnTo>
                    <a:lnTo>
                      <a:pt x="2047" y="538"/>
                    </a:lnTo>
                    <a:lnTo>
                      <a:pt x="2054" y="531"/>
                    </a:lnTo>
                    <a:lnTo>
                      <a:pt x="2059" y="524"/>
                    </a:lnTo>
                    <a:lnTo>
                      <a:pt x="2062" y="519"/>
                    </a:lnTo>
                    <a:lnTo>
                      <a:pt x="2059" y="509"/>
                    </a:lnTo>
                    <a:lnTo>
                      <a:pt x="2062" y="497"/>
                    </a:lnTo>
                    <a:lnTo>
                      <a:pt x="2076" y="469"/>
                    </a:lnTo>
                    <a:lnTo>
                      <a:pt x="2091" y="452"/>
                    </a:lnTo>
                    <a:lnTo>
                      <a:pt x="2105" y="443"/>
                    </a:lnTo>
                    <a:lnTo>
                      <a:pt x="2119" y="442"/>
                    </a:lnTo>
                    <a:lnTo>
                      <a:pt x="2129" y="443"/>
                    </a:lnTo>
                    <a:lnTo>
                      <a:pt x="2140" y="449"/>
                    </a:lnTo>
                    <a:lnTo>
                      <a:pt x="2148" y="452"/>
                    </a:lnTo>
                    <a:lnTo>
                      <a:pt x="2157" y="455"/>
                    </a:lnTo>
                    <a:lnTo>
                      <a:pt x="2172" y="452"/>
                    </a:lnTo>
                    <a:lnTo>
                      <a:pt x="2188" y="445"/>
                    </a:lnTo>
                    <a:lnTo>
                      <a:pt x="2202" y="435"/>
                    </a:lnTo>
                    <a:lnTo>
                      <a:pt x="2217" y="426"/>
                    </a:lnTo>
                    <a:lnTo>
                      <a:pt x="2229" y="414"/>
                    </a:lnTo>
                    <a:lnTo>
                      <a:pt x="2243" y="406"/>
                    </a:lnTo>
                    <a:lnTo>
                      <a:pt x="2257" y="399"/>
                    </a:lnTo>
                    <a:lnTo>
                      <a:pt x="2272" y="397"/>
                    </a:lnTo>
                    <a:lnTo>
                      <a:pt x="2293" y="394"/>
                    </a:lnTo>
                    <a:lnTo>
                      <a:pt x="2305" y="390"/>
                    </a:lnTo>
                    <a:lnTo>
                      <a:pt x="2308" y="385"/>
                    </a:lnTo>
                    <a:lnTo>
                      <a:pt x="2308" y="380"/>
                    </a:lnTo>
                    <a:lnTo>
                      <a:pt x="2301" y="373"/>
                    </a:lnTo>
                    <a:lnTo>
                      <a:pt x="2294" y="366"/>
                    </a:lnTo>
                    <a:lnTo>
                      <a:pt x="2289" y="361"/>
                    </a:lnTo>
                    <a:lnTo>
                      <a:pt x="2288" y="359"/>
                    </a:lnTo>
                    <a:lnTo>
                      <a:pt x="2291" y="345"/>
                    </a:lnTo>
                    <a:lnTo>
                      <a:pt x="2303" y="339"/>
                    </a:lnTo>
                    <a:lnTo>
                      <a:pt x="2313" y="333"/>
                    </a:lnTo>
                    <a:lnTo>
                      <a:pt x="2324" y="328"/>
                    </a:lnTo>
                    <a:lnTo>
                      <a:pt x="2324" y="316"/>
                    </a:lnTo>
                    <a:lnTo>
                      <a:pt x="2331" y="311"/>
                    </a:lnTo>
                    <a:lnTo>
                      <a:pt x="2341" y="311"/>
                    </a:lnTo>
                    <a:lnTo>
                      <a:pt x="2353" y="316"/>
                    </a:lnTo>
                    <a:lnTo>
                      <a:pt x="2363" y="323"/>
                    </a:lnTo>
                    <a:lnTo>
                      <a:pt x="2374" y="332"/>
                    </a:lnTo>
                    <a:lnTo>
                      <a:pt x="2382" y="339"/>
                    </a:lnTo>
                    <a:lnTo>
                      <a:pt x="2392" y="345"/>
                    </a:lnTo>
                    <a:lnTo>
                      <a:pt x="2403" y="351"/>
                    </a:lnTo>
                    <a:lnTo>
                      <a:pt x="2413" y="354"/>
                    </a:lnTo>
                    <a:lnTo>
                      <a:pt x="2417" y="351"/>
                    </a:lnTo>
                    <a:lnTo>
                      <a:pt x="2422" y="344"/>
                    </a:lnTo>
                    <a:lnTo>
                      <a:pt x="2425" y="333"/>
                    </a:lnTo>
                    <a:lnTo>
                      <a:pt x="2430" y="328"/>
                    </a:lnTo>
                    <a:lnTo>
                      <a:pt x="2435" y="321"/>
                    </a:lnTo>
                    <a:lnTo>
                      <a:pt x="2442" y="320"/>
                    </a:lnTo>
                    <a:lnTo>
                      <a:pt x="2451" y="316"/>
                    </a:lnTo>
                    <a:lnTo>
                      <a:pt x="2461" y="314"/>
                    </a:lnTo>
                    <a:lnTo>
                      <a:pt x="2451" y="304"/>
                    </a:lnTo>
                    <a:lnTo>
                      <a:pt x="2439" y="297"/>
                    </a:lnTo>
                    <a:lnTo>
                      <a:pt x="2425" y="289"/>
                    </a:lnTo>
                    <a:lnTo>
                      <a:pt x="2411" y="284"/>
                    </a:lnTo>
                    <a:lnTo>
                      <a:pt x="2394" y="277"/>
                    </a:lnTo>
                    <a:lnTo>
                      <a:pt x="2380" y="271"/>
                    </a:lnTo>
                    <a:lnTo>
                      <a:pt x="2365" y="266"/>
                    </a:lnTo>
                    <a:lnTo>
                      <a:pt x="2355" y="261"/>
                    </a:lnTo>
                    <a:lnTo>
                      <a:pt x="2337" y="251"/>
                    </a:lnTo>
                    <a:lnTo>
                      <a:pt x="2320" y="242"/>
                    </a:lnTo>
                    <a:lnTo>
                      <a:pt x="2301" y="234"/>
                    </a:lnTo>
                    <a:lnTo>
                      <a:pt x="2284" y="227"/>
                    </a:lnTo>
                    <a:lnTo>
                      <a:pt x="2263" y="220"/>
                    </a:lnTo>
                    <a:lnTo>
                      <a:pt x="2243" y="216"/>
                    </a:lnTo>
                    <a:lnTo>
                      <a:pt x="2222" y="213"/>
                    </a:lnTo>
                    <a:lnTo>
                      <a:pt x="2202" y="213"/>
                    </a:lnTo>
                    <a:lnTo>
                      <a:pt x="2190" y="213"/>
                    </a:lnTo>
                    <a:lnTo>
                      <a:pt x="2181" y="215"/>
                    </a:lnTo>
                    <a:lnTo>
                      <a:pt x="2176" y="216"/>
                    </a:lnTo>
                    <a:lnTo>
                      <a:pt x="2176" y="222"/>
                    </a:lnTo>
                    <a:lnTo>
                      <a:pt x="2177" y="234"/>
                    </a:lnTo>
                    <a:lnTo>
                      <a:pt x="2177" y="241"/>
                    </a:lnTo>
                    <a:lnTo>
                      <a:pt x="2172" y="242"/>
                    </a:lnTo>
                    <a:lnTo>
                      <a:pt x="2169" y="239"/>
                    </a:lnTo>
                    <a:lnTo>
                      <a:pt x="2153" y="227"/>
                    </a:lnTo>
                    <a:lnTo>
                      <a:pt x="2143" y="222"/>
                    </a:lnTo>
                    <a:lnTo>
                      <a:pt x="2026" y="220"/>
                    </a:lnTo>
                    <a:lnTo>
                      <a:pt x="2023" y="210"/>
                    </a:lnTo>
                    <a:lnTo>
                      <a:pt x="2019" y="203"/>
                    </a:lnTo>
                    <a:lnTo>
                      <a:pt x="2012" y="196"/>
                    </a:lnTo>
                    <a:lnTo>
                      <a:pt x="2007" y="191"/>
                    </a:lnTo>
                    <a:lnTo>
                      <a:pt x="1999" y="186"/>
                    </a:lnTo>
                    <a:lnTo>
                      <a:pt x="1990" y="184"/>
                    </a:lnTo>
                    <a:lnTo>
                      <a:pt x="1978" y="184"/>
                    </a:lnTo>
                    <a:lnTo>
                      <a:pt x="1968" y="184"/>
                    </a:lnTo>
                    <a:lnTo>
                      <a:pt x="1952" y="184"/>
                    </a:lnTo>
                    <a:lnTo>
                      <a:pt x="1937" y="186"/>
                    </a:lnTo>
                    <a:lnTo>
                      <a:pt x="1921" y="186"/>
                    </a:lnTo>
                    <a:lnTo>
                      <a:pt x="1911" y="182"/>
                    </a:lnTo>
                    <a:lnTo>
                      <a:pt x="1904" y="173"/>
                    </a:lnTo>
                    <a:lnTo>
                      <a:pt x="1899" y="167"/>
                    </a:lnTo>
                    <a:lnTo>
                      <a:pt x="1892" y="160"/>
                    </a:lnTo>
                    <a:lnTo>
                      <a:pt x="1885" y="156"/>
                    </a:lnTo>
                    <a:lnTo>
                      <a:pt x="1871" y="151"/>
                    </a:lnTo>
                    <a:lnTo>
                      <a:pt x="1859" y="148"/>
                    </a:lnTo>
                    <a:lnTo>
                      <a:pt x="1847" y="144"/>
                    </a:lnTo>
                    <a:lnTo>
                      <a:pt x="1835" y="143"/>
                    </a:lnTo>
                    <a:lnTo>
                      <a:pt x="1821" y="141"/>
                    </a:lnTo>
                    <a:lnTo>
                      <a:pt x="1808" y="139"/>
                    </a:lnTo>
                    <a:lnTo>
                      <a:pt x="1794" y="139"/>
                    </a:lnTo>
                    <a:lnTo>
                      <a:pt x="1780" y="139"/>
                    </a:lnTo>
                    <a:lnTo>
                      <a:pt x="1765" y="139"/>
                    </a:lnTo>
                    <a:lnTo>
                      <a:pt x="1756" y="143"/>
                    </a:lnTo>
                    <a:lnTo>
                      <a:pt x="1748" y="146"/>
                    </a:lnTo>
                    <a:lnTo>
                      <a:pt x="1742" y="151"/>
                    </a:lnTo>
                    <a:lnTo>
                      <a:pt x="1734" y="163"/>
                    </a:lnTo>
                    <a:lnTo>
                      <a:pt x="1732" y="179"/>
                    </a:lnTo>
                    <a:lnTo>
                      <a:pt x="1717" y="179"/>
                    </a:lnTo>
                    <a:lnTo>
                      <a:pt x="1706" y="179"/>
                    </a:lnTo>
                    <a:lnTo>
                      <a:pt x="1696" y="179"/>
                    </a:lnTo>
                    <a:lnTo>
                      <a:pt x="1687" y="179"/>
                    </a:lnTo>
                    <a:lnTo>
                      <a:pt x="1668" y="179"/>
                    </a:lnTo>
                    <a:lnTo>
                      <a:pt x="1651" y="179"/>
                    </a:lnTo>
                    <a:lnTo>
                      <a:pt x="1641" y="175"/>
                    </a:lnTo>
                    <a:lnTo>
                      <a:pt x="1636" y="172"/>
                    </a:lnTo>
                    <a:lnTo>
                      <a:pt x="1627" y="168"/>
                    </a:lnTo>
                    <a:lnTo>
                      <a:pt x="1619" y="167"/>
                    </a:lnTo>
                    <a:lnTo>
                      <a:pt x="1615" y="172"/>
                    </a:lnTo>
                    <a:lnTo>
                      <a:pt x="1613" y="180"/>
                    </a:lnTo>
                    <a:lnTo>
                      <a:pt x="1610" y="186"/>
                    </a:lnTo>
                    <a:lnTo>
                      <a:pt x="1606" y="189"/>
                    </a:lnTo>
                    <a:lnTo>
                      <a:pt x="1591" y="184"/>
                    </a:lnTo>
                    <a:lnTo>
                      <a:pt x="1582" y="173"/>
                    </a:lnTo>
                    <a:lnTo>
                      <a:pt x="1576" y="160"/>
                    </a:lnTo>
                    <a:lnTo>
                      <a:pt x="1576" y="149"/>
                    </a:lnTo>
                    <a:lnTo>
                      <a:pt x="1579" y="143"/>
                    </a:lnTo>
                    <a:lnTo>
                      <a:pt x="1582" y="132"/>
                    </a:lnTo>
                    <a:lnTo>
                      <a:pt x="1576" y="125"/>
                    </a:lnTo>
                    <a:lnTo>
                      <a:pt x="1565" y="118"/>
                    </a:lnTo>
                    <a:lnTo>
                      <a:pt x="1543" y="113"/>
                    </a:lnTo>
                    <a:lnTo>
                      <a:pt x="1512" y="112"/>
                    </a:lnTo>
                    <a:lnTo>
                      <a:pt x="1502" y="110"/>
                    </a:lnTo>
                    <a:lnTo>
                      <a:pt x="1496" y="113"/>
                    </a:lnTo>
                    <a:lnTo>
                      <a:pt x="1491" y="118"/>
                    </a:lnTo>
                    <a:lnTo>
                      <a:pt x="1491" y="130"/>
                    </a:lnTo>
                    <a:lnTo>
                      <a:pt x="1436" y="130"/>
                    </a:lnTo>
                    <a:lnTo>
                      <a:pt x="1426" y="127"/>
                    </a:lnTo>
                    <a:lnTo>
                      <a:pt x="1410" y="125"/>
                    </a:lnTo>
                    <a:lnTo>
                      <a:pt x="1391" y="122"/>
                    </a:lnTo>
                    <a:lnTo>
                      <a:pt x="1374" y="118"/>
                    </a:lnTo>
                    <a:lnTo>
                      <a:pt x="1355" y="113"/>
                    </a:lnTo>
                    <a:lnTo>
                      <a:pt x="1338" y="108"/>
                    </a:lnTo>
                    <a:lnTo>
                      <a:pt x="1326" y="103"/>
                    </a:lnTo>
                    <a:lnTo>
                      <a:pt x="1319" y="98"/>
                    </a:lnTo>
                    <a:lnTo>
                      <a:pt x="1297" y="113"/>
                    </a:lnTo>
                    <a:lnTo>
                      <a:pt x="1283" y="124"/>
                    </a:lnTo>
                    <a:lnTo>
                      <a:pt x="1273" y="127"/>
                    </a:lnTo>
                    <a:lnTo>
                      <a:pt x="1268" y="129"/>
                    </a:lnTo>
                    <a:lnTo>
                      <a:pt x="1266" y="122"/>
                    </a:lnTo>
                    <a:lnTo>
                      <a:pt x="1268" y="118"/>
                    </a:lnTo>
                    <a:lnTo>
                      <a:pt x="1278" y="108"/>
                    </a:lnTo>
                    <a:lnTo>
                      <a:pt x="1299" y="100"/>
                    </a:lnTo>
                    <a:lnTo>
                      <a:pt x="1321" y="88"/>
                    </a:lnTo>
                    <a:lnTo>
                      <a:pt x="1343" y="75"/>
                    </a:lnTo>
                    <a:lnTo>
                      <a:pt x="1355" y="62"/>
                    </a:lnTo>
                    <a:lnTo>
                      <a:pt x="1359" y="50"/>
                    </a:lnTo>
                    <a:lnTo>
                      <a:pt x="1345" y="38"/>
                    </a:lnTo>
                    <a:lnTo>
                      <a:pt x="1312" y="27"/>
                    </a:lnTo>
                    <a:lnTo>
                      <a:pt x="1257" y="27"/>
                    </a:lnTo>
                    <a:lnTo>
                      <a:pt x="1252" y="17"/>
                    </a:lnTo>
                    <a:lnTo>
                      <a:pt x="1245" y="8"/>
                    </a:lnTo>
                    <a:lnTo>
                      <a:pt x="1233" y="2"/>
                    </a:lnTo>
                    <a:lnTo>
                      <a:pt x="1219" y="0"/>
                    </a:lnTo>
                    <a:lnTo>
                      <a:pt x="1209" y="0"/>
                    </a:lnTo>
                    <a:lnTo>
                      <a:pt x="1201" y="2"/>
                    </a:lnTo>
                    <a:lnTo>
                      <a:pt x="1194" y="5"/>
                    </a:lnTo>
                    <a:lnTo>
                      <a:pt x="1189" y="10"/>
                    </a:lnTo>
                    <a:lnTo>
                      <a:pt x="1178" y="19"/>
                    </a:lnTo>
                    <a:lnTo>
                      <a:pt x="1170" y="29"/>
                    </a:lnTo>
                    <a:lnTo>
                      <a:pt x="1163" y="31"/>
                    </a:lnTo>
                    <a:lnTo>
                      <a:pt x="1152" y="36"/>
                    </a:lnTo>
                    <a:lnTo>
                      <a:pt x="1140" y="41"/>
                    </a:lnTo>
                    <a:lnTo>
                      <a:pt x="1128" y="46"/>
                    </a:lnTo>
                    <a:lnTo>
                      <a:pt x="1115" y="46"/>
                    </a:lnTo>
                    <a:lnTo>
                      <a:pt x="1106" y="48"/>
                    </a:lnTo>
                    <a:lnTo>
                      <a:pt x="1099" y="45"/>
                    </a:lnTo>
                    <a:lnTo>
                      <a:pt x="1099" y="39"/>
                    </a:lnTo>
                    <a:lnTo>
                      <a:pt x="1089" y="39"/>
                    </a:lnTo>
                    <a:lnTo>
                      <a:pt x="1077" y="43"/>
                    </a:lnTo>
                    <a:lnTo>
                      <a:pt x="1060" y="45"/>
                    </a:lnTo>
                    <a:lnTo>
                      <a:pt x="1044" y="50"/>
                    </a:lnTo>
                    <a:lnTo>
                      <a:pt x="1023" y="55"/>
                    </a:lnTo>
                    <a:lnTo>
                      <a:pt x="1006" y="62"/>
                    </a:lnTo>
                    <a:lnTo>
                      <a:pt x="987" y="70"/>
                    </a:lnTo>
                    <a:lnTo>
                      <a:pt x="974" y="82"/>
                    </a:lnTo>
                    <a:lnTo>
                      <a:pt x="968" y="89"/>
                    </a:lnTo>
                    <a:lnTo>
                      <a:pt x="963" y="100"/>
                    </a:lnTo>
                    <a:lnTo>
                      <a:pt x="958" y="106"/>
                    </a:lnTo>
                    <a:lnTo>
                      <a:pt x="953" y="112"/>
                    </a:lnTo>
                    <a:lnTo>
                      <a:pt x="943" y="110"/>
                    </a:lnTo>
                    <a:lnTo>
                      <a:pt x="932" y="110"/>
                    </a:lnTo>
                    <a:lnTo>
                      <a:pt x="919" y="110"/>
                    </a:lnTo>
                    <a:lnTo>
                      <a:pt x="905" y="112"/>
                    </a:lnTo>
                    <a:lnTo>
                      <a:pt x="891" y="112"/>
                    </a:lnTo>
                    <a:lnTo>
                      <a:pt x="881" y="117"/>
                    </a:lnTo>
                    <a:lnTo>
                      <a:pt x="874" y="122"/>
                    </a:lnTo>
                    <a:lnTo>
                      <a:pt x="872" y="134"/>
                    </a:lnTo>
                    <a:lnTo>
                      <a:pt x="874" y="143"/>
                    </a:lnTo>
                    <a:lnTo>
                      <a:pt x="881" y="155"/>
                    </a:lnTo>
                    <a:lnTo>
                      <a:pt x="872" y="156"/>
                    </a:lnTo>
                    <a:lnTo>
                      <a:pt x="863" y="156"/>
                    </a:lnTo>
                    <a:lnTo>
                      <a:pt x="857" y="155"/>
                    </a:lnTo>
                    <a:lnTo>
                      <a:pt x="850" y="155"/>
                    </a:lnTo>
                    <a:lnTo>
                      <a:pt x="839" y="155"/>
                    </a:lnTo>
                    <a:lnTo>
                      <a:pt x="829" y="155"/>
                    </a:lnTo>
                    <a:lnTo>
                      <a:pt x="817" y="163"/>
                    </a:lnTo>
                    <a:lnTo>
                      <a:pt x="810" y="168"/>
                    </a:lnTo>
                    <a:lnTo>
                      <a:pt x="805" y="168"/>
                    </a:lnTo>
                    <a:lnTo>
                      <a:pt x="803" y="165"/>
                    </a:lnTo>
                    <a:lnTo>
                      <a:pt x="798" y="156"/>
                    </a:lnTo>
                    <a:lnTo>
                      <a:pt x="798" y="149"/>
                    </a:lnTo>
                    <a:lnTo>
                      <a:pt x="796" y="143"/>
                    </a:lnTo>
                    <a:lnTo>
                      <a:pt x="795" y="139"/>
                    </a:lnTo>
                    <a:lnTo>
                      <a:pt x="790" y="148"/>
                    </a:lnTo>
                    <a:lnTo>
                      <a:pt x="784" y="156"/>
                    </a:lnTo>
                    <a:lnTo>
                      <a:pt x="776" y="161"/>
                    </a:lnTo>
                    <a:lnTo>
                      <a:pt x="769" y="168"/>
                    </a:lnTo>
                    <a:lnTo>
                      <a:pt x="772" y="179"/>
                    </a:lnTo>
                    <a:lnTo>
                      <a:pt x="781" y="191"/>
                    </a:lnTo>
                    <a:lnTo>
                      <a:pt x="783" y="201"/>
                    </a:lnTo>
                    <a:lnTo>
                      <a:pt x="779" y="215"/>
                    </a:lnTo>
                    <a:lnTo>
                      <a:pt x="776" y="227"/>
                    </a:lnTo>
                    <a:lnTo>
                      <a:pt x="783" y="244"/>
                    </a:lnTo>
                    <a:lnTo>
                      <a:pt x="786" y="258"/>
                    </a:lnTo>
                    <a:lnTo>
                      <a:pt x="783" y="265"/>
                    </a:lnTo>
                    <a:lnTo>
                      <a:pt x="774" y="259"/>
                    </a:lnTo>
                    <a:lnTo>
                      <a:pt x="769" y="251"/>
                    </a:lnTo>
                    <a:lnTo>
                      <a:pt x="764" y="237"/>
                    </a:lnTo>
                    <a:lnTo>
                      <a:pt x="760" y="223"/>
                    </a:lnTo>
                    <a:lnTo>
                      <a:pt x="757" y="206"/>
                    </a:lnTo>
                    <a:lnTo>
                      <a:pt x="755" y="192"/>
                    </a:lnTo>
                    <a:lnTo>
                      <a:pt x="755" y="179"/>
                    </a:lnTo>
                    <a:lnTo>
                      <a:pt x="755" y="172"/>
                    </a:lnTo>
                    <a:lnTo>
                      <a:pt x="759" y="160"/>
                    </a:lnTo>
                    <a:lnTo>
                      <a:pt x="764" y="151"/>
                    </a:lnTo>
                    <a:lnTo>
                      <a:pt x="762" y="146"/>
                    </a:lnTo>
                    <a:lnTo>
                      <a:pt x="760" y="144"/>
                    </a:lnTo>
                    <a:lnTo>
                      <a:pt x="753" y="141"/>
                    </a:lnTo>
                    <a:lnTo>
                      <a:pt x="741" y="139"/>
                    </a:lnTo>
                    <a:lnTo>
                      <a:pt x="731" y="137"/>
                    </a:lnTo>
                    <a:lnTo>
                      <a:pt x="721" y="141"/>
                    </a:lnTo>
                    <a:lnTo>
                      <a:pt x="710" y="146"/>
                    </a:lnTo>
                    <a:lnTo>
                      <a:pt x="700" y="155"/>
                    </a:lnTo>
                    <a:lnTo>
                      <a:pt x="690" y="161"/>
                    </a:lnTo>
                    <a:lnTo>
                      <a:pt x="683" y="172"/>
                    </a:lnTo>
                    <a:lnTo>
                      <a:pt x="678" y="180"/>
                    </a:lnTo>
                    <a:lnTo>
                      <a:pt x="678" y="189"/>
                    </a:lnTo>
                    <a:lnTo>
                      <a:pt x="678" y="204"/>
                    </a:lnTo>
                    <a:lnTo>
                      <a:pt x="683" y="218"/>
                    </a:lnTo>
                    <a:lnTo>
                      <a:pt x="690" y="229"/>
                    </a:lnTo>
                    <a:lnTo>
                      <a:pt x="700" y="241"/>
                    </a:lnTo>
                    <a:lnTo>
                      <a:pt x="705" y="251"/>
                    </a:lnTo>
                    <a:lnTo>
                      <a:pt x="704" y="256"/>
                    </a:lnTo>
                    <a:lnTo>
                      <a:pt x="697" y="256"/>
                    </a:lnTo>
                    <a:lnTo>
                      <a:pt x="686" y="253"/>
                    </a:lnTo>
                    <a:lnTo>
                      <a:pt x="673" y="246"/>
                    </a:lnTo>
                    <a:lnTo>
                      <a:pt x="659" y="239"/>
                    </a:lnTo>
                    <a:lnTo>
                      <a:pt x="643" y="232"/>
                    </a:lnTo>
                    <a:lnTo>
                      <a:pt x="635" y="229"/>
                    </a:lnTo>
                    <a:lnTo>
                      <a:pt x="612" y="222"/>
                    </a:lnTo>
                    <a:lnTo>
                      <a:pt x="597" y="222"/>
                    </a:lnTo>
                    <a:lnTo>
                      <a:pt x="588" y="220"/>
                    </a:lnTo>
                    <a:lnTo>
                      <a:pt x="585" y="225"/>
                    </a:lnTo>
                    <a:lnTo>
                      <a:pt x="585" y="230"/>
                    </a:lnTo>
                    <a:lnTo>
                      <a:pt x="588" y="237"/>
                    </a:lnTo>
                    <a:lnTo>
                      <a:pt x="585" y="247"/>
                    </a:lnTo>
                    <a:lnTo>
                      <a:pt x="583" y="254"/>
                    </a:lnTo>
                    <a:lnTo>
                      <a:pt x="580" y="254"/>
                    </a:lnTo>
                    <a:lnTo>
                      <a:pt x="576" y="256"/>
                    </a:lnTo>
                    <a:lnTo>
                      <a:pt x="568" y="249"/>
                    </a:lnTo>
                    <a:lnTo>
                      <a:pt x="561" y="246"/>
                    </a:lnTo>
                    <a:lnTo>
                      <a:pt x="545" y="247"/>
                    </a:lnTo>
                    <a:lnTo>
                      <a:pt x="528" y="254"/>
                    </a:lnTo>
                    <a:lnTo>
                      <a:pt x="518" y="256"/>
                    </a:lnTo>
                    <a:lnTo>
                      <a:pt x="507" y="258"/>
                    </a:lnTo>
                    <a:lnTo>
                      <a:pt x="497" y="256"/>
                    </a:lnTo>
                    <a:lnTo>
                      <a:pt x="490" y="256"/>
                    </a:lnTo>
                    <a:lnTo>
                      <a:pt x="482" y="247"/>
                    </a:lnTo>
                    <a:lnTo>
                      <a:pt x="470" y="247"/>
                    </a:lnTo>
                    <a:lnTo>
                      <a:pt x="454" y="253"/>
                    </a:lnTo>
                    <a:lnTo>
                      <a:pt x="439" y="263"/>
                    </a:lnTo>
                    <a:lnTo>
                      <a:pt x="420" y="273"/>
                    </a:lnTo>
                    <a:lnTo>
                      <a:pt x="406" y="284"/>
                    </a:lnTo>
                    <a:lnTo>
                      <a:pt x="392" y="290"/>
                    </a:lnTo>
                    <a:lnTo>
                      <a:pt x="384" y="294"/>
                    </a:lnTo>
                    <a:lnTo>
                      <a:pt x="373" y="290"/>
                    </a:lnTo>
                    <a:lnTo>
                      <a:pt x="370" y="284"/>
                    </a:lnTo>
                    <a:lnTo>
                      <a:pt x="370" y="273"/>
                    </a:lnTo>
                    <a:lnTo>
                      <a:pt x="372" y="265"/>
                    </a:lnTo>
                    <a:lnTo>
                      <a:pt x="370" y="254"/>
                    </a:lnTo>
                    <a:lnTo>
                      <a:pt x="368" y="251"/>
                    </a:lnTo>
                    <a:lnTo>
                      <a:pt x="363" y="247"/>
                    </a:lnTo>
                    <a:lnTo>
                      <a:pt x="358" y="253"/>
                    </a:lnTo>
                    <a:lnTo>
                      <a:pt x="351" y="263"/>
                    </a:lnTo>
                    <a:lnTo>
                      <a:pt x="344" y="285"/>
                    </a:lnTo>
                    <a:lnTo>
                      <a:pt x="347" y="290"/>
                    </a:lnTo>
                    <a:lnTo>
                      <a:pt x="353" y="301"/>
                    </a:lnTo>
                    <a:lnTo>
                      <a:pt x="347" y="308"/>
                    </a:lnTo>
                    <a:lnTo>
                      <a:pt x="337" y="311"/>
                    </a:lnTo>
                    <a:lnTo>
                      <a:pt x="323" y="308"/>
                    </a:lnTo>
                    <a:lnTo>
                      <a:pt x="311" y="311"/>
                    </a:lnTo>
                    <a:lnTo>
                      <a:pt x="306" y="313"/>
                    </a:lnTo>
                    <a:lnTo>
                      <a:pt x="303" y="320"/>
                    </a:lnTo>
                    <a:lnTo>
                      <a:pt x="298" y="327"/>
                    </a:lnTo>
                    <a:lnTo>
                      <a:pt x="294" y="335"/>
                    </a:lnTo>
                    <a:lnTo>
                      <a:pt x="287" y="340"/>
                    </a:lnTo>
                    <a:lnTo>
                      <a:pt x="277" y="344"/>
                    </a:lnTo>
                    <a:lnTo>
                      <a:pt x="263" y="344"/>
                    </a:lnTo>
                    <a:lnTo>
                      <a:pt x="246" y="339"/>
                    </a:lnTo>
                    <a:lnTo>
                      <a:pt x="246" y="359"/>
                    </a:lnTo>
                    <a:lnTo>
                      <a:pt x="234" y="356"/>
                    </a:lnTo>
                    <a:lnTo>
                      <a:pt x="227" y="352"/>
                    </a:lnTo>
                    <a:lnTo>
                      <a:pt x="222" y="345"/>
                    </a:lnTo>
                    <a:lnTo>
                      <a:pt x="220" y="340"/>
                    </a:lnTo>
                    <a:lnTo>
                      <a:pt x="215" y="323"/>
                    </a:lnTo>
                    <a:lnTo>
                      <a:pt x="210" y="311"/>
                    </a:lnTo>
                    <a:lnTo>
                      <a:pt x="224" y="311"/>
                    </a:lnTo>
                    <a:lnTo>
                      <a:pt x="237" y="311"/>
                    </a:lnTo>
                    <a:lnTo>
                      <a:pt x="249" y="311"/>
                    </a:lnTo>
                    <a:lnTo>
                      <a:pt x="265" y="316"/>
                    </a:lnTo>
                    <a:lnTo>
                      <a:pt x="275" y="316"/>
                    </a:lnTo>
                    <a:lnTo>
                      <a:pt x="289" y="313"/>
                    </a:lnTo>
                    <a:lnTo>
                      <a:pt x="299" y="308"/>
                    </a:lnTo>
                    <a:lnTo>
                      <a:pt x="308" y="301"/>
                    </a:lnTo>
                    <a:lnTo>
                      <a:pt x="308" y="290"/>
                    </a:lnTo>
                    <a:lnTo>
                      <a:pt x="303" y="282"/>
                    </a:lnTo>
                    <a:lnTo>
                      <a:pt x="287" y="271"/>
                    </a:lnTo>
                    <a:lnTo>
                      <a:pt x="263" y="261"/>
                    </a:lnTo>
                    <a:lnTo>
                      <a:pt x="251" y="256"/>
                    </a:lnTo>
                    <a:lnTo>
                      <a:pt x="239" y="251"/>
                    </a:lnTo>
                    <a:lnTo>
                      <a:pt x="225" y="244"/>
                    </a:lnTo>
                    <a:lnTo>
                      <a:pt x="212" y="239"/>
                    </a:lnTo>
                    <a:lnTo>
                      <a:pt x="196" y="234"/>
                    </a:lnTo>
                    <a:lnTo>
                      <a:pt x="184" y="229"/>
                    </a:lnTo>
                    <a:lnTo>
                      <a:pt x="174" y="225"/>
                    </a:lnTo>
                    <a:lnTo>
                      <a:pt x="167" y="225"/>
                    </a:lnTo>
                    <a:lnTo>
                      <a:pt x="163" y="223"/>
                    </a:lnTo>
                    <a:lnTo>
                      <a:pt x="153" y="225"/>
                    </a:lnTo>
                    <a:lnTo>
                      <a:pt x="145" y="229"/>
                    </a:lnTo>
                    <a:lnTo>
                      <a:pt x="138" y="235"/>
                    </a:lnTo>
                    <a:lnTo>
                      <a:pt x="129" y="241"/>
                    </a:lnTo>
                    <a:lnTo>
                      <a:pt x="127" y="251"/>
                    </a:lnTo>
                    <a:lnTo>
                      <a:pt x="129" y="254"/>
                    </a:lnTo>
                    <a:lnTo>
                      <a:pt x="136" y="259"/>
                    </a:lnTo>
                    <a:lnTo>
                      <a:pt x="143" y="263"/>
                    </a:lnTo>
                    <a:lnTo>
                      <a:pt x="146" y="271"/>
                    </a:lnTo>
                    <a:lnTo>
                      <a:pt x="141" y="280"/>
                    </a:lnTo>
                    <a:lnTo>
                      <a:pt x="138" y="292"/>
                    </a:lnTo>
                    <a:lnTo>
                      <a:pt x="141" y="304"/>
                    </a:lnTo>
                    <a:lnTo>
                      <a:pt x="146" y="316"/>
                    </a:lnTo>
                    <a:lnTo>
                      <a:pt x="143" y="323"/>
                    </a:lnTo>
                    <a:lnTo>
                      <a:pt x="141" y="332"/>
                    </a:lnTo>
                    <a:lnTo>
                      <a:pt x="143" y="337"/>
                    </a:lnTo>
                    <a:lnTo>
                      <a:pt x="148" y="344"/>
                    </a:lnTo>
                    <a:lnTo>
                      <a:pt x="153" y="351"/>
                    </a:lnTo>
                    <a:lnTo>
                      <a:pt x="157" y="357"/>
                    </a:lnTo>
                    <a:lnTo>
                      <a:pt x="153" y="361"/>
                    </a:lnTo>
                    <a:lnTo>
                      <a:pt x="151" y="364"/>
                    </a:lnTo>
                    <a:lnTo>
                      <a:pt x="160" y="373"/>
                    </a:lnTo>
                    <a:lnTo>
                      <a:pt x="167" y="385"/>
                    </a:lnTo>
                    <a:lnTo>
                      <a:pt x="160" y="397"/>
                    </a:lnTo>
                    <a:lnTo>
                      <a:pt x="148" y="411"/>
                    </a:lnTo>
                    <a:lnTo>
                      <a:pt x="132" y="423"/>
                    </a:lnTo>
                    <a:lnTo>
                      <a:pt x="122" y="435"/>
                    </a:lnTo>
                    <a:lnTo>
                      <a:pt x="127" y="442"/>
                    </a:lnTo>
                    <a:lnTo>
                      <a:pt x="134" y="454"/>
                    </a:lnTo>
                    <a:lnTo>
                      <a:pt x="127" y="455"/>
                    </a:lnTo>
                    <a:lnTo>
                      <a:pt x="120" y="459"/>
                    </a:lnTo>
                    <a:lnTo>
                      <a:pt x="112" y="462"/>
                    </a:lnTo>
                    <a:lnTo>
                      <a:pt x="107" y="464"/>
                    </a:lnTo>
                    <a:lnTo>
                      <a:pt x="95" y="462"/>
                    </a:lnTo>
                    <a:lnTo>
                      <a:pt x="81" y="461"/>
                    </a:lnTo>
                    <a:lnTo>
                      <a:pt x="69" y="461"/>
                    </a:lnTo>
                    <a:lnTo>
                      <a:pt x="59" y="466"/>
                    </a:lnTo>
                    <a:lnTo>
                      <a:pt x="50" y="471"/>
                    </a:lnTo>
                    <a:lnTo>
                      <a:pt x="52" y="478"/>
                    </a:lnTo>
                    <a:lnTo>
                      <a:pt x="64" y="493"/>
                    </a:lnTo>
                    <a:lnTo>
                      <a:pt x="65" y="504"/>
                    </a:lnTo>
                    <a:lnTo>
                      <a:pt x="62" y="509"/>
                    </a:lnTo>
                    <a:lnTo>
                      <a:pt x="59" y="512"/>
                    </a:lnTo>
                    <a:lnTo>
                      <a:pt x="52" y="509"/>
                    </a:lnTo>
                    <a:lnTo>
                      <a:pt x="46" y="505"/>
                    </a:lnTo>
                    <a:lnTo>
                      <a:pt x="41" y="500"/>
                    </a:lnTo>
                    <a:lnTo>
                      <a:pt x="38" y="498"/>
                    </a:lnTo>
                    <a:lnTo>
                      <a:pt x="29" y="502"/>
                    </a:lnTo>
                    <a:lnTo>
                      <a:pt x="24" y="511"/>
                    </a:lnTo>
                    <a:lnTo>
                      <a:pt x="17" y="523"/>
                    </a:lnTo>
                    <a:lnTo>
                      <a:pt x="17" y="535"/>
                    </a:lnTo>
                    <a:lnTo>
                      <a:pt x="14" y="545"/>
                    </a:lnTo>
                    <a:lnTo>
                      <a:pt x="9" y="552"/>
                    </a:lnTo>
                    <a:lnTo>
                      <a:pt x="2" y="557"/>
                    </a:lnTo>
                    <a:lnTo>
                      <a:pt x="0" y="569"/>
                    </a:lnTo>
                    <a:lnTo>
                      <a:pt x="9" y="567"/>
                    </a:lnTo>
                    <a:lnTo>
                      <a:pt x="19" y="567"/>
                    </a:lnTo>
                    <a:lnTo>
                      <a:pt x="31" y="567"/>
                    </a:lnTo>
                    <a:lnTo>
                      <a:pt x="45" y="567"/>
                    </a:lnTo>
                    <a:lnTo>
                      <a:pt x="50" y="569"/>
                    </a:lnTo>
                    <a:lnTo>
                      <a:pt x="55" y="578"/>
                    </a:lnTo>
                    <a:lnTo>
                      <a:pt x="59" y="586"/>
                    </a:lnTo>
                    <a:lnTo>
                      <a:pt x="60" y="596"/>
                    </a:lnTo>
                    <a:lnTo>
                      <a:pt x="57" y="605"/>
                    </a:lnTo>
                    <a:lnTo>
                      <a:pt x="53" y="614"/>
                    </a:lnTo>
                    <a:lnTo>
                      <a:pt x="57" y="627"/>
                    </a:lnTo>
                    <a:lnTo>
                      <a:pt x="62" y="641"/>
                    </a:lnTo>
                    <a:lnTo>
                      <a:pt x="57" y="646"/>
                    </a:lnTo>
                    <a:lnTo>
                      <a:pt x="52" y="652"/>
                    </a:lnTo>
                    <a:lnTo>
                      <a:pt x="45" y="664"/>
                    </a:lnTo>
                    <a:lnTo>
                      <a:pt x="43" y="681"/>
                    </a:lnTo>
                    <a:lnTo>
                      <a:pt x="43" y="688"/>
                    </a:lnTo>
                    <a:lnTo>
                      <a:pt x="48" y="691"/>
                    </a:lnTo>
                    <a:lnTo>
                      <a:pt x="55" y="691"/>
                    </a:lnTo>
                    <a:lnTo>
                      <a:pt x="65" y="693"/>
                    </a:lnTo>
                    <a:lnTo>
                      <a:pt x="74" y="691"/>
                    </a:lnTo>
                    <a:lnTo>
                      <a:pt x="84" y="689"/>
                    </a:lnTo>
                    <a:lnTo>
                      <a:pt x="91" y="686"/>
                    </a:lnTo>
                    <a:lnTo>
                      <a:pt x="102" y="686"/>
                    </a:lnTo>
                    <a:lnTo>
                      <a:pt x="108" y="689"/>
                    </a:lnTo>
                    <a:lnTo>
                      <a:pt x="112" y="698"/>
                    </a:lnTo>
                    <a:lnTo>
                      <a:pt x="115" y="707"/>
                    </a:lnTo>
                    <a:lnTo>
                      <a:pt x="124" y="712"/>
                    </a:lnTo>
                    <a:lnTo>
                      <a:pt x="124" y="732"/>
                    </a:lnTo>
                    <a:lnTo>
                      <a:pt x="124" y="734"/>
                    </a:lnTo>
                    <a:lnTo>
                      <a:pt x="127" y="736"/>
                    </a:lnTo>
                    <a:lnTo>
                      <a:pt x="129" y="739"/>
                    </a:lnTo>
                    <a:lnTo>
                      <a:pt x="134" y="737"/>
                    </a:lnTo>
                    <a:lnTo>
                      <a:pt x="141" y="736"/>
                    </a:lnTo>
                    <a:lnTo>
                      <a:pt x="146" y="731"/>
                    </a:lnTo>
                    <a:lnTo>
                      <a:pt x="153" y="727"/>
                    </a:lnTo>
                    <a:lnTo>
                      <a:pt x="157" y="722"/>
                    </a:lnTo>
                    <a:lnTo>
                      <a:pt x="165" y="720"/>
                    </a:lnTo>
                    <a:lnTo>
                      <a:pt x="172" y="725"/>
                    </a:lnTo>
                    <a:lnTo>
                      <a:pt x="184" y="739"/>
                    </a:lnTo>
                    <a:lnTo>
                      <a:pt x="196" y="751"/>
                    </a:lnTo>
                    <a:lnTo>
                      <a:pt x="205" y="758"/>
                    </a:lnTo>
                    <a:lnTo>
                      <a:pt x="212" y="755"/>
                    </a:lnTo>
                    <a:lnTo>
                      <a:pt x="222" y="751"/>
                    </a:lnTo>
                    <a:lnTo>
                      <a:pt x="232" y="746"/>
                    </a:lnTo>
                    <a:lnTo>
                      <a:pt x="239" y="743"/>
                    </a:lnTo>
                    <a:lnTo>
                      <a:pt x="236" y="741"/>
                    </a:lnTo>
                    <a:lnTo>
                      <a:pt x="232" y="741"/>
                    </a:lnTo>
                    <a:lnTo>
                      <a:pt x="227" y="741"/>
                    </a:lnTo>
                    <a:lnTo>
                      <a:pt x="225" y="741"/>
                    </a:lnTo>
                    <a:lnTo>
                      <a:pt x="220" y="739"/>
                    </a:lnTo>
                    <a:lnTo>
                      <a:pt x="217" y="732"/>
                    </a:lnTo>
                    <a:lnTo>
                      <a:pt x="222" y="727"/>
                    </a:lnTo>
                    <a:lnTo>
                      <a:pt x="237" y="720"/>
                    </a:lnTo>
                    <a:lnTo>
                      <a:pt x="244" y="717"/>
                    </a:lnTo>
                    <a:lnTo>
                      <a:pt x="253" y="713"/>
                    </a:lnTo>
                    <a:lnTo>
                      <a:pt x="261" y="710"/>
                    </a:lnTo>
                    <a:lnTo>
                      <a:pt x="268" y="710"/>
                    </a:lnTo>
                    <a:lnTo>
                      <a:pt x="263" y="713"/>
                    </a:lnTo>
                    <a:lnTo>
                      <a:pt x="258" y="719"/>
                    </a:lnTo>
                    <a:lnTo>
                      <a:pt x="260" y="722"/>
                    </a:lnTo>
                    <a:lnTo>
                      <a:pt x="261" y="729"/>
                    </a:lnTo>
                    <a:lnTo>
                      <a:pt x="260" y="732"/>
                    </a:lnTo>
                    <a:lnTo>
                      <a:pt x="258" y="736"/>
                    </a:lnTo>
                    <a:lnTo>
                      <a:pt x="251" y="739"/>
                    </a:lnTo>
                    <a:lnTo>
                      <a:pt x="244" y="743"/>
                    </a:lnTo>
                    <a:lnTo>
                      <a:pt x="248" y="751"/>
                    </a:lnTo>
                    <a:lnTo>
                      <a:pt x="258" y="760"/>
                    </a:lnTo>
                    <a:lnTo>
                      <a:pt x="270" y="765"/>
                    </a:lnTo>
                    <a:lnTo>
                      <a:pt x="284" y="772"/>
                    </a:lnTo>
                    <a:lnTo>
                      <a:pt x="294" y="777"/>
                    </a:lnTo>
                    <a:lnTo>
                      <a:pt x="304" y="784"/>
                    </a:lnTo>
                    <a:lnTo>
                      <a:pt x="311" y="793"/>
                    </a:lnTo>
                    <a:lnTo>
                      <a:pt x="315" y="808"/>
                    </a:lnTo>
                    <a:lnTo>
                      <a:pt x="317" y="808"/>
                    </a:lnTo>
                    <a:lnTo>
                      <a:pt x="322" y="805"/>
                    </a:lnTo>
                    <a:lnTo>
                      <a:pt x="327" y="805"/>
                    </a:lnTo>
                    <a:lnTo>
                      <a:pt x="335" y="805"/>
                    </a:lnTo>
                    <a:lnTo>
                      <a:pt x="341" y="810"/>
                    </a:lnTo>
                    <a:lnTo>
                      <a:pt x="344" y="817"/>
                    </a:lnTo>
                    <a:lnTo>
                      <a:pt x="347" y="825"/>
                    </a:lnTo>
                    <a:lnTo>
                      <a:pt x="353" y="829"/>
                    </a:lnTo>
                    <a:lnTo>
                      <a:pt x="360" y="834"/>
                    </a:lnTo>
                    <a:lnTo>
                      <a:pt x="365" y="837"/>
                    </a:lnTo>
                    <a:lnTo>
                      <a:pt x="370" y="844"/>
                    </a:lnTo>
                    <a:lnTo>
                      <a:pt x="375" y="849"/>
                    </a:lnTo>
                    <a:lnTo>
                      <a:pt x="385" y="853"/>
                    </a:lnTo>
                    <a:lnTo>
                      <a:pt x="394" y="846"/>
                    </a:lnTo>
                    <a:lnTo>
                      <a:pt x="403" y="841"/>
                    </a:lnTo>
                    <a:lnTo>
                      <a:pt x="406" y="839"/>
                    </a:lnTo>
                    <a:lnTo>
                      <a:pt x="411" y="839"/>
                    </a:lnTo>
                    <a:lnTo>
                      <a:pt x="411" y="842"/>
                    </a:lnTo>
                    <a:lnTo>
                      <a:pt x="415" y="848"/>
                    </a:lnTo>
                    <a:lnTo>
                      <a:pt x="413" y="849"/>
                    </a:lnTo>
                    <a:lnTo>
                      <a:pt x="415" y="851"/>
                    </a:lnTo>
                    <a:lnTo>
                      <a:pt x="421" y="853"/>
                    </a:lnTo>
                    <a:lnTo>
                      <a:pt x="427" y="837"/>
                    </a:lnTo>
                    <a:lnTo>
                      <a:pt x="435" y="827"/>
                    </a:lnTo>
                    <a:lnTo>
                      <a:pt x="423" y="817"/>
                    </a:lnTo>
                    <a:lnTo>
                      <a:pt x="413" y="803"/>
                    </a:lnTo>
                    <a:lnTo>
                      <a:pt x="404" y="786"/>
                    </a:lnTo>
                    <a:lnTo>
                      <a:pt x="401" y="772"/>
                    </a:lnTo>
                    <a:lnTo>
                      <a:pt x="394" y="762"/>
                    </a:lnTo>
                    <a:lnTo>
                      <a:pt x="389" y="753"/>
                    </a:lnTo>
                    <a:lnTo>
                      <a:pt x="389" y="746"/>
                    </a:lnTo>
                    <a:lnTo>
                      <a:pt x="394" y="739"/>
                    </a:lnTo>
                    <a:lnTo>
                      <a:pt x="397" y="731"/>
                    </a:lnTo>
                    <a:lnTo>
                      <a:pt x="403" y="727"/>
                    </a:lnTo>
                    <a:lnTo>
                      <a:pt x="404" y="725"/>
                    </a:lnTo>
                    <a:lnTo>
                      <a:pt x="411" y="724"/>
                    </a:lnTo>
                    <a:lnTo>
                      <a:pt x="416" y="720"/>
                    </a:lnTo>
                    <a:lnTo>
                      <a:pt x="421" y="720"/>
                    </a:lnTo>
                    <a:lnTo>
                      <a:pt x="428" y="715"/>
                    </a:lnTo>
                    <a:lnTo>
                      <a:pt x="437" y="713"/>
                    </a:lnTo>
                    <a:lnTo>
                      <a:pt x="447" y="712"/>
                    </a:lnTo>
                    <a:lnTo>
                      <a:pt x="459" y="712"/>
                    </a:lnTo>
                    <a:lnTo>
                      <a:pt x="468" y="712"/>
                    </a:lnTo>
                    <a:lnTo>
                      <a:pt x="475" y="713"/>
                    </a:lnTo>
                    <a:lnTo>
                      <a:pt x="480" y="715"/>
                    </a:lnTo>
                    <a:lnTo>
                      <a:pt x="485" y="720"/>
                    </a:lnTo>
                    <a:lnTo>
                      <a:pt x="492" y="729"/>
                    </a:lnTo>
                    <a:lnTo>
                      <a:pt x="501" y="739"/>
                    </a:lnTo>
                    <a:lnTo>
                      <a:pt x="487" y="743"/>
                    </a:lnTo>
                    <a:lnTo>
                      <a:pt x="475" y="741"/>
                    </a:lnTo>
                    <a:lnTo>
                      <a:pt x="463" y="741"/>
                    </a:lnTo>
                    <a:lnTo>
                      <a:pt x="451" y="746"/>
                    </a:lnTo>
                    <a:lnTo>
                      <a:pt x="442" y="750"/>
                    </a:lnTo>
                    <a:lnTo>
                      <a:pt x="439" y="753"/>
                    </a:lnTo>
                    <a:lnTo>
                      <a:pt x="442" y="762"/>
                    </a:lnTo>
                    <a:lnTo>
                      <a:pt x="451" y="768"/>
                    </a:lnTo>
                    <a:lnTo>
                      <a:pt x="456" y="779"/>
                    </a:lnTo>
                    <a:lnTo>
                      <a:pt x="464" y="789"/>
                    </a:lnTo>
                    <a:lnTo>
                      <a:pt x="470" y="798"/>
                    </a:lnTo>
                    <a:lnTo>
                      <a:pt x="473" y="811"/>
                    </a:lnTo>
                    <a:lnTo>
                      <a:pt x="482" y="806"/>
                    </a:lnTo>
                    <a:lnTo>
                      <a:pt x="490" y="805"/>
                    </a:lnTo>
                    <a:lnTo>
                      <a:pt x="494" y="813"/>
                    </a:lnTo>
                    <a:lnTo>
                      <a:pt x="499" y="823"/>
                    </a:lnTo>
                    <a:lnTo>
                      <a:pt x="485" y="823"/>
                    </a:lnTo>
                    <a:lnTo>
                      <a:pt x="476" y="827"/>
                    </a:lnTo>
                    <a:lnTo>
                      <a:pt x="475" y="835"/>
                    </a:lnTo>
                    <a:lnTo>
                      <a:pt x="487" y="842"/>
                    </a:lnTo>
                    <a:lnTo>
                      <a:pt x="492" y="858"/>
                    </a:lnTo>
                    <a:lnTo>
                      <a:pt x="490" y="863"/>
                    </a:lnTo>
                    <a:lnTo>
                      <a:pt x="489" y="868"/>
                    </a:lnTo>
                    <a:lnTo>
                      <a:pt x="490" y="875"/>
                    </a:lnTo>
                    <a:lnTo>
                      <a:pt x="494" y="880"/>
                    </a:lnTo>
                    <a:lnTo>
                      <a:pt x="495" y="875"/>
                    </a:lnTo>
                    <a:lnTo>
                      <a:pt x="504" y="873"/>
                    </a:lnTo>
                    <a:lnTo>
                      <a:pt x="509" y="870"/>
                    </a:lnTo>
                    <a:lnTo>
                      <a:pt x="514" y="866"/>
                    </a:lnTo>
                    <a:lnTo>
                      <a:pt x="525" y="863"/>
                    </a:lnTo>
                    <a:lnTo>
                      <a:pt x="537" y="860"/>
                    </a:lnTo>
                    <a:lnTo>
                      <a:pt x="550" y="865"/>
                    </a:lnTo>
                    <a:lnTo>
                      <a:pt x="566" y="872"/>
                    </a:lnTo>
                    <a:lnTo>
                      <a:pt x="573" y="875"/>
                    </a:lnTo>
                    <a:lnTo>
                      <a:pt x="580" y="878"/>
                    </a:lnTo>
                    <a:lnTo>
                      <a:pt x="585" y="882"/>
                    </a:lnTo>
                    <a:lnTo>
                      <a:pt x="597" y="885"/>
                    </a:lnTo>
                    <a:lnTo>
                      <a:pt x="599" y="889"/>
                    </a:lnTo>
                    <a:lnTo>
                      <a:pt x="600" y="892"/>
                    </a:lnTo>
                    <a:lnTo>
                      <a:pt x="600" y="901"/>
                    </a:lnTo>
                    <a:lnTo>
                      <a:pt x="602" y="911"/>
                    </a:lnTo>
                    <a:lnTo>
                      <a:pt x="609" y="909"/>
                    </a:lnTo>
                    <a:lnTo>
                      <a:pt x="618" y="913"/>
                    </a:lnTo>
                    <a:lnTo>
                      <a:pt x="624" y="909"/>
                    </a:lnTo>
                    <a:lnTo>
                      <a:pt x="630" y="904"/>
                    </a:lnTo>
                    <a:lnTo>
                      <a:pt x="636" y="901"/>
                    </a:lnTo>
                    <a:lnTo>
                      <a:pt x="643" y="897"/>
                    </a:lnTo>
                    <a:lnTo>
                      <a:pt x="647" y="889"/>
                    </a:lnTo>
                    <a:lnTo>
                      <a:pt x="652" y="882"/>
                    </a:lnTo>
                    <a:lnTo>
                      <a:pt x="657" y="877"/>
                    </a:lnTo>
                    <a:lnTo>
                      <a:pt x="666" y="875"/>
                    </a:lnTo>
                    <a:lnTo>
                      <a:pt x="669" y="875"/>
                    </a:lnTo>
                    <a:lnTo>
                      <a:pt x="674" y="877"/>
                    </a:lnTo>
                    <a:lnTo>
                      <a:pt x="681" y="880"/>
                    </a:lnTo>
                    <a:lnTo>
                      <a:pt x="690" y="878"/>
                    </a:lnTo>
                    <a:lnTo>
                      <a:pt x="695" y="880"/>
                    </a:lnTo>
                    <a:lnTo>
                      <a:pt x="700" y="884"/>
                    </a:lnTo>
                    <a:lnTo>
                      <a:pt x="712" y="880"/>
                    </a:lnTo>
                    <a:lnTo>
                      <a:pt x="722" y="872"/>
                    </a:lnTo>
                    <a:lnTo>
                      <a:pt x="724" y="872"/>
                    </a:lnTo>
                    <a:lnTo>
                      <a:pt x="729" y="865"/>
                    </a:lnTo>
                    <a:lnTo>
                      <a:pt x="741" y="860"/>
                    </a:lnTo>
                    <a:lnTo>
                      <a:pt x="745" y="863"/>
                    </a:lnTo>
                    <a:lnTo>
                      <a:pt x="747" y="872"/>
                    </a:lnTo>
                    <a:lnTo>
                      <a:pt x="747" y="880"/>
                    </a:lnTo>
                    <a:lnTo>
                      <a:pt x="753" y="885"/>
                    </a:lnTo>
                    <a:lnTo>
                      <a:pt x="765" y="880"/>
                    </a:lnTo>
                    <a:lnTo>
                      <a:pt x="779" y="877"/>
                    </a:lnTo>
                    <a:lnTo>
                      <a:pt x="788" y="877"/>
                    </a:lnTo>
                    <a:lnTo>
                      <a:pt x="796" y="878"/>
                    </a:lnTo>
                    <a:lnTo>
                      <a:pt x="796" y="877"/>
                    </a:lnTo>
                    <a:lnTo>
                      <a:pt x="791" y="863"/>
                    </a:lnTo>
                    <a:lnTo>
                      <a:pt x="779" y="858"/>
                    </a:lnTo>
                    <a:lnTo>
                      <a:pt x="781" y="848"/>
                    </a:lnTo>
                    <a:lnTo>
                      <a:pt x="786" y="837"/>
                    </a:lnTo>
                    <a:lnTo>
                      <a:pt x="791" y="829"/>
                    </a:lnTo>
                    <a:lnTo>
                      <a:pt x="798" y="825"/>
                    </a:lnTo>
                    <a:lnTo>
                      <a:pt x="814" y="823"/>
                    </a:lnTo>
                    <a:lnTo>
                      <a:pt x="829" y="820"/>
                    </a:lnTo>
                    <a:lnTo>
                      <a:pt x="843" y="813"/>
                    </a:lnTo>
                    <a:lnTo>
                      <a:pt x="855" y="805"/>
                    </a:lnTo>
                    <a:lnTo>
                      <a:pt x="863" y="793"/>
                    </a:lnTo>
                    <a:lnTo>
                      <a:pt x="870" y="779"/>
                    </a:lnTo>
                    <a:lnTo>
                      <a:pt x="874" y="763"/>
                    </a:lnTo>
                    <a:lnTo>
                      <a:pt x="877" y="744"/>
                    </a:lnTo>
                    <a:lnTo>
                      <a:pt x="891" y="737"/>
                    </a:lnTo>
                    <a:lnTo>
                      <a:pt x="901" y="725"/>
                    </a:lnTo>
                    <a:lnTo>
                      <a:pt x="910" y="713"/>
                    </a:lnTo>
                    <a:lnTo>
                      <a:pt x="920" y="712"/>
                    </a:lnTo>
                    <a:lnTo>
                      <a:pt x="932" y="710"/>
                    </a:lnTo>
                    <a:lnTo>
                      <a:pt x="941" y="708"/>
                    </a:lnTo>
                    <a:lnTo>
                      <a:pt x="944" y="703"/>
                    </a:lnTo>
                    <a:lnTo>
                      <a:pt x="949" y="700"/>
                    </a:lnTo>
                    <a:lnTo>
                      <a:pt x="949" y="688"/>
                    </a:lnTo>
                    <a:lnTo>
                      <a:pt x="953" y="681"/>
                    </a:lnTo>
                    <a:lnTo>
                      <a:pt x="960" y="674"/>
                    </a:lnTo>
                    <a:lnTo>
                      <a:pt x="968" y="669"/>
                    </a:lnTo>
                    <a:lnTo>
                      <a:pt x="979" y="665"/>
                    </a:lnTo>
                    <a:lnTo>
                      <a:pt x="989" y="664"/>
                    </a:lnTo>
                    <a:lnTo>
                      <a:pt x="999" y="658"/>
                    </a:lnTo>
                    <a:lnTo>
                      <a:pt x="1010" y="655"/>
                    </a:lnTo>
                    <a:lnTo>
                      <a:pt x="1020" y="652"/>
                    </a:lnTo>
                    <a:lnTo>
                      <a:pt x="1030" y="648"/>
                    </a:lnTo>
                    <a:lnTo>
                      <a:pt x="1037" y="641"/>
                    </a:lnTo>
                    <a:lnTo>
                      <a:pt x="1049" y="636"/>
                    </a:lnTo>
                    <a:lnTo>
                      <a:pt x="1060" y="638"/>
                    </a:lnTo>
                    <a:lnTo>
                      <a:pt x="1075" y="643"/>
                    </a:lnTo>
                    <a:lnTo>
                      <a:pt x="1089" y="648"/>
                    </a:lnTo>
                    <a:lnTo>
                      <a:pt x="1106" y="652"/>
                    </a:lnTo>
                    <a:lnTo>
                      <a:pt x="1113" y="648"/>
                    </a:lnTo>
                    <a:lnTo>
                      <a:pt x="1120" y="645"/>
                    </a:lnTo>
                    <a:lnTo>
                      <a:pt x="1123" y="638"/>
                    </a:lnTo>
                    <a:lnTo>
                      <a:pt x="1128" y="631"/>
                    </a:lnTo>
                    <a:lnTo>
                      <a:pt x="1133" y="617"/>
                    </a:lnTo>
                    <a:lnTo>
                      <a:pt x="1144" y="612"/>
                    </a:lnTo>
                    <a:lnTo>
                      <a:pt x="1152" y="612"/>
                    </a:lnTo>
                    <a:lnTo>
                      <a:pt x="1168" y="615"/>
                    </a:lnTo>
                    <a:lnTo>
                      <a:pt x="1180" y="619"/>
                    </a:lnTo>
                    <a:lnTo>
                      <a:pt x="1187" y="626"/>
                    </a:lnTo>
                    <a:lnTo>
                      <a:pt x="1190" y="634"/>
                    </a:lnTo>
                    <a:lnTo>
                      <a:pt x="1195" y="639"/>
                    </a:lnTo>
                    <a:lnTo>
                      <a:pt x="1202" y="643"/>
                    </a:lnTo>
                    <a:lnTo>
                      <a:pt x="1209" y="645"/>
                    </a:lnTo>
                    <a:lnTo>
                      <a:pt x="1221" y="643"/>
                    </a:lnTo>
                    <a:lnTo>
                      <a:pt x="1233" y="641"/>
                    </a:lnTo>
                    <a:lnTo>
                      <a:pt x="1242" y="641"/>
                    </a:lnTo>
                    <a:lnTo>
                      <a:pt x="1252" y="645"/>
                    </a:lnTo>
                    <a:lnTo>
                      <a:pt x="1259" y="648"/>
                    </a:lnTo>
                    <a:lnTo>
                      <a:pt x="1268" y="653"/>
                    </a:lnTo>
                    <a:lnTo>
                      <a:pt x="1275" y="657"/>
                    </a:lnTo>
                    <a:lnTo>
                      <a:pt x="1283" y="660"/>
                    </a:lnTo>
                    <a:lnTo>
                      <a:pt x="1293" y="664"/>
                    </a:lnTo>
                    <a:lnTo>
                      <a:pt x="1305" y="665"/>
                    </a:lnTo>
                    <a:lnTo>
                      <a:pt x="1316" y="664"/>
                    </a:lnTo>
                    <a:lnTo>
                      <a:pt x="1328" y="660"/>
                    </a:lnTo>
                    <a:lnTo>
                      <a:pt x="1340" y="657"/>
                    </a:lnTo>
                    <a:lnTo>
                      <a:pt x="1354" y="653"/>
                    </a:lnTo>
                    <a:lnTo>
                      <a:pt x="1366" y="648"/>
                    </a:lnTo>
                    <a:lnTo>
                      <a:pt x="1379" y="648"/>
                    </a:lnTo>
                    <a:lnTo>
                      <a:pt x="1393" y="648"/>
                    </a:lnTo>
                    <a:lnTo>
                      <a:pt x="1409" y="653"/>
                    </a:lnTo>
                    <a:lnTo>
                      <a:pt x="1422" y="653"/>
                    </a:lnTo>
                    <a:lnTo>
                      <a:pt x="1433" y="650"/>
                    </a:lnTo>
                    <a:lnTo>
                      <a:pt x="1440" y="639"/>
                    </a:lnTo>
                    <a:lnTo>
                      <a:pt x="1447" y="627"/>
                    </a:lnTo>
                    <a:lnTo>
                      <a:pt x="1452" y="612"/>
                    </a:lnTo>
                    <a:lnTo>
                      <a:pt x="1460" y="600"/>
                    </a:lnTo>
                    <a:lnTo>
                      <a:pt x="1474" y="591"/>
                    </a:lnTo>
                    <a:lnTo>
                      <a:pt x="1496" y="588"/>
                    </a:lnTo>
                    <a:lnTo>
                      <a:pt x="1510" y="588"/>
                    </a:lnTo>
                    <a:lnTo>
                      <a:pt x="1520" y="593"/>
                    </a:lnTo>
                    <a:lnTo>
                      <a:pt x="1529" y="598"/>
                    </a:lnTo>
                    <a:lnTo>
                      <a:pt x="1536" y="609"/>
                    </a:lnTo>
                    <a:lnTo>
                      <a:pt x="1541" y="617"/>
                    </a:lnTo>
                    <a:lnTo>
                      <a:pt x="1546" y="629"/>
                    </a:lnTo>
                    <a:lnTo>
                      <a:pt x="1551" y="639"/>
                    </a:lnTo>
                    <a:lnTo>
                      <a:pt x="1558" y="652"/>
                    </a:lnTo>
                    <a:lnTo>
                      <a:pt x="1563" y="657"/>
                    </a:lnTo>
                    <a:lnTo>
                      <a:pt x="1576" y="660"/>
                    </a:lnTo>
                    <a:lnTo>
                      <a:pt x="1586" y="664"/>
                    </a:lnTo>
                    <a:lnTo>
                      <a:pt x="1596" y="670"/>
                    </a:lnTo>
                    <a:lnTo>
                      <a:pt x="1600" y="676"/>
                    </a:lnTo>
                    <a:lnTo>
                      <a:pt x="1606" y="686"/>
                    </a:lnTo>
                    <a:lnTo>
                      <a:pt x="1612" y="693"/>
                    </a:lnTo>
                    <a:lnTo>
                      <a:pt x="1624" y="696"/>
                    </a:lnTo>
                    <a:lnTo>
                      <a:pt x="1632" y="693"/>
                    </a:lnTo>
                    <a:lnTo>
                      <a:pt x="1641" y="688"/>
                    </a:lnTo>
                    <a:lnTo>
                      <a:pt x="1649" y="682"/>
                    </a:lnTo>
                    <a:lnTo>
                      <a:pt x="1665" y="681"/>
                    </a:lnTo>
                    <a:lnTo>
                      <a:pt x="1665" y="694"/>
                    </a:lnTo>
                    <a:lnTo>
                      <a:pt x="1656" y="703"/>
                    </a:lnTo>
                    <a:lnTo>
                      <a:pt x="1649" y="717"/>
                    </a:lnTo>
                    <a:lnTo>
                      <a:pt x="1643" y="731"/>
                    </a:lnTo>
                    <a:lnTo>
                      <a:pt x="1636" y="739"/>
                    </a:lnTo>
                    <a:lnTo>
                      <a:pt x="1625" y="743"/>
                    </a:lnTo>
                    <a:lnTo>
                      <a:pt x="1615" y="746"/>
                    </a:lnTo>
                    <a:lnTo>
                      <a:pt x="1608" y="748"/>
                    </a:lnTo>
                    <a:lnTo>
                      <a:pt x="1610" y="753"/>
                    </a:lnTo>
                    <a:lnTo>
                      <a:pt x="1615" y="762"/>
                    </a:lnTo>
                    <a:lnTo>
                      <a:pt x="1615" y="772"/>
                    </a:lnTo>
                    <a:lnTo>
                      <a:pt x="1610" y="780"/>
                    </a:lnTo>
                    <a:lnTo>
                      <a:pt x="1608" y="7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2" name="Freeform 258"/>
              <p:cNvSpPr>
                <a:spLocks/>
              </p:cNvSpPr>
              <p:nvPr/>
            </p:nvSpPr>
            <p:spPr bwMode="auto">
              <a:xfrm>
                <a:off x="5999957" y="2651125"/>
                <a:ext cx="1406525" cy="887412"/>
              </a:xfrm>
              <a:custGeom>
                <a:avLst/>
                <a:gdLst/>
                <a:ahLst/>
                <a:cxnLst>
                  <a:cxn ang="0">
                    <a:pos x="659" y="330"/>
                  </a:cxn>
                  <a:cxn ang="0">
                    <a:pos x="707" y="294"/>
                  </a:cxn>
                  <a:cxn ang="0">
                    <a:pos x="669" y="294"/>
                  </a:cxn>
                  <a:cxn ang="0">
                    <a:pos x="635" y="270"/>
                  </a:cxn>
                  <a:cxn ang="0">
                    <a:pos x="680" y="239"/>
                  </a:cxn>
                  <a:cxn ang="0">
                    <a:pos x="686" y="263"/>
                  </a:cxn>
                  <a:cxn ang="0">
                    <a:pos x="745" y="254"/>
                  </a:cxn>
                  <a:cxn ang="0">
                    <a:pos x="745" y="284"/>
                  </a:cxn>
                  <a:cxn ang="0">
                    <a:pos x="757" y="299"/>
                  </a:cxn>
                  <a:cxn ang="0">
                    <a:pos x="762" y="320"/>
                  </a:cxn>
                  <a:cxn ang="0">
                    <a:pos x="767" y="339"/>
                  </a:cxn>
                  <a:cxn ang="0">
                    <a:pos x="793" y="328"/>
                  </a:cxn>
                  <a:cxn ang="0">
                    <a:pos x="784" y="266"/>
                  </a:cxn>
                  <a:cxn ang="0">
                    <a:pos x="807" y="229"/>
                  </a:cxn>
                  <a:cxn ang="0">
                    <a:pos x="836" y="184"/>
                  </a:cxn>
                  <a:cxn ang="0">
                    <a:pos x="857" y="151"/>
                  </a:cxn>
                  <a:cxn ang="0">
                    <a:pos x="870" y="94"/>
                  </a:cxn>
                  <a:cxn ang="0">
                    <a:pos x="821" y="88"/>
                  </a:cxn>
                  <a:cxn ang="0">
                    <a:pos x="772" y="51"/>
                  </a:cxn>
                  <a:cxn ang="0">
                    <a:pos x="731" y="0"/>
                  </a:cxn>
                  <a:cxn ang="0">
                    <a:pos x="661" y="51"/>
                  </a:cxn>
                  <a:cxn ang="0">
                    <a:pos x="587" y="60"/>
                  </a:cxn>
                  <a:cxn ang="0">
                    <a:pos x="514" y="76"/>
                  </a:cxn>
                  <a:cxn ang="0">
                    <a:pos x="463" y="53"/>
                  </a:cxn>
                  <a:cxn ang="0">
                    <a:pos x="411" y="46"/>
                  </a:cxn>
                  <a:cxn ang="0">
                    <a:pos x="354" y="29"/>
                  </a:cxn>
                  <a:cxn ang="0">
                    <a:pos x="310" y="60"/>
                  </a:cxn>
                  <a:cxn ang="0">
                    <a:pos x="241" y="64"/>
                  </a:cxn>
                  <a:cxn ang="0">
                    <a:pos x="181" y="86"/>
                  </a:cxn>
                  <a:cxn ang="0">
                    <a:pos x="153" y="122"/>
                  </a:cxn>
                  <a:cxn ang="0">
                    <a:pos x="95" y="175"/>
                  </a:cxn>
                  <a:cxn ang="0">
                    <a:pos x="35" y="235"/>
                  </a:cxn>
                  <a:cxn ang="0">
                    <a:pos x="12" y="275"/>
                  </a:cxn>
                  <a:cxn ang="0">
                    <a:pos x="35" y="311"/>
                  </a:cxn>
                  <a:cxn ang="0">
                    <a:pos x="95" y="327"/>
                  </a:cxn>
                  <a:cxn ang="0">
                    <a:pos x="84" y="364"/>
                  </a:cxn>
                  <a:cxn ang="0">
                    <a:pos x="78" y="392"/>
                  </a:cxn>
                  <a:cxn ang="0">
                    <a:pos x="134" y="414"/>
                  </a:cxn>
                  <a:cxn ang="0">
                    <a:pos x="169" y="437"/>
                  </a:cxn>
                  <a:cxn ang="0">
                    <a:pos x="217" y="442"/>
                  </a:cxn>
                  <a:cxn ang="0">
                    <a:pos x="272" y="440"/>
                  </a:cxn>
                  <a:cxn ang="0">
                    <a:pos x="306" y="419"/>
                  </a:cxn>
                  <a:cxn ang="0">
                    <a:pos x="341" y="431"/>
                  </a:cxn>
                  <a:cxn ang="0">
                    <a:pos x="351" y="485"/>
                  </a:cxn>
                  <a:cxn ang="0">
                    <a:pos x="365" y="504"/>
                  </a:cxn>
                  <a:cxn ang="0">
                    <a:pos x="392" y="536"/>
                  </a:cxn>
                  <a:cxn ang="0">
                    <a:pos x="406" y="538"/>
                  </a:cxn>
                  <a:cxn ang="0">
                    <a:pos x="446" y="517"/>
                  </a:cxn>
                  <a:cxn ang="0">
                    <a:pos x="508" y="542"/>
                  </a:cxn>
                  <a:cxn ang="0">
                    <a:pos x="539" y="542"/>
                  </a:cxn>
                  <a:cxn ang="0">
                    <a:pos x="585" y="524"/>
                  </a:cxn>
                  <a:cxn ang="0">
                    <a:pos x="638" y="500"/>
                  </a:cxn>
                  <a:cxn ang="0">
                    <a:pos x="666" y="457"/>
                  </a:cxn>
                  <a:cxn ang="0">
                    <a:pos x="692" y="416"/>
                  </a:cxn>
                  <a:cxn ang="0">
                    <a:pos x="676" y="358"/>
                  </a:cxn>
                </a:cxnLst>
                <a:rect l="0" t="0" r="r" b="b"/>
                <a:pathLst>
                  <a:path w="886" h="559">
                    <a:moveTo>
                      <a:pt x="674" y="352"/>
                    </a:moveTo>
                    <a:lnTo>
                      <a:pt x="673" y="352"/>
                    </a:lnTo>
                    <a:lnTo>
                      <a:pt x="673" y="347"/>
                    </a:lnTo>
                    <a:lnTo>
                      <a:pt x="673" y="342"/>
                    </a:lnTo>
                    <a:lnTo>
                      <a:pt x="664" y="339"/>
                    </a:lnTo>
                    <a:lnTo>
                      <a:pt x="659" y="330"/>
                    </a:lnTo>
                    <a:lnTo>
                      <a:pt x="662" y="323"/>
                    </a:lnTo>
                    <a:lnTo>
                      <a:pt x="669" y="318"/>
                    </a:lnTo>
                    <a:lnTo>
                      <a:pt x="674" y="309"/>
                    </a:lnTo>
                    <a:lnTo>
                      <a:pt x="685" y="304"/>
                    </a:lnTo>
                    <a:lnTo>
                      <a:pt x="697" y="299"/>
                    </a:lnTo>
                    <a:lnTo>
                      <a:pt x="707" y="294"/>
                    </a:lnTo>
                    <a:lnTo>
                      <a:pt x="697" y="290"/>
                    </a:lnTo>
                    <a:lnTo>
                      <a:pt x="688" y="289"/>
                    </a:lnTo>
                    <a:lnTo>
                      <a:pt x="681" y="285"/>
                    </a:lnTo>
                    <a:lnTo>
                      <a:pt x="676" y="284"/>
                    </a:lnTo>
                    <a:lnTo>
                      <a:pt x="673" y="289"/>
                    </a:lnTo>
                    <a:lnTo>
                      <a:pt x="669" y="294"/>
                    </a:lnTo>
                    <a:lnTo>
                      <a:pt x="662" y="294"/>
                    </a:lnTo>
                    <a:lnTo>
                      <a:pt x="655" y="292"/>
                    </a:lnTo>
                    <a:lnTo>
                      <a:pt x="650" y="285"/>
                    </a:lnTo>
                    <a:lnTo>
                      <a:pt x="647" y="278"/>
                    </a:lnTo>
                    <a:lnTo>
                      <a:pt x="638" y="275"/>
                    </a:lnTo>
                    <a:lnTo>
                      <a:pt x="635" y="270"/>
                    </a:lnTo>
                    <a:lnTo>
                      <a:pt x="637" y="263"/>
                    </a:lnTo>
                    <a:lnTo>
                      <a:pt x="643" y="261"/>
                    </a:lnTo>
                    <a:lnTo>
                      <a:pt x="650" y="260"/>
                    </a:lnTo>
                    <a:lnTo>
                      <a:pt x="657" y="258"/>
                    </a:lnTo>
                    <a:lnTo>
                      <a:pt x="668" y="249"/>
                    </a:lnTo>
                    <a:lnTo>
                      <a:pt x="680" y="239"/>
                    </a:lnTo>
                    <a:lnTo>
                      <a:pt x="680" y="235"/>
                    </a:lnTo>
                    <a:lnTo>
                      <a:pt x="686" y="234"/>
                    </a:lnTo>
                    <a:lnTo>
                      <a:pt x="693" y="235"/>
                    </a:lnTo>
                    <a:lnTo>
                      <a:pt x="697" y="242"/>
                    </a:lnTo>
                    <a:lnTo>
                      <a:pt x="692" y="253"/>
                    </a:lnTo>
                    <a:lnTo>
                      <a:pt x="686" y="263"/>
                    </a:lnTo>
                    <a:lnTo>
                      <a:pt x="697" y="260"/>
                    </a:lnTo>
                    <a:lnTo>
                      <a:pt x="707" y="254"/>
                    </a:lnTo>
                    <a:lnTo>
                      <a:pt x="717" y="249"/>
                    </a:lnTo>
                    <a:lnTo>
                      <a:pt x="729" y="247"/>
                    </a:lnTo>
                    <a:lnTo>
                      <a:pt x="736" y="251"/>
                    </a:lnTo>
                    <a:lnTo>
                      <a:pt x="745" y="254"/>
                    </a:lnTo>
                    <a:lnTo>
                      <a:pt x="743" y="260"/>
                    </a:lnTo>
                    <a:lnTo>
                      <a:pt x="745" y="265"/>
                    </a:lnTo>
                    <a:lnTo>
                      <a:pt x="741" y="270"/>
                    </a:lnTo>
                    <a:lnTo>
                      <a:pt x="740" y="275"/>
                    </a:lnTo>
                    <a:lnTo>
                      <a:pt x="740" y="280"/>
                    </a:lnTo>
                    <a:lnTo>
                      <a:pt x="745" y="284"/>
                    </a:lnTo>
                    <a:lnTo>
                      <a:pt x="747" y="282"/>
                    </a:lnTo>
                    <a:lnTo>
                      <a:pt x="752" y="282"/>
                    </a:lnTo>
                    <a:lnTo>
                      <a:pt x="760" y="284"/>
                    </a:lnTo>
                    <a:lnTo>
                      <a:pt x="766" y="292"/>
                    </a:lnTo>
                    <a:lnTo>
                      <a:pt x="762" y="296"/>
                    </a:lnTo>
                    <a:lnTo>
                      <a:pt x="757" y="299"/>
                    </a:lnTo>
                    <a:lnTo>
                      <a:pt x="757" y="304"/>
                    </a:lnTo>
                    <a:lnTo>
                      <a:pt x="759" y="304"/>
                    </a:lnTo>
                    <a:lnTo>
                      <a:pt x="762" y="308"/>
                    </a:lnTo>
                    <a:lnTo>
                      <a:pt x="764" y="311"/>
                    </a:lnTo>
                    <a:lnTo>
                      <a:pt x="766" y="316"/>
                    </a:lnTo>
                    <a:lnTo>
                      <a:pt x="762" y="320"/>
                    </a:lnTo>
                    <a:lnTo>
                      <a:pt x="760" y="327"/>
                    </a:lnTo>
                    <a:lnTo>
                      <a:pt x="760" y="330"/>
                    </a:lnTo>
                    <a:lnTo>
                      <a:pt x="764" y="332"/>
                    </a:lnTo>
                    <a:lnTo>
                      <a:pt x="760" y="335"/>
                    </a:lnTo>
                    <a:lnTo>
                      <a:pt x="760" y="339"/>
                    </a:lnTo>
                    <a:lnTo>
                      <a:pt x="767" y="339"/>
                    </a:lnTo>
                    <a:lnTo>
                      <a:pt x="771" y="335"/>
                    </a:lnTo>
                    <a:lnTo>
                      <a:pt x="778" y="335"/>
                    </a:lnTo>
                    <a:lnTo>
                      <a:pt x="779" y="330"/>
                    </a:lnTo>
                    <a:lnTo>
                      <a:pt x="784" y="330"/>
                    </a:lnTo>
                    <a:lnTo>
                      <a:pt x="788" y="328"/>
                    </a:lnTo>
                    <a:lnTo>
                      <a:pt x="793" y="328"/>
                    </a:lnTo>
                    <a:lnTo>
                      <a:pt x="800" y="321"/>
                    </a:lnTo>
                    <a:lnTo>
                      <a:pt x="803" y="309"/>
                    </a:lnTo>
                    <a:lnTo>
                      <a:pt x="802" y="294"/>
                    </a:lnTo>
                    <a:lnTo>
                      <a:pt x="798" y="284"/>
                    </a:lnTo>
                    <a:lnTo>
                      <a:pt x="791" y="273"/>
                    </a:lnTo>
                    <a:lnTo>
                      <a:pt x="784" y="266"/>
                    </a:lnTo>
                    <a:lnTo>
                      <a:pt x="778" y="258"/>
                    </a:lnTo>
                    <a:lnTo>
                      <a:pt x="776" y="249"/>
                    </a:lnTo>
                    <a:lnTo>
                      <a:pt x="784" y="246"/>
                    </a:lnTo>
                    <a:lnTo>
                      <a:pt x="791" y="241"/>
                    </a:lnTo>
                    <a:lnTo>
                      <a:pt x="798" y="234"/>
                    </a:lnTo>
                    <a:lnTo>
                      <a:pt x="807" y="229"/>
                    </a:lnTo>
                    <a:lnTo>
                      <a:pt x="810" y="218"/>
                    </a:lnTo>
                    <a:lnTo>
                      <a:pt x="815" y="210"/>
                    </a:lnTo>
                    <a:lnTo>
                      <a:pt x="821" y="203"/>
                    </a:lnTo>
                    <a:lnTo>
                      <a:pt x="829" y="198"/>
                    </a:lnTo>
                    <a:lnTo>
                      <a:pt x="831" y="192"/>
                    </a:lnTo>
                    <a:lnTo>
                      <a:pt x="836" y="184"/>
                    </a:lnTo>
                    <a:lnTo>
                      <a:pt x="836" y="174"/>
                    </a:lnTo>
                    <a:lnTo>
                      <a:pt x="831" y="165"/>
                    </a:lnTo>
                    <a:lnTo>
                      <a:pt x="829" y="160"/>
                    </a:lnTo>
                    <a:lnTo>
                      <a:pt x="836" y="158"/>
                    </a:lnTo>
                    <a:lnTo>
                      <a:pt x="846" y="155"/>
                    </a:lnTo>
                    <a:lnTo>
                      <a:pt x="857" y="151"/>
                    </a:lnTo>
                    <a:lnTo>
                      <a:pt x="864" y="143"/>
                    </a:lnTo>
                    <a:lnTo>
                      <a:pt x="870" y="129"/>
                    </a:lnTo>
                    <a:lnTo>
                      <a:pt x="877" y="115"/>
                    </a:lnTo>
                    <a:lnTo>
                      <a:pt x="886" y="106"/>
                    </a:lnTo>
                    <a:lnTo>
                      <a:pt x="886" y="93"/>
                    </a:lnTo>
                    <a:lnTo>
                      <a:pt x="870" y="94"/>
                    </a:lnTo>
                    <a:lnTo>
                      <a:pt x="862" y="100"/>
                    </a:lnTo>
                    <a:lnTo>
                      <a:pt x="853" y="105"/>
                    </a:lnTo>
                    <a:lnTo>
                      <a:pt x="845" y="108"/>
                    </a:lnTo>
                    <a:lnTo>
                      <a:pt x="833" y="105"/>
                    </a:lnTo>
                    <a:lnTo>
                      <a:pt x="827" y="98"/>
                    </a:lnTo>
                    <a:lnTo>
                      <a:pt x="821" y="88"/>
                    </a:lnTo>
                    <a:lnTo>
                      <a:pt x="817" y="82"/>
                    </a:lnTo>
                    <a:lnTo>
                      <a:pt x="807" y="76"/>
                    </a:lnTo>
                    <a:lnTo>
                      <a:pt x="797" y="72"/>
                    </a:lnTo>
                    <a:lnTo>
                      <a:pt x="784" y="69"/>
                    </a:lnTo>
                    <a:lnTo>
                      <a:pt x="779" y="64"/>
                    </a:lnTo>
                    <a:lnTo>
                      <a:pt x="772" y="51"/>
                    </a:lnTo>
                    <a:lnTo>
                      <a:pt x="767" y="41"/>
                    </a:lnTo>
                    <a:lnTo>
                      <a:pt x="762" y="29"/>
                    </a:lnTo>
                    <a:lnTo>
                      <a:pt x="757" y="21"/>
                    </a:lnTo>
                    <a:lnTo>
                      <a:pt x="750" y="10"/>
                    </a:lnTo>
                    <a:lnTo>
                      <a:pt x="741" y="5"/>
                    </a:lnTo>
                    <a:lnTo>
                      <a:pt x="731" y="0"/>
                    </a:lnTo>
                    <a:lnTo>
                      <a:pt x="717" y="0"/>
                    </a:lnTo>
                    <a:lnTo>
                      <a:pt x="695" y="3"/>
                    </a:lnTo>
                    <a:lnTo>
                      <a:pt x="681" y="12"/>
                    </a:lnTo>
                    <a:lnTo>
                      <a:pt x="673" y="24"/>
                    </a:lnTo>
                    <a:lnTo>
                      <a:pt x="668" y="39"/>
                    </a:lnTo>
                    <a:lnTo>
                      <a:pt x="661" y="51"/>
                    </a:lnTo>
                    <a:lnTo>
                      <a:pt x="654" y="62"/>
                    </a:lnTo>
                    <a:lnTo>
                      <a:pt x="643" y="65"/>
                    </a:lnTo>
                    <a:lnTo>
                      <a:pt x="630" y="65"/>
                    </a:lnTo>
                    <a:lnTo>
                      <a:pt x="614" y="60"/>
                    </a:lnTo>
                    <a:lnTo>
                      <a:pt x="600" y="60"/>
                    </a:lnTo>
                    <a:lnTo>
                      <a:pt x="587" y="60"/>
                    </a:lnTo>
                    <a:lnTo>
                      <a:pt x="575" y="65"/>
                    </a:lnTo>
                    <a:lnTo>
                      <a:pt x="561" y="69"/>
                    </a:lnTo>
                    <a:lnTo>
                      <a:pt x="549" y="72"/>
                    </a:lnTo>
                    <a:lnTo>
                      <a:pt x="537" y="76"/>
                    </a:lnTo>
                    <a:lnTo>
                      <a:pt x="526" y="77"/>
                    </a:lnTo>
                    <a:lnTo>
                      <a:pt x="514" y="76"/>
                    </a:lnTo>
                    <a:lnTo>
                      <a:pt x="504" y="72"/>
                    </a:lnTo>
                    <a:lnTo>
                      <a:pt x="496" y="69"/>
                    </a:lnTo>
                    <a:lnTo>
                      <a:pt x="489" y="65"/>
                    </a:lnTo>
                    <a:lnTo>
                      <a:pt x="480" y="60"/>
                    </a:lnTo>
                    <a:lnTo>
                      <a:pt x="473" y="57"/>
                    </a:lnTo>
                    <a:lnTo>
                      <a:pt x="463" y="53"/>
                    </a:lnTo>
                    <a:lnTo>
                      <a:pt x="454" y="53"/>
                    </a:lnTo>
                    <a:lnTo>
                      <a:pt x="442" y="55"/>
                    </a:lnTo>
                    <a:lnTo>
                      <a:pt x="430" y="57"/>
                    </a:lnTo>
                    <a:lnTo>
                      <a:pt x="423" y="55"/>
                    </a:lnTo>
                    <a:lnTo>
                      <a:pt x="416" y="51"/>
                    </a:lnTo>
                    <a:lnTo>
                      <a:pt x="411" y="46"/>
                    </a:lnTo>
                    <a:lnTo>
                      <a:pt x="408" y="38"/>
                    </a:lnTo>
                    <a:lnTo>
                      <a:pt x="401" y="31"/>
                    </a:lnTo>
                    <a:lnTo>
                      <a:pt x="389" y="27"/>
                    </a:lnTo>
                    <a:lnTo>
                      <a:pt x="373" y="24"/>
                    </a:lnTo>
                    <a:lnTo>
                      <a:pt x="365" y="24"/>
                    </a:lnTo>
                    <a:lnTo>
                      <a:pt x="354" y="29"/>
                    </a:lnTo>
                    <a:lnTo>
                      <a:pt x="349" y="43"/>
                    </a:lnTo>
                    <a:lnTo>
                      <a:pt x="344" y="50"/>
                    </a:lnTo>
                    <a:lnTo>
                      <a:pt x="341" y="57"/>
                    </a:lnTo>
                    <a:lnTo>
                      <a:pt x="334" y="60"/>
                    </a:lnTo>
                    <a:lnTo>
                      <a:pt x="327" y="64"/>
                    </a:lnTo>
                    <a:lnTo>
                      <a:pt x="310" y="60"/>
                    </a:lnTo>
                    <a:lnTo>
                      <a:pt x="296" y="55"/>
                    </a:lnTo>
                    <a:lnTo>
                      <a:pt x="281" y="50"/>
                    </a:lnTo>
                    <a:lnTo>
                      <a:pt x="270" y="48"/>
                    </a:lnTo>
                    <a:lnTo>
                      <a:pt x="258" y="53"/>
                    </a:lnTo>
                    <a:lnTo>
                      <a:pt x="251" y="60"/>
                    </a:lnTo>
                    <a:lnTo>
                      <a:pt x="241" y="64"/>
                    </a:lnTo>
                    <a:lnTo>
                      <a:pt x="231" y="67"/>
                    </a:lnTo>
                    <a:lnTo>
                      <a:pt x="220" y="70"/>
                    </a:lnTo>
                    <a:lnTo>
                      <a:pt x="210" y="76"/>
                    </a:lnTo>
                    <a:lnTo>
                      <a:pt x="200" y="77"/>
                    </a:lnTo>
                    <a:lnTo>
                      <a:pt x="189" y="81"/>
                    </a:lnTo>
                    <a:lnTo>
                      <a:pt x="181" y="86"/>
                    </a:lnTo>
                    <a:lnTo>
                      <a:pt x="174" y="93"/>
                    </a:lnTo>
                    <a:lnTo>
                      <a:pt x="170" y="100"/>
                    </a:lnTo>
                    <a:lnTo>
                      <a:pt x="170" y="112"/>
                    </a:lnTo>
                    <a:lnTo>
                      <a:pt x="165" y="115"/>
                    </a:lnTo>
                    <a:lnTo>
                      <a:pt x="162" y="120"/>
                    </a:lnTo>
                    <a:lnTo>
                      <a:pt x="153" y="122"/>
                    </a:lnTo>
                    <a:lnTo>
                      <a:pt x="141" y="124"/>
                    </a:lnTo>
                    <a:lnTo>
                      <a:pt x="131" y="125"/>
                    </a:lnTo>
                    <a:lnTo>
                      <a:pt x="122" y="137"/>
                    </a:lnTo>
                    <a:lnTo>
                      <a:pt x="112" y="149"/>
                    </a:lnTo>
                    <a:lnTo>
                      <a:pt x="98" y="156"/>
                    </a:lnTo>
                    <a:lnTo>
                      <a:pt x="95" y="175"/>
                    </a:lnTo>
                    <a:lnTo>
                      <a:pt x="91" y="191"/>
                    </a:lnTo>
                    <a:lnTo>
                      <a:pt x="84" y="205"/>
                    </a:lnTo>
                    <a:lnTo>
                      <a:pt x="76" y="217"/>
                    </a:lnTo>
                    <a:lnTo>
                      <a:pt x="64" y="225"/>
                    </a:lnTo>
                    <a:lnTo>
                      <a:pt x="50" y="232"/>
                    </a:lnTo>
                    <a:lnTo>
                      <a:pt x="35" y="235"/>
                    </a:lnTo>
                    <a:lnTo>
                      <a:pt x="19" y="237"/>
                    </a:lnTo>
                    <a:lnTo>
                      <a:pt x="12" y="241"/>
                    </a:lnTo>
                    <a:lnTo>
                      <a:pt x="7" y="249"/>
                    </a:lnTo>
                    <a:lnTo>
                      <a:pt x="2" y="260"/>
                    </a:lnTo>
                    <a:lnTo>
                      <a:pt x="0" y="270"/>
                    </a:lnTo>
                    <a:lnTo>
                      <a:pt x="12" y="275"/>
                    </a:lnTo>
                    <a:lnTo>
                      <a:pt x="17" y="289"/>
                    </a:lnTo>
                    <a:lnTo>
                      <a:pt x="17" y="290"/>
                    </a:lnTo>
                    <a:lnTo>
                      <a:pt x="19" y="297"/>
                    </a:lnTo>
                    <a:lnTo>
                      <a:pt x="29" y="299"/>
                    </a:lnTo>
                    <a:lnTo>
                      <a:pt x="33" y="304"/>
                    </a:lnTo>
                    <a:lnTo>
                      <a:pt x="35" y="311"/>
                    </a:lnTo>
                    <a:lnTo>
                      <a:pt x="45" y="316"/>
                    </a:lnTo>
                    <a:lnTo>
                      <a:pt x="59" y="321"/>
                    </a:lnTo>
                    <a:lnTo>
                      <a:pt x="69" y="316"/>
                    </a:lnTo>
                    <a:lnTo>
                      <a:pt x="79" y="313"/>
                    </a:lnTo>
                    <a:lnTo>
                      <a:pt x="88" y="316"/>
                    </a:lnTo>
                    <a:lnTo>
                      <a:pt x="95" y="327"/>
                    </a:lnTo>
                    <a:lnTo>
                      <a:pt x="91" y="333"/>
                    </a:lnTo>
                    <a:lnTo>
                      <a:pt x="84" y="339"/>
                    </a:lnTo>
                    <a:lnTo>
                      <a:pt x="78" y="342"/>
                    </a:lnTo>
                    <a:lnTo>
                      <a:pt x="76" y="351"/>
                    </a:lnTo>
                    <a:lnTo>
                      <a:pt x="79" y="358"/>
                    </a:lnTo>
                    <a:lnTo>
                      <a:pt x="84" y="364"/>
                    </a:lnTo>
                    <a:lnTo>
                      <a:pt x="79" y="368"/>
                    </a:lnTo>
                    <a:lnTo>
                      <a:pt x="72" y="370"/>
                    </a:lnTo>
                    <a:lnTo>
                      <a:pt x="72" y="375"/>
                    </a:lnTo>
                    <a:lnTo>
                      <a:pt x="74" y="382"/>
                    </a:lnTo>
                    <a:lnTo>
                      <a:pt x="76" y="390"/>
                    </a:lnTo>
                    <a:lnTo>
                      <a:pt x="78" y="392"/>
                    </a:lnTo>
                    <a:lnTo>
                      <a:pt x="83" y="394"/>
                    </a:lnTo>
                    <a:lnTo>
                      <a:pt x="93" y="399"/>
                    </a:lnTo>
                    <a:lnTo>
                      <a:pt x="105" y="406"/>
                    </a:lnTo>
                    <a:lnTo>
                      <a:pt x="117" y="406"/>
                    </a:lnTo>
                    <a:lnTo>
                      <a:pt x="127" y="411"/>
                    </a:lnTo>
                    <a:lnTo>
                      <a:pt x="134" y="414"/>
                    </a:lnTo>
                    <a:lnTo>
                      <a:pt x="146" y="418"/>
                    </a:lnTo>
                    <a:lnTo>
                      <a:pt x="148" y="421"/>
                    </a:lnTo>
                    <a:lnTo>
                      <a:pt x="152" y="428"/>
                    </a:lnTo>
                    <a:lnTo>
                      <a:pt x="155" y="428"/>
                    </a:lnTo>
                    <a:lnTo>
                      <a:pt x="160" y="428"/>
                    </a:lnTo>
                    <a:lnTo>
                      <a:pt x="169" y="437"/>
                    </a:lnTo>
                    <a:lnTo>
                      <a:pt x="184" y="442"/>
                    </a:lnTo>
                    <a:lnTo>
                      <a:pt x="195" y="442"/>
                    </a:lnTo>
                    <a:lnTo>
                      <a:pt x="205" y="442"/>
                    </a:lnTo>
                    <a:lnTo>
                      <a:pt x="210" y="440"/>
                    </a:lnTo>
                    <a:lnTo>
                      <a:pt x="215" y="438"/>
                    </a:lnTo>
                    <a:lnTo>
                      <a:pt x="217" y="442"/>
                    </a:lnTo>
                    <a:lnTo>
                      <a:pt x="219" y="450"/>
                    </a:lnTo>
                    <a:lnTo>
                      <a:pt x="227" y="442"/>
                    </a:lnTo>
                    <a:lnTo>
                      <a:pt x="241" y="437"/>
                    </a:lnTo>
                    <a:lnTo>
                      <a:pt x="255" y="440"/>
                    </a:lnTo>
                    <a:lnTo>
                      <a:pt x="267" y="444"/>
                    </a:lnTo>
                    <a:lnTo>
                      <a:pt x="272" y="440"/>
                    </a:lnTo>
                    <a:lnTo>
                      <a:pt x="281" y="435"/>
                    </a:lnTo>
                    <a:lnTo>
                      <a:pt x="287" y="430"/>
                    </a:lnTo>
                    <a:lnTo>
                      <a:pt x="294" y="428"/>
                    </a:lnTo>
                    <a:lnTo>
                      <a:pt x="296" y="423"/>
                    </a:lnTo>
                    <a:lnTo>
                      <a:pt x="299" y="421"/>
                    </a:lnTo>
                    <a:lnTo>
                      <a:pt x="306" y="419"/>
                    </a:lnTo>
                    <a:lnTo>
                      <a:pt x="317" y="421"/>
                    </a:lnTo>
                    <a:lnTo>
                      <a:pt x="320" y="416"/>
                    </a:lnTo>
                    <a:lnTo>
                      <a:pt x="324" y="416"/>
                    </a:lnTo>
                    <a:lnTo>
                      <a:pt x="327" y="423"/>
                    </a:lnTo>
                    <a:lnTo>
                      <a:pt x="334" y="430"/>
                    </a:lnTo>
                    <a:lnTo>
                      <a:pt x="341" y="431"/>
                    </a:lnTo>
                    <a:lnTo>
                      <a:pt x="351" y="437"/>
                    </a:lnTo>
                    <a:lnTo>
                      <a:pt x="358" y="447"/>
                    </a:lnTo>
                    <a:lnTo>
                      <a:pt x="363" y="459"/>
                    </a:lnTo>
                    <a:lnTo>
                      <a:pt x="360" y="471"/>
                    </a:lnTo>
                    <a:lnTo>
                      <a:pt x="356" y="478"/>
                    </a:lnTo>
                    <a:lnTo>
                      <a:pt x="351" y="485"/>
                    </a:lnTo>
                    <a:lnTo>
                      <a:pt x="349" y="499"/>
                    </a:lnTo>
                    <a:lnTo>
                      <a:pt x="349" y="500"/>
                    </a:lnTo>
                    <a:lnTo>
                      <a:pt x="351" y="504"/>
                    </a:lnTo>
                    <a:lnTo>
                      <a:pt x="356" y="502"/>
                    </a:lnTo>
                    <a:lnTo>
                      <a:pt x="363" y="502"/>
                    </a:lnTo>
                    <a:lnTo>
                      <a:pt x="365" y="504"/>
                    </a:lnTo>
                    <a:lnTo>
                      <a:pt x="367" y="509"/>
                    </a:lnTo>
                    <a:lnTo>
                      <a:pt x="368" y="512"/>
                    </a:lnTo>
                    <a:lnTo>
                      <a:pt x="373" y="516"/>
                    </a:lnTo>
                    <a:lnTo>
                      <a:pt x="377" y="529"/>
                    </a:lnTo>
                    <a:lnTo>
                      <a:pt x="389" y="538"/>
                    </a:lnTo>
                    <a:lnTo>
                      <a:pt x="392" y="536"/>
                    </a:lnTo>
                    <a:lnTo>
                      <a:pt x="397" y="536"/>
                    </a:lnTo>
                    <a:lnTo>
                      <a:pt x="401" y="536"/>
                    </a:lnTo>
                    <a:lnTo>
                      <a:pt x="401" y="540"/>
                    </a:lnTo>
                    <a:lnTo>
                      <a:pt x="404" y="542"/>
                    </a:lnTo>
                    <a:lnTo>
                      <a:pt x="404" y="540"/>
                    </a:lnTo>
                    <a:lnTo>
                      <a:pt x="406" y="538"/>
                    </a:lnTo>
                    <a:lnTo>
                      <a:pt x="406" y="531"/>
                    </a:lnTo>
                    <a:lnTo>
                      <a:pt x="406" y="524"/>
                    </a:lnTo>
                    <a:lnTo>
                      <a:pt x="411" y="523"/>
                    </a:lnTo>
                    <a:lnTo>
                      <a:pt x="420" y="521"/>
                    </a:lnTo>
                    <a:lnTo>
                      <a:pt x="435" y="521"/>
                    </a:lnTo>
                    <a:lnTo>
                      <a:pt x="446" y="517"/>
                    </a:lnTo>
                    <a:lnTo>
                      <a:pt x="456" y="514"/>
                    </a:lnTo>
                    <a:lnTo>
                      <a:pt x="466" y="517"/>
                    </a:lnTo>
                    <a:lnTo>
                      <a:pt x="478" y="521"/>
                    </a:lnTo>
                    <a:lnTo>
                      <a:pt x="483" y="533"/>
                    </a:lnTo>
                    <a:lnTo>
                      <a:pt x="496" y="540"/>
                    </a:lnTo>
                    <a:lnTo>
                      <a:pt x="508" y="542"/>
                    </a:lnTo>
                    <a:lnTo>
                      <a:pt x="520" y="545"/>
                    </a:lnTo>
                    <a:lnTo>
                      <a:pt x="518" y="552"/>
                    </a:lnTo>
                    <a:lnTo>
                      <a:pt x="523" y="559"/>
                    </a:lnTo>
                    <a:lnTo>
                      <a:pt x="526" y="554"/>
                    </a:lnTo>
                    <a:lnTo>
                      <a:pt x="530" y="547"/>
                    </a:lnTo>
                    <a:lnTo>
                      <a:pt x="539" y="542"/>
                    </a:lnTo>
                    <a:lnTo>
                      <a:pt x="547" y="540"/>
                    </a:lnTo>
                    <a:lnTo>
                      <a:pt x="561" y="536"/>
                    </a:lnTo>
                    <a:lnTo>
                      <a:pt x="573" y="531"/>
                    </a:lnTo>
                    <a:lnTo>
                      <a:pt x="575" y="526"/>
                    </a:lnTo>
                    <a:lnTo>
                      <a:pt x="578" y="523"/>
                    </a:lnTo>
                    <a:lnTo>
                      <a:pt x="585" y="524"/>
                    </a:lnTo>
                    <a:lnTo>
                      <a:pt x="592" y="526"/>
                    </a:lnTo>
                    <a:lnTo>
                      <a:pt x="604" y="523"/>
                    </a:lnTo>
                    <a:lnTo>
                      <a:pt x="616" y="517"/>
                    </a:lnTo>
                    <a:lnTo>
                      <a:pt x="623" y="509"/>
                    </a:lnTo>
                    <a:lnTo>
                      <a:pt x="635" y="504"/>
                    </a:lnTo>
                    <a:lnTo>
                      <a:pt x="638" y="500"/>
                    </a:lnTo>
                    <a:lnTo>
                      <a:pt x="642" y="495"/>
                    </a:lnTo>
                    <a:lnTo>
                      <a:pt x="647" y="492"/>
                    </a:lnTo>
                    <a:lnTo>
                      <a:pt x="654" y="483"/>
                    </a:lnTo>
                    <a:lnTo>
                      <a:pt x="657" y="474"/>
                    </a:lnTo>
                    <a:lnTo>
                      <a:pt x="662" y="466"/>
                    </a:lnTo>
                    <a:lnTo>
                      <a:pt x="666" y="457"/>
                    </a:lnTo>
                    <a:lnTo>
                      <a:pt x="673" y="450"/>
                    </a:lnTo>
                    <a:lnTo>
                      <a:pt x="680" y="442"/>
                    </a:lnTo>
                    <a:lnTo>
                      <a:pt x="686" y="438"/>
                    </a:lnTo>
                    <a:lnTo>
                      <a:pt x="686" y="430"/>
                    </a:lnTo>
                    <a:lnTo>
                      <a:pt x="690" y="425"/>
                    </a:lnTo>
                    <a:lnTo>
                      <a:pt x="692" y="416"/>
                    </a:lnTo>
                    <a:lnTo>
                      <a:pt x="695" y="407"/>
                    </a:lnTo>
                    <a:lnTo>
                      <a:pt x="693" y="392"/>
                    </a:lnTo>
                    <a:lnTo>
                      <a:pt x="690" y="382"/>
                    </a:lnTo>
                    <a:lnTo>
                      <a:pt x="685" y="373"/>
                    </a:lnTo>
                    <a:lnTo>
                      <a:pt x="680" y="364"/>
                    </a:lnTo>
                    <a:lnTo>
                      <a:pt x="676" y="358"/>
                    </a:lnTo>
                    <a:lnTo>
                      <a:pt x="674" y="352"/>
                    </a:lnTo>
                    <a:lnTo>
                      <a:pt x="674" y="3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3" name="Freeform 259"/>
              <p:cNvSpPr>
                <a:spLocks/>
              </p:cNvSpPr>
              <p:nvPr/>
            </p:nvSpPr>
            <p:spPr bwMode="auto">
              <a:xfrm>
                <a:off x="8405019" y="1987550"/>
                <a:ext cx="82550" cy="34925"/>
              </a:xfrm>
              <a:custGeom>
                <a:avLst/>
                <a:gdLst/>
                <a:ahLst/>
                <a:cxnLst>
                  <a:cxn ang="0">
                    <a:pos x="6" y="22"/>
                  </a:cxn>
                  <a:cxn ang="0">
                    <a:pos x="0" y="19"/>
                  </a:cxn>
                  <a:cxn ang="0">
                    <a:pos x="0" y="17"/>
                  </a:cxn>
                  <a:cxn ang="0">
                    <a:pos x="2" y="10"/>
                  </a:cxn>
                  <a:cxn ang="0">
                    <a:pos x="9" y="5"/>
                  </a:cxn>
                  <a:cxn ang="0">
                    <a:pos x="16" y="0"/>
                  </a:cxn>
                  <a:cxn ang="0">
                    <a:pos x="25" y="0"/>
                  </a:cxn>
                  <a:cxn ang="0">
                    <a:pos x="31" y="0"/>
                  </a:cxn>
                  <a:cxn ang="0">
                    <a:pos x="40" y="3"/>
                  </a:cxn>
                  <a:cxn ang="0">
                    <a:pos x="49" y="7"/>
                  </a:cxn>
                  <a:cxn ang="0">
                    <a:pos x="52" y="12"/>
                  </a:cxn>
                  <a:cxn ang="0">
                    <a:pos x="45" y="16"/>
                  </a:cxn>
                  <a:cxn ang="0">
                    <a:pos x="30" y="19"/>
                  </a:cxn>
                  <a:cxn ang="0">
                    <a:pos x="14" y="21"/>
                  </a:cxn>
                  <a:cxn ang="0">
                    <a:pos x="6" y="22"/>
                  </a:cxn>
                </a:cxnLst>
                <a:rect l="0" t="0" r="r" b="b"/>
                <a:pathLst>
                  <a:path w="52" h="22">
                    <a:moveTo>
                      <a:pt x="6" y="22"/>
                    </a:moveTo>
                    <a:lnTo>
                      <a:pt x="0" y="19"/>
                    </a:lnTo>
                    <a:lnTo>
                      <a:pt x="0" y="17"/>
                    </a:lnTo>
                    <a:lnTo>
                      <a:pt x="2" y="10"/>
                    </a:lnTo>
                    <a:lnTo>
                      <a:pt x="9" y="5"/>
                    </a:lnTo>
                    <a:lnTo>
                      <a:pt x="16" y="0"/>
                    </a:lnTo>
                    <a:lnTo>
                      <a:pt x="25" y="0"/>
                    </a:lnTo>
                    <a:lnTo>
                      <a:pt x="31" y="0"/>
                    </a:lnTo>
                    <a:lnTo>
                      <a:pt x="40" y="3"/>
                    </a:lnTo>
                    <a:lnTo>
                      <a:pt x="49" y="7"/>
                    </a:lnTo>
                    <a:lnTo>
                      <a:pt x="52" y="12"/>
                    </a:lnTo>
                    <a:lnTo>
                      <a:pt x="45" y="16"/>
                    </a:lnTo>
                    <a:lnTo>
                      <a:pt x="30" y="19"/>
                    </a:lnTo>
                    <a:lnTo>
                      <a:pt x="14" y="21"/>
                    </a:lnTo>
                    <a:lnTo>
                      <a:pt x="6"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4" name="Freeform 260"/>
              <p:cNvSpPr>
                <a:spLocks/>
              </p:cNvSpPr>
              <p:nvPr/>
            </p:nvSpPr>
            <p:spPr bwMode="auto">
              <a:xfrm>
                <a:off x="8162132" y="2055813"/>
                <a:ext cx="33338" cy="15875"/>
              </a:xfrm>
              <a:custGeom>
                <a:avLst/>
                <a:gdLst/>
                <a:ahLst/>
                <a:cxnLst>
                  <a:cxn ang="0">
                    <a:pos x="16" y="10"/>
                  </a:cxn>
                  <a:cxn ang="0">
                    <a:pos x="18" y="7"/>
                  </a:cxn>
                  <a:cxn ang="0">
                    <a:pos x="21" y="5"/>
                  </a:cxn>
                  <a:cxn ang="0">
                    <a:pos x="19" y="2"/>
                  </a:cxn>
                  <a:cxn ang="0">
                    <a:pos x="18" y="0"/>
                  </a:cxn>
                  <a:cxn ang="0">
                    <a:pos x="0" y="0"/>
                  </a:cxn>
                  <a:cxn ang="0">
                    <a:pos x="6" y="7"/>
                  </a:cxn>
                  <a:cxn ang="0">
                    <a:pos x="16" y="10"/>
                  </a:cxn>
                </a:cxnLst>
                <a:rect l="0" t="0" r="r" b="b"/>
                <a:pathLst>
                  <a:path w="21" h="10">
                    <a:moveTo>
                      <a:pt x="16" y="10"/>
                    </a:moveTo>
                    <a:lnTo>
                      <a:pt x="18" y="7"/>
                    </a:lnTo>
                    <a:lnTo>
                      <a:pt x="21" y="5"/>
                    </a:lnTo>
                    <a:lnTo>
                      <a:pt x="19" y="2"/>
                    </a:lnTo>
                    <a:lnTo>
                      <a:pt x="18" y="0"/>
                    </a:lnTo>
                    <a:lnTo>
                      <a:pt x="0" y="0"/>
                    </a:lnTo>
                    <a:lnTo>
                      <a:pt x="6" y="7"/>
                    </a:lnTo>
                    <a:lnTo>
                      <a:pt x="16"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5" name="Freeform 261"/>
              <p:cNvSpPr>
                <a:spLocks/>
              </p:cNvSpPr>
              <p:nvPr/>
            </p:nvSpPr>
            <p:spPr bwMode="auto">
              <a:xfrm>
                <a:off x="7411244" y="1798638"/>
                <a:ext cx="17463" cy="19050"/>
              </a:xfrm>
              <a:custGeom>
                <a:avLst/>
                <a:gdLst/>
                <a:ahLst/>
                <a:cxnLst>
                  <a:cxn ang="0">
                    <a:pos x="11" y="6"/>
                  </a:cxn>
                  <a:cxn ang="0">
                    <a:pos x="6" y="0"/>
                  </a:cxn>
                  <a:cxn ang="0">
                    <a:pos x="2" y="2"/>
                  </a:cxn>
                  <a:cxn ang="0">
                    <a:pos x="0" y="7"/>
                  </a:cxn>
                  <a:cxn ang="0">
                    <a:pos x="0" y="11"/>
                  </a:cxn>
                  <a:cxn ang="0">
                    <a:pos x="6" y="12"/>
                  </a:cxn>
                  <a:cxn ang="0">
                    <a:pos x="7" y="9"/>
                  </a:cxn>
                  <a:cxn ang="0">
                    <a:pos x="11" y="4"/>
                  </a:cxn>
                  <a:cxn ang="0">
                    <a:pos x="9" y="4"/>
                  </a:cxn>
                  <a:cxn ang="0">
                    <a:pos x="11" y="6"/>
                  </a:cxn>
                </a:cxnLst>
                <a:rect l="0" t="0" r="r" b="b"/>
                <a:pathLst>
                  <a:path w="11" h="12">
                    <a:moveTo>
                      <a:pt x="11" y="6"/>
                    </a:moveTo>
                    <a:lnTo>
                      <a:pt x="6" y="0"/>
                    </a:lnTo>
                    <a:lnTo>
                      <a:pt x="2" y="2"/>
                    </a:lnTo>
                    <a:lnTo>
                      <a:pt x="0" y="7"/>
                    </a:lnTo>
                    <a:lnTo>
                      <a:pt x="0" y="11"/>
                    </a:lnTo>
                    <a:lnTo>
                      <a:pt x="6" y="12"/>
                    </a:lnTo>
                    <a:lnTo>
                      <a:pt x="7" y="9"/>
                    </a:lnTo>
                    <a:lnTo>
                      <a:pt x="11" y="4"/>
                    </a:lnTo>
                    <a:lnTo>
                      <a:pt x="9" y="4"/>
                    </a:lnTo>
                    <a:lnTo>
                      <a:pt x="11"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6" name="Freeform 262"/>
              <p:cNvSpPr>
                <a:spLocks/>
              </p:cNvSpPr>
              <p:nvPr/>
            </p:nvSpPr>
            <p:spPr bwMode="auto">
              <a:xfrm>
                <a:off x="6871494" y="1857375"/>
                <a:ext cx="34925" cy="20637"/>
              </a:xfrm>
              <a:custGeom>
                <a:avLst/>
                <a:gdLst/>
                <a:ahLst/>
                <a:cxnLst>
                  <a:cxn ang="0">
                    <a:pos x="22" y="10"/>
                  </a:cxn>
                  <a:cxn ang="0">
                    <a:pos x="17" y="12"/>
                  </a:cxn>
                  <a:cxn ang="0">
                    <a:pos x="12" y="13"/>
                  </a:cxn>
                  <a:cxn ang="0">
                    <a:pos x="3" y="12"/>
                  </a:cxn>
                  <a:cxn ang="0">
                    <a:pos x="0" y="8"/>
                  </a:cxn>
                  <a:cxn ang="0">
                    <a:pos x="3" y="1"/>
                  </a:cxn>
                  <a:cxn ang="0">
                    <a:pos x="12" y="0"/>
                  </a:cxn>
                  <a:cxn ang="0">
                    <a:pos x="19" y="1"/>
                  </a:cxn>
                  <a:cxn ang="0">
                    <a:pos x="22" y="8"/>
                  </a:cxn>
                  <a:cxn ang="0">
                    <a:pos x="20" y="10"/>
                  </a:cxn>
                  <a:cxn ang="0">
                    <a:pos x="19" y="13"/>
                  </a:cxn>
                  <a:cxn ang="0">
                    <a:pos x="22" y="10"/>
                  </a:cxn>
                </a:cxnLst>
                <a:rect l="0" t="0" r="r" b="b"/>
                <a:pathLst>
                  <a:path w="22" h="13">
                    <a:moveTo>
                      <a:pt x="22" y="10"/>
                    </a:moveTo>
                    <a:lnTo>
                      <a:pt x="17" y="12"/>
                    </a:lnTo>
                    <a:lnTo>
                      <a:pt x="12" y="13"/>
                    </a:lnTo>
                    <a:lnTo>
                      <a:pt x="3" y="12"/>
                    </a:lnTo>
                    <a:lnTo>
                      <a:pt x="0" y="8"/>
                    </a:lnTo>
                    <a:lnTo>
                      <a:pt x="3" y="1"/>
                    </a:lnTo>
                    <a:lnTo>
                      <a:pt x="12" y="0"/>
                    </a:lnTo>
                    <a:lnTo>
                      <a:pt x="19" y="1"/>
                    </a:lnTo>
                    <a:lnTo>
                      <a:pt x="22" y="8"/>
                    </a:lnTo>
                    <a:lnTo>
                      <a:pt x="20" y="10"/>
                    </a:lnTo>
                    <a:lnTo>
                      <a:pt x="19" y="13"/>
                    </a:lnTo>
                    <a:lnTo>
                      <a:pt x="22"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7" name="Freeform 263"/>
              <p:cNvSpPr>
                <a:spLocks/>
              </p:cNvSpPr>
              <p:nvPr/>
            </p:nvSpPr>
            <p:spPr bwMode="auto">
              <a:xfrm>
                <a:off x="6587332" y="1624013"/>
                <a:ext cx="139700" cy="76200"/>
              </a:xfrm>
              <a:custGeom>
                <a:avLst/>
                <a:gdLst/>
                <a:ahLst/>
                <a:cxnLst>
                  <a:cxn ang="0">
                    <a:pos x="7" y="48"/>
                  </a:cxn>
                  <a:cxn ang="0">
                    <a:pos x="0" y="47"/>
                  </a:cxn>
                  <a:cxn ang="0">
                    <a:pos x="0" y="42"/>
                  </a:cxn>
                  <a:cxn ang="0">
                    <a:pos x="3" y="33"/>
                  </a:cxn>
                  <a:cxn ang="0">
                    <a:pos x="9" y="31"/>
                  </a:cxn>
                  <a:cxn ang="0">
                    <a:pos x="15" y="21"/>
                  </a:cxn>
                  <a:cxn ang="0">
                    <a:pos x="24" y="11"/>
                  </a:cxn>
                  <a:cxn ang="0">
                    <a:pos x="33" y="2"/>
                  </a:cxn>
                  <a:cxn ang="0">
                    <a:pos x="46" y="0"/>
                  </a:cxn>
                  <a:cxn ang="0">
                    <a:pos x="48" y="0"/>
                  </a:cxn>
                  <a:cxn ang="0">
                    <a:pos x="52" y="0"/>
                  </a:cxn>
                  <a:cxn ang="0">
                    <a:pos x="52" y="6"/>
                  </a:cxn>
                  <a:cxn ang="0">
                    <a:pos x="52" y="11"/>
                  </a:cxn>
                  <a:cxn ang="0">
                    <a:pos x="55" y="7"/>
                  </a:cxn>
                  <a:cxn ang="0">
                    <a:pos x="60" y="6"/>
                  </a:cxn>
                  <a:cxn ang="0">
                    <a:pos x="67" y="7"/>
                  </a:cxn>
                  <a:cxn ang="0">
                    <a:pos x="76" y="12"/>
                  </a:cxn>
                  <a:cxn ang="0">
                    <a:pos x="84" y="19"/>
                  </a:cxn>
                  <a:cxn ang="0">
                    <a:pos x="88" y="26"/>
                  </a:cxn>
                  <a:cxn ang="0">
                    <a:pos x="83" y="31"/>
                  </a:cxn>
                  <a:cxn ang="0">
                    <a:pos x="72" y="36"/>
                  </a:cxn>
                  <a:cxn ang="0">
                    <a:pos x="60" y="36"/>
                  </a:cxn>
                  <a:cxn ang="0">
                    <a:pos x="52" y="38"/>
                  </a:cxn>
                  <a:cxn ang="0">
                    <a:pos x="46" y="38"/>
                  </a:cxn>
                  <a:cxn ang="0">
                    <a:pos x="41" y="40"/>
                  </a:cxn>
                  <a:cxn ang="0">
                    <a:pos x="36" y="40"/>
                  </a:cxn>
                  <a:cxn ang="0">
                    <a:pos x="34" y="42"/>
                  </a:cxn>
                  <a:cxn ang="0">
                    <a:pos x="7" y="48"/>
                  </a:cxn>
                </a:cxnLst>
                <a:rect l="0" t="0" r="r" b="b"/>
                <a:pathLst>
                  <a:path w="88" h="48">
                    <a:moveTo>
                      <a:pt x="7" y="48"/>
                    </a:moveTo>
                    <a:lnTo>
                      <a:pt x="0" y="47"/>
                    </a:lnTo>
                    <a:lnTo>
                      <a:pt x="0" y="42"/>
                    </a:lnTo>
                    <a:lnTo>
                      <a:pt x="3" y="33"/>
                    </a:lnTo>
                    <a:lnTo>
                      <a:pt x="9" y="31"/>
                    </a:lnTo>
                    <a:lnTo>
                      <a:pt x="15" y="21"/>
                    </a:lnTo>
                    <a:lnTo>
                      <a:pt x="24" y="11"/>
                    </a:lnTo>
                    <a:lnTo>
                      <a:pt x="33" y="2"/>
                    </a:lnTo>
                    <a:lnTo>
                      <a:pt x="46" y="0"/>
                    </a:lnTo>
                    <a:lnTo>
                      <a:pt x="48" y="0"/>
                    </a:lnTo>
                    <a:lnTo>
                      <a:pt x="52" y="0"/>
                    </a:lnTo>
                    <a:lnTo>
                      <a:pt x="52" y="6"/>
                    </a:lnTo>
                    <a:lnTo>
                      <a:pt x="52" y="11"/>
                    </a:lnTo>
                    <a:lnTo>
                      <a:pt x="55" y="7"/>
                    </a:lnTo>
                    <a:lnTo>
                      <a:pt x="60" y="6"/>
                    </a:lnTo>
                    <a:lnTo>
                      <a:pt x="67" y="7"/>
                    </a:lnTo>
                    <a:lnTo>
                      <a:pt x="76" y="12"/>
                    </a:lnTo>
                    <a:lnTo>
                      <a:pt x="84" y="19"/>
                    </a:lnTo>
                    <a:lnTo>
                      <a:pt x="88" y="26"/>
                    </a:lnTo>
                    <a:lnTo>
                      <a:pt x="83" y="31"/>
                    </a:lnTo>
                    <a:lnTo>
                      <a:pt x="72" y="36"/>
                    </a:lnTo>
                    <a:lnTo>
                      <a:pt x="60" y="36"/>
                    </a:lnTo>
                    <a:lnTo>
                      <a:pt x="52" y="38"/>
                    </a:lnTo>
                    <a:lnTo>
                      <a:pt x="46" y="38"/>
                    </a:lnTo>
                    <a:lnTo>
                      <a:pt x="41" y="40"/>
                    </a:lnTo>
                    <a:lnTo>
                      <a:pt x="36" y="40"/>
                    </a:lnTo>
                    <a:lnTo>
                      <a:pt x="34" y="42"/>
                    </a:lnTo>
                    <a:lnTo>
                      <a:pt x="7" y="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8" name="Freeform 264"/>
              <p:cNvSpPr>
                <a:spLocks/>
              </p:cNvSpPr>
              <p:nvPr/>
            </p:nvSpPr>
            <p:spPr bwMode="auto">
              <a:xfrm>
                <a:off x="6393657" y="1585913"/>
                <a:ext cx="52388" cy="26987"/>
              </a:xfrm>
              <a:custGeom>
                <a:avLst/>
                <a:gdLst/>
                <a:ahLst/>
                <a:cxnLst>
                  <a:cxn ang="0">
                    <a:pos x="14" y="0"/>
                  </a:cxn>
                  <a:cxn ang="0">
                    <a:pos x="15" y="0"/>
                  </a:cxn>
                  <a:cxn ang="0">
                    <a:pos x="22" y="4"/>
                  </a:cxn>
                  <a:cxn ang="0">
                    <a:pos x="27" y="5"/>
                  </a:cxn>
                  <a:cxn ang="0">
                    <a:pos x="33" y="7"/>
                  </a:cxn>
                  <a:cxn ang="0">
                    <a:pos x="29" y="11"/>
                  </a:cxn>
                  <a:cxn ang="0">
                    <a:pos x="22" y="14"/>
                  </a:cxn>
                  <a:cxn ang="0">
                    <a:pos x="14" y="16"/>
                  </a:cxn>
                  <a:cxn ang="0">
                    <a:pos x="10" y="17"/>
                  </a:cxn>
                  <a:cxn ang="0">
                    <a:pos x="3" y="12"/>
                  </a:cxn>
                  <a:cxn ang="0">
                    <a:pos x="0" y="5"/>
                  </a:cxn>
                  <a:cxn ang="0">
                    <a:pos x="5" y="0"/>
                  </a:cxn>
                  <a:cxn ang="0">
                    <a:pos x="14" y="0"/>
                  </a:cxn>
                </a:cxnLst>
                <a:rect l="0" t="0" r="r" b="b"/>
                <a:pathLst>
                  <a:path w="33" h="17">
                    <a:moveTo>
                      <a:pt x="14" y="0"/>
                    </a:moveTo>
                    <a:lnTo>
                      <a:pt x="15" y="0"/>
                    </a:lnTo>
                    <a:lnTo>
                      <a:pt x="22" y="4"/>
                    </a:lnTo>
                    <a:lnTo>
                      <a:pt x="27" y="5"/>
                    </a:lnTo>
                    <a:lnTo>
                      <a:pt x="33" y="7"/>
                    </a:lnTo>
                    <a:lnTo>
                      <a:pt x="29" y="11"/>
                    </a:lnTo>
                    <a:lnTo>
                      <a:pt x="22" y="14"/>
                    </a:lnTo>
                    <a:lnTo>
                      <a:pt x="14" y="16"/>
                    </a:lnTo>
                    <a:lnTo>
                      <a:pt x="10" y="17"/>
                    </a:lnTo>
                    <a:lnTo>
                      <a:pt x="3" y="12"/>
                    </a:lnTo>
                    <a:lnTo>
                      <a:pt x="0" y="5"/>
                    </a:lnTo>
                    <a:lnTo>
                      <a:pt x="5"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29" name="Freeform 265"/>
              <p:cNvSpPr>
                <a:spLocks/>
              </p:cNvSpPr>
              <p:nvPr/>
            </p:nvSpPr>
            <p:spPr bwMode="auto">
              <a:xfrm>
                <a:off x="6409532" y="1525588"/>
                <a:ext cx="192088" cy="134937"/>
              </a:xfrm>
              <a:custGeom>
                <a:avLst/>
                <a:gdLst/>
                <a:ahLst/>
                <a:cxnLst>
                  <a:cxn ang="0">
                    <a:pos x="115" y="78"/>
                  </a:cxn>
                  <a:cxn ang="0">
                    <a:pos x="110" y="81"/>
                  </a:cxn>
                  <a:cxn ang="0">
                    <a:pos x="105" y="85"/>
                  </a:cxn>
                  <a:cxn ang="0">
                    <a:pos x="88" y="81"/>
                  </a:cxn>
                  <a:cxn ang="0">
                    <a:pos x="74" y="80"/>
                  </a:cxn>
                  <a:cxn ang="0">
                    <a:pos x="60" y="76"/>
                  </a:cxn>
                  <a:cxn ang="0">
                    <a:pos x="48" y="76"/>
                  </a:cxn>
                  <a:cxn ang="0">
                    <a:pos x="41" y="73"/>
                  </a:cxn>
                  <a:cxn ang="0">
                    <a:pos x="35" y="68"/>
                  </a:cxn>
                  <a:cxn ang="0">
                    <a:pos x="26" y="61"/>
                  </a:cxn>
                  <a:cxn ang="0">
                    <a:pos x="21" y="57"/>
                  </a:cxn>
                  <a:cxn ang="0">
                    <a:pos x="31" y="52"/>
                  </a:cxn>
                  <a:cxn ang="0">
                    <a:pos x="40" y="49"/>
                  </a:cxn>
                  <a:cxn ang="0">
                    <a:pos x="47" y="45"/>
                  </a:cxn>
                  <a:cxn ang="0">
                    <a:pos x="59" y="42"/>
                  </a:cxn>
                  <a:cxn ang="0">
                    <a:pos x="52" y="40"/>
                  </a:cxn>
                  <a:cxn ang="0">
                    <a:pos x="47" y="40"/>
                  </a:cxn>
                  <a:cxn ang="0">
                    <a:pos x="40" y="40"/>
                  </a:cxn>
                  <a:cxn ang="0">
                    <a:pos x="38" y="40"/>
                  </a:cxn>
                  <a:cxn ang="0">
                    <a:pos x="26" y="38"/>
                  </a:cxn>
                  <a:cxn ang="0">
                    <a:pos x="17" y="37"/>
                  </a:cxn>
                  <a:cxn ang="0">
                    <a:pos x="9" y="33"/>
                  </a:cxn>
                  <a:cxn ang="0">
                    <a:pos x="0" y="30"/>
                  </a:cxn>
                  <a:cxn ang="0">
                    <a:pos x="12" y="21"/>
                  </a:cxn>
                  <a:cxn ang="0">
                    <a:pos x="26" y="12"/>
                  </a:cxn>
                  <a:cxn ang="0">
                    <a:pos x="36" y="4"/>
                  </a:cxn>
                  <a:cxn ang="0">
                    <a:pos x="53" y="0"/>
                  </a:cxn>
                  <a:cxn ang="0">
                    <a:pos x="62" y="2"/>
                  </a:cxn>
                  <a:cxn ang="0">
                    <a:pos x="71" y="7"/>
                  </a:cxn>
                  <a:cxn ang="0">
                    <a:pos x="78" y="12"/>
                  </a:cxn>
                  <a:cxn ang="0">
                    <a:pos x="84" y="19"/>
                  </a:cxn>
                  <a:cxn ang="0">
                    <a:pos x="79" y="19"/>
                  </a:cxn>
                  <a:cxn ang="0">
                    <a:pos x="78" y="19"/>
                  </a:cxn>
                  <a:cxn ang="0">
                    <a:pos x="78" y="26"/>
                  </a:cxn>
                  <a:cxn ang="0">
                    <a:pos x="78" y="30"/>
                  </a:cxn>
                  <a:cxn ang="0">
                    <a:pos x="74" y="35"/>
                  </a:cxn>
                  <a:cxn ang="0">
                    <a:pos x="69" y="40"/>
                  </a:cxn>
                  <a:cxn ang="0">
                    <a:pos x="74" y="38"/>
                  </a:cxn>
                  <a:cxn ang="0">
                    <a:pos x="79" y="40"/>
                  </a:cxn>
                  <a:cxn ang="0">
                    <a:pos x="86" y="42"/>
                  </a:cxn>
                  <a:cxn ang="0">
                    <a:pos x="95" y="45"/>
                  </a:cxn>
                  <a:cxn ang="0">
                    <a:pos x="100" y="45"/>
                  </a:cxn>
                  <a:cxn ang="0">
                    <a:pos x="105" y="45"/>
                  </a:cxn>
                  <a:cxn ang="0">
                    <a:pos x="114" y="47"/>
                  </a:cxn>
                  <a:cxn ang="0">
                    <a:pos x="121" y="54"/>
                  </a:cxn>
                  <a:cxn ang="0">
                    <a:pos x="115" y="59"/>
                  </a:cxn>
                  <a:cxn ang="0">
                    <a:pos x="117" y="64"/>
                  </a:cxn>
                  <a:cxn ang="0">
                    <a:pos x="112" y="68"/>
                  </a:cxn>
                  <a:cxn ang="0">
                    <a:pos x="107" y="71"/>
                  </a:cxn>
                  <a:cxn ang="0">
                    <a:pos x="112" y="73"/>
                  </a:cxn>
                  <a:cxn ang="0">
                    <a:pos x="115" y="78"/>
                  </a:cxn>
                </a:cxnLst>
                <a:rect l="0" t="0" r="r" b="b"/>
                <a:pathLst>
                  <a:path w="121" h="85">
                    <a:moveTo>
                      <a:pt x="115" y="78"/>
                    </a:moveTo>
                    <a:lnTo>
                      <a:pt x="110" y="81"/>
                    </a:lnTo>
                    <a:lnTo>
                      <a:pt x="105" y="85"/>
                    </a:lnTo>
                    <a:lnTo>
                      <a:pt x="88" y="81"/>
                    </a:lnTo>
                    <a:lnTo>
                      <a:pt x="74" y="80"/>
                    </a:lnTo>
                    <a:lnTo>
                      <a:pt x="60" y="76"/>
                    </a:lnTo>
                    <a:lnTo>
                      <a:pt x="48" y="76"/>
                    </a:lnTo>
                    <a:lnTo>
                      <a:pt x="41" y="73"/>
                    </a:lnTo>
                    <a:lnTo>
                      <a:pt x="35" y="68"/>
                    </a:lnTo>
                    <a:lnTo>
                      <a:pt x="26" y="61"/>
                    </a:lnTo>
                    <a:lnTo>
                      <a:pt x="21" y="57"/>
                    </a:lnTo>
                    <a:lnTo>
                      <a:pt x="31" y="52"/>
                    </a:lnTo>
                    <a:lnTo>
                      <a:pt x="40" y="49"/>
                    </a:lnTo>
                    <a:lnTo>
                      <a:pt x="47" y="45"/>
                    </a:lnTo>
                    <a:lnTo>
                      <a:pt x="59" y="42"/>
                    </a:lnTo>
                    <a:lnTo>
                      <a:pt x="52" y="40"/>
                    </a:lnTo>
                    <a:lnTo>
                      <a:pt x="47" y="40"/>
                    </a:lnTo>
                    <a:lnTo>
                      <a:pt x="40" y="40"/>
                    </a:lnTo>
                    <a:lnTo>
                      <a:pt x="38" y="40"/>
                    </a:lnTo>
                    <a:lnTo>
                      <a:pt x="26" y="38"/>
                    </a:lnTo>
                    <a:lnTo>
                      <a:pt x="17" y="37"/>
                    </a:lnTo>
                    <a:lnTo>
                      <a:pt x="9" y="33"/>
                    </a:lnTo>
                    <a:lnTo>
                      <a:pt x="0" y="30"/>
                    </a:lnTo>
                    <a:lnTo>
                      <a:pt x="12" y="21"/>
                    </a:lnTo>
                    <a:lnTo>
                      <a:pt x="26" y="12"/>
                    </a:lnTo>
                    <a:lnTo>
                      <a:pt x="36" y="4"/>
                    </a:lnTo>
                    <a:lnTo>
                      <a:pt x="53" y="0"/>
                    </a:lnTo>
                    <a:lnTo>
                      <a:pt x="62" y="2"/>
                    </a:lnTo>
                    <a:lnTo>
                      <a:pt x="71" y="7"/>
                    </a:lnTo>
                    <a:lnTo>
                      <a:pt x="78" y="12"/>
                    </a:lnTo>
                    <a:lnTo>
                      <a:pt x="84" y="19"/>
                    </a:lnTo>
                    <a:lnTo>
                      <a:pt x="79" y="19"/>
                    </a:lnTo>
                    <a:lnTo>
                      <a:pt x="78" y="19"/>
                    </a:lnTo>
                    <a:lnTo>
                      <a:pt x="78" y="26"/>
                    </a:lnTo>
                    <a:lnTo>
                      <a:pt x="78" y="30"/>
                    </a:lnTo>
                    <a:lnTo>
                      <a:pt x="74" y="35"/>
                    </a:lnTo>
                    <a:lnTo>
                      <a:pt x="69" y="40"/>
                    </a:lnTo>
                    <a:lnTo>
                      <a:pt x="74" y="38"/>
                    </a:lnTo>
                    <a:lnTo>
                      <a:pt x="79" y="40"/>
                    </a:lnTo>
                    <a:lnTo>
                      <a:pt x="86" y="42"/>
                    </a:lnTo>
                    <a:lnTo>
                      <a:pt x="95" y="45"/>
                    </a:lnTo>
                    <a:lnTo>
                      <a:pt x="100" y="45"/>
                    </a:lnTo>
                    <a:lnTo>
                      <a:pt x="105" y="45"/>
                    </a:lnTo>
                    <a:lnTo>
                      <a:pt x="114" y="47"/>
                    </a:lnTo>
                    <a:lnTo>
                      <a:pt x="121" y="54"/>
                    </a:lnTo>
                    <a:lnTo>
                      <a:pt x="115" y="59"/>
                    </a:lnTo>
                    <a:lnTo>
                      <a:pt x="117" y="64"/>
                    </a:lnTo>
                    <a:lnTo>
                      <a:pt x="112" y="68"/>
                    </a:lnTo>
                    <a:lnTo>
                      <a:pt x="107" y="71"/>
                    </a:lnTo>
                    <a:lnTo>
                      <a:pt x="112" y="73"/>
                    </a:lnTo>
                    <a:lnTo>
                      <a:pt x="11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0" name="Freeform 266"/>
              <p:cNvSpPr>
                <a:spLocks/>
              </p:cNvSpPr>
              <p:nvPr/>
            </p:nvSpPr>
            <p:spPr bwMode="auto">
              <a:xfrm>
                <a:off x="6493669" y="1739900"/>
                <a:ext cx="22225" cy="15875"/>
              </a:xfrm>
              <a:custGeom>
                <a:avLst/>
                <a:gdLst/>
                <a:ahLst/>
                <a:cxnLst>
                  <a:cxn ang="0">
                    <a:pos x="0" y="5"/>
                  </a:cxn>
                  <a:cxn ang="0">
                    <a:pos x="4" y="1"/>
                  </a:cxn>
                  <a:cxn ang="0">
                    <a:pos x="7" y="0"/>
                  </a:cxn>
                  <a:cxn ang="0">
                    <a:pos x="14" y="0"/>
                  </a:cxn>
                  <a:cxn ang="0">
                    <a:pos x="11" y="6"/>
                  </a:cxn>
                  <a:cxn ang="0">
                    <a:pos x="4" y="10"/>
                  </a:cxn>
                  <a:cxn ang="0">
                    <a:pos x="0" y="6"/>
                  </a:cxn>
                  <a:cxn ang="0">
                    <a:pos x="0" y="5"/>
                  </a:cxn>
                </a:cxnLst>
                <a:rect l="0" t="0" r="r" b="b"/>
                <a:pathLst>
                  <a:path w="14" h="10">
                    <a:moveTo>
                      <a:pt x="0" y="5"/>
                    </a:moveTo>
                    <a:lnTo>
                      <a:pt x="4" y="1"/>
                    </a:lnTo>
                    <a:lnTo>
                      <a:pt x="7" y="0"/>
                    </a:lnTo>
                    <a:lnTo>
                      <a:pt x="14" y="0"/>
                    </a:lnTo>
                    <a:lnTo>
                      <a:pt x="11" y="6"/>
                    </a:lnTo>
                    <a:lnTo>
                      <a:pt x="4" y="10"/>
                    </a:lnTo>
                    <a:lnTo>
                      <a:pt x="0" y="6"/>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1" name="Freeform 267"/>
              <p:cNvSpPr>
                <a:spLocks/>
              </p:cNvSpPr>
              <p:nvPr/>
            </p:nvSpPr>
            <p:spPr bwMode="auto">
              <a:xfrm>
                <a:off x="6371432" y="1528763"/>
                <a:ext cx="33338" cy="6350"/>
              </a:xfrm>
              <a:custGeom>
                <a:avLst/>
                <a:gdLst/>
                <a:ahLst/>
                <a:cxnLst>
                  <a:cxn ang="0">
                    <a:pos x="21" y="4"/>
                  </a:cxn>
                  <a:cxn ang="0">
                    <a:pos x="9" y="4"/>
                  </a:cxn>
                  <a:cxn ang="0">
                    <a:pos x="0" y="0"/>
                  </a:cxn>
                  <a:cxn ang="0">
                    <a:pos x="19" y="0"/>
                  </a:cxn>
                  <a:cxn ang="0">
                    <a:pos x="21" y="4"/>
                  </a:cxn>
                </a:cxnLst>
                <a:rect l="0" t="0" r="r" b="b"/>
                <a:pathLst>
                  <a:path w="21" h="4">
                    <a:moveTo>
                      <a:pt x="21" y="4"/>
                    </a:moveTo>
                    <a:lnTo>
                      <a:pt x="9" y="4"/>
                    </a:lnTo>
                    <a:lnTo>
                      <a:pt x="0" y="0"/>
                    </a:lnTo>
                    <a:lnTo>
                      <a:pt x="19" y="0"/>
                    </a:lnTo>
                    <a:lnTo>
                      <a:pt x="21"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2" name="Freeform 268"/>
              <p:cNvSpPr>
                <a:spLocks/>
              </p:cNvSpPr>
              <p:nvPr/>
            </p:nvSpPr>
            <p:spPr bwMode="auto">
              <a:xfrm>
                <a:off x="6754019" y="1684338"/>
                <a:ext cx="23813" cy="11112"/>
              </a:xfrm>
              <a:custGeom>
                <a:avLst/>
                <a:gdLst/>
                <a:ahLst/>
                <a:cxnLst>
                  <a:cxn ang="0">
                    <a:pos x="15" y="0"/>
                  </a:cxn>
                  <a:cxn ang="0">
                    <a:pos x="14" y="4"/>
                  </a:cxn>
                  <a:cxn ang="0">
                    <a:pos x="8" y="7"/>
                  </a:cxn>
                  <a:cxn ang="0">
                    <a:pos x="2" y="4"/>
                  </a:cxn>
                  <a:cxn ang="0">
                    <a:pos x="0" y="2"/>
                  </a:cxn>
                  <a:cxn ang="0">
                    <a:pos x="10" y="0"/>
                  </a:cxn>
                  <a:cxn ang="0">
                    <a:pos x="15" y="0"/>
                  </a:cxn>
                </a:cxnLst>
                <a:rect l="0" t="0" r="r" b="b"/>
                <a:pathLst>
                  <a:path w="15" h="7">
                    <a:moveTo>
                      <a:pt x="15" y="0"/>
                    </a:moveTo>
                    <a:lnTo>
                      <a:pt x="14" y="4"/>
                    </a:lnTo>
                    <a:lnTo>
                      <a:pt x="8" y="7"/>
                    </a:lnTo>
                    <a:lnTo>
                      <a:pt x="2" y="4"/>
                    </a:lnTo>
                    <a:lnTo>
                      <a:pt x="0" y="2"/>
                    </a:lnTo>
                    <a:lnTo>
                      <a:pt x="10"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3" name="Freeform 269"/>
              <p:cNvSpPr>
                <a:spLocks/>
              </p:cNvSpPr>
              <p:nvPr/>
            </p:nvSpPr>
            <p:spPr bwMode="auto">
              <a:xfrm>
                <a:off x="5320507" y="1547813"/>
                <a:ext cx="163513" cy="49212"/>
              </a:xfrm>
              <a:custGeom>
                <a:avLst/>
                <a:gdLst/>
                <a:ahLst/>
                <a:cxnLst>
                  <a:cxn ang="0">
                    <a:pos x="88" y="16"/>
                  </a:cxn>
                  <a:cxn ang="0">
                    <a:pos x="76" y="17"/>
                  </a:cxn>
                  <a:cxn ang="0">
                    <a:pos x="67" y="21"/>
                  </a:cxn>
                  <a:cxn ang="0">
                    <a:pos x="60" y="26"/>
                  </a:cxn>
                  <a:cxn ang="0">
                    <a:pos x="57" y="31"/>
                  </a:cxn>
                  <a:cxn ang="0">
                    <a:pos x="52" y="28"/>
                  </a:cxn>
                  <a:cxn ang="0">
                    <a:pos x="52" y="26"/>
                  </a:cxn>
                  <a:cxn ang="0">
                    <a:pos x="52" y="26"/>
                  </a:cxn>
                  <a:cxn ang="0">
                    <a:pos x="41" y="24"/>
                  </a:cxn>
                  <a:cxn ang="0">
                    <a:pos x="38" y="21"/>
                  </a:cxn>
                  <a:cxn ang="0">
                    <a:pos x="41" y="17"/>
                  </a:cxn>
                  <a:cxn ang="0">
                    <a:pos x="48" y="16"/>
                  </a:cxn>
                  <a:cxn ang="0">
                    <a:pos x="41" y="16"/>
                  </a:cxn>
                  <a:cxn ang="0">
                    <a:pos x="38" y="16"/>
                  </a:cxn>
                  <a:cxn ang="0">
                    <a:pos x="41" y="12"/>
                  </a:cxn>
                  <a:cxn ang="0">
                    <a:pos x="46" y="11"/>
                  </a:cxn>
                  <a:cxn ang="0">
                    <a:pos x="39" y="7"/>
                  </a:cxn>
                  <a:cxn ang="0">
                    <a:pos x="34" y="5"/>
                  </a:cxn>
                  <a:cxn ang="0">
                    <a:pos x="22" y="9"/>
                  </a:cxn>
                  <a:cxn ang="0">
                    <a:pos x="12" y="12"/>
                  </a:cxn>
                  <a:cxn ang="0">
                    <a:pos x="5" y="11"/>
                  </a:cxn>
                  <a:cxn ang="0">
                    <a:pos x="0" y="11"/>
                  </a:cxn>
                  <a:cxn ang="0">
                    <a:pos x="5" y="4"/>
                  </a:cxn>
                  <a:cxn ang="0">
                    <a:pos x="17" y="2"/>
                  </a:cxn>
                  <a:cxn ang="0">
                    <a:pos x="29" y="0"/>
                  </a:cxn>
                  <a:cxn ang="0">
                    <a:pos x="39" y="0"/>
                  </a:cxn>
                  <a:cxn ang="0">
                    <a:pos x="55" y="4"/>
                  </a:cxn>
                  <a:cxn ang="0">
                    <a:pos x="69" y="7"/>
                  </a:cxn>
                  <a:cxn ang="0">
                    <a:pos x="77" y="4"/>
                  </a:cxn>
                  <a:cxn ang="0">
                    <a:pos x="88" y="0"/>
                  </a:cxn>
                  <a:cxn ang="0">
                    <a:pos x="96" y="2"/>
                  </a:cxn>
                  <a:cxn ang="0">
                    <a:pos x="103" y="5"/>
                  </a:cxn>
                  <a:cxn ang="0">
                    <a:pos x="96" y="12"/>
                  </a:cxn>
                  <a:cxn ang="0">
                    <a:pos x="89" y="16"/>
                  </a:cxn>
                  <a:cxn ang="0">
                    <a:pos x="86" y="16"/>
                  </a:cxn>
                  <a:cxn ang="0">
                    <a:pos x="84" y="16"/>
                  </a:cxn>
                  <a:cxn ang="0">
                    <a:pos x="84" y="21"/>
                  </a:cxn>
                  <a:cxn ang="0">
                    <a:pos x="88" y="16"/>
                  </a:cxn>
                </a:cxnLst>
                <a:rect l="0" t="0" r="r" b="b"/>
                <a:pathLst>
                  <a:path w="103" h="31">
                    <a:moveTo>
                      <a:pt x="88" y="16"/>
                    </a:moveTo>
                    <a:lnTo>
                      <a:pt x="76" y="17"/>
                    </a:lnTo>
                    <a:lnTo>
                      <a:pt x="67" y="21"/>
                    </a:lnTo>
                    <a:lnTo>
                      <a:pt x="60" y="26"/>
                    </a:lnTo>
                    <a:lnTo>
                      <a:pt x="57" y="31"/>
                    </a:lnTo>
                    <a:lnTo>
                      <a:pt x="52" y="28"/>
                    </a:lnTo>
                    <a:lnTo>
                      <a:pt x="52" y="26"/>
                    </a:lnTo>
                    <a:lnTo>
                      <a:pt x="52" y="26"/>
                    </a:lnTo>
                    <a:lnTo>
                      <a:pt x="41" y="24"/>
                    </a:lnTo>
                    <a:lnTo>
                      <a:pt x="38" y="21"/>
                    </a:lnTo>
                    <a:lnTo>
                      <a:pt x="41" y="17"/>
                    </a:lnTo>
                    <a:lnTo>
                      <a:pt x="48" y="16"/>
                    </a:lnTo>
                    <a:lnTo>
                      <a:pt x="41" y="16"/>
                    </a:lnTo>
                    <a:lnTo>
                      <a:pt x="38" y="16"/>
                    </a:lnTo>
                    <a:lnTo>
                      <a:pt x="41" y="12"/>
                    </a:lnTo>
                    <a:lnTo>
                      <a:pt x="46" y="11"/>
                    </a:lnTo>
                    <a:lnTo>
                      <a:pt x="39" y="7"/>
                    </a:lnTo>
                    <a:lnTo>
                      <a:pt x="34" y="5"/>
                    </a:lnTo>
                    <a:lnTo>
                      <a:pt x="22" y="9"/>
                    </a:lnTo>
                    <a:lnTo>
                      <a:pt x="12" y="12"/>
                    </a:lnTo>
                    <a:lnTo>
                      <a:pt x="5" y="11"/>
                    </a:lnTo>
                    <a:lnTo>
                      <a:pt x="0" y="11"/>
                    </a:lnTo>
                    <a:lnTo>
                      <a:pt x="5" y="4"/>
                    </a:lnTo>
                    <a:lnTo>
                      <a:pt x="17" y="2"/>
                    </a:lnTo>
                    <a:lnTo>
                      <a:pt x="29" y="0"/>
                    </a:lnTo>
                    <a:lnTo>
                      <a:pt x="39" y="0"/>
                    </a:lnTo>
                    <a:lnTo>
                      <a:pt x="55" y="4"/>
                    </a:lnTo>
                    <a:lnTo>
                      <a:pt x="69" y="7"/>
                    </a:lnTo>
                    <a:lnTo>
                      <a:pt x="77" y="4"/>
                    </a:lnTo>
                    <a:lnTo>
                      <a:pt x="88" y="0"/>
                    </a:lnTo>
                    <a:lnTo>
                      <a:pt x="96" y="2"/>
                    </a:lnTo>
                    <a:lnTo>
                      <a:pt x="103" y="5"/>
                    </a:lnTo>
                    <a:lnTo>
                      <a:pt x="96" y="12"/>
                    </a:lnTo>
                    <a:lnTo>
                      <a:pt x="89" y="16"/>
                    </a:lnTo>
                    <a:lnTo>
                      <a:pt x="86" y="16"/>
                    </a:lnTo>
                    <a:lnTo>
                      <a:pt x="84" y="16"/>
                    </a:lnTo>
                    <a:lnTo>
                      <a:pt x="84" y="21"/>
                    </a:lnTo>
                    <a:lnTo>
                      <a:pt x="88"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4" name="Freeform 270"/>
              <p:cNvSpPr>
                <a:spLocks/>
              </p:cNvSpPr>
              <p:nvPr/>
            </p:nvSpPr>
            <p:spPr bwMode="auto">
              <a:xfrm>
                <a:off x="5744369" y="1517650"/>
                <a:ext cx="57150" cy="36512"/>
              </a:xfrm>
              <a:custGeom>
                <a:avLst/>
                <a:gdLst/>
                <a:ahLst/>
                <a:cxnLst>
                  <a:cxn ang="0">
                    <a:pos x="8" y="23"/>
                  </a:cxn>
                  <a:cxn ang="0">
                    <a:pos x="1" y="19"/>
                  </a:cxn>
                  <a:cxn ang="0">
                    <a:pos x="0" y="14"/>
                  </a:cxn>
                  <a:cxn ang="0">
                    <a:pos x="1" y="9"/>
                  </a:cxn>
                  <a:cxn ang="0">
                    <a:pos x="10" y="4"/>
                  </a:cxn>
                  <a:cxn ang="0">
                    <a:pos x="18" y="0"/>
                  </a:cxn>
                  <a:cxn ang="0">
                    <a:pos x="29" y="0"/>
                  </a:cxn>
                  <a:cxn ang="0">
                    <a:pos x="36" y="16"/>
                  </a:cxn>
                  <a:cxn ang="0">
                    <a:pos x="29" y="17"/>
                  </a:cxn>
                  <a:cxn ang="0">
                    <a:pos x="22" y="19"/>
                  </a:cxn>
                  <a:cxn ang="0">
                    <a:pos x="12" y="21"/>
                  </a:cxn>
                  <a:cxn ang="0">
                    <a:pos x="8" y="23"/>
                  </a:cxn>
                </a:cxnLst>
                <a:rect l="0" t="0" r="r" b="b"/>
                <a:pathLst>
                  <a:path w="36" h="23">
                    <a:moveTo>
                      <a:pt x="8" y="23"/>
                    </a:moveTo>
                    <a:lnTo>
                      <a:pt x="1" y="19"/>
                    </a:lnTo>
                    <a:lnTo>
                      <a:pt x="0" y="14"/>
                    </a:lnTo>
                    <a:lnTo>
                      <a:pt x="1" y="9"/>
                    </a:lnTo>
                    <a:lnTo>
                      <a:pt x="10" y="4"/>
                    </a:lnTo>
                    <a:lnTo>
                      <a:pt x="18" y="0"/>
                    </a:lnTo>
                    <a:lnTo>
                      <a:pt x="29" y="0"/>
                    </a:lnTo>
                    <a:lnTo>
                      <a:pt x="36" y="16"/>
                    </a:lnTo>
                    <a:lnTo>
                      <a:pt x="29" y="17"/>
                    </a:lnTo>
                    <a:lnTo>
                      <a:pt x="22" y="19"/>
                    </a:lnTo>
                    <a:lnTo>
                      <a:pt x="12" y="21"/>
                    </a:lnTo>
                    <a:lnTo>
                      <a:pt x="8"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5" name="Freeform 271"/>
              <p:cNvSpPr>
                <a:spLocks/>
              </p:cNvSpPr>
              <p:nvPr/>
            </p:nvSpPr>
            <p:spPr bwMode="auto">
              <a:xfrm>
                <a:off x="5669757" y="1539875"/>
                <a:ext cx="60325" cy="34925"/>
              </a:xfrm>
              <a:custGeom>
                <a:avLst/>
                <a:gdLst/>
                <a:ahLst/>
                <a:cxnLst>
                  <a:cxn ang="0">
                    <a:pos x="38" y="5"/>
                  </a:cxn>
                  <a:cxn ang="0">
                    <a:pos x="38" y="9"/>
                  </a:cxn>
                  <a:cxn ang="0">
                    <a:pos x="38" y="12"/>
                  </a:cxn>
                  <a:cxn ang="0">
                    <a:pos x="31" y="16"/>
                  </a:cxn>
                  <a:cxn ang="0">
                    <a:pos x="26" y="16"/>
                  </a:cxn>
                  <a:cxn ang="0">
                    <a:pos x="28" y="21"/>
                  </a:cxn>
                  <a:cxn ang="0">
                    <a:pos x="21" y="21"/>
                  </a:cxn>
                  <a:cxn ang="0">
                    <a:pos x="12" y="22"/>
                  </a:cxn>
                  <a:cxn ang="0">
                    <a:pos x="4" y="21"/>
                  </a:cxn>
                  <a:cxn ang="0">
                    <a:pos x="0" y="21"/>
                  </a:cxn>
                  <a:cxn ang="0">
                    <a:pos x="2" y="10"/>
                  </a:cxn>
                  <a:cxn ang="0">
                    <a:pos x="10" y="7"/>
                  </a:cxn>
                  <a:cxn ang="0">
                    <a:pos x="9" y="2"/>
                  </a:cxn>
                  <a:cxn ang="0">
                    <a:pos x="10" y="0"/>
                  </a:cxn>
                  <a:cxn ang="0">
                    <a:pos x="26" y="0"/>
                  </a:cxn>
                  <a:cxn ang="0">
                    <a:pos x="24" y="3"/>
                  </a:cxn>
                  <a:cxn ang="0">
                    <a:pos x="22" y="5"/>
                  </a:cxn>
                  <a:cxn ang="0">
                    <a:pos x="28" y="5"/>
                  </a:cxn>
                  <a:cxn ang="0">
                    <a:pos x="38" y="5"/>
                  </a:cxn>
                </a:cxnLst>
                <a:rect l="0" t="0" r="r" b="b"/>
                <a:pathLst>
                  <a:path w="38" h="22">
                    <a:moveTo>
                      <a:pt x="38" y="5"/>
                    </a:moveTo>
                    <a:lnTo>
                      <a:pt x="38" y="9"/>
                    </a:lnTo>
                    <a:lnTo>
                      <a:pt x="38" y="12"/>
                    </a:lnTo>
                    <a:lnTo>
                      <a:pt x="31" y="16"/>
                    </a:lnTo>
                    <a:lnTo>
                      <a:pt x="26" y="16"/>
                    </a:lnTo>
                    <a:lnTo>
                      <a:pt x="28" y="21"/>
                    </a:lnTo>
                    <a:lnTo>
                      <a:pt x="21" y="21"/>
                    </a:lnTo>
                    <a:lnTo>
                      <a:pt x="12" y="22"/>
                    </a:lnTo>
                    <a:lnTo>
                      <a:pt x="4" y="21"/>
                    </a:lnTo>
                    <a:lnTo>
                      <a:pt x="0" y="21"/>
                    </a:lnTo>
                    <a:lnTo>
                      <a:pt x="2" y="10"/>
                    </a:lnTo>
                    <a:lnTo>
                      <a:pt x="10" y="7"/>
                    </a:lnTo>
                    <a:lnTo>
                      <a:pt x="9" y="2"/>
                    </a:lnTo>
                    <a:lnTo>
                      <a:pt x="10" y="0"/>
                    </a:lnTo>
                    <a:lnTo>
                      <a:pt x="26" y="0"/>
                    </a:lnTo>
                    <a:lnTo>
                      <a:pt x="24" y="3"/>
                    </a:lnTo>
                    <a:lnTo>
                      <a:pt x="22" y="5"/>
                    </a:lnTo>
                    <a:lnTo>
                      <a:pt x="28" y="5"/>
                    </a:lnTo>
                    <a:lnTo>
                      <a:pt x="3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6" name="Freeform 272"/>
              <p:cNvSpPr>
                <a:spLocks/>
              </p:cNvSpPr>
              <p:nvPr/>
            </p:nvSpPr>
            <p:spPr bwMode="auto">
              <a:xfrm>
                <a:off x="5587207" y="1573213"/>
                <a:ext cx="63500" cy="20637"/>
              </a:xfrm>
              <a:custGeom>
                <a:avLst/>
                <a:gdLst/>
                <a:ahLst/>
                <a:cxnLst>
                  <a:cxn ang="0">
                    <a:pos x="23" y="13"/>
                  </a:cxn>
                  <a:cxn ang="0">
                    <a:pos x="18" y="10"/>
                  </a:cxn>
                  <a:cxn ang="0">
                    <a:pos x="14" y="8"/>
                  </a:cxn>
                  <a:cxn ang="0">
                    <a:pos x="11" y="12"/>
                  </a:cxn>
                  <a:cxn ang="0">
                    <a:pos x="6" y="13"/>
                  </a:cxn>
                  <a:cxn ang="0">
                    <a:pos x="2" y="12"/>
                  </a:cxn>
                  <a:cxn ang="0">
                    <a:pos x="0" y="10"/>
                  </a:cxn>
                  <a:cxn ang="0">
                    <a:pos x="2" y="3"/>
                  </a:cxn>
                  <a:cxn ang="0">
                    <a:pos x="11" y="1"/>
                  </a:cxn>
                  <a:cxn ang="0">
                    <a:pos x="18" y="0"/>
                  </a:cxn>
                  <a:cxn ang="0">
                    <a:pos x="26" y="0"/>
                  </a:cxn>
                  <a:cxn ang="0">
                    <a:pos x="35" y="0"/>
                  </a:cxn>
                  <a:cxn ang="0">
                    <a:pos x="40" y="5"/>
                  </a:cxn>
                  <a:cxn ang="0">
                    <a:pos x="30" y="8"/>
                  </a:cxn>
                  <a:cxn ang="0">
                    <a:pos x="23" y="13"/>
                  </a:cxn>
                </a:cxnLst>
                <a:rect l="0" t="0" r="r" b="b"/>
                <a:pathLst>
                  <a:path w="40" h="13">
                    <a:moveTo>
                      <a:pt x="23" y="13"/>
                    </a:moveTo>
                    <a:lnTo>
                      <a:pt x="18" y="10"/>
                    </a:lnTo>
                    <a:lnTo>
                      <a:pt x="14" y="8"/>
                    </a:lnTo>
                    <a:lnTo>
                      <a:pt x="11" y="12"/>
                    </a:lnTo>
                    <a:lnTo>
                      <a:pt x="6" y="13"/>
                    </a:lnTo>
                    <a:lnTo>
                      <a:pt x="2" y="12"/>
                    </a:lnTo>
                    <a:lnTo>
                      <a:pt x="0" y="10"/>
                    </a:lnTo>
                    <a:lnTo>
                      <a:pt x="2" y="3"/>
                    </a:lnTo>
                    <a:lnTo>
                      <a:pt x="11" y="1"/>
                    </a:lnTo>
                    <a:lnTo>
                      <a:pt x="18" y="0"/>
                    </a:lnTo>
                    <a:lnTo>
                      <a:pt x="26" y="0"/>
                    </a:lnTo>
                    <a:lnTo>
                      <a:pt x="35" y="0"/>
                    </a:lnTo>
                    <a:lnTo>
                      <a:pt x="40" y="5"/>
                    </a:lnTo>
                    <a:lnTo>
                      <a:pt x="30" y="8"/>
                    </a:lnTo>
                    <a:lnTo>
                      <a:pt x="23"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7" name="Freeform 273"/>
              <p:cNvSpPr>
                <a:spLocks/>
              </p:cNvSpPr>
              <p:nvPr/>
            </p:nvSpPr>
            <p:spPr bwMode="auto">
              <a:xfrm>
                <a:off x="5552282" y="1498600"/>
                <a:ext cx="95250" cy="66675"/>
              </a:xfrm>
              <a:custGeom>
                <a:avLst/>
                <a:gdLst/>
                <a:ahLst/>
                <a:cxnLst>
                  <a:cxn ang="0">
                    <a:pos x="45" y="36"/>
                  </a:cxn>
                  <a:cxn ang="0">
                    <a:pos x="35" y="38"/>
                  </a:cxn>
                  <a:cxn ang="0">
                    <a:pos x="26" y="42"/>
                  </a:cxn>
                  <a:cxn ang="0">
                    <a:pos x="19" y="38"/>
                  </a:cxn>
                  <a:cxn ang="0">
                    <a:pos x="12" y="36"/>
                  </a:cxn>
                  <a:cxn ang="0">
                    <a:pos x="4" y="33"/>
                  </a:cxn>
                  <a:cxn ang="0">
                    <a:pos x="0" y="33"/>
                  </a:cxn>
                  <a:cxn ang="0">
                    <a:pos x="4" y="29"/>
                  </a:cxn>
                  <a:cxn ang="0">
                    <a:pos x="7" y="26"/>
                  </a:cxn>
                  <a:cxn ang="0">
                    <a:pos x="28" y="26"/>
                  </a:cxn>
                  <a:cxn ang="0">
                    <a:pos x="22" y="23"/>
                  </a:cxn>
                  <a:cxn ang="0">
                    <a:pos x="19" y="26"/>
                  </a:cxn>
                  <a:cxn ang="0">
                    <a:pos x="19" y="19"/>
                  </a:cxn>
                  <a:cxn ang="0">
                    <a:pos x="26" y="16"/>
                  </a:cxn>
                  <a:cxn ang="0">
                    <a:pos x="35" y="14"/>
                  </a:cxn>
                  <a:cxn ang="0">
                    <a:pos x="40" y="9"/>
                  </a:cxn>
                  <a:cxn ang="0">
                    <a:pos x="50" y="9"/>
                  </a:cxn>
                  <a:cxn ang="0">
                    <a:pos x="52" y="2"/>
                  </a:cxn>
                  <a:cxn ang="0">
                    <a:pos x="59" y="0"/>
                  </a:cxn>
                  <a:cxn ang="0">
                    <a:pos x="59" y="2"/>
                  </a:cxn>
                  <a:cxn ang="0">
                    <a:pos x="60" y="7"/>
                  </a:cxn>
                  <a:cxn ang="0">
                    <a:pos x="57" y="9"/>
                  </a:cxn>
                  <a:cxn ang="0">
                    <a:pos x="55" y="12"/>
                  </a:cxn>
                  <a:cxn ang="0">
                    <a:pos x="41" y="19"/>
                  </a:cxn>
                  <a:cxn ang="0">
                    <a:pos x="33" y="26"/>
                  </a:cxn>
                  <a:cxn ang="0">
                    <a:pos x="40" y="26"/>
                  </a:cxn>
                  <a:cxn ang="0">
                    <a:pos x="47" y="28"/>
                  </a:cxn>
                  <a:cxn ang="0">
                    <a:pos x="53" y="29"/>
                  </a:cxn>
                  <a:cxn ang="0">
                    <a:pos x="60" y="35"/>
                  </a:cxn>
                  <a:cxn ang="0">
                    <a:pos x="53" y="35"/>
                  </a:cxn>
                  <a:cxn ang="0">
                    <a:pos x="45" y="36"/>
                  </a:cxn>
                </a:cxnLst>
                <a:rect l="0" t="0" r="r" b="b"/>
                <a:pathLst>
                  <a:path w="60" h="42">
                    <a:moveTo>
                      <a:pt x="45" y="36"/>
                    </a:moveTo>
                    <a:lnTo>
                      <a:pt x="35" y="38"/>
                    </a:lnTo>
                    <a:lnTo>
                      <a:pt x="26" y="42"/>
                    </a:lnTo>
                    <a:lnTo>
                      <a:pt x="19" y="38"/>
                    </a:lnTo>
                    <a:lnTo>
                      <a:pt x="12" y="36"/>
                    </a:lnTo>
                    <a:lnTo>
                      <a:pt x="4" y="33"/>
                    </a:lnTo>
                    <a:lnTo>
                      <a:pt x="0" y="33"/>
                    </a:lnTo>
                    <a:lnTo>
                      <a:pt x="4" y="29"/>
                    </a:lnTo>
                    <a:lnTo>
                      <a:pt x="7" y="26"/>
                    </a:lnTo>
                    <a:lnTo>
                      <a:pt x="28" y="26"/>
                    </a:lnTo>
                    <a:lnTo>
                      <a:pt x="22" y="23"/>
                    </a:lnTo>
                    <a:lnTo>
                      <a:pt x="19" y="26"/>
                    </a:lnTo>
                    <a:lnTo>
                      <a:pt x="19" y="19"/>
                    </a:lnTo>
                    <a:lnTo>
                      <a:pt x="26" y="16"/>
                    </a:lnTo>
                    <a:lnTo>
                      <a:pt x="35" y="14"/>
                    </a:lnTo>
                    <a:lnTo>
                      <a:pt x="40" y="9"/>
                    </a:lnTo>
                    <a:lnTo>
                      <a:pt x="50" y="9"/>
                    </a:lnTo>
                    <a:lnTo>
                      <a:pt x="52" y="2"/>
                    </a:lnTo>
                    <a:lnTo>
                      <a:pt x="59" y="0"/>
                    </a:lnTo>
                    <a:lnTo>
                      <a:pt x="59" y="2"/>
                    </a:lnTo>
                    <a:lnTo>
                      <a:pt x="60" y="7"/>
                    </a:lnTo>
                    <a:lnTo>
                      <a:pt x="57" y="9"/>
                    </a:lnTo>
                    <a:lnTo>
                      <a:pt x="55" y="12"/>
                    </a:lnTo>
                    <a:lnTo>
                      <a:pt x="41" y="19"/>
                    </a:lnTo>
                    <a:lnTo>
                      <a:pt x="33" y="26"/>
                    </a:lnTo>
                    <a:lnTo>
                      <a:pt x="40" y="26"/>
                    </a:lnTo>
                    <a:lnTo>
                      <a:pt x="47" y="28"/>
                    </a:lnTo>
                    <a:lnTo>
                      <a:pt x="53" y="29"/>
                    </a:lnTo>
                    <a:lnTo>
                      <a:pt x="60" y="35"/>
                    </a:lnTo>
                    <a:lnTo>
                      <a:pt x="53" y="35"/>
                    </a:lnTo>
                    <a:lnTo>
                      <a:pt x="45"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8" name="Freeform 274"/>
              <p:cNvSpPr>
                <a:spLocks/>
              </p:cNvSpPr>
              <p:nvPr/>
            </p:nvSpPr>
            <p:spPr bwMode="auto">
              <a:xfrm>
                <a:off x="4553744" y="1597025"/>
                <a:ext cx="322263" cy="174625"/>
              </a:xfrm>
              <a:custGeom>
                <a:avLst/>
                <a:gdLst/>
                <a:ahLst/>
                <a:cxnLst>
                  <a:cxn ang="0">
                    <a:pos x="168" y="84"/>
                  </a:cxn>
                  <a:cxn ang="0">
                    <a:pos x="158" y="81"/>
                  </a:cxn>
                  <a:cxn ang="0">
                    <a:pos x="151" y="72"/>
                  </a:cxn>
                  <a:cxn ang="0">
                    <a:pos x="148" y="59"/>
                  </a:cxn>
                  <a:cxn ang="0">
                    <a:pos x="148" y="52"/>
                  </a:cxn>
                  <a:cxn ang="0">
                    <a:pos x="142" y="47"/>
                  </a:cxn>
                  <a:cxn ang="0">
                    <a:pos x="127" y="47"/>
                  </a:cxn>
                  <a:cxn ang="0">
                    <a:pos x="115" y="67"/>
                  </a:cxn>
                  <a:cxn ang="0">
                    <a:pos x="108" y="81"/>
                  </a:cxn>
                  <a:cxn ang="0">
                    <a:pos x="98" y="88"/>
                  </a:cxn>
                  <a:cxn ang="0">
                    <a:pos x="92" y="103"/>
                  </a:cxn>
                  <a:cxn ang="0">
                    <a:pos x="75" y="103"/>
                  </a:cxn>
                  <a:cxn ang="0">
                    <a:pos x="53" y="90"/>
                  </a:cxn>
                  <a:cxn ang="0">
                    <a:pos x="62" y="78"/>
                  </a:cxn>
                  <a:cxn ang="0">
                    <a:pos x="75" y="76"/>
                  </a:cxn>
                  <a:cxn ang="0">
                    <a:pos x="80" y="72"/>
                  </a:cxn>
                  <a:cxn ang="0">
                    <a:pos x="65" y="72"/>
                  </a:cxn>
                  <a:cxn ang="0">
                    <a:pos x="55" y="72"/>
                  </a:cxn>
                  <a:cxn ang="0">
                    <a:pos x="44" y="72"/>
                  </a:cxn>
                  <a:cxn ang="0">
                    <a:pos x="48" y="62"/>
                  </a:cxn>
                  <a:cxn ang="0">
                    <a:pos x="62" y="57"/>
                  </a:cxn>
                  <a:cxn ang="0">
                    <a:pos x="77" y="52"/>
                  </a:cxn>
                  <a:cxn ang="0">
                    <a:pos x="74" y="48"/>
                  </a:cxn>
                  <a:cxn ang="0">
                    <a:pos x="65" y="45"/>
                  </a:cxn>
                  <a:cxn ang="0">
                    <a:pos x="60" y="43"/>
                  </a:cxn>
                  <a:cxn ang="0">
                    <a:pos x="51" y="50"/>
                  </a:cxn>
                  <a:cxn ang="0">
                    <a:pos x="32" y="55"/>
                  </a:cxn>
                  <a:cxn ang="0">
                    <a:pos x="29" y="48"/>
                  </a:cxn>
                  <a:cxn ang="0">
                    <a:pos x="19" y="40"/>
                  </a:cxn>
                  <a:cxn ang="0">
                    <a:pos x="13" y="29"/>
                  </a:cxn>
                  <a:cxn ang="0">
                    <a:pos x="0" y="17"/>
                  </a:cxn>
                  <a:cxn ang="0">
                    <a:pos x="17" y="5"/>
                  </a:cxn>
                  <a:cxn ang="0">
                    <a:pos x="43" y="7"/>
                  </a:cxn>
                  <a:cxn ang="0">
                    <a:pos x="37" y="14"/>
                  </a:cxn>
                  <a:cxn ang="0">
                    <a:pos x="51" y="23"/>
                  </a:cxn>
                  <a:cxn ang="0">
                    <a:pos x="48" y="16"/>
                  </a:cxn>
                  <a:cxn ang="0">
                    <a:pos x="56" y="7"/>
                  </a:cxn>
                  <a:cxn ang="0">
                    <a:pos x="67" y="16"/>
                  </a:cxn>
                  <a:cxn ang="0">
                    <a:pos x="79" y="29"/>
                  </a:cxn>
                  <a:cxn ang="0">
                    <a:pos x="72" y="7"/>
                  </a:cxn>
                  <a:cxn ang="0">
                    <a:pos x="82" y="0"/>
                  </a:cxn>
                  <a:cxn ang="0">
                    <a:pos x="94" y="2"/>
                  </a:cxn>
                  <a:cxn ang="0">
                    <a:pos x="103" y="9"/>
                  </a:cxn>
                  <a:cxn ang="0">
                    <a:pos x="101" y="19"/>
                  </a:cxn>
                  <a:cxn ang="0">
                    <a:pos x="110" y="12"/>
                  </a:cxn>
                  <a:cxn ang="0">
                    <a:pos x="117" y="24"/>
                  </a:cxn>
                  <a:cxn ang="0">
                    <a:pos x="122" y="26"/>
                  </a:cxn>
                  <a:cxn ang="0">
                    <a:pos x="142" y="33"/>
                  </a:cxn>
                  <a:cxn ang="0">
                    <a:pos x="163" y="47"/>
                  </a:cxn>
                  <a:cxn ang="0">
                    <a:pos x="158" y="48"/>
                  </a:cxn>
                  <a:cxn ang="0">
                    <a:pos x="166" y="48"/>
                  </a:cxn>
                  <a:cxn ang="0">
                    <a:pos x="166" y="55"/>
                  </a:cxn>
                  <a:cxn ang="0">
                    <a:pos x="182" y="55"/>
                  </a:cxn>
                  <a:cxn ang="0">
                    <a:pos x="189" y="67"/>
                  </a:cxn>
                  <a:cxn ang="0">
                    <a:pos x="203" y="72"/>
                  </a:cxn>
                  <a:cxn ang="0">
                    <a:pos x="185" y="81"/>
                  </a:cxn>
                  <a:cxn ang="0">
                    <a:pos x="170" y="91"/>
                  </a:cxn>
                </a:cxnLst>
                <a:rect l="0" t="0" r="r" b="b"/>
                <a:pathLst>
                  <a:path w="203" h="110">
                    <a:moveTo>
                      <a:pt x="170" y="91"/>
                    </a:moveTo>
                    <a:lnTo>
                      <a:pt x="168" y="84"/>
                    </a:lnTo>
                    <a:lnTo>
                      <a:pt x="170" y="81"/>
                    </a:lnTo>
                    <a:lnTo>
                      <a:pt x="158" y="81"/>
                    </a:lnTo>
                    <a:lnTo>
                      <a:pt x="148" y="81"/>
                    </a:lnTo>
                    <a:lnTo>
                      <a:pt x="151" y="72"/>
                    </a:lnTo>
                    <a:lnTo>
                      <a:pt x="154" y="65"/>
                    </a:lnTo>
                    <a:lnTo>
                      <a:pt x="148" y="59"/>
                    </a:lnTo>
                    <a:lnTo>
                      <a:pt x="144" y="52"/>
                    </a:lnTo>
                    <a:lnTo>
                      <a:pt x="148" y="52"/>
                    </a:lnTo>
                    <a:lnTo>
                      <a:pt x="151" y="52"/>
                    </a:lnTo>
                    <a:lnTo>
                      <a:pt x="142" y="47"/>
                    </a:lnTo>
                    <a:lnTo>
                      <a:pt x="139" y="43"/>
                    </a:lnTo>
                    <a:lnTo>
                      <a:pt x="127" y="47"/>
                    </a:lnTo>
                    <a:lnTo>
                      <a:pt x="120" y="55"/>
                    </a:lnTo>
                    <a:lnTo>
                      <a:pt x="115" y="67"/>
                    </a:lnTo>
                    <a:lnTo>
                      <a:pt x="111" y="79"/>
                    </a:lnTo>
                    <a:lnTo>
                      <a:pt x="108" y="81"/>
                    </a:lnTo>
                    <a:lnTo>
                      <a:pt x="105" y="83"/>
                    </a:lnTo>
                    <a:lnTo>
                      <a:pt x="98" y="88"/>
                    </a:lnTo>
                    <a:lnTo>
                      <a:pt x="96" y="96"/>
                    </a:lnTo>
                    <a:lnTo>
                      <a:pt x="92" y="103"/>
                    </a:lnTo>
                    <a:lnTo>
                      <a:pt x="89" y="110"/>
                    </a:lnTo>
                    <a:lnTo>
                      <a:pt x="75" y="103"/>
                    </a:lnTo>
                    <a:lnTo>
                      <a:pt x="63" y="98"/>
                    </a:lnTo>
                    <a:lnTo>
                      <a:pt x="53" y="90"/>
                    </a:lnTo>
                    <a:lnTo>
                      <a:pt x="49" y="79"/>
                    </a:lnTo>
                    <a:lnTo>
                      <a:pt x="62" y="78"/>
                    </a:lnTo>
                    <a:lnTo>
                      <a:pt x="68" y="79"/>
                    </a:lnTo>
                    <a:lnTo>
                      <a:pt x="75" y="76"/>
                    </a:lnTo>
                    <a:lnTo>
                      <a:pt x="86" y="76"/>
                    </a:lnTo>
                    <a:lnTo>
                      <a:pt x="80" y="72"/>
                    </a:lnTo>
                    <a:lnTo>
                      <a:pt x="74" y="72"/>
                    </a:lnTo>
                    <a:lnTo>
                      <a:pt x="65" y="72"/>
                    </a:lnTo>
                    <a:lnTo>
                      <a:pt x="62" y="72"/>
                    </a:lnTo>
                    <a:lnTo>
                      <a:pt x="55" y="72"/>
                    </a:lnTo>
                    <a:lnTo>
                      <a:pt x="49" y="74"/>
                    </a:lnTo>
                    <a:lnTo>
                      <a:pt x="44" y="72"/>
                    </a:lnTo>
                    <a:lnTo>
                      <a:pt x="43" y="65"/>
                    </a:lnTo>
                    <a:lnTo>
                      <a:pt x="48" y="62"/>
                    </a:lnTo>
                    <a:lnTo>
                      <a:pt x="58" y="60"/>
                    </a:lnTo>
                    <a:lnTo>
                      <a:pt x="62" y="57"/>
                    </a:lnTo>
                    <a:lnTo>
                      <a:pt x="70" y="55"/>
                    </a:lnTo>
                    <a:lnTo>
                      <a:pt x="77" y="52"/>
                    </a:lnTo>
                    <a:lnTo>
                      <a:pt x="84" y="48"/>
                    </a:lnTo>
                    <a:lnTo>
                      <a:pt x="74" y="48"/>
                    </a:lnTo>
                    <a:lnTo>
                      <a:pt x="70" y="48"/>
                    </a:lnTo>
                    <a:lnTo>
                      <a:pt x="65" y="45"/>
                    </a:lnTo>
                    <a:lnTo>
                      <a:pt x="62" y="43"/>
                    </a:lnTo>
                    <a:lnTo>
                      <a:pt x="60" y="43"/>
                    </a:lnTo>
                    <a:lnTo>
                      <a:pt x="58" y="43"/>
                    </a:lnTo>
                    <a:lnTo>
                      <a:pt x="51" y="50"/>
                    </a:lnTo>
                    <a:lnTo>
                      <a:pt x="43" y="57"/>
                    </a:lnTo>
                    <a:lnTo>
                      <a:pt x="32" y="55"/>
                    </a:lnTo>
                    <a:lnTo>
                      <a:pt x="27" y="50"/>
                    </a:lnTo>
                    <a:lnTo>
                      <a:pt x="29" y="48"/>
                    </a:lnTo>
                    <a:lnTo>
                      <a:pt x="31" y="48"/>
                    </a:lnTo>
                    <a:lnTo>
                      <a:pt x="19" y="40"/>
                    </a:lnTo>
                    <a:lnTo>
                      <a:pt x="17" y="31"/>
                    </a:lnTo>
                    <a:lnTo>
                      <a:pt x="13" y="29"/>
                    </a:lnTo>
                    <a:lnTo>
                      <a:pt x="7" y="24"/>
                    </a:lnTo>
                    <a:lnTo>
                      <a:pt x="0" y="17"/>
                    </a:lnTo>
                    <a:lnTo>
                      <a:pt x="7" y="10"/>
                    </a:lnTo>
                    <a:lnTo>
                      <a:pt x="17" y="5"/>
                    </a:lnTo>
                    <a:lnTo>
                      <a:pt x="27" y="5"/>
                    </a:lnTo>
                    <a:lnTo>
                      <a:pt x="43" y="7"/>
                    </a:lnTo>
                    <a:lnTo>
                      <a:pt x="39" y="10"/>
                    </a:lnTo>
                    <a:lnTo>
                      <a:pt x="37" y="14"/>
                    </a:lnTo>
                    <a:lnTo>
                      <a:pt x="44" y="17"/>
                    </a:lnTo>
                    <a:lnTo>
                      <a:pt x="51" y="23"/>
                    </a:lnTo>
                    <a:lnTo>
                      <a:pt x="48" y="19"/>
                    </a:lnTo>
                    <a:lnTo>
                      <a:pt x="48" y="16"/>
                    </a:lnTo>
                    <a:lnTo>
                      <a:pt x="49" y="9"/>
                    </a:lnTo>
                    <a:lnTo>
                      <a:pt x="56" y="7"/>
                    </a:lnTo>
                    <a:lnTo>
                      <a:pt x="63" y="9"/>
                    </a:lnTo>
                    <a:lnTo>
                      <a:pt x="67" y="16"/>
                    </a:lnTo>
                    <a:lnTo>
                      <a:pt x="70" y="23"/>
                    </a:lnTo>
                    <a:lnTo>
                      <a:pt x="79" y="29"/>
                    </a:lnTo>
                    <a:lnTo>
                      <a:pt x="74" y="17"/>
                    </a:lnTo>
                    <a:lnTo>
                      <a:pt x="72" y="7"/>
                    </a:lnTo>
                    <a:lnTo>
                      <a:pt x="74" y="0"/>
                    </a:lnTo>
                    <a:lnTo>
                      <a:pt x="82" y="0"/>
                    </a:lnTo>
                    <a:lnTo>
                      <a:pt x="87" y="0"/>
                    </a:lnTo>
                    <a:lnTo>
                      <a:pt x="94" y="2"/>
                    </a:lnTo>
                    <a:lnTo>
                      <a:pt x="99" y="4"/>
                    </a:lnTo>
                    <a:lnTo>
                      <a:pt x="103" y="9"/>
                    </a:lnTo>
                    <a:lnTo>
                      <a:pt x="101" y="14"/>
                    </a:lnTo>
                    <a:lnTo>
                      <a:pt x="101" y="19"/>
                    </a:lnTo>
                    <a:lnTo>
                      <a:pt x="105" y="14"/>
                    </a:lnTo>
                    <a:lnTo>
                      <a:pt x="110" y="12"/>
                    </a:lnTo>
                    <a:lnTo>
                      <a:pt x="117" y="16"/>
                    </a:lnTo>
                    <a:lnTo>
                      <a:pt x="117" y="24"/>
                    </a:lnTo>
                    <a:lnTo>
                      <a:pt x="118" y="24"/>
                    </a:lnTo>
                    <a:lnTo>
                      <a:pt x="122" y="26"/>
                    </a:lnTo>
                    <a:lnTo>
                      <a:pt x="129" y="28"/>
                    </a:lnTo>
                    <a:lnTo>
                      <a:pt x="142" y="33"/>
                    </a:lnTo>
                    <a:lnTo>
                      <a:pt x="154" y="40"/>
                    </a:lnTo>
                    <a:lnTo>
                      <a:pt x="163" y="47"/>
                    </a:lnTo>
                    <a:lnTo>
                      <a:pt x="160" y="47"/>
                    </a:lnTo>
                    <a:lnTo>
                      <a:pt x="158" y="48"/>
                    </a:lnTo>
                    <a:lnTo>
                      <a:pt x="161" y="48"/>
                    </a:lnTo>
                    <a:lnTo>
                      <a:pt x="166" y="48"/>
                    </a:lnTo>
                    <a:lnTo>
                      <a:pt x="166" y="52"/>
                    </a:lnTo>
                    <a:lnTo>
                      <a:pt x="166" y="55"/>
                    </a:lnTo>
                    <a:lnTo>
                      <a:pt x="173" y="55"/>
                    </a:lnTo>
                    <a:lnTo>
                      <a:pt x="182" y="55"/>
                    </a:lnTo>
                    <a:lnTo>
                      <a:pt x="184" y="62"/>
                    </a:lnTo>
                    <a:lnTo>
                      <a:pt x="189" y="67"/>
                    </a:lnTo>
                    <a:lnTo>
                      <a:pt x="196" y="69"/>
                    </a:lnTo>
                    <a:lnTo>
                      <a:pt x="203" y="72"/>
                    </a:lnTo>
                    <a:lnTo>
                      <a:pt x="192" y="76"/>
                    </a:lnTo>
                    <a:lnTo>
                      <a:pt x="185" y="81"/>
                    </a:lnTo>
                    <a:lnTo>
                      <a:pt x="177" y="86"/>
                    </a:lnTo>
                    <a:lnTo>
                      <a:pt x="170"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39" name="Freeform 275"/>
              <p:cNvSpPr>
                <a:spLocks/>
              </p:cNvSpPr>
              <p:nvPr/>
            </p:nvSpPr>
            <p:spPr bwMode="auto">
              <a:xfrm>
                <a:off x="4722019" y="1570038"/>
                <a:ext cx="207963" cy="73025"/>
              </a:xfrm>
              <a:custGeom>
                <a:avLst/>
                <a:gdLst/>
                <a:ahLst/>
                <a:cxnLst>
                  <a:cxn ang="0">
                    <a:pos x="131" y="21"/>
                  </a:cxn>
                  <a:cxn ang="0">
                    <a:pos x="119" y="27"/>
                  </a:cxn>
                  <a:cxn ang="0">
                    <a:pos x="105" y="36"/>
                  </a:cxn>
                  <a:cxn ang="0">
                    <a:pos x="90" y="43"/>
                  </a:cxn>
                  <a:cxn ang="0">
                    <a:pos x="79" y="46"/>
                  </a:cxn>
                  <a:cxn ang="0">
                    <a:pos x="67" y="43"/>
                  </a:cxn>
                  <a:cxn ang="0">
                    <a:pos x="62" y="38"/>
                  </a:cxn>
                  <a:cxn ang="0">
                    <a:pos x="33" y="38"/>
                  </a:cxn>
                  <a:cxn ang="0">
                    <a:pos x="26" y="34"/>
                  </a:cxn>
                  <a:cxn ang="0">
                    <a:pos x="26" y="29"/>
                  </a:cxn>
                  <a:cxn ang="0">
                    <a:pos x="31" y="29"/>
                  </a:cxn>
                  <a:cxn ang="0">
                    <a:pos x="36" y="29"/>
                  </a:cxn>
                  <a:cxn ang="0">
                    <a:pos x="42" y="27"/>
                  </a:cxn>
                  <a:cxn ang="0">
                    <a:pos x="48" y="26"/>
                  </a:cxn>
                  <a:cxn ang="0">
                    <a:pos x="43" y="24"/>
                  </a:cxn>
                  <a:cxn ang="0">
                    <a:pos x="36" y="24"/>
                  </a:cxn>
                  <a:cxn ang="0">
                    <a:pos x="28" y="24"/>
                  </a:cxn>
                  <a:cxn ang="0">
                    <a:pos x="24" y="24"/>
                  </a:cxn>
                  <a:cxn ang="0">
                    <a:pos x="11" y="26"/>
                  </a:cxn>
                  <a:cxn ang="0">
                    <a:pos x="7" y="19"/>
                  </a:cxn>
                  <a:cxn ang="0">
                    <a:pos x="2" y="14"/>
                  </a:cxn>
                  <a:cxn ang="0">
                    <a:pos x="0" y="7"/>
                  </a:cxn>
                  <a:cxn ang="0">
                    <a:pos x="7" y="7"/>
                  </a:cxn>
                  <a:cxn ang="0">
                    <a:pos x="12" y="9"/>
                  </a:cxn>
                  <a:cxn ang="0">
                    <a:pos x="17" y="9"/>
                  </a:cxn>
                  <a:cxn ang="0">
                    <a:pos x="17" y="7"/>
                  </a:cxn>
                  <a:cxn ang="0">
                    <a:pos x="26" y="7"/>
                  </a:cxn>
                  <a:cxn ang="0">
                    <a:pos x="23" y="2"/>
                  </a:cxn>
                  <a:cxn ang="0">
                    <a:pos x="38" y="2"/>
                  </a:cxn>
                  <a:cxn ang="0">
                    <a:pos x="40" y="3"/>
                  </a:cxn>
                  <a:cxn ang="0">
                    <a:pos x="47" y="7"/>
                  </a:cxn>
                  <a:cxn ang="0">
                    <a:pos x="52" y="9"/>
                  </a:cxn>
                  <a:cxn ang="0">
                    <a:pos x="57" y="12"/>
                  </a:cxn>
                  <a:cxn ang="0">
                    <a:pos x="64" y="5"/>
                  </a:cxn>
                  <a:cxn ang="0">
                    <a:pos x="71" y="0"/>
                  </a:cxn>
                  <a:cxn ang="0">
                    <a:pos x="76" y="0"/>
                  </a:cxn>
                  <a:cxn ang="0">
                    <a:pos x="76" y="7"/>
                  </a:cxn>
                  <a:cxn ang="0">
                    <a:pos x="76" y="12"/>
                  </a:cxn>
                  <a:cxn ang="0">
                    <a:pos x="83" y="9"/>
                  </a:cxn>
                  <a:cxn ang="0">
                    <a:pos x="91" y="7"/>
                  </a:cxn>
                  <a:cxn ang="0">
                    <a:pos x="102" y="7"/>
                  </a:cxn>
                  <a:cxn ang="0">
                    <a:pos x="109" y="7"/>
                  </a:cxn>
                  <a:cxn ang="0">
                    <a:pos x="122" y="10"/>
                  </a:cxn>
                  <a:cxn ang="0">
                    <a:pos x="131" y="21"/>
                  </a:cxn>
                </a:cxnLst>
                <a:rect l="0" t="0" r="r" b="b"/>
                <a:pathLst>
                  <a:path w="131" h="46">
                    <a:moveTo>
                      <a:pt x="131" y="21"/>
                    </a:moveTo>
                    <a:lnTo>
                      <a:pt x="119" y="27"/>
                    </a:lnTo>
                    <a:lnTo>
                      <a:pt x="105" y="36"/>
                    </a:lnTo>
                    <a:lnTo>
                      <a:pt x="90" y="43"/>
                    </a:lnTo>
                    <a:lnTo>
                      <a:pt x="79" y="46"/>
                    </a:lnTo>
                    <a:lnTo>
                      <a:pt x="67" y="43"/>
                    </a:lnTo>
                    <a:lnTo>
                      <a:pt x="62" y="38"/>
                    </a:lnTo>
                    <a:lnTo>
                      <a:pt x="33" y="38"/>
                    </a:lnTo>
                    <a:lnTo>
                      <a:pt x="26" y="34"/>
                    </a:lnTo>
                    <a:lnTo>
                      <a:pt x="26" y="29"/>
                    </a:lnTo>
                    <a:lnTo>
                      <a:pt x="31" y="29"/>
                    </a:lnTo>
                    <a:lnTo>
                      <a:pt x="36" y="29"/>
                    </a:lnTo>
                    <a:lnTo>
                      <a:pt x="42" y="27"/>
                    </a:lnTo>
                    <a:lnTo>
                      <a:pt x="48" y="26"/>
                    </a:lnTo>
                    <a:lnTo>
                      <a:pt x="43" y="24"/>
                    </a:lnTo>
                    <a:lnTo>
                      <a:pt x="36" y="24"/>
                    </a:lnTo>
                    <a:lnTo>
                      <a:pt x="28" y="24"/>
                    </a:lnTo>
                    <a:lnTo>
                      <a:pt x="24" y="24"/>
                    </a:lnTo>
                    <a:lnTo>
                      <a:pt x="11" y="26"/>
                    </a:lnTo>
                    <a:lnTo>
                      <a:pt x="7" y="19"/>
                    </a:lnTo>
                    <a:lnTo>
                      <a:pt x="2" y="14"/>
                    </a:lnTo>
                    <a:lnTo>
                      <a:pt x="0" y="7"/>
                    </a:lnTo>
                    <a:lnTo>
                      <a:pt x="7" y="7"/>
                    </a:lnTo>
                    <a:lnTo>
                      <a:pt x="12" y="9"/>
                    </a:lnTo>
                    <a:lnTo>
                      <a:pt x="17" y="9"/>
                    </a:lnTo>
                    <a:lnTo>
                      <a:pt x="17" y="7"/>
                    </a:lnTo>
                    <a:lnTo>
                      <a:pt x="26" y="7"/>
                    </a:lnTo>
                    <a:lnTo>
                      <a:pt x="23" y="2"/>
                    </a:lnTo>
                    <a:lnTo>
                      <a:pt x="38" y="2"/>
                    </a:lnTo>
                    <a:lnTo>
                      <a:pt x="40" y="3"/>
                    </a:lnTo>
                    <a:lnTo>
                      <a:pt x="47" y="7"/>
                    </a:lnTo>
                    <a:lnTo>
                      <a:pt x="52" y="9"/>
                    </a:lnTo>
                    <a:lnTo>
                      <a:pt x="57" y="12"/>
                    </a:lnTo>
                    <a:lnTo>
                      <a:pt x="64" y="5"/>
                    </a:lnTo>
                    <a:lnTo>
                      <a:pt x="71" y="0"/>
                    </a:lnTo>
                    <a:lnTo>
                      <a:pt x="76" y="0"/>
                    </a:lnTo>
                    <a:lnTo>
                      <a:pt x="76" y="7"/>
                    </a:lnTo>
                    <a:lnTo>
                      <a:pt x="76" y="12"/>
                    </a:lnTo>
                    <a:lnTo>
                      <a:pt x="83" y="9"/>
                    </a:lnTo>
                    <a:lnTo>
                      <a:pt x="91" y="7"/>
                    </a:lnTo>
                    <a:lnTo>
                      <a:pt x="102" y="7"/>
                    </a:lnTo>
                    <a:lnTo>
                      <a:pt x="109" y="7"/>
                    </a:lnTo>
                    <a:lnTo>
                      <a:pt x="122" y="10"/>
                    </a:lnTo>
                    <a:lnTo>
                      <a:pt x="131"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0" name="Freeform 276"/>
              <p:cNvSpPr>
                <a:spLocks/>
              </p:cNvSpPr>
              <p:nvPr/>
            </p:nvSpPr>
            <p:spPr bwMode="auto">
              <a:xfrm>
                <a:off x="4547394" y="1654175"/>
                <a:ext cx="33338" cy="33337"/>
              </a:xfrm>
              <a:custGeom>
                <a:avLst/>
                <a:gdLst/>
                <a:ahLst/>
                <a:cxnLst>
                  <a:cxn ang="0">
                    <a:pos x="4" y="0"/>
                  </a:cxn>
                  <a:cxn ang="0">
                    <a:pos x="12" y="9"/>
                  </a:cxn>
                  <a:cxn ang="0">
                    <a:pos x="21" y="21"/>
                  </a:cxn>
                  <a:cxn ang="0">
                    <a:pos x="12" y="16"/>
                  </a:cxn>
                  <a:cxn ang="0">
                    <a:pos x="5" y="11"/>
                  </a:cxn>
                  <a:cxn ang="0">
                    <a:pos x="0" y="4"/>
                  </a:cxn>
                  <a:cxn ang="0">
                    <a:pos x="5" y="0"/>
                  </a:cxn>
                  <a:cxn ang="0">
                    <a:pos x="5" y="2"/>
                  </a:cxn>
                  <a:cxn ang="0">
                    <a:pos x="4" y="0"/>
                  </a:cxn>
                </a:cxnLst>
                <a:rect l="0" t="0" r="r" b="b"/>
                <a:pathLst>
                  <a:path w="21" h="21">
                    <a:moveTo>
                      <a:pt x="4" y="0"/>
                    </a:moveTo>
                    <a:lnTo>
                      <a:pt x="12" y="9"/>
                    </a:lnTo>
                    <a:lnTo>
                      <a:pt x="21" y="21"/>
                    </a:lnTo>
                    <a:lnTo>
                      <a:pt x="12" y="16"/>
                    </a:lnTo>
                    <a:lnTo>
                      <a:pt x="5" y="11"/>
                    </a:lnTo>
                    <a:lnTo>
                      <a:pt x="0" y="4"/>
                    </a:lnTo>
                    <a:lnTo>
                      <a:pt x="5" y="0"/>
                    </a:lnTo>
                    <a:lnTo>
                      <a:pt x="5"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1" name="Freeform 277"/>
              <p:cNvSpPr>
                <a:spLocks/>
              </p:cNvSpPr>
              <p:nvPr/>
            </p:nvSpPr>
            <p:spPr bwMode="auto">
              <a:xfrm>
                <a:off x="4087019" y="2598738"/>
                <a:ext cx="100013" cy="120650"/>
              </a:xfrm>
              <a:custGeom>
                <a:avLst/>
                <a:gdLst/>
                <a:ahLst/>
                <a:cxnLst>
                  <a:cxn ang="0">
                    <a:pos x="10" y="23"/>
                  </a:cxn>
                  <a:cxn ang="0">
                    <a:pos x="17" y="19"/>
                  </a:cxn>
                  <a:cxn ang="0">
                    <a:pos x="25" y="16"/>
                  </a:cxn>
                  <a:cxn ang="0">
                    <a:pos x="22" y="12"/>
                  </a:cxn>
                  <a:cxn ang="0">
                    <a:pos x="22" y="9"/>
                  </a:cxn>
                  <a:cxn ang="0">
                    <a:pos x="27" y="2"/>
                  </a:cxn>
                  <a:cxn ang="0">
                    <a:pos x="37" y="0"/>
                  </a:cxn>
                  <a:cxn ang="0">
                    <a:pos x="41" y="0"/>
                  </a:cxn>
                  <a:cxn ang="0">
                    <a:pos x="46" y="0"/>
                  </a:cxn>
                  <a:cxn ang="0">
                    <a:pos x="58" y="7"/>
                  </a:cxn>
                  <a:cxn ang="0">
                    <a:pos x="63" y="21"/>
                  </a:cxn>
                  <a:cxn ang="0">
                    <a:pos x="58" y="24"/>
                  </a:cxn>
                  <a:cxn ang="0">
                    <a:pos x="53" y="28"/>
                  </a:cxn>
                  <a:cxn ang="0">
                    <a:pos x="53" y="31"/>
                  </a:cxn>
                  <a:cxn ang="0">
                    <a:pos x="53" y="36"/>
                  </a:cxn>
                  <a:cxn ang="0">
                    <a:pos x="53" y="41"/>
                  </a:cxn>
                  <a:cxn ang="0">
                    <a:pos x="53" y="45"/>
                  </a:cxn>
                  <a:cxn ang="0">
                    <a:pos x="53" y="52"/>
                  </a:cxn>
                  <a:cxn ang="0">
                    <a:pos x="53" y="60"/>
                  </a:cxn>
                  <a:cxn ang="0">
                    <a:pos x="46" y="60"/>
                  </a:cxn>
                  <a:cxn ang="0">
                    <a:pos x="39" y="62"/>
                  </a:cxn>
                  <a:cxn ang="0">
                    <a:pos x="29" y="66"/>
                  </a:cxn>
                  <a:cxn ang="0">
                    <a:pos x="22" y="74"/>
                  </a:cxn>
                  <a:cxn ang="0">
                    <a:pos x="17" y="74"/>
                  </a:cxn>
                  <a:cxn ang="0">
                    <a:pos x="12" y="76"/>
                  </a:cxn>
                  <a:cxn ang="0">
                    <a:pos x="3" y="72"/>
                  </a:cxn>
                  <a:cxn ang="0">
                    <a:pos x="0" y="64"/>
                  </a:cxn>
                  <a:cxn ang="0">
                    <a:pos x="5" y="50"/>
                  </a:cxn>
                  <a:cxn ang="0">
                    <a:pos x="13" y="38"/>
                  </a:cxn>
                  <a:cxn ang="0">
                    <a:pos x="6" y="33"/>
                  </a:cxn>
                  <a:cxn ang="0">
                    <a:pos x="5" y="28"/>
                  </a:cxn>
                  <a:cxn ang="0">
                    <a:pos x="6" y="23"/>
                  </a:cxn>
                  <a:cxn ang="0">
                    <a:pos x="10" y="23"/>
                  </a:cxn>
                </a:cxnLst>
                <a:rect l="0" t="0" r="r" b="b"/>
                <a:pathLst>
                  <a:path w="63" h="76">
                    <a:moveTo>
                      <a:pt x="10" y="23"/>
                    </a:moveTo>
                    <a:lnTo>
                      <a:pt x="17" y="19"/>
                    </a:lnTo>
                    <a:lnTo>
                      <a:pt x="25" y="16"/>
                    </a:lnTo>
                    <a:lnTo>
                      <a:pt x="22" y="12"/>
                    </a:lnTo>
                    <a:lnTo>
                      <a:pt x="22" y="9"/>
                    </a:lnTo>
                    <a:lnTo>
                      <a:pt x="27" y="2"/>
                    </a:lnTo>
                    <a:lnTo>
                      <a:pt x="37" y="0"/>
                    </a:lnTo>
                    <a:lnTo>
                      <a:pt x="41" y="0"/>
                    </a:lnTo>
                    <a:lnTo>
                      <a:pt x="46" y="0"/>
                    </a:lnTo>
                    <a:lnTo>
                      <a:pt x="58" y="7"/>
                    </a:lnTo>
                    <a:lnTo>
                      <a:pt x="63" y="21"/>
                    </a:lnTo>
                    <a:lnTo>
                      <a:pt x="58" y="24"/>
                    </a:lnTo>
                    <a:lnTo>
                      <a:pt x="53" y="28"/>
                    </a:lnTo>
                    <a:lnTo>
                      <a:pt x="53" y="31"/>
                    </a:lnTo>
                    <a:lnTo>
                      <a:pt x="53" y="36"/>
                    </a:lnTo>
                    <a:lnTo>
                      <a:pt x="53" y="41"/>
                    </a:lnTo>
                    <a:lnTo>
                      <a:pt x="53" y="45"/>
                    </a:lnTo>
                    <a:lnTo>
                      <a:pt x="53" y="52"/>
                    </a:lnTo>
                    <a:lnTo>
                      <a:pt x="53" y="60"/>
                    </a:lnTo>
                    <a:lnTo>
                      <a:pt x="46" y="60"/>
                    </a:lnTo>
                    <a:lnTo>
                      <a:pt x="39" y="62"/>
                    </a:lnTo>
                    <a:lnTo>
                      <a:pt x="29" y="66"/>
                    </a:lnTo>
                    <a:lnTo>
                      <a:pt x="22" y="74"/>
                    </a:lnTo>
                    <a:lnTo>
                      <a:pt x="17" y="74"/>
                    </a:lnTo>
                    <a:lnTo>
                      <a:pt x="12" y="76"/>
                    </a:lnTo>
                    <a:lnTo>
                      <a:pt x="3" y="72"/>
                    </a:lnTo>
                    <a:lnTo>
                      <a:pt x="0" y="64"/>
                    </a:lnTo>
                    <a:lnTo>
                      <a:pt x="5" y="50"/>
                    </a:lnTo>
                    <a:lnTo>
                      <a:pt x="13" y="38"/>
                    </a:lnTo>
                    <a:lnTo>
                      <a:pt x="6" y="33"/>
                    </a:lnTo>
                    <a:lnTo>
                      <a:pt x="5" y="28"/>
                    </a:lnTo>
                    <a:lnTo>
                      <a:pt x="6" y="23"/>
                    </a:lnTo>
                    <a:lnTo>
                      <a:pt x="10"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2" name="Freeform 278"/>
              <p:cNvSpPr>
                <a:spLocks/>
              </p:cNvSpPr>
              <p:nvPr/>
            </p:nvSpPr>
            <p:spPr bwMode="auto">
              <a:xfrm>
                <a:off x="4155282" y="2495550"/>
                <a:ext cx="19050" cy="19050"/>
              </a:xfrm>
              <a:custGeom>
                <a:avLst/>
                <a:gdLst/>
                <a:ahLst/>
                <a:cxnLst>
                  <a:cxn ang="0">
                    <a:pos x="1" y="12"/>
                  </a:cxn>
                  <a:cxn ang="0">
                    <a:pos x="0" y="8"/>
                  </a:cxn>
                  <a:cxn ang="0">
                    <a:pos x="0" y="7"/>
                  </a:cxn>
                  <a:cxn ang="0">
                    <a:pos x="3" y="2"/>
                  </a:cxn>
                  <a:cxn ang="0">
                    <a:pos x="12" y="0"/>
                  </a:cxn>
                  <a:cxn ang="0">
                    <a:pos x="8" y="8"/>
                  </a:cxn>
                  <a:cxn ang="0">
                    <a:pos x="1" y="12"/>
                  </a:cxn>
                </a:cxnLst>
                <a:rect l="0" t="0" r="r" b="b"/>
                <a:pathLst>
                  <a:path w="12" h="12">
                    <a:moveTo>
                      <a:pt x="1" y="12"/>
                    </a:moveTo>
                    <a:lnTo>
                      <a:pt x="0" y="8"/>
                    </a:lnTo>
                    <a:lnTo>
                      <a:pt x="0" y="7"/>
                    </a:lnTo>
                    <a:lnTo>
                      <a:pt x="3" y="2"/>
                    </a:lnTo>
                    <a:lnTo>
                      <a:pt x="12" y="0"/>
                    </a:lnTo>
                    <a:lnTo>
                      <a:pt x="8" y="8"/>
                    </a:lnTo>
                    <a:lnTo>
                      <a:pt x="1"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3" name="Freeform 279"/>
              <p:cNvSpPr>
                <a:spLocks/>
              </p:cNvSpPr>
              <p:nvPr/>
            </p:nvSpPr>
            <p:spPr bwMode="auto">
              <a:xfrm>
                <a:off x="4164807" y="2487613"/>
                <a:ext cx="192088" cy="274637"/>
              </a:xfrm>
              <a:custGeom>
                <a:avLst/>
                <a:gdLst/>
                <a:ahLst/>
                <a:cxnLst>
                  <a:cxn ang="0">
                    <a:pos x="105" y="115"/>
                  </a:cxn>
                  <a:cxn ang="0">
                    <a:pos x="117" y="118"/>
                  </a:cxn>
                  <a:cxn ang="0">
                    <a:pos x="114" y="136"/>
                  </a:cxn>
                  <a:cxn ang="0">
                    <a:pos x="109" y="146"/>
                  </a:cxn>
                  <a:cxn ang="0">
                    <a:pos x="114" y="151"/>
                  </a:cxn>
                  <a:cxn ang="0">
                    <a:pos x="100" y="160"/>
                  </a:cxn>
                  <a:cxn ang="0">
                    <a:pos x="80" y="160"/>
                  </a:cxn>
                  <a:cxn ang="0">
                    <a:pos x="66" y="161"/>
                  </a:cxn>
                  <a:cxn ang="0">
                    <a:pos x="54" y="163"/>
                  </a:cxn>
                  <a:cxn ang="0">
                    <a:pos x="45" y="161"/>
                  </a:cxn>
                  <a:cxn ang="0">
                    <a:pos x="37" y="170"/>
                  </a:cxn>
                  <a:cxn ang="0">
                    <a:pos x="24" y="170"/>
                  </a:cxn>
                  <a:cxn ang="0">
                    <a:pos x="19" y="173"/>
                  </a:cxn>
                  <a:cxn ang="0">
                    <a:pos x="21" y="165"/>
                  </a:cxn>
                  <a:cxn ang="0">
                    <a:pos x="31" y="153"/>
                  </a:cxn>
                  <a:cxn ang="0">
                    <a:pos x="47" y="149"/>
                  </a:cxn>
                  <a:cxn ang="0">
                    <a:pos x="52" y="142"/>
                  </a:cxn>
                  <a:cxn ang="0">
                    <a:pos x="47" y="144"/>
                  </a:cxn>
                  <a:cxn ang="0">
                    <a:pos x="35" y="142"/>
                  </a:cxn>
                  <a:cxn ang="0">
                    <a:pos x="26" y="141"/>
                  </a:cxn>
                  <a:cxn ang="0">
                    <a:pos x="21" y="141"/>
                  </a:cxn>
                  <a:cxn ang="0">
                    <a:pos x="28" y="132"/>
                  </a:cxn>
                  <a:cxn ang="0">
                    <a:pos x="37" y="125"/>
                  </a:cxn>
                  <a:cxn ang="0">
                    <a:pos x="31" y="110"/>
                  </a:cxn>
                  <a:cxn ang="0">
                    <a:pos x="55" y="101"/>
                  </a:cxn>
                  <a:cxn ang="0">
                    <a:pos x="45" y="91"/>
                  </a:cxn>
                  <a:cxn ang="0">
                    <a:pos x="43" y="82"/>
                  </a:cxn>
                  <a:cxn ang="0">
                    <a:pos x="43" y="79"/>
                  </a:cxn>
                  <a:cxn ang="0">
                    <a:pos x="35" y="81"/>
                  </a:cxn>
                  <a:cxn ang="0">
                    <a:pos x="23" y="81"/>
                  </a:cxn>
                  <a:cxn ang="0">
                    <a:pos x="23" y="72"/>
                  </a:cxn>
                  <a:cxn ang="0">
                    <a:pos x="24" y="62"/>
                  </a:cxn>
                  <a:cxn ang="0">
                    <a:pos x="21" y="56"/>
                  </a:cxn>
                  <a:cxn ang="0">
                    <a:pos x="16" y="60"/>
                  </a:cxn>
                  <a:cxn ang="0">
                    <a:pos x="14" y="63"/>
                  </a:cxn>
                  <a:cxn ang="0">
                    <a:pos x="14" y="55"/>
                  </a:cxn>
                  <a:cxn ang="0">
                    <a:pos x="16" y="51"/>
                  </a:cxn>
                  <a:cxn ang="0">
                    <a:pos x="11" y="44"/>
                  </a:cxn>
                  <a:cxn ang="0">
                    <a:pos x="11" y="38"/>
                  </a:cxn>
                  <a:cxn ang="0">
                    <a:pos x="12" y="32"/>
                  </a:cxn>
                  <a:cxn ang="0">
                    <a:pos x="0" y="22"/>
                  </a:cxn>
                  <a:cxn ang="0">
                    <a:pos x="9" y="26"/>
                  </a:cxn>
                  <a:cxn ang="0">
                    <a:pos x="12" y="26"/>
                  </a:cxn>
                  <a:cxn ang="0">
                    <a:pos x="11" y="22"/>
                  </a:cxn>
                  <a:cxn ang="0">
                    <a:pos x="12" y="15"/>
                  </a:cxn>
                  <a:cxn ang="0">
                    <a:pos x="19" y="8"/>
                  </a:cxn>
                  <a:cxn ang="0">
                    <a:pos x="23" y="1"/>
                  </a:cxn>
                  <a:cxn ang="0">
                    <a:pos x="37" y="0"/>
                  </a:cxn>
                  <a:cxn ang="0">
                    <a:pos x="45" y="1"/>
                  </a:cxn>
                  <a:cxn ang="0">
                    <a:pos x="42" y="10"/>
                  </a:cxn>
                  <a:cxn ang="0">
                    <a:pos x="37" y="19"/>
                  </a:cxn>
                  <a:cxn ang="0">
                    <a:pos x="67" y="20"/>
                  </a:cxn>
                  <a:cxn ang="0">
                    <a:pos x="61" y="38"/>
                  </a:cxn>
                  <a:cxn ang="0">
                    <a:pos x="54" y="51"/>
                  </a:cxn>
                  <a:cxn ang="0">
                    <a:pos x="50" y="56"/>
                  </a:cxn>
                  <a:cxn ang="0">
                    <a:pos x="61" y="56"/>
                  </a:cxn>
                  <a:cxn ang="0">
                    <a:pos x="76" y="79"/>
                  </a:cxn>
                  <a:cxn ang="0">
                    <a:pos x="88" y="87"/>
                  </a:cxn>
                  <a:cxn ang="0">
                    <a:pos x="97" y="101"/>
                  </a:cxn>
                  <a:cxn ang="0">
                    <a:pos x="102" y="113"/>
                  </a:cxn>
                  <a:cxn ang="0">
                    <a:pos x="100" y="117"/>
                  </a:cxn>
                  <a:cxn ang="0">
                    <a:pos x="102" y="117"/>
                  </a:cxn>
                  <a:cxn ang="0">
                    <a:pos x="104" y="118"/>
                  </a:cxn>
                </a:cxnLst>
                <a:rect l="0" t="0" r="r" b="b"/>
                <a:pathLst>
                  <a:path w="121" h="173">
                    <a:moveTo>
                      <a:pt x="104" y="118"/>
                    </a:moveTo>
                    <a:lnTo>
                      <a:pt x="105" y="115"/>
                    </a:lnTo>
                    <a:lnTo>
                      <a:pt x="110" y="117"/>
                    </a:lnTo>
                    <a:lnTo>
                      <a:pt x="117" y="118"/>
                    </a:lnTo>
                    <a:lnTo>
                      <a:pt x="121" y="125"/>
                    </a:lnTo>
                    <a:lnTo>
                      <a:pt x="114" y="136"/>
                    </a:lnTo>
                    <a:lnTo>
                      <a:pt x="104" y="146"/>
                    </a:lnTo>
                    <a:lnTo>
                      <a:pt x="109" y="146"/>
                    </a:lnTo>
                    <a:lnTo>
                      <a:pt x="114" y="148"/>
                    </a:lnTo>
                    <a:lnTo>
                      <a:pt x="114" y="151"/>
                    </a:lnTo>
                    <a:lnTo>
                      <a:pt x="107" y="156"/>
                    </a:lnTo>
                    <a:lnTo>
                      <a:pt x="100" y="160"/>
                    </a:lnTo>
                    <a:lnTo>
                      <a:pt x="88" y="160"/>
                    </a:lnTo>
                    <a:lnTo>
                      <a:pt x="80" y="160"/>
                    </a:lnTo>
                    <a:lnTo>
                      <a:pt x="73" y="160"/>
                    </a:lnTo>
                    <a:lnTo>
                      <a:pt x="66" y="161"/>
                    </a:lnTo>
                    <a:lnTo>
                      <a:pt x="59" y="161"/>
                    </a:lnTo>
                    <a:lnTo>
                      <a:pt x="54" y="163"/>
                    </a:lnTo>
                    <a:lnTo>
                      <a:pt x="49" y="161"/>
                    </a:lnTo>
                    <a:lnTo>
                      <a:pt x="45" y="161"/>
                    </a:lnTo>
                    <a:lnTo>
                      <a:pt x="38" y="163"/>
                    </a:lnTo>
                    <a:lnTo>
                      <a:pt x="37" y="170"/>
                    </a:lnTo>
                    <a:lnTo>
                      <a:pt x="30" y="170"/>
                    </a:lnTo>
                    <a:lnTo>
                      <a:pt x="24" y="170"/>
                    </a:lnTo>
                    <a:lnTo>
                      <a:pt x="23" y="173"/>
                    </a:lnTo>
                    <a:lnTo>
                      <a:pt x="19" y="173"/>
                    </a:lnTo>
                    <a:lnTo>
                      <a:pt x="19" y="170"/>
                    </a:lnTo>
                    <a:lnTo>
                      <a:pt x="21" y="165"/>
                    </a:lnTo>
                    <a:lnTo>
                      <a:pt x="26" y="160"/>
                    </a:lnTo>
                    <a:lnTo>
                      <a:pt x="31" y="153"/>
                    </a:lnTo>
                    <a:lnTo>
                      <a:pt x="37" y="151"/>
                    </a:lnTo>
                    <a:lnTo>
                      <a:pt x="47" y="149"/>
                    </a:lnTo>
                    <a:lnTo>
                      <a:pt x="54" y="144"/>
                    </a:lnTo>
                    <a:lnTo>
                      <a:pt x="52" y="142"/>
                    </a:lnTo>
                    <a:lnTo>
                      <a:pt x="52" y="141"/>
                    </a:lnTo>
                    <a:lnTo>
                      <a:pt x="47" y="144"/>
                    </a:lnTo>
                    <a:lnTo>
                      <a:pt x="43" y="146"/>
                    </a:lnTo>
                    <a:lnTo>
                      <a:pt x="35" y="142"/>
                    </a:lnTo>
                    <a:lnTo>
                      <a:pt x="30" y="141"/>
                    </a:lnTo>
                    <a:lnTo>
                      <a:pt x="26" y="141"/>
                    </a:lnTo>
                    <a:lnTo>
                      <a:pt x="24" y="142"/>
                    </a:lnTo>
                    <a:lnTo>
                      <a:pt x="21" y="141"/>
                    </a:lnTo>
                    <a:lnTo>
                      <a:pt x="23" y="134"/>
                    </a:lnTo>
                    <a:lnTo>
                      <a:pt x="28" y="132"/>
                    </a:lnTo>
                    <a:lnTo>
                      <a:pt x="33" y="129"/>
                    </a:lnTo>
                    <a:lnTo>
                      <a:pt x="37" y="125"/>
                    </a:lnTo>
                    <a:lnTo>
                      <a:pt x="33" y="117"/>
                    </a:lnTo>
                    <a:lnTo>
                      <a:pt x="31" y="110"/>
                    </a:lnTo>
                    <a:lnTo>
                      <a:pt x="45" y="106"/>
                    </a:lnTo>
                    <a:lnTo>
                      <a:pt x="55" y="101"/>
                    </a:lnTo>
                    <a:lnTo>
                      <a:pt x="55" y="93"/>
                    </a:lnTo>
                    <a:lnTo>
                      <a:pt x="45" y="91"/>
                    </a:lnTo>
                    <a:lnTo>
                      <a:pt x="42" y="87"/>
                    </a:lnTo>
                    <a:lnTo>
                      <a:pt x="43" y="82"/>
                    </a:lnTo>
                    <a:lnTo>
                      <a:pt x="47" y="81"/>
                    </a:lnTo>
                    <a:lnTo>
                      <a:pt x="43" y="79"/>
                    </a:lnTo>
                    <a:lnTo>
                      <a:pt x="42" y="79"/>
                    </a:lnTo>
                    <a:lnTo>
                      <a:pt x="35" y="81"/>
                    </a:lnTo>
                    <a:lnTo>
                      <a:pt x="30" y="82"/>
                    </a:lnTo>
                    <a:lnTo>
                      <a:pt x="23" y="81"/>
                    </a:lnTo>
                    <a:lnTo>
                      <a:pt x="21" y="79"/>
                    </a:lnTo>
                    <a:lnTo>
                      <a:pt x="23" y="72"/>
                    </a:lnTo>
                    <a:lnTo>
                      <a:pt x="26" y="67"/>
                    </a:lnTo>
                    <a:lnTo>
                      <a:pt x="24" y="62"/>
                    </a:lnTo>
                    <a:lnTo>
                      <a:pt x="26" y="58"/>
                    </a:lnTo>
                    <a:lnTo>
                      <a:pt x="21" y="56"/>
                    </a:lnTo>
                    <a:lnTo>
                      <a:pt x="18" y="55"/>
                    </a:lnTo>
                    <a:lnTo>
                      <a:pt x="16" y="60"/>
                    </a:lnTo>
                    <a:lnTo>
                      <a:pt x="18" y="63"/>
                    </a:lnTo>
                    <a:lnTo>
                      <a:pt x="14" y="63"/>
                    </a:lnTo>
                    <a:lnTo>
                      <a:pt x="14" y="56"/>
                    </a:lnTo>
                    <a:lnTo>
                      <a:pt x="14" y="55"/>
                    </a:lnTo>
                    <a:lnTo>
                      <a:pt x="14" y="51"/>
                    </a:lnTo>
                    <a:lnTo>
                      <a:pt x="16" y="51"/>
                    </a:lnTo>
                    <a:lnTo>
                      <a:pt x="16" y="46"/>
                    </a:lnTo>
                    <a:lnTo>
                      <a:pt x="11" y="44"/>
                    </a:lnTo>
                    <a:lnTo>
                      <a:pt x="9" y="43"/>
                    </a:lnTo>
                    <a:lnTo>
                      <a:pt x="11" y="38"/>
                    </a:lnTo>
                    <a:lnTo>
                      <a:pt x="12" y="36"/>
                    </a:lnTo>
                    <a:lnTo>
                      <a:pt x="12" y="32"/>
                    </a:lnTo>
                    <a:lnTo>
                      <a:pt x="2" y="29"/>
                    </a:lnTo>
                    <a:lnTo>
                      <a:pt x="0" y="22"/>
                    </a:lnTo>
                    <a:lnTo>
                      <a:pt x="9" y="22"/>
                    </a:lnTo>
                    <a:lnTo>
                      <a:pt x="9" y="26"/>
                    </a:lnTo>
                    <a:lnTo>
                      <a:pt x="12" y="27"/>
                    </a:lnTo>
                    <a:lnTo>
                      <a:pt x="12" y="26"/>
                    </a:lnTo>
                    <a:lnTo>
                      <a:pt x="14" y="24"/>
                    </a:lnTo>
                    <a:lnTo>
                      <a:pt x="11" y="22"/>
                    </a:lnTo>
                    <a:lnTo>
                      <a:pt x="11" y="20"/>
                    </a:lnTo>
                    <a:lnTo>
                      <a:pt x="12" y="15"/>
                    </a:lnTo>
                    <a:lnTo>
                      <a:pt x="19" y="15"/>
                    </a:lnTo>
                    <a:lnTo>
                      <a:pt x="19" y="8"/>
                    </a:lnTo>
                    <a:lnTo>
                      <a:pt x="21" y="7"/>
                    </a:lnTo>
                    <a:lnTo>
                      <a:pt x="23" y="1"/>
                    </a:lnTo>
                    <a:lnTo>
                      <a:pt x="30" y="0"/>
                    </a:lnTo>
                    <a:lnTo>
                      <a:pt x="37" y="0"/>
                    </a:lnTo>
                    <a:lnTo>
                      <a:pt x="43" y="0"/>
                    </a:lnTo>
                    <a:lnTo>
                      <a:pt x="45" y="1"/>
                    </a:lnTo>
                    <a:lnTo>
                      <a:pt x="49" y="3"/>
                    </a:lnTo>
                    <a:lnTo>
                      <a:pt x="42" y="10"/>
                    </a:lnTo>
                    <a:lnTo>
                      <a:pt x="37" y="17"/>
                    </a:lnTo>
                    <a:lnTo>
                      <a:pt x="37" y="19"/>
                    </a:lnTo>
                    <a:lnTo>
                      <a:pt x="38" y="20"/>
                    </a:lnTo>
                    <a:lnTo>
                      <a:pt x="67" y="20"/>
                    </a:lnTo>
                    <a:lnTo>
                      <a:pt x="64" y="29"/>
                    </a:lnTo>
                    <a:lnTo>
                      <a:pt x="61" y="38"/>
                    </a:lnTo>
                    <a:lnTo>
                      <a:pt x="55" y="43"/>
                    </a:lnTo>
                    <a:lnTo>
                      <a:pt x="54" y="51"/>
                    </a:lnTo>
                    <a:lnTo>
                      <a:pt x="50" y="53"/>
                    </a:lnTo>
                    <a:lnTo>
                      <a:pt x="50" y="56"/>
                    </a:lnTo>
                    <a:lnTo>
                      <a:pt x="55" y="56"/>
                    </a:lnTo>
                    <a:lnTo>
                      <a:pt x="61" y="56"/>
                    </a:lnTo>
                    <a:lnTo>
                      <a:pt x="69" y="65"/>
                    </a:lnTo>
                    <a:lnTo>
                      <a:pt x="76" y="79"/>
                    </a:lnTo>
                    <a:lnTo>
                      <a:pt x="81" y="82"/>
                    </a:lnTo>
                    <a:lnTo>
                      <a:pt x="88" y="87"/>
                    </a:lnTo>
                    <a:lnTo>
                      <a:pt x="93" y="93"/>
                    </a:lnTo>
                    <a:lnTo>
                      <a:pt x="97" y="101"/>
                    </a:lnTo>
                    <a:lnTo>
                      <a:pt x="98" y="106"/>
                    </a:lnTo>
                    <a:lnTo>
                      <a:pt x="102" y="113"/>
                    </a:lnTo>
                    <a:lnTo>
                      <a:pt x="100" y="113"/>
                    </a:lnTo>
                    <a:lnTo>
                      <a:pt x="100" y="117"/>
                    </a:lnTo>
                    <a:lnTo>
                      <a:pt x="100" y="120"/>
                    </a:lnTo>
                    <a:lnTo>
                      <a:pt x="102" y="117"/>
                    </a:lnTo>
                    <a:lnTo>
                      <a:pt x="105" y="117"/>
                    </a:lnTo>
                    <a:lnTo>
                      <a:pt x="104"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4" name="Freeform 280"/>
              <p:cNvSpPr>
                <a:spLocks/>
              </p:cNvSpPr>
              <p:nvPr/>
            </p:nvSpPr>
            <p:spPr bwMode="auto">
              <a:xfrm>
                <a:off x="4206082" y="2628900"/>
                <a:ext cx="7938" cy="11112"/>
              </a:xfrm>
              <a:custGeom>
                <a:avLst/>
                <a:gdLst/>
                <a:ahLst/>
                <a:cxnLst>
                  <a:cxn ang="0">
                    <a:pos x="4" y="0"/>
                  </a:cxn>
                  <a:cxn ang="0">
                    <a:pos x="0" y="2"/>
                  </a:cxn>
                  <a:cxn ang="0">
                    <a:pos x="0" y="7"/>
                  </a:cxn>
                  <a:cxn ang="0">
                    <a:pos x="2" y="7"/>
                  </a:cxn>
                  <a:cxn ang="0">
                    <a:pos x="5" y="7"/>
                  </a:cxn>
                  <a:cxn ang="0">
                    <a:pos x="5" y="2"/>
                  </a:cxn>
                  <a:cxn ang="0">
                    <a:pos x="5" y="0"/>
                  </a:cxn>
                  <a:cxn ang="0">
                    <a:pos x="4" y="0"/>
                  </a:cxn>
                </a:cxnLst>
                <a:rect l="0" t="0" r="r" b="b"/>
                <a:pathLst>
                  <a:path w="5" h="7">
                    <a:moveTo>
                      <a:pt x="4" y="0"/>
                    </a:moveTo>
                    <a:lnTo>
                      <a:pt x="0" y="2"/>
                    </a:lnTo>
                    <a:lnTo>
                      <a:pt x="0" y="7"/>
                    </a:lnTo>
                    <a:lnTo>
                      <a:pt x="2" y="7"/>
                    </a:lnTo>
                    <a:lnTo>
                      <a:pt x="5" y="7"/>
                    </a:lnTo>
                    <a:lnTo>
                      <a:pt x="5" y="2"/>
                    </a:lnTo>
                    <a:lnTo>
                      <a:pt x="5"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5" name="Freeform 282"/>
              <p:cNvSpPr>
                <a:spLocks/>
              </p:cNvSpPr>
              <p:nvPr/>
            </p:nvSpPr>
            <p:spPr bwMode="auto">
              <a:xfrm>
                <a:off x="2374107" y="3482975"/>
                <a:ext cx="238125" cy="82550"/>
              </a:xfrm>
              <a:custGeom>
                <a:avLst/>
                <a:gdLst/>
                <a:ahLst/>
                <a:cxnLst>
                  <a:cxn ang="0">
                    <a:pos x="150" y="47"/>
                  </a:cxn>
                  <a:cxn ang="0">
                    <a:pos x="141" y="50"/>
                  </a:cxn>
                  <a:cxn ang="0">
                    <a:pos x="131" y="52"/>
                  </a:cxn>
                  <a:cxn ang="0">
                    <a:pos x="115" y="50"/>
                  </a:cxn>
                  <a:cxn ang="0">
                    <a:pos x="102" y="48"/>
                  </a:cxn>
                  <a:cxn ang="0">
                    <a:pos x="102" y="47"/>
                  </a:cxn>
                  <a:cxn ang="0">
                    <a:pos x="105" y="45"/>
                  </a:cxn>
                  <a:cxn ang="0">
                    <a:pos x="107" y="42"/>
                  </a:cxn>
                  <a:cxn ang="0">
                    <a:pos x="95" y="36"/>
                  </a:cxn>
                  <a:cxn ang="0">
                    <a:pos x="90" y="31"/>
                  </a:cxn>
                  <a:cxn ang="0">
                    <a:pos x="86" y="28"/>
                  </a:cxn>
                  <a:cxn ang="0">
                    <a:pos x="84" y="26"/>
                  </a:cxn>
                  <a:cxn ang="0">
                    <a:pos x="79" y="24"/>
                  </a:cxn>
                  <a:cxn ang="0">
                    <a:pos x="74" y="26"/>
                  </a:cxn>
                  <a:cxn ang="0">
                    <a:pos x="64" y="21"/>
                  </a:cxn>
                  <a:cxn ang="0">
                    <a:pos x="55" y="18"/>
                  </a:cxn>
                  <a:cxn ang="0">
                    <a:pos x="41" y="18"/>
                  </a:cxn>
                  <a:cxn ang="0">
                    <a:pos x="38" y="14"/>
                  </a:cxn>
                  <a:cxn ang="0">
                    <a:pos x="40" y="12"/>
                  </a:cxn>
                  <a:cxn ang="0">
                    <a:pos x="36" y="11"/>
                  </a:cxn>
                  <a:cxn ang="0">
                    <a:pos x="33" y="11"/>
                  </a:cxn>
                  <a:cxn ang="0">
                    <a:pos x="16" y="14"/>
                  </a:cxn>
                  <a:cxn ang="0">
                    <a:pos x="5" y="23"/>
                  </a:cxn>
                  <a:cxn ang="0">
                    <a:pos x="0" y="23"/>
                  </a:cxn>
                  <a:cxn ang="0">
                    <a:pos x="5" y="12"/>
                  </a:cxn>
                  <a:cxn ang="0">
                    <a:pos x="16" y="5"/>
                  </a:cxn>
                  <a:cxn ang="0">
                    <a:pos x="26" y="0"/>
                  </a:cxn>
                  <a:cxn ang="0">
                    <a:pos x="41" y="0"/>
                  </a:cxn>
                  <a:cxn ang="0">
                    <a:pos x="55" y="2"/>
                  </a:cxn>
                  <a:cxn ang="0">
                    <a:pos x="67" y="7"/>
                  </a:cxn>
                  <a:cxn ang="0">
                    <a:pos x="79" y="11"/>
                  </a:cxn>
                  <a:cxn ang="0">
                    <a:pos x="91" y="14"/>
                  </a:cxn>
                  <a:cxn ang="0">
                    <a:pos x="95" y="16"/>
                  </a:cxn>
                  <a:cxn ang="0">
                    <a:pos x="100" y="19"/>
                  </a:cxn>
                  <a:cxn ang="0">
                    <a:pos x="112" y="28"/>
                  </a:cxn>
                  <a:cxn ang="0">
                    <a:pos x="131" y="33"/>
                  </a:cxn>
                  <a:cxn ang="0">
                    <a:pos x="131" y="36"/>
                  </a:cxn>
                  <a:cxn ang="0">
                    <a:pos x="139" y="36"/>
                  </a:cxn>
                  <a:cxn ang="0">
                    <a:pos x="145" y="42"/>
                  </a:cxn>
                  <a:cxn ang="0">
                    <a:pos x="150" y="47"/>
                  </a:cxn>
                </a:cxnLst>
                <a:rect l="0" t="0" r="r" b="b"/>
                <a:pathLst>
                  <a:path w="150" h="52">
                    <a:moveTo>
                      <a:pt x="150" y="47"/>
                    </a:moveTo>
                    <a:lnTo>
                      <a:pt x="141" y="50"/>
                    </a:lnTo>
                    <a:lnTo>
                      <a:pt x="131" y="52"/>
                    </a:lnTo>
                    <a:lnTo>
                      <a:pt x="115" y="50"/>
                    </a:lnTo>
                    <a:lnTo>
                      <a:pt x="102" y="48"/>
                    </a:lnTo>
                    <a:lnTo>
                      <a:pt x="102" y="47"/>
                    </a:lnTo>
                    <a:lnTo>
                      <a:pt x="105" y="45"/>
                    </a:lnTo>
                    <a:lnTo>
                      <a:pt x="107" y="42"/>
                    </a:lnTo>
                    <a:lnTo>
                      <a:pt x="95" y="36"/>
                    </a:lnTo>
                    <a:lnTo>
                      <a:pt x="90" y="31"/>
                    </a:lnTo>
                    <a:lnTo>
                      <a:pt x="86" y="28"/>
                    </a:lnTo>
                    <a:lnTo>
                      <a:pt x="84" y="26"/>
                    </a:lnTo>
                    <a:lnTo>
                      <a:pt x="79" y="24"/>
                    </a:lnTo>
                    <a:lnTo>
                      <a:pt x="74" y="26"/>
                    </a:lnTo>
                    <a:lnTo>
                      <a:pt x="64" y="21"/>
                    </a:lnTo>
                    <a:lnTo>
                      <a:pt x="55" y="18"/>
                    </a:lnTo>
                    <a:lnTo>
                      <a:pt x="41" y="18"/>
                    </a:lnTo>
                    <a:lnTo>
                      <a:pt x="38" y="14"/>
                    </a:lnTo>
                    <a:lnTo>
                      <a:pt x="40" y="12"/>
                    </a:lnTo>
                    <a:lnTo>
                      <a:pt x="36" y="11"/>
                    </a:lnTo>
                    <a:lnTo>
                      <a:pt x="33" y="11"/>
                    </a:lnTo>
                    <a:lnTo>
                      <a:pt x="16" y="14"/>
                    </a:lnTo>
                    <a:lnTo>
                      <a:pt x="5" y="23"/>
                    </a:lnTo>
                    <a:lnTo>
                      <a:pt x="0" y="23"/>
                    </a:lnTo>
                    <a:lnTo>
                      <a:pt x="5" y="12"/>
                    </a:lnTo>
                    <a:lnTo>
                      <a:pt x="16" y="5"/>
                    </a:lnTo>
                    <a:lnTo>
                      <a:pt x="26" y="0"/>
                    </a:lnTo>
                    <a:lnTo>
                      <a:pt x="41" y="0"/>
                    </a:lnTo>
                    <a:lnTo>
                      <a:pt x="55" y="2"/>
                    </a:lnTo>
                    <a:lnTo>
                      <a:pt x="67" y="7"/>
                    </a:lnTo>
                    <a:lnTo>
                      <a:pt x="79" y="11"/>
                    </a:lnTo>
                    <a:lnTo>
                      <a:pt x="91" y="14"/>
                    </a:lnTo>
                    <a:lnTo>
                      <a:pt x="95" y="16"/>
                    </a:lnTo>
                    <a:lnTo>
                      <a:pt x="100" y="19"/>
                    </a:lnTo>
                    <a:lnTo>
                      <a:pt x="112" y="28"/>
                    </a:lnTo>
                    <a:lnTo>
                      <a:pt x="131" y="33"/>
                    </a:lnTo>
                    <a:lnTo>
                      <a:pt x="131" y="36"/>
                    </a:lnTo>
                    <a:lnTo>
                      <a:pt x="139" y="36"/>
                    </a:lnTo>
                    <a:lnTo>
                      <a:pt x="145" y="42"/>
                    </a:lnTo>
                    <a:lnTo>
                      <a:pt x="150" y="4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6" name="Freeform 283"/>
              <p:cNvSpPr>
                <a:spLocks/>
              </p:cNvSpPr>
              <p:nvPr/>
            </p:nvSpPr>
            <p:spPr bwMode="auto">
              <a:xfrm>
                <a:off x="2407444" y="3516313"/>
                <a:ext cx="11113" cy="11112"/>
              </a:xfrm>
              <a:custGeom>
                <a:avLst/>
                <a:gdLst/>
                <a:ahLst/>
                <a:cxnLst>
                  <a:cxn ang="0">
                    <a:pos x="7" y="0"/>
                  </a:cxn>
                  <a:cxn ang="0">
                    <a:pos x="7" y="3"/>
                  </a:cxn>
                  <a:cxn ang="0">
                    <a:pos x="7" y="7"/>
                  </a:cxn>
                  <a:cxn ang="0">
                    <a:pos x="3" y="7"/>
                  </a:cxn>
                  <a:cxn ang="0">
                    <a:pos x="0" y="7"/>
                  </a:cxn>
                  <a:cxn ang="0">
                    <a:pos x="1" y="3"/>
                  </a:cxn>
                  <a:cxn ang="0">
                    <a:pos x="5" y="3"/>
                  </a:cxn>
                  <a:cxn ang="0">
                    <a:pos x="5" y="0"/>
                  </a:cxn>
                  <a:cxn ang="0">
                    <a:pos x="5" y="0"/>
                  </a:cxn>
                  <a:cxn ang="0">
                    <a:pos x="7" y="0"/>
                  </a:cxn>
                </a:cxnLst>
                <a:rect l="0" t="0" r="r" b="b"/>
                <a:pathLst>
                  <a:path w="7" h="7">
                    <a:moveTo>
                      <a:pt x="7" y="0"/>
                    </a:moveTo>
                    <a:lnTo>
                      <a:pt x="7" y="3"/>
                    </a:lnTo>
                    <a:lnTo>
                      <a:pt x="7" y="7"/>
                    </a:lnTo>
                    <a:lnTo>
                      <a:pt x="3" y="7"/>
                    </a:lnTo>
                    <a:lnTo>
                      <a:pt x="0" y="7"/>
                    </a:lnTo>
                    <a:lnTo>
                      <a:pt x="1" y="3"/>
                    </a:lnTo>
                    <a:lnTo>
                      <a:pt x="5" y="3"/>
                    </a:lnTo>
                    <a:lnTo>
                      <a:pt x="5" y="0"/>
                    </a:lnTo>
                    <a:lnTo>
                      <a:pt x="5" y="0"/>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7" name="Freeform 284"/>
              <p:cNvSpPr>
                <a:spLocks/>
              </p:cNvSpPr>
              <p:nvPr/>
            </p:nvSpPr>
            <p:spPr bwMode="auto">
              <a:xfrm>
                <a:off x="2526507" y="3595688"/>
                <a:ext cx="39688" cy="19050"/>
              </a:xfrm>
              <a:custGeom>
                <a:avLst/>
                <a:gdLst/>
                <a:ahLst/>
                <a:cxnLst>
                  <a:cxn ang="0">
                    <a:pos x="21" y="3"/>
                  </a:cxn>
                  <a:cxn ang="0">
                    <a:pos x="23" y="5"/>
                  </a:cxn>
                  <a:cxn ang="0">
                    <a:pos x="25" y="8"/>
                  </a:cxn>
                  <a:cxn ang="0">
                    <a:pos x="16" y="10"/>
                  </a:cxn>
                  <a:cxn ang="0">
                    <a:pos x="9" y="12"/>
                  </a:cxn>
                  <a:cxn ang="0">
                    <a:pos x="2" y="8"/>
                  </a:cxn>
                  <a:cxn ang="0">
                    <a:pos x="0" y="3"/>
                  </a:cxn>
                  <a:cxn ang="0">
                    <a:pos x="2" y="0"/>
                  </a:cxn>
                  <a:cxn ang="0">
                    <a:pos x="6" y="0"/>
                  </a:cxn>
                  <a:cxn ang="0">
                    <a:pos x="14" y="2"/>
                  </a:cxn>
                  <a:cxn ang="0">
                    <a:pos x="21" y="5"/>
                  </a:cxn>
                  <a:cxn ang="0">
                    <a:pos x="21" y="3"/>
                  </a:cxn>
                </a:cxnLst>
                <a:rect l="0" t="0" r="r" b="b"/>
                <a:pathLst>
                  <a:path w="25" h="12">
                    <a:moveTo>
                      <a:pt x="21" y="3"/>
                    </a:moveTo>
                    <a:lnTo>
                      <a:pt x="23" y="5"/>
                    </a:lnTo>
                    <a:lnTo>
                      <a:pt x="25" y="8"/>
                    </a:lnTo>
                    <a:lnTo>
                      <a:pt x="16" y="10"/>
                    </a:lnTo>
                    <a:lnTo>
                      <a:pt x="9" y="12"/>
                    </a:lnTo>
                    <a:lnTo>
                      <a:pt x="2" y="8"/>
                    </a:lnTo>
                    <a:lnTo>
                      <a:pt x="0" y="3"/>
                    </a:lnTo>
                    <a:lnTo>
                      <a:pt x="2" y="0"/>
                    </a:lnTo>
                    <a:lnTo>
                      <a:pt x="6" y="0"/>
                    </a:lnTo>
                    <a:lnTo>
                      <a:pt x="14" y="2"/>
                    </a:lnTo>
                    <a:lnTo>
                      <a:pt x="21" y="5"/>
                    </a:lnTo>
                    <a:lnTo>
                      <a:pt x="21"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8" name="Freeform 285"/>
              <p:cNvSpPr>
                <a:spLocks/>
              </p:cNvSpPr>
              <p:nvPr/>
            </p:nvSpPr>
            <p:spPr bwMode="auto">
              <a:xfrm>
                <a:off x="2780507" y="3595688"/>
                <a:ext cx="33338" cy="12700"/>
              </a:xfrm>
              <a:custGeom>
                <a:avLst/>
                <a:gdLst/>
                <a:ahLst/>
                <a:cxnLst>
                  <a:cxn ang="0">
                    <a:pos x="21" y="5"/>
                  </a:cxn>
                  <a:cxn ang="0">
                    <a:pos x="16" y="7"/>
                  </a:cxn>
                  <a:cxn ang="0">
                    <a:pos x="12" y="8"/>
                  </a:cxn>
                  <a:cxn ang="0">
                    <a:pos x="4" y="7"/>
                  </a:cxn>
                  <a:cxn ang="0">
                    <a:pos x="0" y="3"/>
                  </a:cxn>
                  <a:cxn ang="0">
                    <a:pos x="2" y="0"/>
                  </a:cxn>
                  <a:cxn ang="0">
                    <a:pos x="6" y="0"/>
                  </a:cxn>
                  <a:cxn ang="0">
                    <a:pos x="12" y="0"/>
                  </a:cxn>
                  <a:cxn ang="0">
                    <a:pos x="21" y="5"/>
                  </a:cxn>
                </a:cxnLst>
                <a:rect l="0" t="0" r="r" b="b"/>
                <a:pathLst>
                  <a:path w="21" h="8">
                    <a:moveTo>
                      <a:pt x="21" y="5"/>
                    </a:moveTo>
                    <a:lnTo>
                      <a:pt x="16" y="7"/>
                    </a:lnTo>
                    <a:lnTo>
                      <a:pt x="12" y="8"/>
                    </a:lnTo>
                    <a:lnTo>
                      <a:pt x="4" y="7"/>
                    </a:lnTo>
                    <a:lnTo>
                      <a:pt x="0" y="3"/>
                    </a:lnTo>
                    <a:lnTo>
                      <a:pt x="2" y="0"/>
                    </a:lnTo>
                    <a:lnTo>
                      <a:pt x="6" y="0"/>
                    </a:lnTo>
                    <a:lnTo>
                      <a:pt x="12" y="0"/>
                    </a:lnTo>
                    <a:lnTo>
                      <a:pt x="21"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49" name="Freeform 286"/>
              <p:cNvSpPr>
                <a:spLocks/>
              </p:cNvSpPr>
              <p:nvPr/>
            </p:nvSpPr>
            <p:spPr bwMode="auto">
              <a:xfrm>
                <a:off x="2613819" y="3559175"/>
                <a:ext cx="136525" cy="55562"/>
              </a:xfrm>
              <a:custGeom>
                <a:avLst/>
                <a:gdLst/>
                <a:ahLst/>
                <a:cxnLst>
                  <a:cxn ang="0">
                    <a:pos x="73" y="14"/>
                  </a:cxn>
                  <a:cxn ang="0">
                    <a:pos x="80" y="18"/>
                  </a:cxn>
                  <a:cxn ang="0">
                    <a:pos x="86" y="25"/>
                  </a:cxn>
                  <a:cxn ang="0">
                    <a:pos x="68" y="25"/>
                  </a:cxn>
                  <a:cxn ang="0">
                    <a:pos x="62" y="28"/>
                  </a:cxn>
                  <a:cxn ang="0">
                    <a:pos x="59" y="30"/>
                  </a:cxn>
                  <a:cxn ang="0">
                    <a:pos x="56" y="28"/>
                  </a:cxn>
                  <a:cxn ang="0">
                    <a:pos x="54" y="26"/>
                  </a:cxn>
                  <a:cxn ang="0">
                    <a:pos x="47" y="30"/>
                  </a:cxn>
                  <a:cxn ang="0">
                    <a:pos x="42" y="35"/>
                  </a:cxn>
                  <a:cxn ang="0">
                    <a:pos x="38" y="31"/>
                  </a:cxn>
                  <a:cxn ang="0">
                    <a:pos x="37" y="30"/>
                  </a:cxn>
                  <a:cxn ang="0">
                    <a:pos x="25" y="26"/>
                  </a:cxn>
                  <a:cxn ang="0">
                    <a:pos x="13" y="28"/>
                  </a:cxn>
                  <a:cxn ang="0">
                    <a:pos x="9" y="28"/>
                  </a:cxn>
                  <a:cxn ang="0">
                    <a:pos x="7" y="28"/>
                  </a:cxn>
                  <a:cxn ang="0">
                    <a:pos x="7" y="30"/>
                  </a:cxn>
                  <a:cxn ang="0">
                    <a:pos x="7" y="31"/>
                  </a:cxn>
                  <a:cxn ang="0">
                    <a:pos x="2" y="28"/>
                  </a:cxn>
                  <a:cxn ang="0">
                    <a:pos x="0" y="23"/>
                  </a:cxn>
                  <a:cxn ang="0">
                    <a:pos x="2" y="21"/>
                  </a:cxn>
                  <a:cxn ang="0">
                    <a:pos x="4" y="21"/>
                  </a:cxn>
                  <a:cxn ang="0">
                    <a:pos x="16" y="21"/>
                  </a:cxn>
                  <a:cxn ang="0">
                    <a:pos x="26" y="21"/>
                  </a:cxn>
                  <a:cxn ang="0">
                    <a:pos x="23" y="16"/>
                  </a:cxn>
                  <a:cxn ang="0">
                    <a:pos x="23" y="11"/>
                  </a:cxn>
                  <a:cxn ang="0">
                    <a:pos x="18" y="7"/>
                  </a:cxn>
                  <a:cxn ang="0">
                    <a:pos x="16" y="4"/>
                  </a:cxn>
                  <a:cxn ang="0">
                    <a:pos x="18" y="2"/>
                  </a:cxn>
                  <a:cxn ang="0">
                    <a:pos x="19" y="0"/>
                  </a:cxn>
                  <a:cxn ang="0">
                    <a:pos x="25" y="2"/>
                  </a:cxn>
                  <a:cxn ang="0">
                    <a:pos x="31" y="4"/>
                  </a:cxn>
                  <a:cxn ang="0">
                    <a:pos x="38" y="2"/>
                  </a:cxn>
                  <a:cxn ang="0">
                    <a:pos x="47" y="2"/>
                  </a:cxn>
                  <a:cxn ang="0">
                    <a:pos x="57" y="2"/>
                  </a:cxn>
                  <a:cxn ang="0">
                    <a:pos x="64" y="6"/>
                  </a:cxn>
                  <a:cxn ang="0">
                    <a:pos x="69" y="11"/>
                  </a:cxn>
                  <a:cxn ang="0">
                    <a:pos x="76" y="16"/>
                  </a:cxn>
                  <a:cxn ang="0">
                    <a:pos x="73" y="14"/>
                  </a:cxn>
                </a:cxnLst>
                <a:rect l="0" t="0" r="r" b="b"/>
                <a:pathLst>
                  <a:path w="86" h="35">
                    <a:moveTo>
                      <a:pt x="73" y="14"/>
                    </a:moveTo>
                    <a:lnTo>
                      <a:pt x="80" y="18"/>
                    </a:lnTo>
                    <a:lnTo>
                      <a:pt x="86" y="25"/>
                    </a:lnTo>
                    <a:lnTo>
                      <a:pt x="68" y="25"/>
                    </a:lnTo>
                    <a:lnTo>
                      <a:pt x="62" y="28"/>
                    </a:lnTo>
                    <a:lnTo>
                      <a:pt x="59" y="30"/>
                    </a:lnTo>
                    <a:lnTo>
                      <a:pt x="56" y="28"/>
                    </a:lnTo>
                    <a:lnTo>
                      <a:pt x="54" y="26"/>
                    </a:lnTo>
                    <a:lnTo>
                      <a:pt x="47" y="30"/>
                    </a:lnTo>
                    <a:lnTo>
                      <a:pt x="42" y="35"/>
                    </a:lnTo>
                    <a:lnTo>
                      <a:pt x="38" y="31"/>
                    </a:lnTo>
                    <a:lnTo>
                      <a:pt x="37" y="30"/>
                    </a:lnTo>
                    <a:lnTo>
                      <a:pt x="25" y="26"/>
                    </a:lnTo>
                    <a:lnTo>
                      <a:pt x="13" y="28"/>
                    </a:lnTo>
                    <a:lnTo>
                      <a:pt x="9" y="28"/>
                    </a:lnTo>
                    <a:lnTo>
                      <a:pt x="7" y="28"/>
                    </a:lnTo>
                    <a:lnTo>
                      <a:pt x="7" y="30"/>
                    </a:lnTo>
                    <a:lnTo>
                      <a:pt x="7" y="31"/>
                    </a:lnTo>
                    <a:lnTo>
                      <a:pt x="2" y="28"/>
                    </a:lnTo>
                    <a:lnTo>
                      <a:pt x="0" y="23"/>
                    </a:lnTo>
                    <a:lnTo>
                      <a:pt x="2" y="21"/>
                    </a:lnTo>
                    <a:lnTo>
                      <a:pt x="4" y="21"/>
                    </a:lnTo>
                    <a:lnTo>
                      <a:pt x="16" y="21"/>
                    </a:lnTo>
                    <a:lnTo>
                      <a:pt x="26" y="21"/>
                    </a:lnTo>
                    <a:lnTo>
                      <a:pt x="23" y="16"/>
                    </a:lnTo>
                    <a:lnTo>
                      <a:pt x="23" y="11"/>
                    </a:lnTo>
                    <a:lnTo>
                      <a:pt x="18" y="7"/>
                    </a:lnTo>
                    <a:lnTo>
                      <a:pt x="16" y="4"/>
                    </a:lnTo>
                    <a:lnTo>
                      <a:pt x="18" y="2"/>
                    </a:lnTo>
                    <a:lnTo>
                      <a:pt x="19" y="0"/>
                    </a:lnTo>
                    <a:lnTo>
                      <a:pt x="25" y="2"/>
                    </a:lnTo>
                    <a:lnTo>
                      <a:pt x="31" y="4"/>
                    </a:lnTo>
                    <a:lnTo>
                      <a:pt x="38" y="2"/>
                    </a:lnTo>
                    <a:lnTo>
                      <a:pt x="47" y="2"/>
                    </a:lnTo>
                    <a:lnTo>
                      <a:pt x="57" y="2"/>
                    </a:lnTo>
                    <a:lnTo>
                      <a:pt x="64" y="6"/>
                    </a:lnTo>
                    <a:lnTo>
                      <a:pt x="69" y="11"/>
                    </a:lnTo>
                    <a:lnTo>
                      <a:pt x="76" y="16"/>
                    </a:lnTo>
                    <a:lnTo>
                      <a:pt x="73"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0" name="Freeform 287"/>
              <p:cNvSpPr>
                <a:spLocks/>
              </p:cNvSpPr>
              <p:nvPr/>
            </p:nvSpPr>
            <p:spPr bwMode="auto">
              <a:xfrm>
                <a:off x="2907507" y="3781425"/>
                <a:ext cx="15875" cy="15875"/>
              </a:xfrm>
              <a:custGeom>
                <a:avLst/>
                <a:gdLst/>
                <a:ahLst/>
                <a:cxnLst>
                  <a:cxn ang="0">
                    <a:pos x="10" y="3"/>
                  </a:cxn>
                  <a:cxn ang="0">
                    <a:pos x="10" y="0"/>
                  </a:cxn>
                  <a:cxn ang="0">
                    <a:pos x="6" y="0"/>
                  </a:cxn>
                  <a:cxn ang="0">
                    <a:pos x="5" y="0"/>
                  </a:cxn>
                  <a:cxn ang="0">
                    <a:pos x="0" y="1"/>
                  </a:cxn>
                  <a:cxn ang="0">
                    <a:pos x="0" y="10"/>
                  </a:cxn>
                  <a:cxn ang="0">
                    <a:pos x="3" y="10"/>
                  </a:cxn>
                  <a:cxn ang="0">
                    <a:pos x="6" y="7"/>
                  </a:cxn>
                  <a:cxn ang="0">
                    <a:pos x="10" y="3"/>
                  </a:cxn>
                </a:cxnLst>
                <a:rect l="0" t="0" r="r" b="b"/>
                <a:pathLst>
                  <a:path w="10" h="10">
                    <a:moveTo>
                      <a:pt x="10" y="3"/>
                    </a:moveTo>
                    <a:lnTo>
                      <a:pt x="10" y="0"/>
                    </a:lnTo>
                    <a:lnTo>
                      <a:pt x="6" y="0"/>
                    </a:lnTo>
                    <a:lnTo>
                      <a:pt x="5" y="0"/>
                    </a:lnTo>
                    <a:lnTo>
                      <a:pt x="0" y="1"/>
                    </a:lnTo>
                    <a:lnTo>
                      <a:pt x="0" y="10"/>
                    </a:lnTo>
                    <a:lnTo>
                      <a:pt x="3" y="10"/>
                    </a:lnTo>
                    <a:lnTo>
                      <a:pt x="6" y="7"/>
                    </a:lnTo>
                    <a:lnTo>
                      <a:pt x="10"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1" name="Freeform 288"/>
              <p:cNvSpPr>
                <a:spLocks/>
              </p:cNvSpPr>
              <p:nvPr/>
            </p:nvSpPr>
            <p:spPr bwMode="auto">
              <a:xfrm>
                <a:off x="3155157" y="4024313"/>
                <a:ext cx="53975" cy="41275"/>
              </a:xfrm>
              <a:custGeom>
                <a:avLst/>
                <a:gdLst/>
                <a:ahLst/>
                <a:cxnLst>
                  <a:cxn ang="0">
                    <a:pos x="14" y="0"/>
                  </a:cxn>
                  <a:cxn ang="0">
                    <a:pos x="17" y="2"/>
                  </a:cxn>
                  <a:cxn ang="0">
                    <a:pos x="24" y="5"/>
                  </a:cxn>
                  <a:cxn ang="0">
                    <a:pos x="26" y="7"/>
                  </a:cxn>
                  <a:cxn ang="0">
                    <a:pos x="31" y="5"/>
                  </a:cxn>
                  <a:cxn ang="0">
                    <a:pos x="33" y="7"/>
                  </a:cxn>
                  <a:cxn ang="0">
                    <a:pos x="34" y="10"/>
                  </a:cxn>
                  <a:cxn ang="0">
                    <a:pos x="29" y="19"/>
                  </a:cxn>
                  <a:cxn ang="0">
                    <a:pos x="21" y="26"/>
                  </a:cxn>
                  <a:cxn ang="0">
                    <a:pos x="14" y="22"/>
                  </a:cxn>
                  <a:cxn ang="0">
                    <a:pos x="7" y="20"/>
                  </a:cxn>
                  <a:cxn ang="0">
                    <a:pos x="2" y="15"/>
                  </a:cxn>
                  <a:cxn ang="0">
                    <a:pos x="0" y="12"/>
                  </a:cxn>
                  <a:cxn ang="0">
                    <a:pos x="2" y="3"/>
                  </a:cxn>
                  <a:cxn ang="0">
                    <a:pos x="10" y="0"/>
                  </a:cxn>
                  <a:cxn ang="0">
                    <a:pos x="12" y="0"/>
                  </a:cxn>
                  <a:cxn ang="0">
                    <a:pos x="14" y="0"/>
                  </a:cxn>
                </a:cxnLst>
                <a:rect l="0" t="0" r="r" b="b"/>
                <a:pathLst>
                  <a:path w="34" h="26">
                    <a:moveTo>
                      <a:pt x="14" y="0"/>
                    </a:moveTo>
                    <a:lnTo>
                      <a:pt x="17" y="2"/>
                    </a:lnTo>
                    <a:lnTo>
                      <a:pt x="24" y="5"/>
                    </a:lnTo>
                    <a:lnTo>
                      <a:pt x="26" y="7"/>
                    </a:lnTo>
                    <a:lnTo>
                      <a:pt x="31" y="5"/>
                    </a:lnTo>
                    <a:lnTo>
                      <a:pt x="33" y="7"/>
                    </a:lnTo>
                    <a:lnTo>
                      <a:pt x="34" y="10"/>
                    </a:lnTo>
                    <a:lnTo>
                      <a:pt x="29" y="19"/>
                    </a:lnTo>
                    <a:lnTo>
                      <a:pt x="21" y="26"/>
                    </a:lnTo>
                    <a:lnTo>
                      <a:pt x="14" y="22"/>
                    </a:lnTo>
                    <a:lnTo>
                      <a:pt x="7" y="20"/>
                    </a:lnTo>
                    <a:lnTo>
                      <a:pt x="2" y="15"/>
                    </a:lnTo>
                    <a:lnTo>
                      <a:pt x="0" y="12"/>
                    </a:lnTo>
                    <a:lnTo>
                      <a:pt x="2" y="3"/>
                    </a:lnTo>
                    <a:lnTo>
                      <a:pt x="10" y="0"/>
                    </a:lnTo>
                    <a:lnTo>
                      <a:pt x="12"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2" name="Freeform 289"/>
              <p:cNvSpPr>
                <a:spLocks/>
              </p:cNvSpPr>
              <p:nvPr/>
            </p:nvSpPr>
            <p:spPr bwMode="auto">
              <a:xfrm>
                <a:off x="2961482" y="5340350"/>
                <a:ext cx="38100" cy="23812"/>
              </a:xfrm>
              <a:custGeom>
                <a:avLst/>
                <a:gdLst/>
                <a:ahLst/>
                <a:cxnLst>
                  <a:cxn ang="0">
                    <a:pos x="5" y="3"/>
                  </a:cxn>
                  <a:cxn ang="0">
                    <a:pos x="8" y="1"/>
                  </a:cxn>
                  <a:cxn ang="0">
                    <a:pos x="14" y="0"/>
                  </a:cxn>
                  <a:cxn ang="0">
                    <a:pos x="19" y="0"/>
                  </a:cxn>
                  <a:cxn ang="0">
                    <a:pos x="24" y="0"/>
                  </a:cxn>
                  <a:cxn ang="0">
                    <a:pos x="24" y="1"/>
                  </a:cxn>
                  <a:cxn ang="0">
                    <a:pos x="24" y="3"/>
                  </a:cxn>
                  <a:cxn ang="0">
                    <a:pos x="19" y="8"/>
                  </a:cxn>
                  <a:cxn ang="0">
                    <a:pos x="10" y="10"/>
                  </a:cxn>
                  <a:cxn ang="0">
                    <a:pos x="7" y="13"/>
                  </a:cxn>
                  <a:cxn ang="0">
                    <a:pos x="3" y="15"/>
                  </a:cxn>
                  <a:cxn ang="0">
                    <a:pos x="2" y="15"/>
                  </a:cxn>
                  <a:cxn ang="0">
                    <a:pos x="0" y="15"/>
                  </a:cxn>
                  <a:cxn ang="0">
                    <a:pos x="0" y="10"/>
                  </a:cxn>
                  <a:cxn ang="0">
                    <a:pos x="2" y="6"/>
                  </a:cxn>
                  <a:cxn ang="0">
                    <a:pos x="5" y="3"/>
                  </a:cxn>
                </a:cxnLst>
                <a:rect l="0" t="0" r="r" b="b"/>
                <a:pathLst>
                  <a:path w="24" h="15">
                    <a:moveTo>
                      <a:pt x="5" y="3"/>
                    </a:moveTo>
                    <a:lnTo>
                      <a:pt x="8" y="1"/>
                    </a:lnTo>
                    <a:lnTo>
                      <a:pt x="14" y="0"/>
                    </a:lnTo>
                    <a:lnTo>
                      <a:pt x="19" y="0"/>
                    </a:lnTo>
                    <a:lnTo>
                      <a:pt x="24" y="0"/>
                    </a:lnTo>
                    <a:lnTo>
                      <a:pt x="24" y="1"/>
                    </a:lnTo>
                    <a:lnTo>
                      <a:pt x="24" y="3"/>
                    </a:lnTo>
                    <a:lnTo>
                      <a:pt x="19" y="8"/>
                    </a:lnTo>
                    <a:lnTo>
                      <a:pt x="10" y="10"/>
                    </a:lnTo>
                    <a:lnTo>
                      <a:pt x="7" y="13"/>
                    </a:lnTo>
                    <a:lnTo>
                      <a:pt x="3" y="15"/>
                    </a:lnTo>
                    <a:lnTo>
                      <a:pt x="2" y="15"/>
                    </a:lnTo>
                    <a:lnTo>
                      <a:pt x="0" y="15"/>
                    </a:lnTo>
                    <a:lnTo>
                      <a:pt x="0" y="10"/>
                    </a:lnTo>
                    <a:lnTo>
                      <a:pt x="2" y="6"/>
                    </a:lnTo>
                    <a:lnTo>
                      <a:pt x="5"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3" name="Freeform 290"/>
              <p:cNvSpPr>
                <a:spLocks/>
              </p:cNvSpPr>
              <p:nvPr/>
            </p:nvSpPr>
            <p:spPr bwMode="auto">
              <a:xfrm>
                <a:off x="2934494" y="5334000"/>
                <a:ext cx="31750" cy="26987"/>
              </a:xfrm>
              <a:custGeom>
                <a:avLst/>
                <a:gdLst/>
                <a:ahLst/>
                <a:cxnLst>
                  <a:cxn ang="0">
                    <a:pos x="7" y="5"/>
                  </a:cxn>
                  <a:cxn ang="0">
                    <a:pos x="3" y="2"/>
                  </a:cxn>
                  <a:cxn ang="0">
                    <a:pos x="3" y="0"/>
                  </a:cxn>
                  <a:cxn ang="0">
                    <a:pos x="12" y="0"/>
                  </a:cxn>
                  <a:cxn ang="0">
                    <a:pos x="20" y="0"/>
                  </a:cxn>
                  <a:cxn ang="0">
                    <a:pos x="20" y="2"/>
                  </a:cxn>
                  <a:cxn ang="0">
                    <a:pos x="20" y="5"/>
                  </a:cxn>
                  <a:cxn ang="0">
                    <a:pos x="10" y="10"/>
                  </a:cxn>
                  <a:cxn ang="0">
                    <a:pos x="1" y="17"/>
                  </a:cxn>
                  <a:cxn ang="0">
                    <a:pos x="0" y="16"/>
                  </a:cxn>
                  <a:cxn ang="0">
                    <a:pos x="3" y="10"/>
                  </a:cxn>
                  <a:cxn ang="0">
                    <a:pos x="7" y="5"/>
                  </a:cxn>
                </a:cxnLst>
                <a:rect l="0" t="0" r="r" b="b"/>
                <a:pathLst>
                  <a:path w="20" h="17">
                    <a:moveTo>
                      <a:pt x="7" y="5"/>
                    </a:moveTo>
                    <a:lnTo>
                      <a:pt x="3" y="2"/>
                    </a:lnTo>
                    <a:lnTo>
                      <a:pt x="3" y="0"/>
                    </a:lnTo>
                    <a:lnTo>
                      <a:pt x="12" y="0"/>
                    </a:lnTo>
                    <a:lnTo>
                      <a:pt x="20" y="0"/>
                    </a:lnTo>
                    <a:lnTo>
                      <a:pt x="20" y="2"/>
                    </a:lnTo>
                    <a:lnTo>
                      <a:pt x="20" y="5"/>
                    </a:lnTo>
                    <a:lnTo>
                      <a:pt x="10" y="10"/>
                    </a:lnTo>
                    <a:lnTo>
                      <a:pt x="1" y="17"/>
                    </a:lnTo>
                    <a:lnTo>
                      <a:pt x="0" y="16"/>
                    </a:lnTo>
                    <a:lnTo>
                      <a:pt x="3"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4" name="Freeform 291"/>
              <p:cNvSpPr>
                <a:spLocks/>
              </p:cNvSpPr>
              <p:nvPr/>
            </p:nvSpPr>
            <p:spPr bwMode="auto">
              <a:xfrm>
                <a:off x="2620169" y="5057775"/>
                <a:ext cx="19050" cy="47625"/>
              </a:xfrm>
              <a:custGeom>
                <a:avLst/>
                <a:gdLst/>
                <a:ahLst/>
                <a:cxnLst>
                  <a:cxn ang="0">
                    <a:pos x="0" y="16"/>
                  </a:cxn>
                  <a:cxn ang="0">
                    <a:pos x="0" y="13"/>
                  </a:cxn>
                  <a:cxn ang="0">
                    <a:pos x="2" y="7"/>
                  </a:cxn>
                  <a:cxn ang="0">
                    <a:pos x="2" y="2"/>
                  </a:cxn>
                  <a:cxn ang="0">
                    <a:pos x="5" y="0"/>
                  </a:cxn>
                  <a:cxn ang="0">
                    <a:pos x="10" y="2"/>
                  </a:cxn>
                  <a:cxn ang="0">
                    <a:pos x="12" y="9"/>
                  </a:cxn>
                  <a:cxn ang="0">
                    <a:pos x="10" y="13"/>
                  </a:cxn>
                  <a:cxn ang="0">
                    <a:pos x="10" y="14"/>
                  </a:cxn>
                  <a:cxn ang="0">
                    <a:pos x="10" y="30"/>
                  </a:cxn>
                  <a:cxn ang="0">
                    <a:pos x="5" y="30"/>
                  </a:cxn>
                  <a:cxn ang="0">
                    <a:pos x="0" y="26"/>
                  </a:cxn>
                  <a:cxn ang="0">
                    <a:pos x="0" y="23"/>
                  </a:cxn>
                  <a:cxn ang="0">
                    <a:pos x="0" y="18"/>
                  </a:cxn>
                  <a:cxn ang="0">
                    <a:pos x="0" y="16"/>
                  </a:cxn>
                </a:cxnLst>
                <a:rect l="0" t="0" r="r" b="b"/>
                <a:pathLst>
                  <a:path w="12" h="30">
                    <a:moveTo>
                      <a:pt x="0" y="16"/>
                    </a:moveTo>
                    <a:lnTo>
                      <a:pt x="0" y="13"/>
                    </a:lnTo>
                    <a:lnTo>
                      <a:pt x="2" y="7"/>
                    </a:lnTo>
                    <a:lnTo>
                      <a:pt x="2" y="2"/>
                    </a:lnTo>
                    <a:lnTo>
                      <a:pt x="5" y="0"/>
                    </a:lnTo>
                    <a:lnTo>
                      <a:pt x="10" y="2"/>
                    </a:lnTo>
                    <a:lnTo>
                      <a:pt x="12" y="9"/>
                    </a:lnTo>
                    <a:lnTo>
                      <a:pt x="10" y="13"/>
                    </a:lnTo>
                    <a:lnTo>
                      <a:pt x="10" y="14"/>
                    </a:lnTo>
                    <a:lnTo>
                      <a:pt x="10" y="30"/>
                    </a:lnTo>
                    <a:lnTo>
                      <a:pt x="5" y="30"/>
                    </a:lnTo>
                    <a:lnTo>
                      <a:pt x="0" y="26"/>
                    </a:lnTo>
                    <a:lnTo>
                      <a:pt x="0" y="23"/>
                    </a:lnTo>
                    <a:lnTo>
                      <a:pt x="0" y="18"/>
                    </a:lnTo>
                    <a:lnTo>
                      <a:pt x="0"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5" name="Freeform 292"/>
              <p:cNvSpPr>
                <a:spLocks/>
              </p:cNvSpPr>
              <p:nvPr/>
            </p:nvSpPr>
            <p:spPr bwMode="auto">
              <a:xfrm>
                <a:off x="2453482" y="3743325"/>
                <a:ext cx="1069975" cy="1722437"/>
              </a:xfrm>
              <a:custGeom>
                <a:avLst/>
                <a:gdLst/>
                <a:ahLst/>
                <a:cxnLst>
                  <a:cxn ang="0">
                    <a:pos x="52" y="79"/>
                  </a:cxn>
                  <a:cxn ang="0">
                    <a:pos x="65" y="55"/>
                  </a:cxn>
                  <a:cxn ang="0">
                    <a:pos x="86" y="22"/>
                  </a:cxn>
                  <a:cxn ang="0">
                    <a:pos x="143" y="0"/>
                  </a:cxn>
                  <a:cxn ang="0">
                    <a:pos x="139" y="41"/>
                  </a:cxn>
                  <a:cxn ang="0">
                    <a:pos x="158" y="13"/>
                  </a:cxn>
                  <a:cxn ang="0">
                    <a:pos x="191" y="22"/>
                  </a:cxn>
                  <a:cxn ang="0">
                    <a:pos x="234" y="32"/>
                  </a:cxn>
                  <a:cxn ang="0">
                    <a:pos x="272" y="24"/>
                  </a:cxn>
                  <a:cxn ang="0">
                    <a:pos x="313" y="56"/>
                  </a:cxn>
                  <a:cxn ang="0">
                    <a:pos x="344" y="87"/>
                  </a:cxn>
                  <a:cxn ang="0">
                    <a:pos x="409" y="101"/>
                  </a:cxn>
                  <a:cxn ang="0">
                    <a:pos x="442" y="134"/>
                  </a:cxn>
                  <a:cxn ang="0">
                    <a:pos x="437" y="177"/>
                  </a:cxn>
                  <a:cxn ang="0">
                    <a:pos x="463" y="208"/>
                  </a:cxn>
                  <a:cxn ang="0">
                    <a:pos x="507" y="192"/>
                  </a:cxn>
                  <a:cxn ang="0">
                    <a:pos x="538" y="218"/>
                  </a:cxn>
                  <a:cxn ang="0">
                    <a:pos x="616" y="227"/>
                  </a:cxn>
                  <a:cxn ang="0">
                    <a:pos x="671" y="261"/>
                  </a:cxn>
                  <a:cxn ang="0">
                    <a:pos x="642" y="345"/>
                  </a:cxn>
                  <a:cxn ang="0">
                    <a:pos x="614" y="395"/>
                  </a:cxn>
                  <a:cxn ang="0">
                    <a:pos x="604" y="447"/>
                  </a:cxn>
                  <a:cxn ang="0">
                    <a:pos x="571" y="510"/>
                  </a:cxn>
                  <a:cxn ang="0">
                    <a:pos x="509" y="533"/>
                  </a:cxn>
                  <a:cxn ang="0">
                    <a:pos x="475" y="602"/>
                  </a:cxn>
                  <a:cxn ang="0">
                    <a:pos x="433" y="655"/>
                  </a:cxn>
                  <a:cxn ang="0">
                    <a:pos x="368" y="706"/>
                  </a:cxn>
                  <a:cxn ang="0">
                    <a:pos x="342" y="710"/>
                  </a:cxn>
                  <a:cxn ang="0">
                    <a:pos x="349" y="758"/>
                  </a:cxn>
                  <a:cxn ang="0">
                    <a:pos x="282" y="777"/>
                  </a:cxn>
                  <a:cxn ang="0">
                    <a:pos x="277" y="811"/>
                  </a:cxn>
                  <a:cxn ang="0">
                    <a:pos x="237" y="822"/>
                  </a:cxn>
                  <a:cxn ang="0">
                    <a:pos x="260" y="839"/>
                  </a:cxn>
                  <a:cxn ang="0">
                    <a:pos x="237" y="861"/>
                  </a:cxn>
                  <a:cxn ang="0">
                    <a:pos x="217" y="918"/>
                  </a:cxn>
                  <a:cxn ang="0">
                    <a:pos x="205" y="961"/>
                  </a:cxn>
                  <a:cxn ang="0">
                    <a:pos x="186" y="1014"/>
                  </a:cxn>
                  <a:cxn ang="0">
                    <a:pos x="229" y="1068"/>
                  </a:cxn>
                  <a:cxn ang="0">
                    <a:pos x="201" y="1083"/>
                  </a:cxn>
                  <a:cxn ang="0">
                    <a:pos x="169" y="1071"/>
                  </a:cxn>
                  <a:cxn ang="0">
                    <a:pos x="132" y="1050"/>
                  </a:cxn>
                  <a:cxn ang="0">
                    <a:pos x="107" y="1026"/>
                  </a:cxn>
                  <a:cxn ang="0">
                    <a:pos x="105" y="1000"/>
                  </a:cxn>
                  <a:cxn ang="0">
                    <a:pos x="91" y="954"/>
                  </a:cxn>
                  <a:cxn ang="0">
                    <a:pos x="96" y="904"/>
                  </a:cxn>
                  <a:cxn ang="0">
                    <a:pos x="127" y="823"/>
                  </a:cxn>
                  <a:cxn ang="0">
                    <a:pos x="115" y="789"/>
                  </a:cxn>
                  <a:cxn ang="0">
                    <a:pos x="115" y="767"/>
                  </a:cxn>
                  <a:cxn ang="0">
                    <a:pos x="138" y="715"/>
                  </a:cxn>
                  <a:cxn ang="0">
                    <a:pos x="151" y="595"/>
                  </a:cxn>
                  <a:cxn ang="0">
                    <a:pos x="162" y="538"/>
                  </a:cxn>
                  <a:cxn ang="0">
                    <a:pos x="165" y="498"/>
                  </a:cxn>
                  <a:cxn ang="0">
                    <a:pos x="129" y="428"/>
                  </a:cxn>
                  <a:cxn ang="0">
                    <a:pos x="74" y="393"/>
                  </a:cxn>
                  <a:cxn ang="0">
                    <a:pos x="40" y="311"/>
                  </a:cxn>
                  <a:cxn ang="0">
                    <a:pos x="14" y="277"/>
                  </a:cxn>
                  <a:cxn ang="0">
                    <a:pos x="17" y="216"/>
                  </a:cxn>
                  <a:cxn ang="0">
                    <a:pos x="17" y="170"/>
                  </a:cxn>
                  <a:cxn ang="0">
                    <a:pos x="55" y="132"/>
                  </a:cxn>
                </a:cxnLst>
                <a:rect l="0" t="0" r="r" b="b"/>
                <a:pathLst>
                  <a:path w="674" h="1085">
                    <a:moveTo>
                      <a:pt x="57" y="118"/>
                    </a:moveTo>
                    <a:lnTo>
                      <a:pt x="57" y="115"/>
                    </a:lnTo>
                    <a:lnTo>
                      <a:pt x="55" y="108"/>
                    </a:lnTo>
                    <a:lnTo>
                      <a:pt x="53" y="103"/>
                    </a:lnTo>
                    <a:lnTo>
                      <a:pt x="55" y="96"/>
                    </a:lnTo>
                    <a:lnTo>
                      <a:pt x="57" y="91"/>
                    </a:lnTo>
                    <a:lnTo>
                      <a:pt x="52" y="79"/>
                    </a:lnTo>
                    <a:lnTo>
                      <a:pt x="48" y="72"/>
                    </a:lnTo>
                    <a:lnTo>
                      <a:pt x="53" y="63"/>
                    </a:lnTo>
                    <a:lnTo>
                      <a:pt x="60" y="58"/>
                    </a:lnTo>
                    <a:lnTo>
                      <a:pt x="62" y="58"/>
                    </a:lnTo>
                    <a:lnTo>
                      <a:pt x="65" y="58"/>
                    </a:lnTo>
                    <a:lnTo>
                      <a:pt x="65" y="56"/>
                    </a:lnTo>
                    <a:lnTo>
                      <a:pt x="65" y="55"/>
                    </a:lnTo>
                    <a:lnTo>
                      <a:pt x="67" y="53"/>
                    </a:lnTo>
                    <a:lnTo>
                      <a:pt x="69" y="53"/>
                    </a:lnTo>
                    <a:lnTo>
                      <a:pt x="71" y="46"/>
                    </a:lnTo>
                    <a:lnTo>
                      <a:pt x="77" y="43"/>
                    </a:lnTo>
                    <a:lnTo>
                      <a:pt x="79" y="36"/>
                    </a:lnTo>
                    <a:lnTo>
                      <a:pt x="83" y="31"/>
                    </a:lnTo>
                    <a:lnTo>
                      <a:pt x="86" y="22"/>
                    </a:lnTo>
                    <a:lnTo>
                      <a:pt x="96" y="19"/>
                    </a:lnTo>
                    <a:lnTo>
                      <a:pt x="103" y="15"/>
                    </a:lnTo>
                    <a:lnTo>
                      <a:pt x="112" y="13"/>
                    </a:lnTo>
                    <a:lnTo>
                      <a:pt x="119" y="10"/>
                    </a:lnTo>
                    <a:lnTo>
                      <a:pt x="129" y="8"/>
                    </a:lnTo>
                    <a:lnTo>
                      <a:pt x="136" y="3"/>
                    </a:lnTo>
                    <a:lnTo>
                      <a:pt x="143" y="0"/>
                    </a:lnTo>
                    <a:lnTo>
                      <a:pt x="146" y="1"/>
                    </a:lnTo>
                    <a:lnTo>
                      <a:pt x="148" y="5"/>
                    </a:lnTo>
                    <a:lnTo>
                      <a:pt x="144" y="10"/>
                    </a:lnTo>
                    <a:lnTo>
                      <a:pt x="143" y="12"/>
                    </a:lnTo>
                    <a:lnTo>
                      <a:pt x="139" y="22"/>
                    </a:lnTo>
                    <a:lnTo>
                      <a:pt x="138" y="32"/>
                    </a:lnTo>
                    <a:lnTo>
                      <a:pt x="139" y="41"/>
                    </a:lnTo>
                    <a:lnTo>
                      <a:pt x="146" y="48"/>
                    </a:lnTo>
                    <a:lnTo>
                      <a:pt x="148" y="43"/>
                    </a:lnTo>
                    <a:lnTo>
                      <a:pt x="151" y="39"/>
                    </a:lnTo>
                    <a:lnTo>
                      <a:pt x="148" y="31"/>
                    </a:lnTo>
                    <a:lnTo>
                      <a:pt x="144" y="24"/>
                    </a:lnTo>
                    <a:lnTo>
                      <a:pt x="148" y="15"/>
                    </a:lnTo>
                    <a:lnTo>
                      <a:pt x="158" y="13"/>
                    </a:lnTo>
                    <a:lnTo>
                      <a:pt x="170" y="13"/>
                    </a:lnTo>
                    <a:lnTo>
                      <a:pt x="163" y="8"/>
                    </a:lnTo>
                    <a:lnTo>
                      <a:pt x="160" y="5"/>
                    </a:lnTo>
                    <a:lnTo>
                      <a:pt x="170" y="5"/>
                    </a:lnTo>
                    <a:lnTo>
                      <a:pt x="177" y="13"/>
                    </a:lnTo>
                    <a:lnTo>
                      <a:pt x="191" y="17"/>
                    </a:lnTo>
                    <a:lnTo>
                      <a:pt x="191" y="22"/>
                    </a:lnTo>
                    <a:lnTo>
                      <a:pt x="196" y="25"/>
                    </a:lnTo>
                    <a:lnTo>
                      <a:pt x="203" y="25"/>
                    </a:lnTo>
                    <a:lnTo>
                      <a:pt x="212" y="25"/>
                    </a:lnTo>
                    <a:lnTo>
                      <a:pt x="218" y="25"/>
                    </a:lnTo>
                    <a:lnTo>
                      <a:pt x="224" y="25"/>
                    </a:lnTo>
                    <a:lnTo>
                      <a:pt x="227" y="31"/>
                    </a:lnTo>
                    <a:lnTo>
                      <a:pt x="234" y="32"/>
                    </a:lnTo>
                    <a:lnTo>
                      <a:pt x="244" y="29"/>
                    </a:lnTo>
                    <a:lnTo>
                      <a:pt x="249" y="25"/>
                    </a:lnTo>
                    <a:lnTo>
                      <a:pt x="256" y="24"/>
                    </a:lnTo>
                    <a:lnTo>
                      <a:pt x="263" y="22"/>
                    </a:lnTo>
                    <a:lnTo>
                      <a:pt x="272" y="22"/>
                    </a:lnTo>
                    <a:lnTo>
                      <a:pt x="277" y="24"/>
                    </a:lnTo>
                    <a:lnTo>
                      <a:pt x="272" y="24"/>
                    </a:lnTo>
                    <a:lnTo>
                      <a:pt x="268" y="25"/>
                    </a:lnTo>
                    <a:lnTo>
                      <a:pt x="268" y="29"/>
                    </a:lnTo>
                    <a:lnTo>
                      <a:pt x="279" y="36"/>
                    </a:lnTo>
                    <a:lnTo>
                      <a:pt x="291" y="39"/>
                    </a:lnTo>
                    <a:lnTo>
                      <a:pt x="296" y="46"/>
                    </a:lnTo>
                    <a:lnTo>
                      <a:pt x="298" y="56"/>
                    </a:lnTo>
                    <a:lnTo>
                      <a:pt x="313" y="56"/>
                    </a:lnTo>
                    <a:lnTo>
                      <a:pt x="318" y="60"/>
                    </a:lnTo>
                    <a:lnTo>
                      <a:pt x="323" y="63"/>
                    </a:lnTo>
                    <a:lnTo>
                      <a:pt x="327" y="68"/>
                    </a:lnTo>
                    <a:lnTo>
                      <a:pt x="332" y="77"/>
                    </a:lnTo>
                    <a:lnTo>
                      <a:pt x="335" y="79"/>
                    </a:lnTo>
                    <a:lnTo>
                      <a:pt x="341" y="81"/>
                    </a:lnTo>
                    <a:lnTo>
                      <a:pt x="344" y="87"/>
                    </a:lnTo>
                    <a:lnTo>
                      <a:pt x="354" y="91"/>
                    </a:lnTo>
                    <a:lnTo>
                      <a:pt x="366" y="93"/>
                    </a:lnTo>
                    <a:lnTo>
                      <a:pt x="378" y="94"/>
                    </a:lnTo>
                    <a:lnTo>
                      <a:pt x="392" y="94"/>
                    </a:lnTo>
                    <a:lnTo>
                      <a:pt x="399" y="98"/>
                    </a:lnTo>
                    <a:lnTo>
                      <a:pt x="409" y="101"/>
                    </a:lnTo>
                    <a:lnTo>
                      <a:pt x="409" y="101"/>
                    </a:lnTo>
                    <a:lnTo>
                      <a:pt x="411" y="101"/>
                    </a:lnTo>
                    <a:lnTo>
                      <a:pt x="416" y="103"/>
                    </a:lnTo>
                    <a:lnTo>
                      <a:pt x="425" y="110"/>
                    </a:lnTo>
                    <a:lnTo>
                      <a:pt x="430" y="115"/>
                    </a:lnTo>
                    <a:lnTo>
                      <a:pt x="439" y="120"/>
                    </a:lnTo>
                    <a:lnTo>
                      <a:pt x="439" y="125"/>
                    </a:lnTo>
                    <a:lnTo>
                      <a:pt x="442" y="134"/>
                    </a:lnTo>
                    <a:lnTo>
                      <a:pt x="445" y="141"/>
                    </a:lnTo>
                    <a:lnTo>
                      <a:pt x="449" y="149"/>
                    </a:lnTo>
                    <a:lnTo>
                      <a:pt x="452" y="153"/>
                    </a:lnTo>
                    <a:lnTo>
                      <a:pt x="457" y="158"/>
                    </a:lnTo>
                    <a:lnTo>
                      <a:pt x="449" y="163"/>
                    </a:lnTo>
                    <a:lnTo>
                      <a:pt x="442" y="170"/>
                    </a:lnTo>
                    <a:lnTo>
                      <a:pt x="437" y="177"/>
                    </a:lnTo>
                    <a:lnTo>
                      <a:pt x="435" y="189"/>
                    </a:lnTo>
                    <a:lnTo>
                      <a:pt x="437" y="192"/>
                    </a:lnTo>
                    <a:lnTo>
                      <a:pt x="442" y="194"/>
                    </a:lnTo>
                    <a:lnTo>
                      <a:pt x="447" y="199"/>
                    </a:lnTo>
                    <a:lnTo>
                      <a:pt x="451" y="206"/>
                    </a:lnTo>
                    <a:lnTo>
                      <a:pt x="463" y="206"/>
                    </a:lnTo>
                    <a:lnTo>
                      <a:pt x="463" y="208"/>
                    </a:lnTo>
                    <a:lnTo>
                      <a:pt x="464" y="211"/>
                    </a:lnTo>
                    <a:lnTo>
                      <a:pt x="468" y="208"/>
                    </a:lnTo>
                    <a:lnTo>
                      <a:pt x="471" y="206"/>
                    </a:lnTo>
                    <a:lnTo>
                      <a:pt x="478" y="192"/>
                    </a:lnTo>
                    <a:lnTo>
                      <a:pt x="490" y="187"/>
                    </a:lnTo>
                    <a:lnTo>
                      <a:pt x="497" y="187"/>
                    </a:lnTo>
                    <a:lnTo>
                      <a:pt x="507" y="192"/>
                    </a:lnTo>
                    <a:lnTo>
                      <a:pt x="516" y="196"/>
                    </a:lnTo>
                    <a:lnTo>
                      <a:pt x="525" y="201"/>
                    </a:lnTo>
                    <a:lnTo>
                      <a:pt x="530" y="203"/>
                    </a:lnTo>
                    <a:lnTo>
                      <a:pt x="533" y="206"/>
                    </a:lnTo>
                    <a:lnTo>
                      <a:pt x="533" y="211"/>
                    </a:lnTo>
                    <a:lnTo>
                      <a:pt x="535" y="218"/>
                    </a:lnTo>
                    <a:lnTo>
                      <a:pt x="538" y="218"/>
                    </a:lnTo>
                    <a:lnTo>
                      <a:pt x="543" y="215"/>
                    </a:lnTo>
                    <a:lnTo>
                      <a:pt x="549" y="213"/>
                    </a:lnTo>
                    <a:lnTo>
                      <a:pt x="561" y="216"/>
                    </a:lnTo>
                    <a:lnTo>
                      <a:pt x="573" y="222"/>
                    </a:lnTo>
                    <a:lnTo>
                      <a:pt x="592" y="218"/>
                    </a:lnTo>
                    <a:lnTo>
                      <a:pt x="604" y="222"/>
                    </a:lnTo>
                    <a:lnTo>
                      <a:pt x="616" y="227"/>
                    </a:lnTo>
                    <a:lnTo>
                      <a:pt x="619" y="232"/>
                    </a:lnTo>
                    <a:lnTo>
                      <a:pt x="626" y="240"/>
                    </a:lnTo>
                    <a:lnTo>
                      <a:pt x="635" y="246"/>
                    </a:lnTo>
                    <a:lnTo>
                      <a:pt x="643" y="251"/>
                    </a:lnTo>
                    <a:lnTo>
                      <a:pt x="652" y="251"/>
                    </a:lnTo>
                    <a:lnTo>
                      <a:pt x="662" y="252"/>
                    </a:lnTo>
                    <a:lnTo>
                      <a:pt x="671" y="261"/>
                    </a:lnTo>
                    <a:lnTo>
                      <a:pt x="674" y="277"/>
                    </a:lnTo>
                    <a:lnTo>
                      <a:pt x="672" y="289"/>
                    </a:lnTo>
                    <a:lnTo>
                      <a:pt x="671" y="299"/>
                    </a:lnTo>
                    <a:lnTo>
                      <a:pt x="666" y="307"/>
                    </a:lnTo>
                    <a:lnTo>
                      <a:pt x="662" y="316"/>
                    </a:lnTo>
                    <a:lnTo>
                      <a:pt x="652" y="330"/>
                    </a:lnTo>
                    <a:lnTo>
                      <a:pt x="642" y="345"/>
                    </a:lnTo>
                    <a:lnTo>
                      <a:pt x="636" y="349"/>
                    </a:lnTo>
                    <a:lnTo>
                      <a:pt x="633" y="356"/>
                    </a:lnTo>
                    <a:lnTo>
                      <a:pt x="624" y="363"/>
                    </a:lnTo>
                    <a:lnTo>
                      <a:pt x="617" y="369"/>
                    </a:lnTo>
                    <a:lnTo>
                      <a:pt x="612" y="375"/>
                    </a:lnTo>
                    <a:lnTo>
                      <a:pt x="612" y="385"/>
                    </a:lnTo>
                    <a:lnTo>
                      <a:pt x="614" y="395"/>
                    </a:lnTo>
                    <a:lnTo>
                      <a:pt x="616" y="405"/>
                    </a:lnTo>
                    <a:lnTo>
                      <a:pt x="614" y="418"/>
                    </a:lnTo>
                    <a:lnTo>
                      <a:pt x="614" y="430"/>
                    </a:lnTo>
                    <a:lnTo>
                      <a:pt x="612" y="431"/>
                    </a:lnTo>
                    <a:lnTo>
                      <a:pt x="611" y="435"/>
                    </a:lnTo>
                    <a:lnTo>
                      <a:pt x="605" y="440"/>
                    </a:lnTo>
                    <a:lnTo>
                      <a:pt x="604" y="447"/>
                    </a:lnTo>
                    <a:lnTo>
                      <a:pt x="602" y="455"/>
                    </a:lnTo>
                    <a:lnTo>
                      <a:pt x="602" y="464"/>
                    </a:lnTo>
                    <a:lnTo>
                      <a:pt x="592" y="478"/>
                    </a:lnTo>
                    <a:lnTo>
                      <a:pt x="583" y="491"/>
                    </a:lnTo>
                    <a:lnTo>
                      <a:pt x="581" y="497"/>
                    </a:lnTo>
                    <a:lnTo>
                      <a:pt x="581" y="502"/>
                    </a:lnTo>
                    <a:lnTo>
                      <a:pt x="571" y="510"/>
                    </a:lnTo>
                    <a:lnTo>
                      <a:pt x="559" y="516"/>
                    </a:lnTo>
                    <a:lnTo>
                      <a:pt x="545" y="516"/>
                    </a:lnTo>
                    <a:lnTo>
                      <a:pt x="535" y="519"/>
                    </a:lnTo>
                    <a:lnTo>
                      <a:pt x="530" y="521"/>
                    </a:lnTo>
                    <a:lnTo>
                      <a:pt x="528" y="524"/>
                    </a:lnTo>
                    <a:lnTo>
                      <a:pt x="518" y="529"/>
                    </a:lnTo>
                    <a:lnTo>
                      <a:pt x="509" y="533"/>
                    </a:lnTo>
                    <a:lnTo>
                      <a:pt x="500" y="534"/>
                    </a:lnTo>
                    <a:lnTo>
                      <a:pt x="495" y="543"/>
                    </a:lnTo>
                    <a:lnTo>
                      <a:pt x="487" y="548"/>
                    </a:lnTo>
                    <a:lnTo>
                      <a:pt x="480" y="553"/>
                    </a:lnTo>
                    <a:lnTo>
                      <a:pt x="475" y="564"/>
                    </a:lnTo>
                    <a:lnTo>
                      <a:pt x="475" y="577"/>
                    </a:lnTo>
                    <a:lnTo>
                      <a:pt x="475" y="602"/>
                    </a:lnTo>
                    <a:lnTo>
                      <a:pt x="461" y="610"/>
                    </a:lnTo>
                    <a:lnTo>
                      <a:pt x="454" y="626"/>
                    </a:lnTo>
                    <a:lnTo>
                      <a:pt x="454" y="626"/>
                    </a:lnTo>
                    <a:lnTo>
                      <a:pt x="451" y="632"/>
                    </a:lnTo>
                    <a:lnTo>
                      <a:pt x="447" y="641"/>
                    </a:lnTo>
                    <a:lnTo>
                      <a:pt x="439" y="648"/>
                    </a:lnTo>
                    <a:lnTo>
                      <a:pt x="433" y="655"/>
                    </a:lnTo>
                    <a:lnTo>
                      <a:pt x="425" y="660"/>
                    </a:lnTo>
                    <a:lnTo>
                      <a:pt x="420" y="670"/>
                    </a:lnTo>
                    <a:lnTo>
                      <a:pt x="413" y="682"/>
                    </a:lnTo>
                    <a:lnTo>
                      <a:pt x="406" y="694"/>
                    </a:lnTo>
                    <a:lnTo>
                      <a:pt x="396" y="705"/>
                    </a:lnTo>
                    <a:lnTo>
                      <a:pt x="382" y="710"/>
                    </a:lnTo>
                    <a:lnTo>
                      <a:pt x="368" y="706"/>
                    </a:lnTo>
                    <a:lnTo>
                      <a:pt x="359" y="705"/>
                    </a:lnTo>
                    <a:lnTo>
                      <a:pt x="347" y="701"/>
                    </a:lnTo>
                    <a:lnTo>
                      <a:pt x="337" y="700"/>
                    </a:lnTo>
                    <a:lnTo>
                      <a:pt x="334" y="700"/>
                    </a:lnTo>
                    <a:lnTo>
                      <a:pt x="334" y="701"/>
                    </a:lnTo>
                    <a:lnTo>
                      <a:pt x="337" y="706"/>
                    </a:lnTo>
                    <a:lnTo>
                      <a:pt x="342" y="710"/>
                    </a:lnTo>
                    <a:lnTo>
                      <a:pt x="346" y="717"/>
                    </a:lnTo>
                    <a:lnTo>
                      <a:pt x="349" y="725"/>
                    </a:lnTo>
                    <a:lnTo>
                      <a:pt x="353" y="730"/>
                    </a:lnTo>
                    <a:lnTo>
                      <a:pt x="358" y="737"/>
                    </a:lnTo>
                    <a:lnTo>
                      <a:pt x="356" y="744"/>
                    </a:lnTo>
                    <a:lnTo>
                      <a:pt x="356" y="751"/>
                    </a:lnTo>
                    <a:lnTo>
                      <a:pt x="349" y="758"/>
                    </a:lnTo>
                    <a:lnTo>
                      <a:pt x="342" y="767"/>
                    </a:lnTo>
                    <a:lnTo>
                      <a:pt x="327" y="772"/>
                    </a:lnTo>
                    <a:lnTo>
                      <a:pt x="311" y="777"/>
                    </a:lnTo>
                    <a:lnTo>
                      <a:pt x="303" y="775"/>
                    </a:lnTo>
                    <a:lnTo>
                      <a:pt x="294" y="775"/>
                    </a:lnTo>
                    <a:lnTo>
                      <a:pt x="286" y="775"/>
                    </a:lnTo>
                    <a:lnTo>
                      <a:pt x="282" y="777"/>
                    </a:lnTo>
                    <a:lnTo>
                      <a:pt x="277" y="782"/>
                    </a:lnTo>
                    <a:lnTo>
                      <a:pt x="277" y="791"/>
                    </a:lnTo>
                    <a:lnTo>
                      <a:pt x="277" y="798"/>
                    </a:lnTo>
                    <a:lnTo>
                      <a:pt x="277" y="806"/>
                    </a:lnTo>
                    <a:lnTo>
                      <a:pt x="277" y="806"/>
                    </a:lnTo>
                    <a:lnTo>
                      <a:pt x="277" y="808"/>
                    </a:lnTo>
                    <a:lnTo>
                      <a:pt x="277" y="811"/>
                    </a:lnTo>
                    <a:lnTo>
                      <a:pt x="272" y="815"/>
                    </a:lnTo>
                    <a:lnTo>
                      <a:pt x="265" y="818"/>
                    </a:lnTo>
                    <a:lnTo>
                      <a:pt x="253" y="815"/>
                    </a:lnTo>
                    <a:lnTo>
                      <a:pt x="243" y="811"/>
                    </a:lnTo>
                    <a:lnTo>
                      <a:pt x="237" y="813"/>
                    </a:lnTo>
                    <a:lnTo>
                      <a:pt x="237" y="816"/>
                    </a:lnTo>
                    <a:lnTo>
                      <a:pt x="237" y="822"/>
                    </a:lnTo>
                    <a:lnTo>
                      <a:pt x="239" y="828"/>
                    </a:lnTo>
                    <a:lnTo>
                      <a:pt x="243" y="834"/>
                    </a:lnTo>
                    <a:lnTo>
                      <a:pt x="248" y="837"/>
                    </a:lnTo>
                    <a:lnTo>
                      <a:pt x="251" y="835"/>
                    </a:lnTo>
                    <a:lnTo>
                      <a:pt x="255" y="834"/>
                    </a:lnTo>
                    <a:lnTo>
                      <a:pt x="256" y="835"/>
                    </a:lnTo>
                    <a:lnTo>
                      <a:pt x="260" y="839"/>
                    </a:lnTo>
                    <a:lnTo>
                      <a:pt x="256" y="842"/>
                    </a:lnTo>
                    <a:lnTo>
                      <a:pt x="255" y="846"/>
                    </a:lnTo>
                    <a:lnTo>
                      <a:pt x="246" y="842"/>
                    </a:lnTo>
                    <a:lnTo>
                      <a:pt x="241" y="841"/>
                    </a:lnTo>
                    <a:lnTo>
                      <a:pt x="243" y="846"/>
                    </a:lnTo>
                    <a:lnTo>
                      <a:pt x="248" y="847"/>
                    </a:lnTo>
                    <a:lnTo>
                      <a:pt x="237" y="861"/>
                    </a:lnTo>
                    <a:lnTo>
                      <a:pt x="234" y="878"/>
                    </a:lnTo>
                    <a:lnTo>
                      <a:pt x="227" y="884"/>
                    </a:lnTo>
                    <a:lnTo>
                      <a:pt x="220" y="885"/>
                    </a:lnTo>
                    <a:lnTo>
                      <a:pt x="210" y="890"/>
                    </a:lnTo>
                    <a:lnTo>
                      <a:pt x="206" y="904"/>
                    </a:lnTo>
                    <a:lnTo>
                      <a:pt x="208" y="913"/>
                    </a:lnTo>
                    <a:lnTo>
                      <a:pt x="217" y="918"/>
                    </a:lnTo>
                    <a:lnTo>
                      <a:pt x="224" y="921"/>
                    </a:lnTo>
                    <a:lnTo>
                      <a:pt x="229" y="932"/>
                    </a:lnTo>
                    <a:lnTo>
                      <a:pt x="225" y="939"/>
                    </a:lnTo>
                    <a:lnTo>
                      <a:pt x="220" y="945"/>
                    </a:lnTo>
                    <a:lnTo>
                      <a:pt x="213" y="949"/>
                    </a:lnTo>
                    <a:lnTo>
                      <a:pt x="208" y="954"/>
                    </a:lnTo>
                    <a:lnTo>
                      <a:pt x="205" y="961"/>
                    </a:lnTo>
                    <a:lnTo>
                      <a:pt x="203" y="971"/>
                    </a:lnTo>
                    <a:lnTo>
                      <a:pt x="194" y="976"/>
                    </a:lnTo>
                    <a:lnTo>
                      <a:pt x="187" y="980"/>
                    </a:lnTo>
                    <a:lnTo>
                      <a:pt x="181" y="990"/>
                    </a:lnTo>
                    <a:lnTo>
                      <a:pt x="179" y="1004"/>
                    </a:lnTo>
                    <a:lnTo>
                      <a:pt x="181" y="1009"/>
                    </a:lnTo>
                    <a:lnTo>
                      <a:pt x="186" y="1014"/>
                    </a:lnTo>
                    <a:lnTo>
                      <a:pt x="189" y="1019"/>
                    </a:lnTo>
                    <a:lnTo>
                      <a:pt x="193" y="1031"/>
                    </a:lnTo>
                    <a:lnTo>
                      <a:pt x="196" y="1042"/>
                    </a:lnTo>
                    <a:lnTo>
                      <a:pt x="201" y="1050"/>
                    </a:lnTo>
                    <a:lnTo>
                      <a:pt x="208" y="1055"/>
                    </a:lnTo>
                    <a:lnTo>
                      <a:pt x="218" y="1062"/>
                    </a:lnTo>
                    <a:lnTo>
                      <a:pt x="229" y="1068"/>
                    </a:lnTo>
                    <a:lnTo>
                      <a:pt x="239" y="1073"/>
                    </a:lnTo>
                    <a:lnTo>
                      <a:pt x="236" y="1073"/>
                    </a:lnTo>
                    <a:lnTo>
                      <a:pt x="232" y="1073"/>
                    </a:lnTo>
                    <a:lnTo>
                      <a:pt x="217" y="1078"/>
                    </a:lnTo>
                    <a:lnTo>
                      <a:pt x="206" y="1083"/>
                    </a:lnTo>
                    <a:lnTo>
                      <a:pt x="203" y="1083"/>
                    </a:lnTo>
                    <a:lnTo>
                      <a:pt x="201" y="1083"/>
                    </a:lnTo>
                    <a:lnTo>
                      <a:pt x="198" y="1083"/>
                    </a:lnTo>
                    <a:lnTo>
                      <a:pt x="196" y="1085"/>
                    </a:lnTo>
                    <a:lnTo>
                      <a:pt x="189" y="1085"/>
                    </a:lnTo>
                    <a:lnTo>
                      <a:pt x="182" y="1085"/>
                    </a:lnTo>
                    <a:lnTo>
                      <a:pt x="174" y="1081"/>
                    </a:lnTo>
                    <a:lnTo>
                      <a:pt x="172" y="1076"/>
                    </a:lnTo>
                    <a:lnTo>
                      <a:pt x="169" y="1071"/>
                    </a:lnTo>
                    <a:lnTo>
                      <a:pt x="167" y="1069"/>
                    </a:lnTo>
                    <a:lnTo>
                      <a:pt x="153" y="1064"/>
                    </a:lnTo>
                    <a:lnTo>
                      <a:pt x="148" y="1057"/>
                    </a:lnTo>
                    <a:lnTo>
                      <a:pt x="141" y="1057"/>
                    </a:lnTo>
                    <a:lnTo>
                      <a:pt x="138" y="1057"/>
                    </a:lnTo>
                    <a:lnTo>
                      <a:pt x="132" y="1054"/>
                    </a:lnTo>
                    <a:lnTo>
                      <a:pt x="132" y="1050"/>
                    </a:lnTo>
                    <a:lnTo>
                      <a:pt x="120" y="1049"/>
                    </a:lnTo>
                    <a:lnTo>
                      <a:pt x="115" y="1045"/>
                    </a:lnTo>
                    <a:lnTo>
                      <a:pt x="110" y="1040"/>
                    </a:lnTo>
                    <a:lnTo>
                      <a:pt x="107" y="1037"/>
                    </a:lnTo>
                    <a:lnTo>
                      <a:pt x="105" y="1033"/>
                    </a:lnTo>
                    <a:lnTo>
                      <a:pt x="103" y="1031"/>
                    </a:lnTo>
                    <a:lnTo>
                      <a:pt x="107" y="1026"/>
                    </a:lnTo>
                    <a:lnTo>
                      <a:pt x="112" y="1023"/>
                    </a:lnTo>
                    <a:lnTo>
                      <a:pt x="110" y="1021"/>
                    </a:lnTo>
                    <a:lnTo>
                      <a:pt x="108" y="1021"/>
                    </a:lnTo>
                    <a:lnTo>
                      <a:pt x="110" y="1016"/>
                    </a:lnTo>
                    <a:lnTo>
                      <a:pt x="112" y="1012"/>
                    </a:lnTo>
                    <a:lnTo>
                      <a:pt x="108" y="1004"/>
                    </a:lnTo>
                    <a:lnTo>
                      <a:pt x="105" y="1000"/>
                    </a:lnTo>
                    <a:lnTo>
                      <a:pt x="100" y="997"/>
                    </a:lnTo>
                    <a:lnTo>
                      <a:pt x="98" y="992"/>
                    </a:lnTo>
                    <a:lnTo>
                      <a:pt x="98" y="987"/>
                    </a:lnTo>
                    <a:lnTo>
                      <a:pt x="98" y="985"/>
                    </a:lnTo>
                    <a:lnTo>
                      <a:pt x="96" y="975"/>
                    </a:lnTo>
                    <a:lnTo>
                      <a:pt x="95" y="964"/>
                    </a:lnTo>
                    <a:lnTo>
                      <a:pt x="91" y="954"/>
                    </a:lnTo>
                    <a:lnTo>
                      <a:pt x="91" y="947"/>
                    </a:lnTo>
                    <a:lnTo>
                      <a:pt x="96" y="937"/>
                    </a:lnTo>
                    <a:lnTo>
                      <a:pt x="101" y="927"/>
                    </a:lnTo>
                    <a:lnTo>
                      <a:pt x="98" y="916"/>
                    </a:lnTo>
                    <a:lnTo>
                      <a:pt x="95" y="908"/>
                    </a:lnTo>
                    <a:lnTo>
                      <a:pt x="95" y="904"/>
                    </a:lnTo>
                    <a:lnTo>
                      <a:pt x="96" y="904"/>
                    </a:lnTo>
                    <a:lnTo>
                      <a:pt x="96" y="899"/>
                    </a:lnTo>
                    <a:lnTo>
                      <a:pt x="100" y="897"/>
                    </a:lnTo>
                    <a:lnTo>
                      <a:pt x="107" y="902"/>
                    </a:lnTo>
                    <a:lnTo>
                      <a:pt x="114" y="908"/>
                    </a:lnTo>
                    <a:lnTo>
                      <a:pt x="131" y="832"/>
                    </a:lnTo>
                    <a:lnTo>
                      <a:pt x="131" y="825"/>
                    </a:lnTo>
                    <a:lnTo>
                      <a:pt x="127" y="823"/>
                    </a:lnTo>
                    <a:lnTo>
                      <a:pt x="126" y="825"/>
                    </a:lnTo>
                    <a:lnTo>
                      <a:pt x="120" y="827"/>
                    </a:lnTo>
                    <a:lnTo>
                      <a:pt x="117" y="830"/>
                    </a:lnTo>
                    <a:lnTo>
                      <a:pt x="112" y="823"/>
                    </a:lnTo>
                    <a:lnTo>
                      <a:pt x="110" y="813"/>
                    </a:lnTo>
                    <a:lnTo>
                      <a:pt x="112" y="801"/>
                    </a:lnTo>
                    <a:lnTo>
                      <a:pt x="115" y="789"/>
                    </a:lnTo>
                    <a:lnTo>
                      <a:pt x="119" y="787"/>
                    </a:lnTo>
                    <a:lnTo>
                      <a:pt x="120" y="787"/>
                    </a:lnTo>
                    <a:lnTo>
                      <a:pt x="119" y="782"/>
                    </a:lnTo>
                    <a:lnTo>
                      <a:pt x="117" y="780"/>
                    </a:lnTo>
                    <a:lnTo>
                      <a:pt x="115" y="777"/>
                    </a:lnTo>
                    <a:lnTo>
                      <a:pt x="115" y="772"/>
                    </a:lnTo>
                    <a:lnTo>
                      <a:pt x="115" y="767"/>
                    </a:lnTo>
                    <a:lnTo>
                      <a:pt x="115" y="763"/>
                    </a:lnTo>
                    <a:lnTo>
                      <a:pt x="119" y="744"/>
                    </a:lnTo>
                    <a:lnTo>
                      <a:pt x="127" y="732"/>
                    </a:lnTo>
                    <a:lnTo>
                      <a:pt x="129" y="725"/>
                    </a:lnTo>
                    <a:lnTo>
                      <a:pt x="132" y="718"/>
                    </a:lnTo>
                    <a:lnTo>
                      <a:pt x="134" y="717"/>
                    </a:lnTo>
                    <a:lnTo>
                      <a:pt x="138" y="715"/>
                    </a:lnTo>
                    <a:lnTo>
                      <a:pt x="141" y="698"/>
                    </a:lnTo>
                    <a:lnTo>
                      <a:pt x="144" y="682"/>
                    </a:lnTo>
                    <a:lnTo>
                      <a:pt x="143" y="645"/>
                    </a:lnTo>
                    <a:lnTo>
                      <a:pt x="143" y="632"/>
                    </a:lnTo>
                    <a:lnTo>
                      <a:pt x="146" y="620"/>
                    </a:lnTo>
                    <a:lnTo>
                      <a:pt x="146" y="605"/>
                    </a:lnTo>
                    <a:lnTo>
                      <a:pt x="151" y="595"/>
                    </a:lnTo>
                    <a:lnTo>
                      <a:pt x="155" y="583"/>
                    </a:lnTo>
                    <a:lnTo>
                      <a:pt x="158" y="571"/>
                    </a:lnTo>
                    <a:lnTo>
                      <a:pt x="158" y="569"/>
                    </a:lnTo>
                    <a:lnTo>
                      <a:pt x="158" y="567"/>
                    </a:lnTo>
                    <a:lnTo>
                      <a:pt x="158" y="557"/>
                    </a:lnTo>
                    <a:lnTo>
                      <a:pt x="162" y="548"/>
                    </a:lnTo>
                    <a:lnTo>
                      <a:pt x="162" y="538"/>
                    </a:lnTo>
                    <a:lnTo>
                      <a:pt x="162" y="533"/>
                    </a:lnTo>
                    <a:lnTo>
                      <a:pt x="162" y="529"/>
                    </a:lnTo>
                    <a:lnTo>
                      <a:pt x="162" y="526"/>
                    </a:lnTo>
                    <a:lnTo>
                      <a:pt x="162" y="519"/>
                    </a:lnTo>
                    <a:lnTo>
                      <a:pt x="163" y="512"/>
                    </a:lnTo>
                    <a:lnTo>
                      <a:pt x="163" y="504"/>
                    </a:lnTo>
                    <a:lnTo>
                      <a:pt x="165" y="498"/>
                    </a:lnTo>
                    <a:lnTo>
                      <a:pt x="163" y="490"/>
                    </a:lnTo>
                    <a:lnTo>
                      <a:pt x="163" y="478"/>
                    </a:lnTo>
                    <a:lnTo>
                      <a:pt x="162" y="464"/>
                    </a:lnTo>
                    <a:lnTo>
                      <a:pt x="162" y="457"/>
                    </a:lnTo>
                    <a:lnTo>
                      <a:pt x="151" y="442"/>
                    </a:lnTo>
                    <a:lnTo>
                      <a:pt x="139" y="433"/>
                    </a:lnTo>
                    <a:lnTo>
                      <a:pt x="129" y="428"/>
                    </a:lnTo>
                    <a:lnTo>
                      <a:pt x="120" y="424"/>
                    </a:lnTo>
                    <a:lnTo>
                      <a:pt x="112" y="418"/>
                    </a:lnTo>
                    <a:lnTo>
                      <a:pt x="105" y="414"/>
                    </a:lnTo>
                    <a:lnTo>
                      <a:pt x="95" y="409"/>
                    </a:lnTo>
                    <a:lnTo>
                      <a:pt x="86" y="405"/>
                    </a:lnTo>
                    <a:lnTo>
                      <a:pt x="79" y="399"/>
                    </a:lnTo>
                    <a:lnTo>
                      <a:pt x="74" y="393"/>
                    </a:lnTo>
                    <a:lnTo>
                      <a:pt x="71" y="387"/>
                    </a:lnTo>
                    <a:lnTo>
                      <a:pt x="72" y="378"/>
                    </a:lnTo>
                    <a:lnTo>
                      <a:pt x="67" y="368"/>
                    </a:lnTo>
                    <a:lnTo>
                      <a:pt x="62" y="359"/>
                    </a:lnTo>
                    <a:lnTo>
                      <a:pt x="53" y="342"/>
                    </a:lnTo>
                    <a:lnTo>
                      <a:pt x="45" y="326"/>
                    </a:lnTo>
                    <a:lnTo>
                      <a:pt x="40" y="311"/>
                    </a:lnTo>
                    <a:lnTo>
                      <a:pt x="34" y="299"/>
                    </a:lnTo>
                    <a:lnTo>
                      <a:pt x="31" y="295"/>
                    </a:lnTo>
                    <a:lnTo>
                      <a:pt x="28" y="295"/>
                    </a:lnTo>
                    <a:lnTo>
                      <a:pt x="22" y="287"/>
                    </a:lnTo>
                    <a:lnTo>
                      <a:pt x="21" y="280"/>
                    </a:lnTo>
                    <a:lnTo>
                      <a:pt x="17" y="278"/>
                    </a:lnTo>
                    <a:lnTo>
                      <a:pt x="14" y="277"/>
                    </a:lnTo>
                    <a:lnTo>
                      <a:pt x="3" y="264"/>
                    </a:lnTo>
                    <a:lnTo>
                      <a:pt x="0" y="252"/>
                    </a:lnTo>
                    <a:lnTo>
                      <a:pt x="2" y="242"/>
                    </a:lnTo>
                    <a:lnTo>
                      <a:pt x="7" y="237"/>
                    </a:lnTo>
                    <a:lnTo>
                      <a:pt x="14" y="227"/>
                    </a:lnTo>
                    <a:lnTo>
                      <a:pt x="22" y="218"/>
                    </a:lnTo>
                    <a:lnTo>
                      <a:pt x="17" y="216"/>
                    </a:lnTo>
                    <a:lnTo>
                      <a:pt x="14" y="218"/>
                    </a:lnTo>
                    <a:lnTo>
                      <a:pt x="7" y="211"/>
                    </a:lnTo>
                    <a:lnTo>
                      <a:pt x="7" y="201"/>
                    </a:lnTo>
                    <a:lnTo>
                      <a:pt x="7" y="192"/>
                    </a:lnTo>
                    <a:lnTo>
                      <a:pt x="12" y="187"/>
                    </a:lnTo>
                    <a:lnTo>
                      <a:pt x="15" y="180"/>
                    </a:lnTo>
                    <a:lnTo>
                      <a:pt x="17" y="170"/>
                    </a:lnTo>
                    <a:lnTo>
                      <a:pt x="24" y="166"/>
                    </a:lnTo>
                    <a:lnTo>
                      <a:pt x="31" y="161"/>
                    </a:lnTo>
                    <a:lnTo>
                      <a:pt x="34" y="153"/>
                    </a:lnTo>
                    <a:lnTo>
                      <a:pt x="38" y="148"/>
                    </a:lnTo>
                    <a:lnTo>
                      <a:pt x="43" y="139"/>
                    </a:lnTo>
                    <a:lnTo>
                      <a:pt x="50" y="136"/>
                    </a:lnTo>
                    <a:lnTo>
                      <a:pt x="55" y="132"/>
                    </a:lnTo>
                    <a:lnTo>
                      <a:pt x="60" y="125"/>
                    </a:lnTo>
                    <a:lnTo>
                      <a:pt x="57" y="123"/>
                    </a:lnTo>
                    <a:lnTo>
                      <a:pt x="55" y="122"/>
                    </a:lnTo>
                    <a:lnTo>
                      <a:pt x="57" y="117"/>
                    </a:lnTo>
                    <a:lnTo>
                      <a:pt x="57"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6" name="Freeform 293"/>
              <p:cNvSpPr>
                <a:spLocks/>
              </p:cNvSpPr>
              <p:nvPr/>
            </p:nvSpPr>
            <p:spPr bwMode="auto">
              <a:xfrm>
                <a:off x="2518569" y="3440113"/>
                <a:ext cx="14288" cy="15875"/>
              </a:xfrm>
              <a:custGeom>
                <a:avLst/>
                <a:gdLst/>
                <a:ahLst/>
                <a:cxnLst>
                  <a:cxn ang="0">
                    <a:pos x="4" y="0"/>
                  </a:cxn>
                  <a:cxn ang="0">
                    <a:pos x="7" y="2"/>
                  </a:cxn>
                  <a:cxn ang="0">
                    <a:pos x="9" y="7"/>
                  </a:cxn>
                  <a:cxn ang="0">
                    <a:pos x="7" y="8"/>
                  </a:cxn>
                  <a:cxn ang="0">
                    <a:pos x="5" y="10"/>
                  </a:cxn>
                  <a:cxn ang="0">
                    <a:pos x="0" y="7"/>
                  </a:cxn>
                  <a:cxn ang="0">
                    <a:pos x="0" y="0"/>
                  </a:cxn>
                  <a:cxn ang="0">
                    <a:pos x="4" y="0"/>
                  </a:cxn>
                </a:cxnLst>
                <a:rect l="0" t="0" r="r" b="b"/>
                <a:pathLst>
                  <a:path w="9" h="10">
                    <a:moveTo>
                      <a:pt x="4" y="0"/>
                    </a:moveTo>
                    <a:lnTo>
                      <a:pt x="7" y="2"/>
                    </a:lnTo>
                    <a:lnTo>
                      <a:pt x="9" y="7"/>
                    </a:lnTo>
                    <a:lnTo>
                      <a:pt x="7" y="8"/>
                    </a:lnTo>
                    <a:lnTo>
                      <a:pt x="5" y="10"/>
                    </a:lnTo>
                    <a:lnTo>
                      <a:pt x="0" y="7"/>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7" name="Freeform 294"/>
              <p:cNvSpPr>
                <a:spLocks/>
              </p:cNvSpPr>
              <p:nvPr/>
            </p:nvSpPr>
            <p:spPr bwMode="auto">
              <a:xfrm>
                <a:off x="2507457" y="3394075"/>
                <a:ext cx="22225" cy="7937"/>
              </a:xfrm>
              <a:custGeom>
                <a:avLst/>
                <a:gdLst/>
                <a:ahLst/>
                <a:cxnLst>
                  <a:cxn ang="0">
                    <a:pos x="0" y="5"/>
                  </a:cxn>
                  <a:cxn ang="0">
                    <a:pos x="2" y="1"/>
                  </a:cxn>
                  <a:cxn ang="0">
                    <a:pos x="7" y="0"/>
                  </a:cxn>
                  <a:cxn ang="0">
                    <a:pos x="11" y="1"/>
                  </a:cxn>
                  <a:cxn ang="0">
                    <a:pos x="14" y="5"/>
                  </a:cxn>
                  <a:cxn ang="0">
                    <a:pos x="6" y="5"/>
                  </a:cxn>
                  <a:cxn ang="0">
                    <a:pos x="0" y="5"/>
                  </a:cxn>
                </a:cxnLst>
                <a:rect l="0" t="0" r="r" b="b"/>
                <a:pathLst>
                  <a:path w="14" h="5">
                    <a:moveTo>
                      <a:pt x="0" y="5"/>
                    </a:moveTo>
                    <a:lnTo>
                      <a:pt x="2" y="1"/>
                    </a:lnTo>
                    <a:lnTo>
                      <a:pt x="7" y="0"/>
                    </a:lnTo>
                    <a:lnTo>
                      <a:pt x="11" y="1"/>
                    </a:lnTo>
                    <a:lnTo>
                      <a:pt x="14" y="5"/>
                    </a:lnTo>
                    <a:lnTo>
                      <a:pt x="6" y="5"/>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8" name="Freeform 295"/>
              <p:cNvSpPr>
                <a:spLocks/>
              </p:cNvSpPr>
              <p:nvPr/>
            </p:nvSpPr>
            <p:spPr bwMode="auto">
              <a:xfrm>
                <a:off x="2543969" y="3403600"/>
                <a:ext cx="4763" cy="6350"/>
              </a:xfrm>
              <a:custGeom>
                <a:avLst/>
                <a:gdLst/>
                <a:ahLst/>
                <a:cxnLst>
                  <a:cxn ang="0">
                    <a:pos x="3" y="4"/>
                  </a:cxn>
                  <a:cxn ang="0">
                    <a:pos x="0" y="2"/>
                  </a:cxn>
                  <a:cxn ang="0">
                    <a:pos x="0" y="0"/>
                  </a:cxn>
                  <a:cxn ang="0">
                    <a:pos x="3" y="4"/>
                  </a:cxn>
                </a:cxnLst>
                <a:rect l="0" t="0" r="r" b="b"/>
                <a:pathLst>
                  <a:path w="3" h="4">
                    <a:moveTo>
                      <a:pt x="3" y="4"/>
                    </a:moveTo>
                    <a:lnTo>
                      <a:pt x="0" y="2"/>
                    </a:lnTo>
                    <a:lnTo>
                      <a:pt x="0" y="0"/>
                    </a:lnTo>
                    <a:lnTo>
                      <a:pt x="3"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59" name="Freeform 296"/>
              <p:cNvSpPr>
                <a:spLocks/>
              </p:cNvSpPr>
              <p:nvPr/>
            </p:nvSpPr>
            <p:spPr bwMode="auto">
              <a:xfrm>
                <a:off x="2624932" y="3524250"/>
                <a:ext cx="17463" cy="14287"/>
              </a:xfrm>
              <a:custGeom>
                <a:avLst/>
                <a:gdLst/>
                <a:ahLst/>
                <a:cxnLst>
                  <a:cxn ang="0">
                    <a:pos x="0" y="5"/>
                  </a:cxn>
                  <a:cxn ang="0">
                    <a:pos x="0" y="9"/>
                  </a:cxn>
                  <a:cxn ang="0">
                    <a:pos x="2" y="9"/>
                  </a:cxn>
                  <a:cxn ang="0">
                    <a:pos x="6" y="7"/>
                  </a:cxn>
                  <a:cxn ang="0">
                    <a:pos x="11" y="5"/>
                  </a:cxn>
                  <a:cxn ang="0">
                    <a:pos x="11" y="0"/>
                  </a:cxn>
                  <a:cxn ang="0">
                    <a:pos x="6" y="4"/>
                  </a:cxn>
                  <a:cxn ang="0">
                    <a:pos x="0" y="5"/>
                  </a:cxn>
                </a:cxnLst>
                <a:rect l="0" t="0" r="r" b="b"/>
                <a:pathLst>
                  <a:path w="11" h="9">
                    <a:moveTo>
                      <a:pt x="0" y="5"/>
                    </a:moveTo>
                    <a:lnTo>
                      <a:pt x="0" y="9"/>
                    </a:lnTo>
                    <a:lnTo>
                      <a:pt x="2" y="9"/>
                    </a:lnTo>
                    <a:lnTo>
                      <a:pt x="6" y="7"/>
                    </a:lnTo>
                    <a:lnTo>
                      <a:pt x="11" y="5"/>
                    </a:lnTo>
                    <a:lnTo>
                      <a:pt x="11" y="0"/>
                    </a:lnTo>
                    <a:lnTo>
                      <a:pt x="6" y="4"/>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0" name="Freeform 297"/>
              <p:cNvSpPr>
                <a:spLocks/>
              </p:cNvSpPr>
              <p:nvPr/>
            </p:nvSpPr>
            <p:spPr bwMode="auto">
              <a:xfrm>
                <a:off x="1456532" y="2787650"/>
                <a:ext cx="1323975" cy="649287"/>
              </a:xfrm>
              <a:custGeom>
                <a:avLst/>
                <a:gdLst/>
                <a:ahLst/>
                <a:cxnLst>
                  <a:cxn ang="0">
                    <a:pos x="642" y="289"/>
                  </a:cxn>
                  <a:cxn ang="0">
                    <a:pos x="626" y="337"/>
                  </a:cxn>
                  <a:cxn ang="0">
                    <a:pos x="638" y="368"/>
                  </a:cxn>
                  <a:cxn ang="0">
                    <a:pos x="626" y="404"/>
                  </a:cxn>
                  <a:cxn ang="0">
                    <a:pos x="600" y="347"/>
                  </a:cxn>
                  <a:cxn ang="0">
                    <a:pos x="559" y="330"/>
                  </a:cxn>
                  <a:cxn ang="0">
                    <a:pos x="530" y="325"/>
                  </a:cxn>
                  <a:cxn ang="0">
                    <a:pos x="506" y="339"/>
                  </a:cxn>
                  <a:cxn ang="0">
                    <a:pos x="473" y="335"/>
                  </a:cxn>
                  <a:cxn ang="0">
                    <a:pos x="441" y="335"/>
                  </a:cxn>
                  <a:cxn ang="0">
                    <a:pos x="410" y="356"/>
                  </a:cxn>
                  <a:cxn ang="0">
                    <a:pos x="392" y="390"/>
                  </a:cxn>
                  <a:cxn ang="0">
                    <a:pos x="358" y="370"/>
                  </a:cxn>
                  <a:cxn ang="0">
                    <a:pos x="332" y="332"/>
                  </a:cxn>
                  <a:cxn ang="0">
                    <a:pos x="306" y="347"/>
                  </a:cxn>
                  <a:cxn ang="0">
                    <a:pos x="275" y="313"/>
                  </a:cxn>
                  <a:cxn ang="0">
                    <a:pos x="238" y="308"/>
                  </a:cxn>
                  <a:cxn ang="0">
                    <a:pos x="86" y="270"/>
                  </a:cxn>
                  <a:cxn ang="0">
                    <a:pos x="47" y="234"/>
                  </a:cxn>
                  <a:cxn ang="0">
                    <a:pos x="17" y="186"/>
                  </a:cxn>
                  <a:cxn ang="0">
                    <a:pos x="5" y="141"/>
                  </a:cxn>
                  <a:cxn ang="0">
                    <a:pos x="5" y="82"/>
                  </a:cxn>
                  <a:cxn ang="0">
                    <a:pos x="2" y="22"/>
                  </a:cxn>
                  <a:cxn ang="0">
                    <a:pos x="29" y="17"/>
                  </a:cxn>
                  <a:cxn ang="0">
                    <a:pos x="435" y="5"/>
                  </a:cxn>
                  <a:cxn ang="0">
                    <a:pos x="494" y="20"/>
                  </a:cxn>
                  <a:cxn ang="0">
                    <a:pos x="470" y="51"/>
                  </a:cxn>
                  <a:cxn ang="0">
                    <a:pos x="494" y="53"/>
                  </a:cxn>
                  <a:cxn ang="0">
                    <a:pos x="527" y="41"/>
                  </a:cxn>
                  <a:cxn ang="0">
                    <a:pos x="551" y="50"/>
                  </a:cxn>
                  <a:cxn ang="0">
                    <a:pos x="573" y="62"/>
                  </a:cxn>
                  <a:cxn ang="0">
                    <a:pos x="530" y="86"/>
                  </a:cxn>
                  <a:cxn ang="0">
                    <a:pos x="530" y="115"/>
                  </a:cxn>
                  <a:cxn ang="0">
                    <a:pos x="549" y="131"/>
                  </a:cxn>
                  <a:cxn ang="0">
                    <a:pos x="552" y="94"/>
                  </a:cxn>
                  <a:cxn ang="0">
                    <a:pos x="570" y="70"/>
                  </a:cxn>
                  <a:cxn ang="0">
                    <a:pos x="595" y="74"/>
                  </a:cxn>
                  <a:cxn ang="0">
                    <a:pos x="604" y="96"/>
                  </a:cxn>
                  <a:cxn ang="0">
                    <a:pos x="599" y="136"/>
                  </a:cxn>
                  <a:cxn ang="0">
                    <a:pos x="654" y="124"/>
                  </a:cxn>
                  <a:cxn ang="0">
                    <a:pos x="668" y="110"/>
                  </a:cxn>
                  <a:cxn ang="0">
                    <a:pos x="712" y="86"/>
                  </a:cxn>
                  <a:cxn ang="0">
                    <a:pos x="757" y="74"/>
                  </a:cxn>
                  <a:cxn ang="0">
                    <a:pos x="783" y="67"/>
                  </a:cxn>
                  <a:cxn ang="0">
                    <a:pos x="814" y="34"/>
                  </a:cxn>
                  <a:cxn ang="0">
                    <a:pos x="834" y="82"/>
                  </a:cxn>
                  <a:cxn ang="0">
                    <a:pos x="798" y="96"/>
                  </a:cxn>
                  <a:cxn ang="0">
                    <a:pos x="783" y="129"/>
                  </a:cxn>
                  <a:cxn ang="0">
                    <a:pos x="795" y="139"/>
                  </a:cxn>
                  <a:cxn ang="0">
                    <a:pos x="748" y="146"/>
                  </a:cxn>
                  <a:cxn ang="0">
                    <a:pos x="747" y="151"/>
                  </a:cxn>
                  <a:cxn ang="0">
                    <a:pos x="733" y="160"/>
                  </a:cxn>
                  <a:cxn ang="0">
                    <a:pos x="721" y="184"/>
                  </a:cxn>
                  <a:cxn ang="0">
                    <a:pos x="719" y="192"/>
                  </a:cxn>
                  <a:cxn ang="0">
                    <a:pos x="705" y="211"/>
                  </a:cxn>
                  <a:cxn ang="0">
                    <a:pos x="700" y="187"/>
                  </a:cxn>
                  <a:cxn ang="0">
                    <a:pos x="700" y="217"/>
                  </a:cxn>
                  <a:cxn ang="0">
                    <a:pos x="705" y="225"/>
                  </a:cxn>
                  <a:cxn ang="0">
                    <a:pos x="704" y="239"/>
                  </a:cxn>
                  <a:cxn ang="0">
                    <a:pos x="699" y="254"/>
                  </a:cxn>
                  <a:cxn ang="0">
                    <a:pos x="678" y="268"/>
                  </a:cxn>
                </a:cxnLst>
                <a:rect l="0" t="0" r="r" b="b"/>
                <a:pathLst>
                  <a:path w="834" h="409">
                    <a:moveTo>
                      <a:pt x="678" y="268"/>
                    </a:moveTo>
                    <a:lnTo>
                      <a:pt x="668" y="272"/>
                    </a:lnTo>
                    <a:lnTo>
                      <a:pt x="659" y="277"/>
                    </a:lnTo>
                    <a:lnTo>
                      <a:pt x="649" y="282"/>
                    </a:lnTo>
                    <a:lnTo>
                      <a:pt x="642" y="289"/>
                    </a:lnTo>
                    <a:lnTo>
                      <a:pt x="633" y="294"/>
                    </a:lnTo>
                    <a:lnTo>
                      <a:pt x="628" y="304"/>
                    </a:lnTo>
                    <a:lnTo>
                      <a:pt x="625" y="315"/>
                    </a:lnTo>
                    <a:lnTo>
                      <a:pt x="625" y="328"/>
                    </a:lnTo>
                    <a:lnTo>
                      <a:pt x="626" y="337"/>
                    </a:lnTo>
                    <a:lnTo>
                      <a:pt x="631" y="345"/>
                    </a:lnTo>
                    <a:lnTo>
                      <a:pt x="635" y="354"/>
                    </a:lnTo>
                    <a:lnTo>
                      <a:pt x="638" y="366"/>
                    </a:lnTo>
                    <a:lnTo>
                      <a:pt x="638" y="364"/>
                    </a:lnTo>
                    <a:lnTo>
                      <a:pt x="638" y="368"/>
                    </a:lnTo>
                    <a:lnTo>
                      <a:pt x="642" y="376"/>
                    </a:lnTo>
                    <a:lnTo>
                      <a:pt x="645" y="388"/>
                    </a:lnTo>
                    <a:lnTo>
                      <a:pt x="642" y="402"/>
                    </a:lnTo>
                    <a:lnTo>
                      <a:pt x="633" y="409"/>
                    </a:lnTo>
                    <a:lnTo>
                      <a:pt x="626" y="404"/>
                    </a:lnTo>
                    <a:lnTo>
                      <a:pt x="623" y="395"/>
                    </a:lnTo>
                    <a:lnTo>
                      <a:pt x="614" y="385"/>
                    </a:lnTo>
                    <a:lnTo>
                      <a:pt x="607" y="376"/>
                    </a:lnTo>
                    <a:lnTo>
                      <a:pt x="602" y="361"/>
                    </a:lnTo>
                    <a:lnTo>
                      <a:pt x="600" y="347"/>
                    </a:lnTo>
                    <a:lnTo>
                      <a:pt x="594" y="333"/>
                    </a:lnTo>
                    <a:lnTo>
                      <a:pt x="583" y="330"/>
                    </a:lnTo>
                    <a:lnTo>
                      <a:pt x="578" y="333"/>
                    </a:lnTo>
                    <a:lnTo>
                      <a:pt x="573" y="337"/>
                    </a:lnTo>
                    <a:lnTo>
                      <a:pt x="559" y="330"/>
                    </a:lnTo>
                    <a:lnTo>
                      <a:pt x="545" y="325"/>
                    </a:lnTo>
                    <a:lnTo>
                      <a:pt x="537" y="327"/>
                    </a:lnTo>
                    <a:lnTo>
                      <a:pt x="533" y="328"/>
                    </a:lnTo>
                    <a:lnTo>
                      <a:pt x="530" y="327"/>
                    </a:lnTo>
                    <a:lnTo>
                      <a:pt x="530" y="325"/>
                    </a:lnTo>
                    <a:lnTo>
                      <a:pt x="516" y="327"/>
                    </a:lnTo>
                    <a:lnTo>
                      <a:pt x="502" y="328"/>
                    </a:lnTo>
                    <a:lnTo>
                      <a:pt x="506" y="328"/>
                    </a:lnTo>
                    <a:lnTo>
                      <a:pt x="509" y="328"/>
                    </a:lnTo>
                    <a:lnTo>
                      <a:pt x="506" y="339"/>
                    </a:lnTo>
                    <a:lnTo>
                      <a:pt x="509" y="345"/>
                    </a:lnTo>
                    <a:lnTo>
                      <a:pt x="499" y="345"/>
                    </a:lnTo>
                    <a:lnTo>
                      <a:pt x="489" y="342"/>
                    </a:lnTo>
                    <a:lnTo>
                      <a:pt x="480" y="337"/>
                    </a:lnTo>
                    <a:lnTo>
                      <a:pt x="473" y="335"/>
                    </a:lnTo>
                    <a:lnTo>
                      <a:pt x="468" y="337"/>
                    </a:lnTo>
                    <a:lnTo>
                      <a:pt x="466" y="339"/>
                    </a:lnTo>
                    <a:lnTo>
                      <a:pt x="458" y="335"/>
                    </a:lnTo>
                    <a:lnTo>
                      <a:pt x="451" y="333"/>
                    </a:lnTo>
                    <a:lnTo>
                      <a:pt x="441" y="335"/>
                    </a:lnTo>
                    <a:lnTo>
                      <a:pt x="434" y="340"/>
                    </a:lnTo>
                    <a:lnTo>
                      <a:pt x="428" y="345"/>
                    </a:lnTo>
                    <a:lnTo>
                      <a:pt x="423" y="352"/>
                    </a:lnTo>
                    <a:lnTo>
                      <a:pt x="416" y="354"/>
                    </a:lnTo>
                    <a:lnTo>
                      <a:pt x="410" y="356"/>
                    </a:lnTo>
                    <a:lnTo>
                      <a:pt x="401" y="359"/>
                    </a:lnTo>
                    <a:lnTo>
                      <a:pt x="396" y="366"/>
                    </a:lnTo>
                    <a:lnTo>
                      <a:pt x="392" y="376"/>
                    </a:lnTo>
                    <a:lnTo>
                      <a:pt x="392" y="388"/>
                    </a:lnTo>
                    <a:lnTo>
                      <a:pt x="392" y="390"/>
                    </a:lnTo>
                    <a:lnTo>
                      <a:pt x="394" y="394"/>
                    </a:lnTo>
                    <a:lnTo>
                      <a:pt x="379" y="390"/>
                    </a:lnTo>
                    <a:lnTo>
                      <a:pt x="370" y="387"/>
                    </a:lnTo>
                    <a:lnTo>
                      <a:pt x="363" y="378"/>
                    </a:lnTo>
                    <a:lnTo>
                      <a:pt x="358" y="370"/>
                    </a:lnTo>
                    <a:lnTo>
                      <a:pt x="355" y="361"/>
                    </a:lnTo>
                    <a:lnTo>
                      <a:pt x="351" y="352"/>
                    </a:lnTo>
                    <a:lnTo>
                      <a:pt x="346" y="342"/>
                    </a:lnTo>
                    <a:lnTo>
                      <a:pt x="341" y="337"/>
                    </a:lnTo>
                    <a:lnTo>
                      <a:pt x="332" y="332"/>
                    </a:lnTo>
                    <a:lnTo>
                      <a:pt x="324" y="332"/>
                    </a:lnTo>
                    <a:lnTo>
                      <a:pt x="317" y="333"/>
                    </a:lnTo>
                    <a:lnTo>
                      <a:pt x="313" y="339"/>
                    </a:lnTo>
                    <a:lnTo>
                      <a:pt x="310" y="344"/>
                    </a:lnTo>
                    <a:lnTo>
                      <a:pt x="306" y="347"/>
                    </a:lnTo>
                    <a:lnTo>
                      <a:pt x="298" y="344"/>
                    </a:lnTo>
                    <a:lnTo>
                      <a:pt x="291" y="337"/>
                    </a:lnTo>
                    <a:lnTo>
                      <a:pt x="286" y="328"/>
                    </a:lnTo>
                    <a:lnTo>
                      <a:pt x="282" y="323"/>
                    </a:lnTo>
                    <a:lnTo>
                      <a:pt x="275" y="313"/>
                    </a:lnTo>
                    <a:lnTo>
                      <a:pt x="269" y="308"/>
                    </a:lnTo>
                    <a:lnTo>
                      <a:pt x="258" y="302"/>
                    </a:lnTo>
                    <a:lnTo>
                      <a:pt x="248" y="301"/>
                    </a:lnTo>
                    <a:lnTo>
                      <a:pt x="238" y="301"/>
                    </a:lnTo>
                    <a:lnTo>
                      <a:pt x="238" y="308"/>
                    </a:lnTo>
                    <a:lnTo>
                      <a:pt x="196" y="308"/>
                    </a:lnTo>
                    <a:lnTo>
                      <a:pt x="141" y="290"/>
                    </a:lnTo>
                    <a:lnTo>
                      <a:pt x="109" y="290"/>
                    </a:lnTo>
                    <a:lnTo>
                      <a:pt x="100" y="278"/>
                    </a:lnTo>
                    <a:lnTo>
                      <a:pt x="86" y="270"/>
                    </a:lnTo>
                    <a:lnTo>
                      <a:pt x="71" y="261"/>
                    </a:lnTo>
                    <a:lnTo>
                      <a:pt x="57" y="256"/>
                    </a:lnTo>
                    <a:lnTo>
                      <a:pt x="54" y="251"/>
                    </a:lnTo>
                    <a:lnTo>
                      <a:pt x="54" y="246"/>
                    </a:lnTo>
                    <a:lnTo>
                      <a:pt x="47" y="234"/>
                    </a:lnTo>
                    <a:lnTo>
                      <a:pt x="40" y="223"/>
                    </a:lnTo>
                    <a:lnTo>
                      <a:pt x="35" y="213"/>
                    </a:lnTo>
                    <a:lnTo>
                      <a:pt x="35" y="201"/>
                    </a:lnTo>
                    <a:lnTo>
                      <a:pt x="26" y="196"/>
                    </a:lnTo>
                    <a:lnTo>
                      <a:pt x="17" y="186"/>
                    </a:lnTo>
                    <a:lnTo>
                      <a:pt x="9" y="174"/>
                    </a:lnTo>
                    <a:lnTo>
                      <a:pt x="4" y="161"/>
                    </a:lnTo>
                    <a:lnTo>
                      <a:pt x="4" y="156"/>
                    </a:lnTo>
                    <a:lnTo>
                      <a:pt x="9" y="153"/>
                    </a:lnTo>
                    <a:lnTo>
                      <a:pt x="5" y="141"/>
                    </a:lnTo>
                    <a:lnTo>
                      <a:pt x="5" y="131"/>
                    </a:lnTo>
                    <a:lnTo>
                      <a:pt x="4" y="119"/>
                    </a:lnTo>
                    <a:lnTo>
                      <a:pt x="4" y="110"/>
                    </a:lnTo>
                    <a:lnTo>
                      <a:pt x="2" y="96"/>
                    </a:lnTo>
                    <a:lnTo>
                      <a:pt x="5" y="82"/>
                    </a:lnTo>
                    <a:lnTo>
                      <a:pt x="9" y="65"/>
                    </a:lnTo>
                    <a:lnTo>
                      <a:pt x="12" y="53"/>
                    </a:lnTo>
                    <a:lnTo>
                      <a:pt x="5" y="39"/>
                    </a:lnTo>
                    <a:lnTo>
                      <a:pt x="0" y="26"/>
                    </a:lnTo>
                    <a:lnTo>
                      <a:pt x="2" y="22"/>
                    </a:lnTo>
                    <a:lnTo>
                      <a:pt x="7" y="22"/>
                    </a:lnTo>
                    <a:lnTo>
                      <a:pt x="16" y="24"/>
                    </a:lnTo>
                    <a:lnTo>
                      <a:pt x="23" y="31"/>
                    </a:lnTo>
                    <a:lnTo>
                      <a:pt x="26" y="24"/>
                    </a:lnTo>
                    <a:lnTo>
                      <a:pt x="29" y="17"/>
                    </a:lnTo>
                    <a:lnTo>
                      <a:pt x="26" y="10"/>
                    </a:lnTo>
                    <a:lnTo>
                      <a:pt x="23" y="5"/>
                    </a:lnTo>
                    <a:lnTo>
                      <a:pt x="428" y="5"/>
                    </a:lnTo>
                    <a:lnTo>
                      <a:pt x="428" y="0"/>
                    </a:lnTo>
                    <a:lnTo>
                      <a:pt x="435" y="5"/>
                    </a:lnTo>
                    <a:lnTo>
                      <a:pt x="442" y="12"/>
                    </a:lnTo>
                    <a:lnTo>
                      <a:pt x="466" y="12"/>
                    </a:lnTo>
                    <a:lnTo>
                      <a:pt x="473" y="17"/>
                    </a:lnTo>
                    <a:lnTo>
                      <a:pt x="484" y="20"/>
                    </a:lnTo>
                    <a:lnTo>
                      <a:pt x="494" y="20"/>
                    </a:lnTo>
                    <a:lnTo>
                      <a:pt x="509" y="22"/>
                    </a:lnTo>
                    <a:lnTo>
                      <a:pt x="499" y="27"/>
                    </a:lnTo>
                    <a:lnTo>
                      <a:pt x="489" y="34"/>
                    </a:lnTo>
                    <a:lnTo>
                      <a:pt x="478" y="39"/>
                    </a:lnTo>
                    <a:lnTo>
                      <a:pt x="470" y="51"/>
                    </a:lnTo>
                    <a:lnTo>
                      <a:pt x="477" y="51"/>
                    </a:lnTo>
                    <a:lnTo>
                      <a:pt x="480" y="48"/>
                    </a:lnTo>
                    <a:lnTo>
                      <a:pt x="487" y="48"/>
                    </a:lnTo>
                    <a:lnTo>
                      <a:pt x="489" y="51"/>
                    </a:lnTo>
                    <a:lnTo>
                      <a:pt x="494" y="53"/>
                    </a:lnTo>
                    <a:lnTo>
                      <a:pt x="501" y="50"/>
                    </a:lnTo>
                    <a:lnTo>
                      <a:pt x="508" y="46"/>
                    </a:lnTo>
                    <a:lnTo>
                      <a:pt x="516" y="39"/>
                    </a:lnTo>
                    <a:lnTo>
                      <a:pt x="530" y="34"/>
                    </a:lnTo>
                    <a:lnTo>
                      <a:pt x="527" y="41"/>
                    </a:lnTo>
                    <a:lnTo>
                      <a:pt x="525" y="48"/>
                    </a:lnTo>
                    <a:lnTo>
                      <a:pt x="535" y="48"/>
                    </a:lnTo>
                    <a:lnTo>
                      <a:pt x="537" y="51"/>
                    </a:lnTo>
                    <a:lnTo>
                      <a:pt x="544" y="53"/>
                    </a:lnTo>
                    <a:lnTo>
                      <a:pt x="551" y="50"/>
                    </a:lnTo>
                    <a:lnTo>
                      <a:pt x="557" y="48"/>
                    </a:lnTo>
                    <a:lnTo>
                      <a:pt x="571" y="51"/>
                    </a:lnTo>
                    <a:lnTo>
                      <a:pt x="587" y="55"/>
                    </a:lnTo>
                    <a:lnTo>
                      <a:pt x="587" y="62"/>
                    </a:lnTo>
                    <a:lnTo>
                      <a:pt x="573" y="62"/>
                    </a:lnTo>
                    <a:lnTo>
                      <a:pt x="563" y="62"/>
                    </a:lnTo>
                    <a:lnTo>
                      <a:pt x="552" y="63"/>
                    </a:lnTo>
                    <a:lnTo>
                      <a:pt x="542" y="69"/>
                    </a:lnTo>
                    <a:lnTo>
                      <a:pt x="533" y="77"/>
                    </a:lnTo>
                    <a:lnTo>
                      <a:pt x="530" y="86"/>
                    </a:lnTo>
                    <a:lnTo>
                      <a:pt x="537" y="81"/>
                    </a:lnTo>
                    <a:lnTo>
                      <a:pt x="544" y="79"/>
                    </a:lnTo>
                    <a:lnTo>
                      <a:pt x="537" y="88"/>
                    </a:lnTo>
                    <a:lnTo>
                      <a:pt x="533" y="101"/>
                    </a:lnTo>
                    <a:lnTo>
                      <a:pt x="530" y="115"/>
                    </a:lnTo>
                    <a:lnTo>
                      <a:pt x="530" y="129"/>
                    </a:lnTo>
                    <a:lnTo>
                      <a:pt x="533" y="136"/>
                    </a:lnTo>
                    <a:lnTo>
                      <a:pt x="542" y="139"/>
                    </a:lnTo>
                    <a:lnTo>
                      <a:pt x="545" y="136"/>
                    </a:lnTo>
                    <a:lnTo>
                      <a:pt x="549" y="131"/>
                    </a:lnTo>
                    <a:lnTo>
                      <a:pt x="551" y="122"/>
                    </a:lnTo>
                    <a:lnTo>
                      <a:pt x="552" y="117"/>
                    </a:lnTo>
                    <a:lnTo>
                      <a:pt x="552" y="106"/>
                    </a:lnTo>
                    <a:lnTo>
                      <a:pt x="552" y="101"/>
                    </a:lnTo>
                    <a:lnTo>
                      <a:pt x="552" y="94"/>
                    </a:lnTo>
                    <a:lnTo>
                      <a:pt x="552" y="88"/>
                    </a:lnTo>
                    <a:lnTo>
                      <a:pt x="552" y="81"/>
                    </a:lnTo>
                    <a:lnTo>
                      <a:pt x="557" y="79"/>
                    </a:lnTo>
                    <a:lnTo>
                      <a:pt x="566" y="74"/>
                    </a:lnTo>
                    <a:lnTo>
                      <a:pt x="570" y="70"/>
                    </a:lnTo>
                    <a:lnTo>
                      <a:pt x="571" y="65"/>
                    </a:lnTo>
                    <a:lnTo>
                      <a:pt x="576" y="65"/>
                    </a:lnTo>
                    <a:lnTo>
                      <a:pt x="580" y="65"/>
                    </a:lnTo>
                    <a:lnTo>
                      <a:pt x="588" y="70"/>
                    </a:lnTo>
                    <a:lnTo>
                      <a:pt x="595" y="74"/>
                    </a:lnTo>
                    <a:lnTo>
                      <a:pt x="599" y="81"/>
                    </a:lnTo>
                    <a:lnTo>
                      <a:pt x="595" y="89"/>
                    </a:lnTo>
                    <a:lnTo>
                      <a:pt x="594" y="100"/>
                    </a:lnTo>
                    <a:lnTo>
                      <a:pt x="599" y="98"/>
                    </a:lnTo>
                    <a:lnTo>
                      <a:pt x="604" y="96"/>
                    </a:lnTo>
                    <a:lnTo>
                      <a:pt x="606" y="105"/>
                    </a:lnTo>
                    <a:lnTo>
                      <a:pt x="611" y="112"/>
                    </a:lnTo>
                    <a:lnTo>
                      <a:pt x="602" y="120"/>
                    </a:lnTo>
                    <a:lnTo>
                      <a:pt x="599" y="129"/>
                    </a:lnTo>
                    <a:lnTo>
                      <a:pt x="599" y="136"/>
                    </a:lnTo>
                    <a:lnTo>
                      <a:pt x="606" y="141"/>
                    </a:lnTo>
                    <a:lnTo>
                      <a:pt x="616" y="137"/>
                    </a:lnTo>
                    <a:lnTo>
                      <a:pt x="630" y="134"/>
                    </a:lnTo>
                    <a:lnTo>
                      <a:pt x="643" y="127"/>
                    </a:lnTo>
                    <a:lnTo>
                      <a:pt x="654" y="124"/>
                    </a:lnTo>
                    <a:lnTo>
                      <a:pt x="650" y="115"/>
                    </a:lnTo>
                    <a:lnTo>
                      <a:pt x="649" y="112"/>
                    </a:lnTo>
                    <a:lnTo>
                      <a:pt x="652" y="112"/>
                    </a:lnTo>
                    <a:lnTo>
                      <a:pt x="656" y="112"/>
                    </a:lnTo>
                    <a:lnTo>
                      <a:pt x="668" y="110"/>
                    </a:lnTo>
                    <a:lnTo>
                      <a:pt x="683" y="110"/>
                    </a:lnTo>
                    <a:lnTo>
                      <a:pt x="695" y="105"/>
                    </a:lnTo>
                    <a:lnTo>
                      <a:pt x="702" y="96"/>
                    </a:lnTo>
                    <a:lnTo>
                      <a:pt x="704" y="93"/>
                    </a:lnTo>
                    <a:lnTo>
                      <a:pt x="712" y="86"/>
                    </a:lnTo>
                    <a:lnTo>
                      <a:pt x="719" y="77"/>
                    </a:lnTo>
                    <a:lnTo>
                      <a:pt x="724" y="76"/>
                    </a:lnTo>
                    <a:lnTo>
                      <a:pt x="735" y="74"/>
                    </a:lnTo>
                    <a:lnTo>
                      <a:pt x="752" y="74"/>
                    </a:lnTo>
                    <a:lnTo>
                      <a:pt x="757" y="74"/>
                    </a:lnTo>
                    <a:lnTo>
                      <a:pt x="764" y="74"/>
                    </a:lnTo>
                    <a:lnTo>
                      <a:pt x="769" y="72"/>
                    </a:lnTo>
                    <a:lnTo>
                      <a:pt x="776" y="72"/>
                    </a:lnTo>
                    <a:lnTo>
                      <a:pt x="779" y="70"/>
                    </a:lnTo>
                    <a:lnTo>
                      <a:pt x="783" y="67"/>
                    </a:lnTo>
                    <a:lnTo>
                      <a:pt x="786" y="58"/>
                    </a:lnTo>
                    <a:lnTo>
                      <a:pt x="791" y="50"/>
                    </a:lnTo>
                    <a:lnTo>
                      <a:pt x="795" y="39"/>
                    </a:lnTo>
                    <a:lnTo>
                      <a:pt x="803" y="33"/>
                    </a:lnTo>
                    <a:lnTo>
                      <a:pt x="814" y="34"/>
                    </a:lnTo>
                    <a:lnTo>
                      <a:pt x="824" y="36"/>
                    </a:lnTo>
                    <a:lnTo>
                      <a:pt x="826" y="46"/>
                    </a:lnTo>
                    <a:lnTo>
                      <a:pt x="828" y="58"/>
                    </a:lnTo>
                    <a:lnTo>
                      <a:pt x="829" y="70"/>
                    </a:lnTo>
                    <a:lnTo>
                      <a:pt x="834" y="82"/>
                    </a:lnTo>
                    <a:lnTo>
                      <a:pt x="828" y="89"/>
                    </a:lnTo>
                    <a:lnTo>
                      <a:pt x="819" y="91"/>
                    </a:lnTo>
                    <a:lnTo>
                      <a:pt x="812" y="89"/>
                    </a:lnTo>
                    <a:lnTo>
                      <a:pt x="807" y="91"/>
                    </a:lnTo>
                    <a:lnTo>
                      <a:pt x="798" y="96"/>
                    </a:lnTo>
                    <a:lnTo>
                      <a:pt x="790" y="103"/>
                    </a:lnTo>
                    <a:lnTo>
                      <a:pt x="783" y="112"/>
                    </a:lnTo>
                    <a:lnTo>
                      <a:pt x="781" y="125"/>
                    </a:lnTo>
                    <a:lnTo>
                      <a:pt x="781" y="127"/>
                    </a:lnTo>
                    <a:lnTo>
                      <a:pt x="783" y="129"/>
                    </a:lnTo>
                    <a:lnTo>
                      <a:pt x="785" y="134"/>
                    </a:lnTo>
                    <a:lnTo>
                      <a:pt x="788" y="139"/>
                    </a:lnTo>
                    <a:lnTo>
                      <a:pt x="791" y="137"/>
                    </a:lnTo>
                    <a:lnTo>
                      <a:pt x="795" y="136"/>
                    </a:lnTo>
                    <a:lnTo>
                      <a:pt x="795" y="139"/>
                    </a:lnTo>
                    <a:lnTo>
                      <a:pt x="783" y="139"/>
                    </a:lnTo>
                    <a:lnTo>
                      <a:pt x="778" y="139"/>
                    </a:lnTo>
                    <a:lnTo>
                      <a:pt x="767" y="143"/>
                    </a:lnTo>
                    <a:lnTo>
                      <a:pt x="759" y="144"/>
                    </a:lnTo>
                    <a:lnTo>
                      <a:pt x="748" y="146"/>
                    </a:lnTo>
                    <a:lnTo>
                      <a:pt x="740" y="151"/>
                    </a:lnTo>
                    <a:lnTo>
                      <a:pt x="745" y="151"/>
                    </a:lnTo>
                    <a:lnTo>
                      <a:pt x="750" y="149"/>
                    </a:lnTo>
                    <a:lnTo>
                      <a:pt x="757" y="151"/>
                    </a:lnTo>
                    <a:lnTo>
                      <a:pt x="747" y="151"/>
                    </a:lnTo>
                    <a:lnTo>
                      <a:pt x="738" y="153"/>
                    </a:lnTo>
                    <a:lnTo>
                      <a:pt x="735" y="153"/>
                    </a:lnTo>
                    <a:lnTo>
                      <a:pt x="731" y="153"/>
                    </a:lnTo>
                    <a:lnTo>
                      <a:pt x="731" y="156"/>
                    </a:lnTo>
                    <a:lnTo>
                      <a:pt x="733" y="160"/>
                    </a:lnTo>
                    <a:lnTo>
                      <a:pt x="735" y="163"/>
                    </a:lnTo>
                    <a:lnTo>
                      <a:pt x="731" y="167"/>
                    </a:lnTo>
                    <a:lnTo>
                      <a:pt x="728" y="174"/>
                    </a:lnTo>
                    <a:lnTo>
                      <a:pt x="724" y="180"/>
                    </a:lnTo>
                    <a:lnTo>
                      <a:pt x="721" y="184"/>
                    </a:lnTo>
                    <a:lnTo>
                      <a:pt x="719" y="182"/>
                    </a:lnTo>
                    <a:lnTo>
                      <a:pt x="717" y="180"/>
                    </a:lnTo>
                    <a:lnTo>
                      <a:pt x="716" y="184"/>
                    </a:lnTo>
                    <a:lnTo>
                      <a:pt x="717" y="187"/>
                    </a:lnTo>
                    <a:lnTo>
                      <a:pt x="719" y="192"/>
                    </a:lnTo>
                    <a:lnTo>
                      <a:pt x="716" y="196"/>
                    </a:lnTo>
                    <a:lnTo>
                      <a:pt x="712" y="203"/>
                    </a:lnTo>
                    <a:lnTo>
                      <a:pt x="709" y="210"/>
                    </a:lnTo>
                    <a:lnTo>
                      <a:pt x="707" y="213"/>
                    </a:lnTo>
                    <a:lnTo>
                      <a:pt x="705" y="211"/>
                    </a:lnTo>
                    <a:lnTo>
                      <a:pt x="705" y="210"/>
                    </a:lnTo>
                    <a:lnTo>
                      <a:pt x="705" y="206"/>
                    </a:lnTo>
                    <a:lnTo>
                      <a:pt x="705" y="204"/>
                    </a:lnTo>
                    <a:lnTo>
                      <a:pt x="702" y="196"/>
                    </a:lnTo>
                    <a:lnTo>
                      <a:pt x="700" y="187"/>
                    </a:lnTo>
                    <a:lnTo>
                      <a:pt x="699" y="191"/>
                    </a:lnTo>
                    <a:lnTo>
                      <a:pt x="700" y="194"/>
                    </a:lnTo>
                    <a:lnTo>
                      <a:pt x="700" y="203"/>
                    </a:lnTo>
                    <a:lnTo>
                      <a:pt x="702" y="213"/>
                    </a:lnTo>
                    <a:lnTo>
                      <a:pt x="700" y="217"/>
                    </a:lnTo>
                    <a:lnTo>
                      <a:pt x="702" y="220"/>
                    </a:lnTo>
                    <a:lnTo>
                      <a:pt x="704" y="220"/>
                    </a:lnTo>
                    <a:lnTo>
                      <a:pt x="705" y="220"/>
                    </a:lnTo>
                    <a:lnTo>
                      <a:pt x="705" y="222"/>
                    </a:lnTo>
                    <a:lnTo>
                      <a:pt x="705" y="225"/>
                    </a:lnTo>
                    <a:lnTo>
                      <a:pt x="702" y="229"/>
                    </a:lnTo>
                    <a:lnTo>
                      <a:pt x="699" y="232"/>
                    </a:lnTo>
                    <a:lnTo>
                      <a:pt x="702" y="234"/>
                    </a:lnTo>
                    <a:lnTo>
                      <a:pt x="705" y="235"/>
                    </a:lnTo>
                    <a:lnTo>
                      <a:pt x="704" y="239"/>
                    </a:lnTo>
                    <a:lnTo>
                      <a:pt x="699" y="241"/>
                    </a:lnTo>
                    <a:lnTo>
                      <a:pt x="699" y="246"/>
                    </a:lnTo>
                    <a:lnTo>
                      <a:pt x="704" y="249"/>
                    </a:lnTo>
                    <a:lnTo>
                      <a:pt x="700" y="251"/>
                    </a:lnTo>
                    <a:lnTo>
                      <a:pt x="699" y="254"/>
                    </a:lnTo>
                    <a:lnTo>
                      <a:pt x="690" y="256"/>
                    </a:lnTo>
                    <a:lnTo>
                      <a:pt x="686" y="260"/>
                    </a:lnTo>
                    <a:lnTo>
                      <a:pt x="680" y="263"/>
                    </a:lnTo>
                    <a:lnTo>
                      <a:pt x="676" y="266"/>
                    </a:lnTo>
                    <a:lnTo>
                      <a:pt x="678" y="26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1" name="Freeform 298"/>
              <p:cNvSpPr>
                <a:spLocks/>
              </p:cNvSpPr>
              <p:nvPr/>
            </p:nvSpPr>
            <p:spPr bwMode="auto">
              <a:xfrm>
                <a:off x="1085057" y="1992313"/>
                <a:ext cx="1955800" cy="1011237"/>
              </a:xfrm>
              <a:custGeom>
                <a:avLst/>
                <a:gdLst/>
                <a:ahLst/>
                <a:cxnLst>
                  <a:cxn ang="0">
                    <a:pos x="1096" y="570"/>
                  </a:cxn>
                  <a:cxn ang="0">
                    <a:pos x="1091" y="607"/>
                  </a:cxn>
                  <a:cxn ang="0">
                    <a:pos x="1149" y="568"/>
                  </a:cxn>
                  <a:cxn ang="0">
                    <a:pos x="1103" y="527"/>
                  </a:cxn>
                  <a:cxn ang="0">
                    <a:pos x="1092" y="499"/>
                  </a:cxn>
                  <a:cxn ang="0">
                    <a:pos x="1067" y="499"/>
                  </a:cxn>
                  <a:cxn ang="0">
                    <a:pos x="1172" y="479"/>
                  </a:cxn>
                  <a:cxn ang="0">
                    <a:pos x="1218" y="410"/>
                  </a:cxn>
                  <a:cxn ang="0">
                    <a:pos x="1187" y="408"/>
                  </a:cxn>
                  <a:cxn ang="0">
                    <a:pos x="1165" y="370"/>
                  </a:cxn>
                  <a:cxn ang="0">
                    <a:pos x="1127" y="319"/>
                  </a:cxn>
                  <a:cxn ang="0">
                    <a:pos x="1089" y="293"/>
                  </a:cxn>
                  <a:cxn ang="0">
                    <a:pos x="1031" y="281"/>
                  </a:cxn>
                  <a:cxn ang="0">
                    <a:pos x="969" y="231"/>
                  </a:cxn>
                  <a:cxn ang="0">
                    <a:pos x="903" y="243"/>
                  </a:cxn>
                  <a:cxn ang="0">
                    <a:pos x="907" y="300"/>
                  </a:cxn>
                  <a:cxn ang="0">
                    <a:pos x="917" y="374"/>
                  </a:cxn>
                  <a:cxn ang="0">
                    <a:pos x="891" y="458"/>
                  </a:cxn>
                  <a:cxn ang="0">
                    <a:pos x="841" y="391"/>
                  </a:cxn>
                  <a:cxn ang="0">
                    <a:pos x="705" y="348"/>
                  </a:cxn>
                  <a:cxn ang="0">
                    <a:pos x="666" y="308"/>
                  </a:cxn>
                  <a:cxn ang="0">
                    <a:pos x="695" y="227"/>
                  </a:cxn>
                  <a:cxn ang="0">
                    <a:pos x="697" y="202"/>
                  </a:cxn>
                  <a:cxn ang="0">
                    <a:pos x="738" y="195"/>
                  </a:cxn>
                  <a:cxn ang="0">
                    <a:pos x="733" y="152"/>
                  </a:cxn>
                  <a:cxn ang="0">
                    <a:pos x="785" y="140"/>
                  </a:cxn>
                  <a:cxn ang="0">
                    <a:pos x="845" y="131"/>
                  </a:cxn>
                  <a:cxn ang="0">
                    <a:pos x="857" y="78"/>
                  </a:cxn>
                  <a:cxn ang="0">
                    <a:pos x="798" y="64"/>
                  </a:cxn>
                  <a:cxn ang="0">
                    <a:pos x="757" y="104"/>
                  </a:cxn>
                  <a:cxn ang="0">
                    <a:pos x="735" y="78"/>
                  </a:cxn>
                  <a:cxn ang="0">
                    <a:pos x="700" y="50"/>
                  </a:cxn>
                  <a:cxn ang="0">
                    <a:pos x="659" y="0"/>
                  </a:cxn>
                  <a:cxn ang="0">
                    <a:pos x="642" y="52"/>
                  </a:cxn>
                  <a:cxn ang="0">
                    <a:pos x="668" y="93"/>
                  </a:cxn>
                  <a:cxn ang="0">
                    <a:pos x="638" y="92"/>
                  </a:cxn>
                  <a:cxn ang="0">
                    <a:pos x="582" y="105"/>
                  </a:cxn>
                  <a:cxn ang="0">
                    <a:pos x="487" y="76"/>
                  </a:cxn>
                  <a:cxn ang="0">
                    <a:pos x="482" y="97"/>
                  </a:cxn>
                  <a:cxn ang="0">
                    <a:pos x="427" y="102"/>
                  </a:cxn>
                  <a:cxn ang="0">
                    <a:pos x="367" y="95"/>
                  </a:cxn>
                  <a:cxn ang="0">
                    <a:pos x="343" y="80"/>
                  </a:cxn>
                  <a:cxn ang="0">
                    <a:pos x="253" y="59"/>
                  </a:cxn>
                  <a:cxn ang="0">
                    <a:pos x="184" y="40"/>
                  </a:cxn>
                  <a:cxn ang="0">
                    <a:pos x="131" y="52"/>
                  </a:cxn>
                  <a:cxn ang="0">
                    <a:pos x="85" y="68"/>
                  </a:cxn>
                  <a:cxn ang="0">
                    <a:pos x="28" y="71"/>
                  </a:cxn>
                  <a:cxn ang="0">
                    <a:pos x="19" y="281"/>
                  </a:cxn>
                  <a:cxn ang="0">
                    <a:pos x="78" y="291"/>
                  </a:cxn>
                  <a:cxn ang="0">
                    <a:pos x="134" y="360"/>
                  </a:cxn>
                  <a:cxn ang="0">
                    <a:pos x="150" y="411"/>
                  </a:cxn>
                  <a:cxn ang="0">
                    <a:pos x="183" y="448"/>
                  </a:cxn>
                  <a:cxn ang="0">
                    <a:pos x="232" y="492"/>
                  </a:cxn>
                  <a:cxn ang="0">
                    <a:pos x="700" y="513"/>
                  </a:cxn>
                  <a:cxn ang="0">
                    <a:pos x="771" y="515"/>
                  </a:cxn>
                  <a:cxn ang="0">
                    <a:pos x="807" y="540"/>
                  </a:cxn>
                  <a:cxn ang="0">
                    <a:pos x="876" y="587"/>
                  </a:cxn>
                  <a:cxn ang="0">
                    <a:pos x="833" y="630"/>
                  </a:cxn>
                  <a:cxn ang="0">
                    <a:pos x="883" y="626"/>
                  </a:cxn>
                  <a:cxn ang="0">
                    <a:pos x="912" y="601"/>
                  </a:cxn>
                  <a:cxn ang="0">
                    <a:pos x="991" y="575"/>
                  </a:cxn>
                  <a:cxn ang="0">
                    <a:pos x="1037" y="534"/>
                  </a:cxn>
                </a:cxnLst>
                <a:rect l="0" t="0" r="r" b="b"/>
                <a:pathLst>
                  <a:path w="1232" h="637">
                    <a:moveTo>
                      <a:pt x="1067" y="580"/>
                    </a:moveTo>
                    <a:lnTo>
                      <a:pt x="1067" y="578"/>
                    </a:lnTo>
                    <a:lnTo>
                      <a:pt x="1068" y="578"/>
                    </a:lnTo>
                    <a:lnTo>
                      <a:pt x="1072" y="578"/>
                    </a:lnTo>
                    <a:lnTo>
                      <a:pt x="1074" y="578"/>
                    </a:lnTo>
                    <a:lnTo>
                      <a:pt x="1080" y="578"/>
                    </a:lnTo>
                    <a:lnTo>
                      <a:pt x="1086" y="577"/>
                    </a:lnTo>
                    <a:lnTo>
                      <a:pt x="1091" y="577"/>
                    </a:lnTo>
                    <a:lnTo>
                      <a:pt x="1096" y="570"/>
                    </a:lnTo>
                    <a:lnTo>
                      <a:pt x="1105" y="566"/>
                    </a:lnTo>
                    <a:lnTo>
                      <a:pt x="1105" y="573"/>
                    </a:lnTo>
                    <a:lnTo>
                      <a:pt x="1111" y="575"/>
                    </a:lnTo>
                    <a:lnTo>
                      <a:pt x="1101" y="575"/>
                    </a:lnTo>
                    <a:lnTo>
                      <a:pt x="1091" y="580"/>
                    </a:lnTo>
                    <a:lnTo>
                      <a:pt x="1084" y="585"/>
                    </a:lnTo>
                    <a:lnTo>
                      <a:pt x="1082" y="594"/>
                    </a:lnTo>
                    <a:lnTo>
                      <a:pt x="1086" y="602"/>
                    </a:lnTo>
                    <a:lnTo>
                      <a:pt x="1091" y="607"/>
                    </a:lnTo>
                    <a:lnTo>
                      <a:pt x="1094" y="604"/>
                    </a:lnTo>
                    <a:lnTo>
                      <a:pt x="1099" y="599"/>
                    </a:lnTo>
                    <a:lnTo>
                      <a:pt x="1106" y="594"/>
                    </a:lnTo>
                    <a:lnTo>
                      <a:pt x="1115" y="590"/>
                    </a:lnTo>
                    <a:lnTo>
                      <a:pt x="1122" y="587"/>
                    </a:lnTo>
                    <a:lnTo>
                      <a:pt x="1134" y="582"/>
                    </a:lnTo>
                    <a:lnTo>
                      <a:pt x="1146" y="577"/>
                    </a:lnTo>
                    <a:lnTo>
                      <a:pt x="1153" y="573"/>
                    </a:lnTo>
                    <a:lnTo>
                      <a:pt x="1149" y="568"/>
                    </a:lnTo>
                    <a:lnTo>
                      <a:pt x="1144" y="566"/>
                    </a:lnTo>
                    <a:lnTo>
                      <a:pt x="1139" y="566"/>
                    </a:lnTo>
                    <a:lnTo>
                      <a:pt x="1135" y="566"/>
                    </a:lnTo>
                    <a:lnTo>
                      <a:pt x="1123" y="563"/>
                    </a:lnTo>
                    <a:lnTo>
                      <a:pt x="1111" y="558"/>
                    </a:lnTo>
                    <a:lnTo>
                      <a:pt x="1101" y="549"/>
                    </a:lnTo>
                    <a:lnTo>
                      <a:pt x="1098" y="540"/>
                    </a:lnTo>
                    <a:lnTo>
                      <a:pt x="1099" y="534"/>
                    </a:lnTo>
                    <a:lnTo>
                      <a:pt x="1103" y="527"/>
                    </a:lnTo>
                    <a:lnTo>
                      <a:pt x="1098" y="527"/>
                    </a:lnTo>
                    <a:lnTo>
                      <a:pt x="1091" y="527"/>
                    </a:lnTo>
                    <a:lnTo>
                      <a:pt x="1094" y="521"/>
                    </a:lnTo>
                    <a:lnTo>
                      <a:pt x="1101" y="520"/>
                    </a:lnTo>
                    <a:lnTo>
                      <a:pt x="1108" y="515"/>
                    </a:lnTo>
                    <a:lnTo>
                      <a:pt x="1111" y="509"/>
                    </a:lnTo>
                    <a:lnTo>
                      <a:pt x="1108" y="503"/>
                    </a:lnTo>
                    <a:lnTo>
                      <a:pt x="1101" y="501"/>
                    </a:lnTo>
                    <a:lnTo>
                      <a:pt x="1092" y="499"/>
                    </a:lnTo>
                    <a:lnTo>
                      <a:pt x="1086" y="501"/>
                    </a:lnTo>
                    <a:lnTo>
                      <a:pt x="1068" y="503"/>
                    </a:lnTo>
                    <a:lnTo>
                      <a:pt x="1058" y="509"/>
                    </a:lnTo>
                    <a:lnTo>
                      <a:pt x="1048" y="515"/>
                    </a:lnTo>
                    <a:lnTo>
                      <a:pt x="1037" y="520"/>
                    </a:lnTo>
                    <a:lnTo>
                      <a:pt x="1043" y="511"/>
                    </a:lnTo>
                    <a:lnTo>
                      <a:pt x="1049" y="508"/>
                    </a:lnTo>
                    <a:lnTo>
                      <a:pt x="1056" y="504"/>
                    </a:lnTo>
                    <a:lnTo>
                      <a:pt x="1067" y="499"/>
                    </a:lnTo>
                    <a:lnTo>
                      <a:pt x="1070" y="489"/>
                    </a:lnTo>
                    <a:lnTo>
                      <a:pt x="1079" y="484"/>
                    </a:lnTo>
                    <a:lnTo>
                      <a:pt x="1091" y="480"/>
                    </a:lnTo>
                    <a:lnTo>
                      <a:pt x="1103" y="480"/>
                    </a:lnTo>
                    <a:lnTo>
                      <a:pt x="1115" y="480"/>
                    </a:lnTo>
                    <a:lnTo>
                      <a:pt x="1129" y="482"/>
                    </a:lnTo>
                    <a:lnTo>
                      <a:pt x="1144" y="482"/>
                    </a:lnTo>
                    <a:lnTo>
                      <a:pt x="1160" y="482"/>
                    </a:lnTo>
                    <a:lnTo>
                      <a:pt x="1172" y="479"/>
                    </a:lnTo>
                    <a:lnTo>
                      <a:pt x="1184" y="470"/>
                    </a:lnTo>
                    <a:lnTo>
                      <a:pt x="1194" y="463"/>
                    </a:lnTo>
                    <a:lnTo>
                      <a:pt x="1209" y="458"/>
                    </a:lnTo>
                    <a:lnTo>
                      <a:pt x="1225" y="451"/>
                    </a:lnTo>
                    <a:lnTo>
                      <a:pt x="1232" y="442"/>
                    </a:lnTo>
                    <a:lnTo>
                      <a:pt x="1228" y="427"/>
                    </a:lnTo>
                    <a:lnTo>
                      <a:pt x="1223" y="418"/>
                    </a:lnTo>
                    <a:lnTo>
                      <a:pt x="1220" y="415"/>
                    </a:lnTo>
                    <a:lnTo>
                      <a:pt x="1218" y="410"/>
                    </a:lnTo>
                    <a:lnTo>
                      <a:pt x="1218" y="405"/>
                    </a:lnTo>
                    <a:lnTo>
                      <a:pt x="1206" y="410"/>
                    </a:lnTo>
                    <a:lnTo>
                      <a:pt x="1194" y="415"/>
                    </a:lnTo>
                    <a:lnTo>
                      <a:pt x="1178" y="417"/>
                    </a:lnTo>
                    <a:lnTo>
                      <a:pt x="1170" y="420"/>
                    </a:lnTo>
                    <a:lnTo>
                      <a:pt x="1166" y="418"/>
                    </a:lnTo>
                    <a:lnTo>
                      <a:pt x="1165" y="417"/>
                    </a:lnTo>
                    <a:lnTo>
                      <a:pt x="1173" y="411"/>
                    </a:lnTo>
                    <a:lnTo>
                      <a:pt x="1187" y="408"/>
                    </a:lnTo>
                    <a:lnTo>
                      <a:pt x="1199" y="403"/>
                    </a:lnTo>
                    <a:lnTo>
                      <a:pt x="1206" y="398"/>
                    </a:lnTo>
                    <a:lnTo>
                      <a:pt x="1204" y="394"/>
                    </a:lnTo>
                    <a:lnTo>
                      <a:pt x="1203" y="393"/>
                    </a:lnTo>
                    <a:lnTo>
                      <a:pt x="1190" y="391"/>
                    </a:lnTo>
                    <a:lnTo>
                      <a:pt x="1178" y="389"/>
                    </a:lnTo>
                    <a:lnTo>
                      <a:pt x="1168" y="382"/>
                    </a:lnTo>
                    <a:lnTo>
                      <a:pt x="1165" y="372"/>
                    </a:lnTo>
                    <a:lnTo>
                      <a:pt x="1165" y="370"/>
                    </a:lnTo>
                    <a:lnTo>
                      <a:pt x="1149" y="365"/>
                    </a:lnTo>
                    <a:lnTo>
                      <a:pt x="1139" y="358"/>
                    </a:lnTo>
                    <a:lnTo>
                      <a:pt x="1144" y="355"/>
                    </a:lnTo>
                    <a:lnTo>
                      <a:pt x="1148" y="348"/>
                    </a:lnTo>
                    <a:lnTo>
                      <a:pt x="1144" y="341"/>
                    </a:lnTo>
                    <a:lnTo>
                      <a:pt x="1144" y="334"/>
                    </a:lnTo>
                    <a:lnTo>
                      <a:pt x="1137" y="329"/>
                    </a:lnTo>
                    <a:lnTo>
                      <a:pt x="1132" y="325"/>
                    </a:lnTo>
                    <a:lnTo>
                      <a:pt x="1127" y="319"/>
                    </a:lnTo>
                    <a:lnTo>
                      <a:pt x="1127" y="313"/>
                    </a:lnTo>
                    <a:lnTo>
                      <a:pt x="1125" y="305"/>
                    </a:lnTo>
                    <a:lnTo>
                      <a:pt x="1120" y="298"/>
                    </a:lnTo>
                    <a:lnTo>
                      <a:pt x="1111" y="291"/>
                    </a:lnTo>
                    <a:lnTo>
                      <a:pt x="1110" y="284"/>
                    </a:lnTo>
                    <a:lnTo>
                      <a:pt x="1105" y="281"/>
                    </a:lnTo>
                    <a:lnTo>
                      <a:pt x="1101" y="279"/>
                    </a:lnTo>
                    <a:lnTo>
                      <a:pt x="1092" y="282"/>
                    </a:lnTo>
                    <a:lnTo>
                      <a:pt x="1089" y="293"/>
                    </a:lnTo>
                    <a:lnTo>
                      <a:pt x="1086" y="298"/>
                    </a:lnTo>
                    <a:lnTo>
                      <a:pt x="1079" y="308"/>
                    </a:lnTo>
                    <a:lnTo>
                      <a:pt x="1068" y="315"/>
                    </a:lnTo>
                    <a:lnTo>
                      <a:pt x="1060" y="319"/>
                    </a:lnTo>
                    <a:lnTo>
                      <a:pt x="1049" y="313"/>
                    </a:lnTo>
                    <a:lnTo>
                      <a:pt x="1043" y="308"/>
                    </a:lnTo>
                    <a:lnTo>
                      <a:pt x="1036" y="303"/>
                    </a:lnTo>
                    <a:lnTo>
                      <a:pt x="1032" y="293"/>
                    </a:lnTo>
                    <a:lnTo>
                      <a:pt x="1031" y="281"/>
                    </a:lnTo>
                    <a:lnTo>
                      <a:pt x="1031" y="272"/>
                    </a:lnTo>
                    <a:lnTo>
                      <a:pt x="1024" y="264"/>
                    </a:lnTo>
                    <a:lnTo>
                      <a:pt x="1013" y="262"/>
                    </a:lnTo>
                    <a:lnTo>
                      <a:pt x="1003" y="258"/>
                    </a:lnTo>
                    <a:lnTo>
                      <a:pt x="1000" y="250"/>
                    </a:lnTo>
                    <a:lnTo>
                      <a:pt x="989" y="245"/>
                    </a:lnTo>
                    <a:lnTo>
                      <a:pt x="984" y="239"/>
                    </a:lnTo>
                    <a:lnTo>
                      <a:pt x="976" y="233"/>
                    </a:lnTo>
                    <a:lnTo>
                      <a:pt x="969" y="231"/>
                    </a:lnTo>
                    <a:lnTo>
                      <a:pt x="962" y="233"/>
                    </a:lnTo>
                    <a:lnTo>
                      <a:pt x="955" y="236"/>
                    </a:lnTo>
                    <a:lnTo>
                      <a:pt x="943" y="233"/>
                    </a:lnTo>
                    <a:lnTo>
                      <a:pt x="934" y="231"/>
                    </a:lnTo>
                    <a:lnTo>
                      <a:pt x="926" y="227"/>
                    </a:lnTo>
                    <a:lnTo>
                      <a:pt x="917" y="227"/>
                    </a:lnTo>
                    <a:lnTo>
                      <a:pt x="905" y="229"/>
                    </a:lnTo>
                    <a:lnTo>
                      <a:pt x="902" y="239"/>
                    </a:lnTo>
                    <a:lnTo>
                      <a:pt x="903" y="243"/>
                    </a:lnTo>
                    <a:lnTo>
                      <a:pt x="907" y="248"/>
                    </a:lnTo>
                    <a:lnTo>
                      <a:pt x="908" y="253"/>
                    </a:lnTo>
                    <a:lnTo>
                      <a:pt x="903" y="262"/>
                    </a:lnTo>
                    <a:lnTo>
                      <a:pt x="902" y="265"/>
                    </a:lnTo>
                    <a:lnTo>
                      <a:pt x="905" y="272"/>
                    </a:lnTo>
                    <a:lnTo>
                      <a:pt x="908" y="277"/>
                    </a:lnTo>
                    <a:lnTo>
                      <a:pt x="914" y="284"/>
                    </a:lnTo>
                    <a:lnTo>
                      <a:pt x="910" y="293"/>
                    </a:lnTo>
                    <a:lnTo>
                      <a:pt x="907" y="300"/>
                    </a:lnTo>
                    <a:lnTo>
                      <a:pt x="898" y="303"/>
                    </a:lnTo>
                    <a:lnTo>
                      <a:pt x="895" y="307"/>
                    </a:lnTo>
                    <a:lnTo>
                      <a:pt x="903" y="319"/>
                    </a:lnTo>
                    <a:lnTo>
                      <a:pt x="912" y="331"/>
                    </a:lnTo>
                    <a:lnTo>
                      <a:pt x="915" y="336"/>
                    </a:lnTo>
                    <a:lnTo>
                      <a:pt x="920" y="344"/>
                    </a:lnTo>
                    <a:lnTo>
                      <a:pt x="922" y="355"/>
                    </a:lnTo>
                    <a:lnTo>
                      <a:pt x="924" y="367"/>
                    </a:lnTo>
                    <a:lnTo>
                      <a:pt x="917" y="374"/>
                    </a:lnTo>
                    <a:lnTo>
                      <a:pt x="907" y="386"/>
                    </a:lnTo>
                    <a:lnTo>
                      <a:pt x="893" y="394"/>
                    </a:lnTo>
                    <a:lnTo>
                      <a:pt x="883" y="399"/>
                    </a:lnTo>
                    <a:lnTo>
                      <a:pt x="891" y="408"/>
                    </a:lnTo>
                    <a:lnTo>
                      <a:pt x="895" y="422"/>
                    </a:lnTo>
                    <a:lnTo>
                      <a:pt x="896" y="436"/>
                    </a:lnTo>
                    <a:lnTo>
                      <a:pt x="900" y="446"/>
                    </a:lnTo>
                    <a:lnTo>
                      <a:pt x="895" y="449"/>
                    </a:lnTo>
                    <a:lnTo>
                      <a:pt x="891" y="458"/>
                    </a:lnTo>
                    <a:lnTo>
                      <a:pt x="883" y="461"/>
                    </a:lnTo>
                    <a:lnTo>
                      <a:pt x="876" y="463"/>
                    </a:lnTo>
                    <a:lnTo>
                      <a:pt x="865" y="453"/>
                    </a:lnTo>
                    <a:lnTo>
                      <a:pt x="855" y="444"/>
                    </a:lnTo>
                    <a:lnTo>
                      <a:pt x="847" y="434"/>
                    </a:lnTo>
                    <a:lnTo>
                      <a:pt x="845" y="423"/>
                    </a:lnTo>
                    <a:lnTo>
                      <a:pt x="845" y="410"/>
                    </a:lnTo>
                    <a:lnTo>
                      <a:pt x="845" y="401"/>
                    </a:lnTo>
                    <a:lnTo>
                      <a:pt x="841" y="391"/>
                    </a:lnTo>
                    <a:lnTo>
                      <a:pt x="834" y="386"/>
                    </a:lnTo>
                    <a:lnTo>
                      <a:pt x="802" y="386"/>
                    </a:lnTo>
                    <a:lnTo>
                      <a:pt x="786" y="375"/>
                    </a:lnTo>
                    <a:lnTo>
                      <a:pt x="771" y="367"/>
                    </a:lnTo>
                    <a:lnTo>
                      <a:pt x="754" y="360"/>
                    </a:lnTo>
                    <a:lnTo>
                      <a:pt x="738" y="355"/>
                    </a:lnTo>
                    <a:lnTo>
                      <a:pt x="728" y="348"/>
                    </a:lnTo>
                    <a:lnTo>
                      <a:pt x="716" y="344"/>
                    </a:lnTo>
                    <a:lnTo>
                      <a:pt x="705" y="348"/>
                    </a:lnTo>
                    <a:lnTo>
                      <a:pt x="697" y="351"/>
                    </a:lnTo>
                    <a:lnTo>
                      <a:pt x="695" y="338"/>
                    </a:lnTo>
                    <a:lnTo>
                      <a:pt x="692" y="325"/>
                    </a:lnTo>
                    <a:lnTo>
                      <a:pt x="685" y="315"/>
                    </a:lnTo>
                    <a:lnTo>
                      <a:pt x="678" y="312"/>
                    </a:lnTo>
                    <a:lnTo>
                      <a:pt x="671" y="313"/>
                    </a:lnTo>
                    <a:lnTo>
                      <a:pt x="666" y="317"/>
                    </a:lnTo>
                    <a:lnTo>
                      <a:pt x="666" y="312"/>
                    </a:lnTo>
                    <a:lnTo>
                      <a:pt x="666" y="308"/>
                    </a:lnTo>
                    <a:lnTo>
                      <a:pt x="666" y="301"/>
                    </a:lnTo>
                    <a:lnTo>
                      <a:pt x="666" y="295"/>
                    </a:lnTo>
                    <a:lnTo>
                      <a:pt x="666" y="279"/>
                    </a:lnTo>
                    <a:lnTo>
                      <a:pt x="669" y="269"/>
                    </a:lnTo>
                    <a:lnTo>
                      <a:pt x="675" y="258"/>
                    </a:lnTo>
                    <a:lnTo>
                      <a:pt x="683" y="250"/>
                    </a:lnTo>
                    <a:lnTo>
                      <a:pt x="685" y="243"/>
                    </a:lnTo>
                    <a:lnTo>
                      <a:pt x="690" y="236"/>
                    </a:lnTo>
                    <a:lnTo>
                      <a:pt x="695" y="227"/>
                    </a:lnTo>
                    <a:lnTo>
                      <a:pt x="700" y="224"/>
                    </a:lnTo>
                    <a:lnTo>
                      <a:pt x="707" y="222"/>
                    </a:lnTo>
                    <a:lnTo>
                      <a:pt x="714" y="221"/>
                    </a:lnTo>
                    <a:lnTo>
                      <a:pt x="721" y="219"/>
                    </a:lnTo>
                    <a:lnTo>
                      <a:pt x="724" y="214"/>
                    </a:lnTo>
                    <a:lnTo>
                      <a:pt x="721" y="209"/>
                    </a:lnTo>
                    <a:lnTo>
                      <a:pt x="712" y="205"/>
                    </a:lnTo>
                    <a:lnTo>
                      <a:pt x="704" y="203"/>
                    </a:lnTo>
                    <a:lnTo>
                      <a:pt x="697" y="202"/>
                    </a:lnTo>
                    <a:lnTo>
                      <a:pt x="697" y="200"/>
                    </a:lnTo>
                    <a:lnTo>
                      <a:pt x="699" y="198"/>
                    </a:lnTo>
                    <a:lnTo>
                      <a:pt x="705" y="198"/>
                    </a:lnTo>
                    <a:lnTo>
                      <a:pt x="714" y="200"/>
                    </a:lnTo>
                    <a:lnTo>
                      <a:pt x="728" y="205"/>
                    </a:lnTo>
                    <a:lnTo>
                      <a:pt x="731" y="203"/>
                    </a:lnTo>
                    <a:lnTo>
                      <a:pt x="733" y="200"/>
                    </a:lnTo>
                    <a:lnTo>
                      <a:pt x="735" y="197"/>
                    </a:lnTo>
                    <a:lnTo>
                      <a:pt x="738" y="195"/>
                    </a:lnTo>
                    <a:lnTo>
                      <a:pt x="740" y="195"/>
                    </a:lnTo>
                    <a:lnTo>
                      <a:pt x="748" y="195"/>
                    </a:lnTo>
                    <a:lnTo>
                      <a:pt x="762" y="188"/>
                    </a:lnTo>
                    <a:lnTo>
                      <a:pt x="776" y="176"/>
                    </a:lnTo>
                    <a:lnTo>
                      <a:pt x="776" y="169"/>
                    </a:lnTo>
                    <a:lnTo>
                      <a:pt x="762" y="166"/>
                    </a:lnTo>
                    <a:lnTo>
                      <a:pt x="750" y="164"/>
                    </a:lnTo>
                    <a:lnTo>
                      <a:pt x="740" y="159"/>
                    </a:lnTo>
                    <a:lnTo>
                      <a:pt x="733" y="152"/>
                    </a:lnTo>
                    <a:lnTo>
                      <a:pt x="736" y="152"/>
                    </a:lnTo>
                    <a:lnTo>
                      <a:pt x="743" y="152"/>
                    </a:lnTo>
                    <a:lnTo>
                      <a:pt x="752" y="159"/>
                    </a:lnTo>
                    <a:lnTo>
                      <a:pt x="766" y="164"/>
                    </a:lnTo>
                    <a:lnTo>
                      <a:pt x="771" y="160"/>
                    </a:lnTo>
                    <a:lnTo>
                      <a:pt x="779" y="157"/>
                    </a:lnTo>
                    <a:lnTo>
                      <a:pt x="785" y="152"/>
                    </a:lnTo>
                    <a:lnTo>
                      <a:pt x="788" y="147"/>
                    </a:lnTo>
                    <a:lnTo>
                      <a:pt x="785" y="140"/>
                    </a:lnTo>
                    <a:lnTo>
                      <a:pt x="785" y="136"/>
                    </a:lnTo>
                    <a:lnTo>
                      <a:pt x="797" y="141"/>
                    </a:lnTo>
                    <a:lnTo>
                      <a:pt x="807" y="147"/>
                    </a:lnTo>
                    <a:lnTo>
                      <a:pt x="814" y="143"/>
                    </a:lnTo>
                    <a:lnTo>
                      <a:pt x="824" y="141"/>
                    </a:lnTo>
                    <a:lnTo>
                      <a:pt x="824" y="135"/>
                    </a:lnTo>
                    <a:lnTo>
                      <a:pt x="831" y="140"/>
                    </a:lnTo>
                    <a:lnTo>
                      <a:pt x="834" y="138"/>
                    </a:lnTo>
                    <a:lnTo>
                      <a:pt x="845" y="131"/>
                    </a:lnTo>
                    <a:lnTo>
                      <a:pt x="855" y="123"/>
                    </a:lnTo>
                    <a:lnTo>
                      <a:pt x="860" y="116"/>
                    </a:lnTo>
                    <a:lnTo>
                      <a:pt x="853" y="107"/>
                    </a:lnTo>
                    <a:lnTo>
                      <a:pt x="848" y="102"/>
                    </a:lnTo>
                    <a:lnTo>
                      <a:pt x="847" y="97"/>
                    </a:lnTo>
                    <a:lnTo>
                      <a:pt x="847" y="93"/>
                    </a:lnTo>
                    <a:lnTo>
                      <a:pt x="848" y="88"/>
                    </a:lnTo>
                    <a:lnTo>
                      <a:pt x="857" y="83"/>
                    </a:lnTo>
                    <a:lnTo>
                      <a:pt x="857" y="78"/>
                    </a:lnTo>
                    <a:lnTo>
                      <a:pt x="857" y="71"/>
                    </a:lnTo>
                    <a:lnTo>
                      <a:pt x="847" y="68"/>
                    </a:lnTo>
                    <a:lnTo>
                      <a:pt x="841" y="64"/>
                    </a:lnTo>
                    <a:lnTo>
                      <a:pt x="834" y="59"/>
                    </a:lnTo>
                    <a:lnTo>
                      <a:pt x="824" y="57"/>
                    </a:lnTo>
                    <a:lnTo>
                      <a:pt x="817" y="56"/>
                    </a:lnTo>
                    <a:lnTo>
                      <a:pt x="812" y="54"/>
                    </a:lnTo>
                    <a:lnTo>
                      <a:pt x="802" y="56"/>
                    </a:lnTo>
                    <a:lnTo>
                      <a:pt x="798" y="64"/>
                    </a:lnTo>
                    <a:lnTo>
                      <a:pt x="802" y="71"/>
                    </a:lnTo>
                    <a:lnTo>
                      <a:pt x="807" y="78"/>
                    </a:lnTo>
                    <a:lnTo>
                      <a:pt x="800" y="83"/>
                    </a:lnTo>
                    <a:lnTo>
                      <a:pt x="791" y="88"/>
                    </a:lnTo>
                    <a:lnTo>
                      <a:pt x="788" y="100"/>
                    </a:lnTo>
                    <a:lnTo>
                      <a:pt x="783" y="114"/>
                    </a:lnTo>
                    <a:lnTo>
                      <a:pt x="773" y="117"/>
                    </a:lnTo>
                    <a:lnTo>
                      <a:pt x="764" y="112"/>
                    </a:lnTo>
                    <a:lnTo>
                      <a:pt x="757" y="104"/>
                    </a:lnTo>
                    <a:lnTo>
                      <a:pt x="755" y="98"/>
                    </a:lnTo>
                    <a:lnTo>
                      <a:pt x="759" y="92"/>
                    </a:lnTo>
                    <a:lnTo>
                      <a:pt x="764" y="86"/>
                    </a:lnTo>
                    <a:lnTo>
                      <a:pt x="761" y="81"/>
                    </a:lnTo>
                    <a:lnTo>
                      <a:pt x="755" y="74"/>
                    </a:lnTo>
                    <a:lnTo>
                      <a:pt x="748" y="69"/>
                    </a:lnTo>
                    <a:lnTo>
                      <a:pt x="745" y="68"/>
                    </a:lnTo>
                    <a:lnTo>
                      <a:pt x="736" y="69"/>
                    </a:lnTo>
                    <a:lnTo>
                      <a:pt x="735" y="78"/>
                    </a:lnTo>
                    <a:lnTo>
                      <a:pt x="731" y="85"/>
                    </a:lnTo>
                    <a:lnTo>
                      <a:pt x="724" y="90"/>
                    </a:lnTo>
                    <a:lnTo>
                      <a:pt x="723" y="78"/>
                    </a:lnTo>
                    <a:lnTo>
                      <a:pt x="714" y="71"/>
                    </a:lnTo>
                    <a:lnTo>
                      <a:pt x="716" y="66"/>
                    </a:lnTo>
                    <a:lnTo>
                      <a:pt x="719" y="64"/>
                    </a:lnTo>
                    <a:lnTo>
                      <a:pt x="704" y="61"/>
                    </a:lnTo>
                    <a:lnTo>
                      <a:pt x="693" y="57"/>
                    </a:lnTo>
                    <a:lnTo>
                      <a:pt x="700" y="50"/>
                    </a:lnTo>
                    <a:lnTo>
                      <a:pt x="705" y="43"/>
                    </a:lnTo>
                    <a:lnTo>
                      <a:pt x="702" y="37"/>
                    </a:lnTo>
                    <a:lnTo>
                      <a:pt x="697" y="35"/>
                    </a:lnTo>
                    <a:lnTo>
                      <a:pt x="692" y="31"/>
                    </a:lnTo>
                    <a:lnTo>
                      <a:pt x="690" y="28"/>
                    </a:lnTo>
                    <a:lnTo>
                      <a:pt x="687" y="16"/>
                    </a:lnTo>
                    <a:lnTo>
                      <a:pt x="681" y="9"/>
                    </a:lnTo>
                    <a:lnTo>
                      <a:pt x="671" y="2"/>
                    </a:lnTo>
                    <a:lnTo>
                      <a:pt x="659" y="0"/>
                    </a:lnTo>
                    <a:lnTo>
                      <a:pt x="652" y="4"/>
                    </a:lnTo>
                    <a:lnTo>
                      <a:pt x="654" y="13"/>
                    </a:lnTo>
                    <a:lnTo>
                      <a:pt x="644" y="13"/>
                    </a:lnTo>
                    <a:lnTo>
                      <a:pt x="640" y="19"/>
                    </a:lnTo>
                    <a:lnTo>
                      <a:pt x="642" y="26"/>
                    </a:lnTo>
                    <a:lnTo>
                      <a:pt x="644" y="33"/>
                    </a:lnTo>
                    <a:lnTo>
                      <a:pt x="640" y="37"/>
                    </a:lnTo>
                    <a:lnTo>
                      <a:pt x="637" y="43"/>
                    </a:lnTo>
                    <a:lnTo>
                      <a:pt x="642" y="52"/>
                    </a:lnTo>
                    <a:lnTo>
                      <a:pt x="654" y="56"/>
                    </a:lnTo>
                    <a:lnTo>
                      <a:pt x="664" y="59"/>
                    </a:lnTo>
                    <a:lnTo>
                      <a:pt x="671" y="68"/>
                    </a:lnTo>
                    <a:lnTo>
                      <a:pt x="669" y="76"/>
                    </a:lnTo>
                    <a:lnTo>
                      <a:pt x="668" y="83"/>
                    </a:lnTo>
                    <a:lnTo>
                      <a:pt x="673" y="80"/>
                    </a:lnTo>
                    <a:lnTo>
                      <a:pt x="678" y="78"/>
                    </a:lnTo>
                    <a:lnTo>
                      <a:pt x="676" y="88"/>
                    </a:lnTo>
                    <a:lnTo>
                      <a:pt x="668" y="93"/>
                    </a:lnTo>
                    <a:lnTo>
                      <a:pt x="661" y="95"/>
                    </a:lnTo>
                    <a:lnTo>
                      <a:pt x="656" y="98"/>
                    </a:lnTo>
                    <a:lnTo>
                      <a:pt x="652" y="104"/>
                    </a:lnTo>
                    <a:lnTo>
                      <a:pt x="652" y="114"/>
                    </a:lnTo>
                    <a:lnTo>
                      <a:pt x="644" y="112"/>
                    </a:lnTo>
                    <a:lnTo>
                      <a:pt x="642" y="107"/>
                    </a:lnTo>
                    <a:lnTo>
                      <a:pt x="644" y="100"/>
                    </a:lnTo>
                    <a:lnTo>
                      <a:pt x="644" y="95"/>
                    </a:lnTo>
                    <a:lnTo>
                      <a:pt x="638" y="92"/>
                    </a:lnTo>
                    <a:lnTo>
                      <a:pt x="633" y="92"/>
                    </a:lnTo>
                    <a:lnTo>
                      <a:pt x="626" y="90"/>
                    </a:lnTo>
                    <a:lnTo>
                      <a:pt x="621" y="90"/>
                    </a:lnTo>
                    <a:lnTo>
                      <a:pt x="611" y="93"/>
                    </a:lnTo>
                    <a:lnTo>
                      <a:pt x="609" y="105"/>
                    </a:lnTo>
                    <a:lnTo>
                      <a:pt x="601" y="105"/>
                    </a:lnTo>
                    <a:lnTo>
                      <a:pt x="594" y="105"/>
                    </a:lnTo>
                    <a:lnTo>
                      <a:pt x="587" y="105"/>
                    </a:lnTo>
                    <a:lnTo>
                      <a:pt x="582" y="105"/>
                    </a:lnTo>
                    <a:lnTo>
                      <a:pt x="573" y="105"/>
                    </a:lnTo>
                    <a:lnTo>
                      <a:pt x="564" y="105"/>
                    </a:lnTo>
                    <a:lnTo>
                      <a:pt x="554" y="104"/>
                    </a:lnTo>
                    <a:lnTo>
                      <a:pt x="544" y="102"/>
                    </a:lnTo>
                    <a:lnTo>
                      <a:pt x="533" y="100"/>
                    </a:lnTo>
                    <a:lnTo>
                      <a:pt x="523" y="98"/>
                    </a:lnTo>
                    <a:lnTo>
                      <a:pt x="508" y="88"/>
                    </a:lnTo>
                    <a:lnTo>
                      <a:pt x="499" y="76"/>
                    </a:lnTo>
                    <a:lnTo>
                      <a:pt x="487" y="76"/>
                    </a:lnTo>
                    <a:lnTo>
                      <a:pt x="475" y="78"/>
                    </a:lnTo>
                    <a:lnTo>
                      <a:pt x="463" y="81"/>
                    </a:lnTo>
                    <a:lnTo>
                      <a:pt x="460" y="90"/>
                    </a:lnTo>
                    <a:lnTo>
                      <a:pt x="461" y="93"/>
                    </a:lnTo>
                    <a:lnTo>
                      <a:pt x="466" y="95"/>
                    </a:lnTo>
                    <a:lnTo>
                      <a:pt x="480" y="92"/>
                    </a:lnTo>
                    <a:lnTo>
                      <a:pt x="494" y="88"/>
                    </a:lnTo>
                    <a:lnTo>
                      <a:pt x="490" y="93"/>
                    </a:lnTo>
                    <a:lnTo>
                      <a:pt x="482" y="97"/>
                    </a:lnTo>
                    <a:lnTo>
                      <a:pt x="473" y="98"/>
                    </a:lnTo>
                    <a:lnTo>
                      <a:pt x="470" y="107"/>
                    </a:lnTo>
                    <a:lnTo>
                      <a:pt x="472" y="116"/>
                    </a:lnTo>
                    <a:lnTo>
                      <a:pt x="473" y="123"/>
                    </a:lnTo>
                    <a:lnTo>
                      <a:pt x="461" y="116"/>
                    </a:lnTo>
                    <a:lnTo>
                      <a:pt x="453" y="105"/>
                    </a:lnTo>
                    <a:lnTo>
                      <a:pt x="444" y="102"/>
                    </a:lnTo>
                    <a:lnTo>
                      <a:pt x="434" y="102"/>
                    </a:lnTo>
                    <a:lnTo>
                      <a:pt x="427" y="102"/>
                    </a:lnTo>
                    <a:lnTo>
                      <a:pt x="420" y="102"/>
                    </a:lnTo>
                    <a:lnTo>
                      <a:pt x="411" y="102"/>
                    </a:lnTo>
                    <a:lnTo>
                      <a:pt x="398" y="104"/>
                    </a:lnTo>
                    <a:lnTo>
                      <a:pt x="384" y="107"/>
                    </a:lnTo>
                    <a:lnTo>
                      <a:pt x="372" y="105"/>
                    </a:lnTo>
                    <a:lnTo>
                      <a:pt x="367" y="104"/>
                    </a:lnTo>
                    <a:lnTo>
                      <a:pt x="365" y="100"/>
                    </a:lnTo>
                    <a:lnTo>
                      <a:pt x="365" y="98"/>
                    </a:lnTo>
                    <a:lnTo>
                      <a:pt x="367" y="95"/>
                    </a:lnTo>
                    <a:lnTo>
                      <a:pt x="372" y="95"/>
                    </a:lnTo>
                    <a:lnTo>
                      <a:pt x="377" y="93"/>
                    </a:lnTo>
                    <a:lnTo>
                      <a:pt x="382" y="93"/>
                    </a:lnTo>
                    <a:lnTo>
                      <a:pt x="374" y="81"/>
                    </a:lnTo>
                    <a:lnTo>
                      <a:pt x="367" y="78"/>
                    </a:lnTo>
                    <a:lnTo>
                      <a:pt x="361" y="76"/>
                    </a:lnTo>
                    <a:lnTo>
                      <a:pt x="358" y="76"/>
                    </a:lnTo>
                    <a:lnTo>
                      <a:pt x="351" y="78"/>
                    </a:lnTo>
                    <a:lnTo>
                      <a:pt x="343" y="80"/>
                    </a:lnTo>
                    <a:lnTo>
                      <a:pt x="331" y="78"/>
                    </a:lnTo>
                    <a:lnTo>
                      <a:pt x="320" y="76"/>
                    </a:lnTo>
                    <a:lnTo>
                      <a:pt x="312" y="71"/>
                    </a:lnTo>
                    <a:lnTo>
                      <a:pt x="303" y="68"/>
                    </a:lnTo>
                    <a:lnTo>
                      <a:pt x="293" y="62"/>
                    </a:lnTo>
                    <a:lnTo>
                      <a:pt x="284" y="59"/>
                    </a:lnTo>
                    <a:lnTo>
                      <a:pt x="274" y="57"/>
                    </a:lnTo>
                    <a:lnTo>
                      <a:pt x="265" y="57"/>
                    </a:lnTo>
                    <a:lnTo>
                      <a:pt x="253" y="59"/>
                    </a:lnTo>
                    <a:lnTo>
                      <a:pt x="243" y="62"/>
                    </a:lnTo>
                    <a:lnTo>
                      <a:pt x="234" y="57"/>
                    </a:lnTo>
                    <a:lnTo>
                      <a:pt x="231" y="49"/>
                    </a:lnTo>
                    <a:lnTo>
                      <a:pt x="220" y="56"/>
                    </a:lnTo>
                    <a:lnTo>
                      <a:pt x="212" y="62"/>
                    </a:lnTo>
                    <a:lnTo>
                      <a:pt x="203" y="57"/>
                    </a:lnTo>
                    <a:lnTo>
                      <a:pt x="195" y="50"/>
                    </a:lnTo>
                    <a:lnTo>
                      <a:pt x="188" y="42"/>
                    </a:lnTo>
                    <a:lnTo>
                      <a:pt x="184" y="40"/>
                    </a:lnTo>
                    <a:lnTo>
                      <a:pt x="177" y="42"/>
                    </a:lnTo>
                    <a:lnTo>
                      <a:pt x="176" y="47"/>
                    </a:lnTo>
                    <a:lnTo>
                      <a:pt x="172" y="50"/>
                    </a:lnTo>
                    <a:lnTo>
                      <a:pt x="167" y="54"/>
                    </a:lnTo>
                    <a:lnTo>
                      <a:pt x="162" y="52"/>
                    </a:lnTo>
                    <a:lnTo>
                      <a:pt x="159" y="47"/>
                    </a:lnTo>
                    <a:lnTo>
                      <a:pt x="146" y="49"/>
                    </a:lnTo>
                    <a:lnTo>
                      <a:pt x="140" y="50"/>
                    </a:lnTo>
                    <a:lnTo>
                      <a:pt x="131" y="52"/>
                    </a:lnTo>
                    <a:lnTo>
                      <a:pt x="122" y="57"/>
                    </a:lnTo>
                    <a:lnTo>
                      <a:pt x="116" y="59"/>
                    </a:lnTo>
                    <a:lnTo>
                      <a:pt x="110" y="62"/>
                    </a:lnTo>
                    <a:lnTo>
                      <a:pt x="104" y="64"/>
                    </a:lnTo>
                    <a:lnTo>
                      <a:pt x="100" y="64"/>
                    </a:lnTo>
                    <a:lnTo>
                      <a:pt x="91" y="59"/>
                    </a:lnTo>
                    <a:lnTo>
                      <a:pt x="88" y="61"/>
                    </a:lnTo>
                    <a:lnTo>
                      <a:pt x="86" y="64"/>
                    </a:lnTo>
                    <a:lnTo>
                      <a:pt x="85" y="68"/>
                    </a:lnTo>
                    <a:lnTo>
                      <a:pt x="73" y="68"/>
                    </a:lnTo>
                    <a:lnTo>
                      <a:pt x="67" y="69"/>
                    </a:lnTo>
                    <a:lnTo>
                      <a:pt x="64" y="71"/>
                    </a:lnTo>
                    <a:lnTo>
                      <a:pt x="66" y="74"/>
                    </a:lnTo>
                    <a:lnTo>
                      <a:pt x="67" y="78"/>
                    </a:lnTo>
                    <a:lnTo>
                      <a:pt x="69" y="81"/>
                    </a:lnTo>
                    <a:lnTo>
                      <a:pt x="57" y="80"/>
                    </a:lnTo>
                    <a:lnTo>
                      <a:pt x="43" y="78"/>
                    </a:lnTo>
                    <a:lnTo>
                      <a:pt x="28" y="71"/>
                    </a:lnTo>
                    <a:lnTo>
                      <a:pt x="12" y="66"/>
                    </a:lnTo>
                    <a:lnTo>
                      <a:pt x="9" y="62"/>
                    </a:lnTo>
                    <a:lnTo>
                      <a:pt x="5" y="59"/>
                    </a:lnTo>
                    <a:lnTo>
                      <a:pt x="2" y="59"/>
                    </a:lnTo>
                    <a:lnTo>
                      <a:pt x="0" y="59"/>
                    </a:lnTo>
                    <a:lnTo>
                      <a:pt x="0" y="279"/>
                    </a:lnTo>
                    <a:lnTo>
                      <a:pt x="4" y="279"/>
                    </a:lnTo>
                    <a:lnTo>
                      <a:pt x="12" y="281"/>
                    </a:lnTo>
                    <a:lnTo>
                      <a:pt x="19" y="281"/>
                    </a:lnTo>
                    <a:lnTo>
                      <a:pt x="28" y="286"/>
                    </a:lnTo>
                    <a:lnTo>
                      <a:pt x="31" y="291"/>
                    </a:lnTo>
                    <a:lnTo>
                      <a:pt x="38" y="298"/>
                    </a:lnTo>
                    <a:lnTo>
                      <a:pt x="45" y="303"/>
                    </a:lnTo>
                    <a:lnTo>
                      <a:pt x="54" y="307"/>
                    </a:lnTo>
                    <a:lnTo>
                      <a:pt x="61" y="300"/>
                    </a:lnTo>
                    <a:lnTo>
                      <a:pt x="67" y="295"/>
                    </a:lnTo>
                    <a:lnTo>
                      <a:pt x="71" y="293"/>
                    </a:lnTo>
                    <a:lnTo>
                      <a:pt x="78" y="291"/>
                    </a:lnTo>
                    <a:lnTo>
                      <a:pt x="86" y="300"/>
                    </a:lnTo>
                    <a:lnTo>
                      <a:pt x="95" y="308"/>
                    </a:lnTo>
                    <a:lnTo>
                      <a:pt x="102" y="319"/>
                    </a:lnTo>
                    <a:lnTo>
                      <a:pt x="112" y="332"/>
                    </a:lnTo>
                    <a:lnTo>
                      <a:pt x="116" y="334"/>
                    </a:lnTo>
                    <a:lnTo>
                      <a:pt x="119" y="339"/>
                    </a:lnTo>
                    <a:lnTo>
                      <a:pt x="122" y="348"/>
                    </a:lnTo>
                    <a:lnTo>
                      <a:pt x="129" y="358"/>
                    </a:lnTo>
                    <a:lnTo>
                      <a:pt x="134" y="360"/>
                    </a:lnTo>
                    <a:lnTo>
                      <a:pt x="141" y="363"/>
                    </a:lnTo>
                    <a:lnTo>
                      <a:pt x="150" y="370"/>
                    </a:lnTo>
                    <a:lnTo>
                      <a:pt x="155" y="382"/>
                    </a:lnTo>
                    <a:lnTo>
                      <a:pt x="152" y="387"/>
                    </a:lnTo>
                    <a:lnTo>
                      <a:pt x="148" y="393"/>
                    </a:lnTo>
                    <a:lnTo>
                      <a:pt x="148" y="394"/>
                    </a:lnTo>
                    <a:lnTo>
                      <a:pt x="150" y="399"/>
                    </a:lnTo>
                    <a:lnTo>
                      <a:pt x="148" y="405"/>
                    </a:lnTo>
                    <a:lnTo>
                      <a:pt x="150" y="411"/>
                    </a:lnTo>
                    <a:lnTo>
                      <a:pt x="150" y="417"/>
                    </a:lnTo>
                    <a:lnTo>
                      <a:pt x="157" y="422"/>
                    </a:lnTo>
                    <a:lnTo>
                      <a:pt x="162" y="422"/>
                    </a:lnTo>
                    <a:lnTo>
                      <a:pt x="167" y="425"/>
                    </a:lnTo>
                    <a:lnTo>
                      <a:pt x="169" y="432"/>
                    </a:lnTo>
                    <a:lnTo>
                      <a:pt x="172" y="441"/>
                    </a:lnTo>
                    <a:lnTo>
                      <a:pt x="174" y="441"/>
                    </a:lnTo>
                    <a:lnTo>
                      <a:pt x="179" y="444"/>
                    </a:lnTo>
                    <a:lnTo>
                      <a:pt x="183" y="448"/>
                    </a:lnTo>
                    <a:lnTo>
                      <a:pt x="186" y="451"/>
                    </a:lnTo>
                    <a:lnTo>
                      <a:pt x="188" y="458"/>
                    </a:lnTo>
                    <a:lnTo>
                      <a:pt x="191" y="466"/>
                    </a:lnTo>
                    <a:lnTo>
                      <a:pt x="196" y="472"/>
                    </a:lnTo>
                    <a:lnTo>
                      <a:pt x="208" y="475"/>
                    </a:lnTo>
                    <a:lnTo>
                      <a:pt x="210" y="479"/>
                    </a:lnTo>
                    <a:lnTo>
                      <a:pt x="219" y="482"/>
                    </a:lnTo>
                    <a:lnTo>
                      <a:pt x="226" y="484"/>
                    </a:lnTo>
                    <a:lnTo>
                      <a:pt x="232" y="492"/>
                    </a:lnTo>
                    <a:lnTo>
                      <a:pt x="239" y="497"/>
                    </a:lnTo>
                    <a:lnTo>
                      <a:pt x="251" y="504"/>
                    </a:lnTo>
                    <a:lnTo>
                      <a:pt x="253" y="504"/>
                    </a:lnTo>
                    <a:lnTo>
                      <a:pt x="257" y="506"/>
                    </a:lnTo>
                    <a:lnTo>
                      <a:pt x="662" y="506"/>
                    </a:lnTo>
                    <a:lnTo>
                      <a:pt x="662" y="501"/>
                    </a:lnTo>
                    <a:lnTo>
                      <a:pt x="669" y="506"/>
                    </a:lnTo>
                    <a:lnTo>
                      <a:pt x="676" y="513"/>
                    </a:lnTo>
                    <a:lnTo>
                      <a:pt x="700" y="513"/>
                    </a:lnTo>
                    <a:lnTo>
                      <a:pt x="707" y="518"/>
                    </a:lnTo>
                    <a:lnTo>
                      <a:pt x="718" y="521"/>
                    </a:lnTo>
                    <a:lnTo>
                      <a:pt x="728" y="521"/>
                    </a:lnTo>
                    <a:lnTo>
                      <a:pt x="743" y="523"/>
                    </a:lnTo>
                    <a:lnTo>
                      <a:pt x="748" y="521"/>
                    </a:lnTo>
                    <a:lnTo>
                      <a:pt x="755" y="521"/>
                    </a:lnTo>
                    <a:lnTo>
                      <a:pt x="759" y="513"/>
                    </a:lnTo>
                    <a:lnTo>
                      <a:pt x="764" y="509"/>
                    </a:lnTo>
                    <a:lnTo>
                      <a:pt x="771" y="515"/>
                    </a:lnTo>
                    <a:lnTo>
                      <a:pt x="776" y="521"/>
                    </a:lnTo>
                    <a:lnTo>
                      <a:pt x="776" y="516"/>
                    </a:lnTo>
                    <a:lnTo>
                      <a:pt x="778" y="515"/>
                    </a:lnTo>
                    <a:lnTo>
                      <a:pt x="781" y="515"/>
                    </a:lnTo>
                    <a:lnTo>
                      <a:pt x="785" y="516"/>
                    </a:lnTo>
                    <a:lnTo>
                      <a:pt x="793" y="523"/>
                    </a:lnTo>
                    <a:lnTo>
                      <a:pt x="802" y="528"/>
                    </a:lnTo>
                    <a:lnTo>
                      <a:pt x="807" y="534"/>
                    </a:lnTo>
                    <a:lnTo>
                      <a:pt x="807" y="540"/>
                    </a:lnTo>
                    <a:lnTo>
                      <a:pt x="810" y="549"/>
                    </a:lnTo>
                    <a:lnTo>
                      <a:pt x="819" y="554"/>
                    </a:lnTo>
                    <a:lnTo>
                      <a:pt x="829" y="558"/>
                    </a:lnTo>
                    <a:lnTo>
                      <a:pt x="840" y="559"/>
                    </a:lnTo>
                    <a:lnTo>
                      <a:pt x="850" y="566"/>
                    </a:lnTo>
                    <a:lnTo>
                      <a:pt x="864" y="566"/>
                    </a:lnTo>
                    <a:lnTo>
                      <a:pt x="872" y="571"/>
                    </a:lnTo>
                    <a:lnTo>
                      <a:pt x="877" y="583"/>
                    </a:lnTo>
                    <a:lnTo>
                      <a:pt x="876" y="587"/>
                    </a:lnTo>
                    <a:lnTo>
                      <a:pt x="872" y="589"/>
                    </a:lnTo>
                    <a:lnTo>
                      <a:pt x="862" y="583"/>
                    </a:lnTo>
                    <a:lnTo>
                      <a:pt x="859" y="580"/>
                    </a:lnTo>
                    <a:lnTo>
                      <a:pt x="855" y="587"/>
                    </a:lnTo>
                    <a:lnTo>
                      <a:pt x="853" y="599"/>
                    </a:lnTo>
                    <a:lnTo>
                      <a:pt x="848" y="607"/>
                    </a:lnTo>
                    <a:lnTo>
                      <a:pt x="845" y="613"/>
                    </a:lnTo>
                    <a:lnTo>
                      <a:pt x="836" y="621"/>
                    </a:lnTo>
                    <a:lnTo>
                      <a:pt x="833" y="630"/>
                    </a:lnTo>
                    <a:lnTo>
                      <a:pt x="836" y="633"/>
                    </a:lnTo>
                    <a:lnTo>
                      <a:pt x="841" y="637"/>
                    </a:lnTo>
                    <a:lnTo>
                      <a:pt x="845" y="633"/>
                    </a:lnTo>
                    <a:lnTo>
                      <a:pt x="848" y="632"/>
                    </a:lnTo>
                    <a:lnTo>
                      <a:pt x="855" y="626"/>
                    </a:lnTo>
                    <a:lnTo>
                      <a:pt x="867" y="626"/>
                    </a:lnTo>
                    <a:lnTo>
                      <a:pt x="874" y="626"/>
                    </a:lnTo>
                    <a:lnTo>
                      <a:pt x="879" y="628"/>
                    </a:lnTo>
                    <a:lnTo>
                      <a:pt x="883" y="626"/>
                    </a:lnTo>
                    <a:lnTo>
                      <a:pt x="888" y="625"/>
                    </a:lnTo>
                    <a:lnTo>
                      <a:pt x="886" y="620"/>
                    </a:lnTo>
                    <a:lnTo>
                      <a:pt x="884" y="616"/>
                    </a:lnTo>
                    <a:lnTo>
                      <a:pt x="883" y="613"/>
                    </a:lnTo>
                    <a:lnTo>
                      <a:pt x="881" y="611"/>
                    </a:lnTo>
                    <a:lnTo>
                      <a:pt x="883" y="607"/>
                    </a:lnTo>
                    <a:lnTo>
                      <a:pt x="888" y="607"/>
                    </a:lnTo>
                    <a:lnTo>
                      <a:pt x="896" y="604"/>
                    </a:lnTo>
                    <a:lnTo>
                      <a:pt x="912" y="601"/>
                    </a:lnTo>
                    <a:lnTo>
                      <a:pt x="924" y="597"/>
                    </a:lnTo>
                    <a:lnTo>
                      <a:pt x="936" y="597"/>
                    </a:lnTo>
                    <a:lnTo>
                      <a:pt x="938" y="594"/>
                    </a:lnTo>
                    <a:lnTo>
                      <a:pt x="946" y="587"/>
                    </a:lnTo>
                    <a:lnTo>
                      <a:pt x="953" y="578"/>
                    </a:lnTo>
                    <a:lnTo>
                      <a:pt x="958" y="577"/>
                    </a:lnTo>
                    <a:lnTo>
                      <a:pt x="969" y="575"/>
                    </a:lnTo>
                    <a:lnTo>
                      <a:pt x="986" y="575"/>
                    </a:lnTo>
                    <a:lnTo>
                      <a:pt x="991" y="575"/>
                    </a:lnTo>
                    <a:lnTo>
                      <a:pt x="998" y="575"/>
                    </a:lnTo>
                    <a:lnTo>
                      <a:pt x="1003" y="573"/>
                    </a:lnTo>
                    <a:lnTo>
                      <a:pt x="1010" y="573"/>
                    </a:lnTo>
                    <a:lnTo>
                      <a:pt x="1013" y="571"/>
                    </a:lnTo>
                    <a:lnTo>
                      <a:pt x="1017" y="568"/>
                    </a:lnTo>
                    <a:lnTo>
                      <a:pt x="1020" y="559"/>
                    </a:lnTo>
                    <a:lnTo>
                      <a:pt x="1025" y="551"/>
                    </a:lnTo>
                    <a:lnTo>
                      <a:pt x="1029" y="540"/>
                    </a:lnTo>
                    <a:lnTo>
                      <a:pt x="1037" y="534"/>
                    </a:lnTo>
                    <a:lnTo>
                      <a:pt x="1048" y="535"/>
                    </a:lnTo>
                    <a:lnTo>
                      <a:pt x="1058" y="537"/>
                    </a:lnTo>
                    <a:lnTo>
                      <a:pt x="1060" y="547"/>
                    </a:lnTo>
                    <a:lnTo>
                      <a:pt x="1062" y="558"/>
                    </a:lnTo>
                    <a:lnTo>
                      <a:pt x="1062" y="568"/>
                    </a:lnTo>
                    <a:lnTo>
                      <a:pt x="1067" y="580"/>
                    </a:lnTo>
                    <a:lnTo>
                      <a:pt x="1067" y="5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2" name="Freeform 299"/>
              <p:cNvSpPr>
                <a:spLocks/>
              </p:cNvSpPr>
              <p:nvPr/>
            </p:nvSpPr>
            <p:spPr bwMode="auto">
              <a:xfrm>
                <a:off x="473869" y="2020888"/>
                <a:ext cx="857250" cy="614362"/>
              </a:xfrm>
              <a:custGeom>
                <a:avLst/>
                <a:gdLst/>
                <a:ahLst/>
                <a:cxnLst>
                  <a:cxn ang="0">
                    <a:pos x="397" y="263"/>
                  </a:cxn>
                  <a:cxn ang="0">
                    <a:pos x="423" y="280"/>
                  </a:cxn>
                  <a:cxn ang="0">
                    <a:pos x="452" y="277"/>
                  </a:cxn>
                  <a:cxn ang="0">
                    <a:pos x="480" y="290"/>
                  </a:cxn>
                  <a:cxn ang="0">
                    <a:pos x="504" y="321"/>
                  </a:cxn>
                  <a:cxn ang="0">
                    <a:pos x="526" y="345"/>
                  </a:cxn>
                  <a:cxn ang="0">
                    <a:pos x="533" y="375"/>
                  </a:cxn>
                  <a:cxn ang="0">
                    <a:pos x="513" y="368"/>
                  </a:cxn>
                  <a:cxn ang="0">
                    <a:pos x="506" y="352"/>
                  </a:cxn>
                  <a:cxn ang="0">
                    <a:pos x="482" y="337"/>
                  </a:cxn>
                  <a:cxn ang="0">
                    <a:pos x="490" y="321"/>
                  </a:cxn>
                  <a:cxn ang="0">
                    <a:pos x="468" y="321"/>
                  </a:cxn>
                  <a:cxn ang="0">
                    <a:pos x="464" y="306"/>
                  </a:cxn>
                  <a:cxn ang="0">
                    <a:pos x="442" y="307"/>
                  </a:cxn>
                  <a:cxn ang="0">
                    <a:pos x="418" y="289"/>
                  </a:cxn>
                  <a:cxn ang="0">
                    <a:pos x="372" y="271"/>
                  </a:cxn>
                  <a:cxn ang="0">
                    <a:pos x="303" y="254"/>
                  </a:cxn>
                  <a:cxn ang="0">
                    <a:pos x="277" y="256"/>
                  </a:cxn>
                  <a:cxn ang="0">
                    <a:pos x="241" y="285"/>
                  </a:cxn>
                  <a:cxn ang="0">
                    <a:pos x="225" y="282"/>
                  </a:cxn>
                  <a:cxn ang="0">
                    <a:pos x="229" y="264"/>
                  </a:cxn>
                  <a:cxn ang="0">
                    <a:pos x="251" y="247"/>
                  </a:cxn>
                  <a:cxn ang="0">
                    <a:pos x="231" y="249"/>
                  </a:cxn>
                  <a:cxn ang="0">
                    <a:pos x="200" y="294"/>
                  </a:cxn>
                  <a:cxn ang="0">
                    <a:pos x="169" y="323"/>
                  </a:cxn>
                  <a:cxn ang="0">
                    <a:pos x="138" y="347"/>
                  </a:cxn>
                  <a:cxn ang="0">
                    <a:pos x="100" y="366"/>
                  </a:cxn>
                  <a:cxn ang="0">
                    <a:pos x="53" y="385"/>
                  </a:cxn>
                  <a:cxn ang="0">
                    <a:pos x="72" y="368"/>
                  </a:cxn>
                  <a:cxn ang="0">
                    <a:pos x="112" y="342"/>
                  </a:cxn>
                  <a:cxn ang="0">
                    <a:pos x="151" y="316"/>
                  </a:cxn>
                  <a:cxn ang="0">
                    <a:pos x="162" y="294"/>
                  </a:cxn>
                  <a:cxn ang="0">
                    <a:pos x="131" y="295"/>
                  </a:cxn>
                  <a:cxn ang="0">
                    <a:pos x="112" y="297"/>
                  </a:cxn>
                  <a:cxn ang="0">
                    <a:pos x="102" y="299"/>
                  </a:cxn>
                  <a:cxn ang="0">
                    <a:pos x="83" y="297"/>
                  </a:cxn>
                  <a:cxn ang="0">
                    <a:pos x="81" y="275"/>
                  </a:cxn>
                  <a:cxn ang="0">
                    <a:pos x="60" y="277"/>
                  </a:cxn>
                  <a:cxn ang="0">
                    <a:pos x="38" y="256"/>
                  </a:cxn>
                  <a:cxn ang="0">
                    <a:pos x="24" y="239"/>
                  </a:cxn>
                  <a:cxn ang="0">
                    <a:pos x="48" y="206"/>
                  </a:cxn>
                  <a:cxn ang="0">
                    <a:pos x="93" y="191"/>
                  </a:cxn>
                  <a:cxn ang="0">
                    <a:pos x="95" y="170"/>
                  </a:cxn>
                  <a:cxn ang="0">
                    <a:pos x="89" y="166"/>
                  </a:cxn>
                  <a:cxn ang="0">
                    <a:pos x="46" y="170"/>
                  </a:cxn>
                  <a:cxn ang="0">
                    <a:pos x="14" y="156"/>
                  </a:cxn>
                  <a:cxn ang="0">
                    <a:pos x="0" y="144"/>
                  </a:cxn>
                  <a:cxn ang="0">
                    <a:pos x="46" y="122"/>
                  </a:cxn>
                  <a:cxn ang="0">
                    <a:pos x="65" y="132"/>
                  </a:cxn>
                  <a:cxn ang="0">
                    <a:pos x="81" y="122"/>
                  </a:cxn>
                  <a:cxn ang="0">
                    <a:pos x="52" y="103"/>
                  </a:cxn>
                  <a:cxn ang="0">
                    <a:pos x="33" y="84"/>
                  </a:cxn>
                  <a:cxn ang="0">
                    <a:pos x="19" y="70"/>
                  </a:cxn>
                  <a:cxn ang="0">
                    <a:pos x="77" y="34"/>
                  </a:cxn>
                  <a:cxn ang="0">
                    <a:pos x="115" y="15"/>
                  </a:cxn>
                  <a:cxn ang="0">
                    <a:pos x="157" y="0"/>
                  </a:cxn>
                  <a:cxn ang="0">
                    <a:pos x="167" y="13"/>
                  </a:cxn>
                  <a:cxn ang="0">
                    <a:pos x="193" y="12"/>
                  </a:cxn>
                  <a:cxn ang="0">
                    <a:pos x="272" y="22"/>
                  </a:cxn>
                  <a:cxn ang="0">
                    <a:pos x="329" y="36"/>
                  </a:cxn>
                  <a:cxn ang="0">
                    <a:pos x="368" y="34"/>
                  </a:cxn>
                  <a:cxn ang="0">
                    <a:pos x="385" y="41"/>
                  </a:cxn>
                </a:cxnLst>
                <a:rect l="0" t="0" r="r" b="b"/>
                <a:pathLst>
                  <a:path w="540" h="387">
                    <a:moveTo>
                      <a:pt x="385" y="41"/>
                    </a:moveTo>
                    <a:lnTo>
                      <a:pt x="385" y="261"/>
                    </a:lnTo>
                    <a:lnTo>
                      <a:pt x="389" y="261"/>
                    </a:lnTo>
                    <a:lnTo>
                      <a:pt x="397" y="263"/>
                    </a:lnTo>
                    <a:lnTo>
                      <a:pt x="404" y="263"/>
                    </a:lnTo>
                    <a:lnTo>
                      <a:pt x="413" y="268"/>
                    </a:lnTo>
                    <a:lnTo>
                      <a:pt x="416" y="273"/>
                    </a:lnTo>
                    <a:lnTo>
                      <a:pt x="423" y="280"/>
                    </a:lnTo>
                    <a:lnTo>
                      <a:pt x="430" y="285"/>
                    </a:lnTo>
                    <a:lnTo>
                      <a:pt x="439" y="289"/>
                    </a:lnTo>
                    <a:lnTo>
                      <a:pt x="446" y="282"/>
                    </a:lnTo>
                    <a:lnTo>
                      <a:pt x="452" y="277"/>
                    </a:lnTo>
                    <a:lnTo>
                      <a:pt x="456" y="275"/>
                    </a:lnTo>
                    <a:lnTo>
                      <a:pt x="463" y="273"/>
                    </a:lnTo>
                    <a:lnTo>
                      <a:pt x="471" y="282"/>
                    </a:lnTo>
                    <a:lnTo>
                      <a:pt x="480" y="290"/>
                    </a:lnTo>
                    <a:lnTo>
                      <a:pt x="487" y="301"/>
                    </a:lnTo>
                    <a:lnTo>
                      <a:pt x="497" y="314"/>
                    </a:lnTo>
                    <a:lnTo>
                      <a:pt x="501" y="316"/>
                    </a:lnTo>
                    <a:lnTo>
                      <a:pt x="504" y="321"/>
                    </a:lnTo>
                    <a:lnTo>
                      <a:pt x="507" y="330"/>
                    </a:lnTo>
                    <a:lnTo>
                      <a:pt x="514" y="340"/>
                    </a:lnTo>
                    <a:lnTo>
                      <a:pt x="519" y="342"/>
                    </a:lnTo>
                    <a:lnTo>
                      <a:pt x="526" y="345"/>
                    </a:lnTo>
                    <a:lnTo>
                      <a:pt x="535" y="352"/>
                    </a:lnTo>
                    <a:lnTo>
                      <a:pt x="540" y="364"/>
                    </a:lnTo>
                    <a:lnTo>
                      <a:pt x="537" y="369"/>
                    </a:lnTo>
                    <a:lnTo>
                      <a:pt x="533" y="375"/>
                    </a:lnTo>
                    <a:lnTo>
                      <a:pt x="530" y="375"/>
                    </a:lnTo>
                    <a:lnTo>
                      <a:pt x="528" y="375"/>
                    </a:lnTo>
                    <a:lnTo>
                      <a:pt x="519" y="371"/>
                    </a:lnTo>
                    <a:lnTo>
                      <a:pt x="513" y="368"/>
                    </a:lnTo>
                    <a:lnTo>
                      <a:pt x="507" y="362"/>
                    </a:lnTo>
                    <a:lnTo>
                      <a:pt x="506" y="359"/>
                    </a:lnTo>
                    <a:lnTo>
                      <a:pt x="506" y="356"/>
                    </a:lnTo>
                    <a:lnTo>
                      <a:pt x="506" y="352"/>
                    </a:lnTo>
                    <a:lnTo>
                      <a:pt x="501" y="344"/>
                    </a:lnTo>
                    <a:lnTo>
                      <a:pt x="492" y="344"/>
                    </a:lnTo>
                    <a:lnTo>
                      <a:pt x="483" y="340"/>
                    </a:lnTo>
                    <a:lnTo>
                      <a:pt x="482" y="337"/>
                    </a:lnTo>
                    <a:lnTo>
                      <a:pt x="485" y="332"/>
                    </a:lnTo>
                    <a:lnTo>
                      <a:pt x="490" y="328"/>
                    </a:lnTo>
                    <a:lnTo>
                      <a:pt x="490" y="323"/>
                    </a:lnTo>
                    <a:lnTo>
                      <a:pt x="490" y="321"/>
                    </a:lnTo>
                    <a:lnTo>
                      <a:pt x="482" y="325"/>
                    </a:lnTo>
                    <a:lnTo>
                      <a:pt x="476" y="328"/>
                    </a:lnTo>
                    <a:lnTo>
                      <a:pt x="471" y="325"/>
                    </a:lnTo>
                    <a:lnTo>
                      <a:pt x="468" y="321"/>
                    </a:lnTo>
                    <a:lnTo>
                      <a:pt x="470" y="313"/>
                    </a:lnTo>
                    <a:lnTo>
                      <a:pt x="473" y="309"/>
                    </a:lnTo>
                    <a:lnTo>
                      <a:pt x="468" y="304"/>
                    </a:lnTo>
                    <a:lnTo>
                      <a:pt x="464" y="306"/>
                    </a:lnTo>
                    <a:lnTo>
                      <a:pt x="454" y="302"/>
                    </a:lnTo>
                    <a:lnTo>
                      <a:pt x="449" y="299"/>
                    </a:lnTo>
                    <a:lnTo>
                      <a:pt x="446" y="304"/>
                    </a:lnTo>
                    <a:lnTo>
                      <a:pt x="442" y="307"/>
                    </a:lnTo>
                    <a:lnTo>
                      <a:pt x="432" y="304"/>
                    </a:lnTo>
                    <a:lnTo>
                      <a:pt x="427" y="299"/>
                    </a:lnTo>
                    <a:lnTo>
                      <a:pt x="421" y="292"/>
                    </a:lnTo>
                    <a:lnTo>
                      <a:pt x="418" y="289"/>
                    </a:lnTo>
                    <a:lnTo>
                      <a:pt x="406" y="282"/>
                    </a:lnTo>
                    <a:lnTo>
                      <a:pt x="394" y="278"/>
                    </a:lnTo>
                    <a:lnTo>
                      <a:pt x="382" y="275"/>
                    </a:lnTo>
                    <a:lnTo>
                      <a:pt x="372" y="271"/>
                    </a:lnTo>
                    <a:lnTo>
                      <a:pt x="344" y="271"/>
                    </a:lnTo>
                    <a:lnTo>
                      <a:pt x="330" y="266"/>
                    </a:lnTo>
                    <a:lnTo>
                      <a:pt x="317" y="261"/>
                    </a:lnTo>
                    <a:lnTo>
                      <a:pt x="303" y="254"/>
                    </a:lnTo>
                    <a:lnTo>
                      <a:pt x="296" y="246"/>
                    </a:lnTo>
                    <a:lnTo>
                      <a:pt x="286" y="249"/>
                    </a:lnTo>
                    <a:lnTo>
                      <a:pt x="275" y="252"/>
                    </a:lnTo>
                    <a:lnTo>
                      <a:pt x="277" y="256"/>
                    </a:lnTo>
                    <a:lnTo>
                      <a:pt x="280" y="259"/>
                    </a:lnTo>
                    <a:lnTo>
                      <a:pt x="270" y="268"/>
                    </a:lnTo>
                    <a:lnTo>
                      <a:pt x="256" y="277"/>
                    </a:lnTo>
                    <a:lnTo>
                      <a:pt x="241" y="285"/>
                    </a:lnTo>
                    <a:lnTo>
                      <a:pt x="231" y="289"/>
                    </a:lnTo>
                    <a:lnTo>
                      <a:pt x="225" y="287"/>
                    </a:lnTo>
                    <a:lnTo>
                      <a:pt x="225" y="285"/>
                    </a:lnTo>
                    <a:lnTo>
                      <a:pt x="225" y="282"/>
                    </a:lnTo>
                    <a:lnTo>
                      <a:pt x="229" y="280"/>
                    </a:lnTo>
                    <a:lnTo>
                      <a:pt x="227" y="277"/>
                    </a:lnTo>
                    <a:lnTo>
                      <a:pt x="229" y="275"/>
                    </a:lnTo>
                    <a:lnTo>
                      <a:pt x="229" y="264"/>
                    </a:lnTo>
                    <a:lnTo>
                      <a:pt x="234" y="259"/>
                    </a:lnTo>
                    <a:lnTo>
                      <a:pt x="239" y="252"/>
                    </a:lnTo>
                    <a:lnTo>
                      <a:pt x="251" y="251"/>
                    </a:lnTo>
                    <a:lnTo>
                      <a:pt x="251" y="247"/>
                    </a:lnTo>
                    <a:lnTo>
                      <a:pt x="251" y="246"/>
                    </a:lnTo>
                    <a:lnTo>
                      <a:pt x="246" y="246"/>
                    </a:lnTo>
                    <a:lnTo>
                      <a:pt x="244" y="246"/>
                    </a:lnTo>
                    <a:lnTo>
                      <a:pt x="231" y="249"/>
                    </a:lnTo>
                    <a:lnTo>
                      <a:pt x="217" y="261"/>
                    </a:lnTo>
                    <a:lnTo>
                      <a:pt x="203" y="275"/>
                    </a:lnTo>
                    <a:lnTo>
                      <a:pt x="200" y="290"/>
                    </a:lnTo>
                    <a:lnTo>
                      <a:pt x="200" y="294"/>
                    </a:lnTo>
                    <a:lnTo>
                      <a:pt x="200" y="297"/>
                    </a:lnTo>
                    <a:lnTo>
                      <a:pt x="193" y="309"/>
                    </a:lnTo>
                    <a:lnTo>
                      <a:pt x="177" y="318"/>
                    </a:lnTo>
                    <a:lnTo>
                      <a:pt x="169" y="323"/>
                    </a:lnTo>
                    <a:lnTo>
                      <a:pt x="163" y="330"/>
                    </a:lnTo>
                    <a:lnTo>
                      <a:pt x="155" y="335"/>
                    </a:lnTo>
                    <a:lnTo>
                      <a:pt x="146" y="342"/>
                    </a:lnTo>
                    <a:lnTo>
                      <a:pt x="138" y="347"/>
                    </a:lnTo>
                    <a:lnTo>
                      <a:pt x="131" y="354"/>
                    </a:lnTo>
                    <a:lnTo>
                      <a:pt x="122" y="357"/>
                    </a:lnTo>
                    <a:lnTo>
                      <a:pt x="112" y="362"/>
                    </a:lnTo>
                    <a:lnTo>
                      <a:pt x="100" y="366"/>
                    </a:lnTo>
                    <a:lnTo>
                      <a:pt x="89" y="369"/>
                    </a:lnTo>
                    <a:lnTo>
                      <a:pt x="77" y="373"/>
                    </a:lnTo>
                    <a:lnTo>
                      <a:pt x="65" y="380"/>
                    </a:lnTo>
                    <a:lnTo>
                      <a:pt x="53" y="385"/>
                    </a:lnTo>
                    <a:lnTo>
                      <a:pt x="41" y="387"/>
                    </a:lnTo>
                    <a:lnTo>
                      <a:pt x="52" y="378"/>
                    </a:lnTo>
                    <a:lnTo>
                      <a:pt x="65" y="376"/>
                    </a:lnTo>
                    <a:lnTo>
                      <a:pt x="72" y="368"/>
                    </a:lnTo>
                    <a:lnTo>
                      <a:pt x="81" y="359"/>
                    </a:lnTo>
                    <a:lnTo>
                      <a:pt x="93" y="356"/>
                    </a:lnTo>
                    <a:lnTo>
                      <a:pt x="105" y="352"/>
                    </a:lnTo>
                    <a:lnTo>
                      <a:pt x="112" y="342"/>
                    </a:lnTo>
                    <a:lnTo>
                      <a:pt x="124" y="335"/>
                    </a:lnTo>
                    <a:lnTo>
                      <a:pt x="134" y="330"/>
                    </a:lnTo>
                    <a:lnTo>
                      <a:pt x="146" y="325"/>
                    </a:lnTo>
                    <a:lnTo>
                      <a:pt x="151" y="316"/>
                    </a:lnTo>
                    <a:lnTo>
                      <a:pt x="158" y="307"/>
                    </a:lnTo>
                    <a:lnTo>
                      <a:pt x="162" y="299"/>
                    </a:lnTo>
                    <a:lnTo>
                      <a:pt x="170" y="294"/>
                    </a:lnTo>
                    <a:lnTo>
                      <a:pt x="162" y="294"/>
                    </a:lnTo>
                    <a:lnTo>
                      <a:pt x="153" y="297"/>
                    </a:lnTo>
                    <a:lnTo>
                      <a:pt x="145" y="301"/>
                    </a:lnTo>
                    <a:lnTo>
                      <a:pt x="136" y="297"/>
                    </a:lnTo>
                    <a:lnTo>
                      <a:pt x="131" y="295"/>
                    </a:lnTo>
                    <a:lnTo>
                      <a:pt x="127" y="301"/>
                    </a:lnTo>
                    <a:lnTo>
                      <a:pt x="127" y="306"/>
                    </a:lnTo>
                    <a:lnTo>
                      <a:pt x="117" y="301"/>
                    </a:lnTo>
                    <a:lnTo>
                      <a:pt x="112" y="297"/>
                    </a:lnTo>
                    <a:lnTo>
                      <a:pt x="107" y="294"/>
                    </a:lnTo>
                    <a:lnTo>
                      <a:pt x="102" y="290"/>
                    </a:lnTo>
                    <a:lnTo>
                      <a:pt x="102" y="294"/>
                    </a:lnTo>
                    <a:lnTo>
                      <a:pt x="102" y="299"/>
                    </a:lnTo>
                    <a:lnTo>
                      <a:pt x="96" y="299"/>
                    </a:lnTo>
                    <a:lnTo>
                      <a:pt x="91" y="301"/>
                    </a:lnTo>
                    <a:lnTo>
                      <a:pt x="88" y="302"/>
                    </a:lnTo>
                    <a:lnTo>
                      <a:pt x="83" y="297"/>
                    </a:lnTo>
                    <a:lnTo>
                      <a:pt x="83" y="290"/>
                    </a:lnTo>
                    <a:lnTo>
                      <a:pt x="83" y="283"/>
                    </a:lnTo>
                    <a:lnTo>
                      <a:pt x="83" y="280"/>
                    </a:lnTo>
                    <a:lnTo>
                      <a:pt x="81" y="275"/>
                    </a:lnTo>
                    <a:lnTo>
                      <a:pt x="79" y="273"/>
                    </a:lnTo>
                    <a:lnTo>
                      <a:pt x="72" y="277"/>
                    </a:lnTo>
                    <a:lnTo>
                      <a:pt x="69" y="280"/>
                    </a:lnTo>
                    <a:lnTo>
                      <a:pt x="60" y="277"/>
                    </a:lnTo>
                    <a:lnTo>
                      <a:pt x="50" y="270"/>
                    </a:lnTo>
                    <a:lnTo>
                      <a:pt x="40" y="261"/>
                    </a:lnTo>
                    <a:lnTo>
                      <a:pt x="34" y="258"/>
                    </a:lnTo>
                    <a:lnTo>
                      <a:pt x="38" y="256"/>
                    </a:lnTo>
                    <a:lnTo>
                      <a:pt x="41" y="256"/>
                    </a:lnTo>
                    <a:lnTo>
                      <a:pt x="36" y="249"/>
                    </a:lnTo>
                    <a:lnTo>
                      <a:pt x="29" y="244"/>
                    </a:lnTo>
                    <a:lnTo>
                      <a:pt x="24" y="239"/>
                    </a:lnTo>
                    <a:lnTo>
                      <a:pt x="22" y="234"/>
                    </a:lnTo>
                    <a:lnTo>
                      <a:pt x="26" y="221"/>
                    </a:lnTo>
                    <a:lnTo>
                      <a:pt x="36" y="213"/>
                    </a:lnTo>
                    <a:lnTo>
                      <a:pt x="48" y="206"/>
                    </a:lnTo>
                    <a:lnTo>
                      <a:pt x="60" y="206"/>
                    </a:lnTo>
                    <a:lnTo>
                      <a:pt x="67" y="203"/>
                    </a:lnTo>
                    <a:lnTo>
                      <a:pt x="81" y="197"/>
                    </a:lnTo>
                    <a:lnTo>
                      <a:pt x="93" y="191"/>
                    </a:lnTo>
                    <a:lnTo>
                      <a:pt x="100" y="185"/>
                    </a:lnTo>
                    <a:lnTo>
                      <a:pt x="95" y="179"/>
                    </a:lnTo>
                    <a:lnTo>
                      <a:pt x="89" y="173"/>
                    </a:lnTo>
                    <a:lnTo>
                      <a:pt x="95" y="170"/>
                    </a:lnTo>
                    <a:lnTo>
                      <a:pt x="98" y="173"/>
                    </a:lnTo>
                    <a:lnTo>
                      <a:pt x="98" y="166"/>
                    </a:lnTo>
                    <a:lnTo>
                      <a:pt x="93" y="165"/>
                    </a:lnTo>
                    <a:lnTo>
                      <a:pt x="89" y="166"/>
                    </a:lnTo>
                    <a:lnTo>
                      <a:pt x="79" y="170"/>
                    </a:lnTo>
                    <a:lnTo>
                      <a:pt x="69" y="175"/>
                    </a:lnTo>
                    <a:lnTo>
                      <a:pt x="57" y="172"/>
                    </a:lnTo>
                    <a:lnTo>
                      <a:pt x="46" y="170"/>
                    </a:lnTo>
                    <a:lnTo>
                      <a:pt x="31" y="170"/>
                    </a:lnTo>
                    <a:lnTo>
                      <a:pt x="21" y="170"/>
                    </a:lnTo>
                    <a:lnTo>
                      <a:pt x="17" y="161"/>
                    </a:lnTo>
                    <a:lnTo>
                      <a:pt x="14" y="156"/>
                    </a:lnTo>
                    <a:lnTo>
                      <a:pt x="14" y="153"/>
                    </a:lnTo>
                    <a:lnTo>
                      <a:pt x="16" y="151"/>
                    </a:lnTo>
                    <a:lnTo>
                      <a:pt x="5" y="149"/>
                    </a:lnTo>
                    <a:lnTo>
                      <a:pt x="0" y="144"/>
                    </a:lnTo>
                    <a:lnTo>
                      <a:pt x="9" y="137"/>
                    </a:lnTo>
                    <a:lnTo>
                      <a:pt x="22" y="132"/>
                    </a:lnTo>
                    <a:lnTo>
                      <a:pt x="34" y="127"/>
                    </a:lnTo>
                    <a:lnTo>
                      <a:pt x="46" y="122"/>
                    </a:lnTo>
                    <a:lnTo>
                      <a:pt x="55" y="122"/>
                    </a:lnTo>
                    <a:lnTo>
                      <a:pt x="55" y="129"/>
                    </a:lnTo>
                    <a:lnTo>
                      <a:pt x="60" y="132"/>
                    </a:lnTo>
                    <a:lnTo>
                      <a:pt x="65" y="132"/>
                    </a:lnTo>
                    <a:lnTo>
                      <a:pt x="74" y="132"/>
                    </a:lnTo>
                    <a:lnTo>
                      <a:pt x="81" y="132"/>
                    </a:lnTo>
                    <a:lnTo>
                      <a:pt x="88" y="132"/>
                    </a:lnTo>
                    <a:lnTo>
                      <a:pt x="81" y="122"/>
                    </a:lnTo>
                    <a:lnTo>
                      <a:pt x="76" y="117"/>
                    </a:lnTo>
                    <a:lnTo>
                      <a:pt x="65" y="111"/>
                    </a:lnTo>
                    <a:lnTo>
                      <a:pt x="57" y="108"/>
                    </a:lnTo>
                    <a:lnTo>
                      <a:pt x="52" y="103"/>
                    </a:lnTo>
                    <a:lnTo>
                      <a:pt x="48" y="98"/>
                    </a:lnTo>
                    <a:lnTo>
                      <a:pt x="45" y="91"/>
                    </a:lnTo>
                    <a:lnTo>
                      <a:pt x="41" y="87"/>
                    </a:lnTo>
                    <a:lnTo>
                      <a:pt x="33" y="84"/>
                    </a:lnTo>
                    <a:lnTo>
                      <a:pt x="26" y="82"/>
                    </a:lnTo>
                    <a:lnTo>
                      <a:pt x="17" y="79"/>
                    </a:lnTo>
                    <a:lnTo>
                      <a:pt x="16" y="77"/>
                    </a:lnTo>
                    <a:lnTo>
                      <a:pt x="19" y="70"/>
                    </a:lnTo>
                    <a:lnTo>
                      <a:pt x="22" y="63"/>
                    </a:lnTo>
                    <a:lnTo>
                      <a:pt x="52" y="63"/>
                    </a:lnTo>
                    <a:lnTo>
                      <a:pt x="62" y="48"/>
                    </a:lnTo>
                    <a:lnTo>
                      <a:pt x="77" y="34"/>
                    </a:lnTo>
                    <a:lnTo>
                      <a:pt x="86" y="27"/>
                    </a:lnTo>
                    <a:lnTo>
                      <a:pt x="95" y="22"/>
                    </a:lnTo>
                    <a:lnTo>
                      <a:pt x="105" y="17"/>
                    </a:lnTo>
                    <a:lnTo>
                      <a:pt x="115" y="15"/>
                    </a:lnTo>
                    <a:lnTo>
                      <a:pt x="124" y="13"/>
                    </a:lnTo>
                    <a:lnTo>
                      <a:pt x="134" y="13"/>
                    </a:lnTo>
                    <a:lnTo>
                      <a:pt x="145" y="5"/>
                    </a:lnTo>
                    <a:lnTo>
                      <a:pt x="157" y="0"/>
                    </a:lnTo>
                    <a:lnTo>
                      <a:pt x="163" y="1"/>
                    </a:lnTo>
                    <a:lnTo>
                      <a:pt x="172" y="7"/>
                    </a:lnTo>
                    <a:lnTo>
                      <a:pt x="169" y="10"/>
                    </a:lnTo>
                    <a:lnTo>
                      <a:pt x="167" y="13"/>
                    </a:lnTo>
                    <a:lnTo>
                      <a:pt x="174" y="12"/>
                    </a:lnTo>
                    <a:lnTo>
                      <a:pt x="181" y="7"/>
                    </a:lnTo>
                    <a:lnTo>
                      <a:pt x="186" y="8"/>
                    </a:lnTo>
                    <a:lnTo>
                      <a:pt x="193" y="12"/>
                    </a:lnTo>
                    <a:lnTo>
                      <a:pt x="217" y="12"/>
                    </a:lnTo>
                    <a:lnTo>
                      <a:pt x="224" y="17"/>
                    </a:lnTo>
                    <a:lnTo>
                      <a:pt x="232" y="22"/>
                    </a:lnTo>
                    <a:lnTo>
                      <a:pt x="272" y="22"/>
                    </a:lnTo>
                    <a:lnTo>
                      <a:pt x="282" y="27"/>
                    </a:lnTo>
                    <a:lnTo>
                      <a:pt x="298" y="32"/>
                    </a:lnTo>
                    <a:lnTo>
                      <a:pt x="313" y="34"/>
                    </a:lnTo>
                    <a:lnTo>
                      <a:pt x="329" y="36"/>
                    </a:lnTo>
                    <a:lnTo>
                      <a:pt x="341" y="32"/>
                    </a:lnTo>
                    <a:lnTo>
                      <a:pt x="353" y="31"/>
                    </a:lnTo>
                    <a:lnTo>
                      <a:pt x="361" y="31"/>
                    </a:lnTo>
                    <a:lnTo>
                      <a:pt x="368" y="34"/>
                    </a:lnTo>
                    <a:lnTo>
                      <a:pt x="375" y="38"/>
                    </a:lnTo>
                    <a:lnTo>
                      <a:pt x="385" y="41"/>
                    </a:lnTo>
                    <a:lnTo>
                      <a:pt x="385" y="39"/>
                    </a:lnTo>
                    <a:lnTo>
                      <a:pt x="385"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3" name="Freeform 300"/>
              <p:cNvSpPr>
                <a:spLocks/>
              </p:cNvSpPr>
              <p:nvPr/>
            </p:nvSpPr>
            <p:spPr bwMode="auto">
              <a:xfrm>
                <a:off x="1246982" y="2568575"/>
                <a:ext cx="38100" cy="55562"/>
              </a:xfrm>
              <a:custGeom>
                <a:avLst/>
                <a:gdLst/>
                <a:ahLst/>
                <a:cxnLst>
                  <a:cxn ang="0">
                    <a:pos x="10" y="14"/>
                  </a:cxn>
                  <a:cxn ang="0">
                    <a:pos x="3" y="11"/>
                  </a:cxn>
                  <a:cxn ang="0">
                    <a:pos x="0" y="14"/>
                  </a:cxn>
                  <a:cxn ang="0">
                    <a:pos x="0" y="5"/>
                  </a:cxn>
                  <a:cxn ang="0">
                    <a:pos x="2" y="2"/>
                  </a:cxn>
                  <a:cxn ang="0">
                    <a:pos x="5" y="0"/>
                  </a:cxn>
                  <a:cxn ang="0">
                    <a:pos x="12" y="4"/>
                  </a:cxn>
                  <a:cxn ang="0">
                    <a:pos x="12" y="11"/>
                  </a:cxn>
                  <a:cxn ang="0">
                    <a:pos x="17" y="17"/>
                  </a:cxn>
                  <a:cxn ang="0">
                    <a:pos x="20" y="23"/>
                  </a:cxn>
                  <a:cxn ang="0">
                    <a:pos x="24" y="30"/>
                  </a:cxn>
                  <a:cxn ang="0">
                    <a:pos x="22" y="33"/>
                  </a:cxn>
                  <a:cxn ang="0">
                    <a:pos x="20" y="35"/>
                  </a:cxn>
                  <a:cxn ang="0">
                    <a:pos x="12" y="30"/>
                  </a:cxn>
                  <a:cxn ang="0">
                    <a:pos x="10" y="24"/>
                  </a:cxn>
                  <a:cxn ang="0">
                    <a:pos x="8" y="17"/>
                  </a:cxn>
                  <a:cxn ang="0">
                    <a:pos x="10" y="14"/>
                  </a:cxn>
                </a:cxnLst>
                <a:rect l="0" t="0" r="r" b="b"/>
                <a:pathLst>
                  <a:path w="24" h="35">
                    <a:moveTo>
                      <a:pt x="10" y="14"/>
                    </a:moveTo>
                    <a:lnTo>
                      <a:pt x="3" y="11"/>
                    </a:lnTo>
                    <a:lnTo>
                      <a:pt x="0" y="14"/>
                    </a:lnTo>
                    <a:lnTo>
                      <a:pt x="0" y="5"/>
                    </a:lnTo>
                    <a:lnTo>
                      <a:pt x="2" y="2"/>
                    </a:lnTo>
                    <a:lnTo>
                      <a:pt x="5" y="0"/>
                    </a:lnTo>
                    <a:lnTo>
                      <a:pt x="12" y="4"/>
                    </a:lnTo>
                    <a:lnTo>
                      <a:pt x="12" y="11"/>
                    </a:lnTo>
                    <a:lnTo>
                      <a:pt x="17" y="17"/>
                    </a:lnTo>
                    <a:lnTo>
                      <a:pt x="20" y="23"/>
                    </a:lnTo>
                    <a:lnTo>
                      <a:pt x="24" y="30"/>
                    </a:lnTo>
                    <a:lnTo>
                      <a:pt x="22" y="33"/>
                    </a:lnTo>
                    <a:lnTo>
                      <a:pt x="20" y="35"/>
                    </a:lnTo>
                    <a:lnTo>
                      <a:pt x="12" y="30"/>
                    </a:lnTo>
                    <a:lnTo>
                      <a:pt x="10" y="24"/>
                    </a:lnTo>
                    <a:lnTo>
                      <a:pt x="8" y="17"/>
                    </a:lnTo>
                    <a:lnTo>
                      <a:pt x="1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4" name="Freeform 301"/>
              <p:cNvSpPr>
                <a:spLocks/>
              </p:cNvSpPr>
              <p:nvPr/>
            </p:nvSpPr>
            <p:spPr bwMode="auto">
              <a:xfrm>
                <a:off x="1186657" y="2508250"/>
                <a:ext cx="34925" cy="66675"/>
              </a:xfrm>
              <a:custGeom>
                <a:avLst/>
                <a:gdLst/>
                <a:ahLst/>
                <a:cxnLst>
                  <a:cxn ang="0">
                    <a:pos x="17" y="21"/>
                  </a:cxn>
                  <a:cxn ang="0">
                    <a:pos x="19" y="21"/>
                  </a:cxn>
                  <a:cxn ang="0">
                    <a:pos x="22" y="21"/>
                  </a:cxn>
                  <a:cxn ang="0">
                    <a:pos x="22" y="31"/>
                  </a:cxn>
                  <a:cxn ang="0">
                    <a:pos x="21" y="42"/>
                  </a:cxn>
                  <a:cxn ang="0">
                    <a:pos x="14" y="31"/>
                  </a:cxn>
                  <a:cxn ang="0">
                    <a:pos x="14" y="21"/>
                  </a:cxn>
                  <a:cxn ang="0">
                    <a:pos x="3" y="16"/>
                  </a:cxn>
                  <a:cxn ang="0">
                    <a:pos x="0" y="6"/>
                  </a:cxn>
                  <a:cxn ang="0">
                    <a:pos x="2" y="0"/>
                  </a:cxn>
                  <a:cxn ang="0">
                    <a:pos x="5" y="0"/>
                  </a:cxn>
                  <a:cxn ang="0">
                    <a:pos x="10" y="0"/>
                  </a:cxn>
                  <a:cxn ang="0">
                    <a:pos x="17" y="0"/>
                  </a:cxn>
                  <a:cxn ang="0">
                    <a:pos x="15" y="7"/>
                  </a:cxn>
                  <a:cxn ang="0">
                    <a:pos x="15" y="13"/>
                  </a:cxn>
                  <a:cxn ang="0">
                    <a:pos x="15" y="16"/>
                  </a:cxn>
                  <a:cxn ang="0">
                    <a:pos x="17" y="21"/>
                  </a:cxn>
                </a:cxnLst>
                <a:rect l="0" t="0" r="r" b="b"/>
                <a:pathLst>
                  <a:path w="22" h="42">
                    <a:moveTo>
                      <a:pt x="17" y="21"/>
                    </a:moveTo>
                    <a:lnTo>
                      <a:pt x="19" y="21"/>
                    </a:lnTo>
                    <a:lnTo>
                      <a:pt x="22" y="21"/>
                    </a:lnTo>
                    <a:lnTo>
                      <a:pt x="22" y="31"/>
                    </a:lnTo>
                    <a:lnTo>
                      <a:pt x="21" y="42"/>
                    </a:lnTo>
                    <a:lnTo>
                      <a:pt x="14" y="31"/>
                    </a:lnTo>
                    <a:lnTo>
                      <a:pt x="14" y="21"/>
                    </a:lnTo>
                    <a:lnTo>
                      <a:pt x="3" y="16"/>
                    </a:lnTo>
                    <a:lnTo>
                      <a:pt x="0" y="6"/>
                    </a:lnTo>
                    <a:lnTo>
                      <a:pt x="2" y="0"/>
                    </a:lnTo>
                    <a:lnTo>
                      <a:pt x="5" y="0"/>
                    </a:lnTo>
                    <a:lnTo>
                      <a:pt x="10" y="0"/>
                    </a:lnTo>
                    <a:lnTo>
                      <a:pt x="17" y="0"/>
                    </a:lnTo>
                    <a:lnTo>
                      <a:pt x="15" y="7"/>
                    </a:lnTo>
                    <a:lnTo>
                      <a:pt x="15" y="13"/>
                    </a:lnTo>
                    <a:lnTo>
                      <a:pt x="15" y="16"/>
                    </a:lnTo>
                    <a:lnTo>
                      <a:pt x="17"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5" name="Freeform 302"/>
              <p:cNvSpPr>
                <a:spLocks/>
              </p:cNvSpPr>
              <p:nvPr/>
            </p:nvSpPr>
            <p:spPr bwMode="auto">
              <a:xfrm>
                <a:off x="1577182" y="1905000"/>
                <a:ext cx="420688" cy="222250"/>
              </a:xfrm>
              <a:custGeom>
                <a:avLst/>
                <a:gdLst/>
                <a:ahLst/>
                <a:cxnLst>
                  <a:cxn ang="0">
                    <a:pos x="239" y="111"/>
                  </a:cxn>
                  <a:cxn ang="0">
                    <a:pos x="241" y="117"/>
                  </a:cxn>
                  <a:cxn ang="0">
                    <a:pos x="248" y="124"/>
                  </a:cxn>
                  <a:cxn ang="0">
                    <a:pos x="246" y="131"/>
                  </a:cxn>
                  <a:cxn ang="0">
                    <a:pos x="230" y="135"/>
                  </a:cxn>
                  <a:cxn ang="0">
                    <a:pos x="208" y="133"/>
                  </a:cxn>
                  <a:cxn ang="0">
                    <a:pos x="189" y="123"/>
                  </a:cxn>
                  <a:cxn ang="0">
                    <a:pos x="174" y="123"/>
                  </a:cxn>
                  <a:cxn ang="0">
                    <a:pos x="158" y="131"/>
                  </a:cxn>
                  <a:cxn ang="0">
                    <a:pos x="137" y="135"/>
                  </a:cxn>
                  <a:cxn ang="0">
                    <a:pos x="115" y="140"/>
                  </a:cxn>
                  <a:cxn ang="0">
                    <a:pos x="94" y="140"/>
                  </a:cxn>
                  <a:cxn ang="0">
                    <a:pos x="79" y="135"/>
                  </a:cxn>
                  <a:cxn ang="0">
                    <a:pos x="69" y="124"/>
                  </a:cxn>
                  <a:cxn ang="0">
                    <a:pos x="53" y="123"/>
                  </a:cxn>
                  <a:cxn ang="0">
                    <a:pos x="33" y="117"/>
                  </a:cxn>
                  <a:cxn ang="0">
                    <a:pos x="33" y="100"/>
                  </a:cxn>
                  <a:cxn ang="0">
                    <a:pos x="58" y="95"/>
                  </a:cxn>
                  <a:cxn ang="0">
                    <a:pos x="82" y="95"/>
                  </a:cxn>
                  <a:cxn ang="0">
                    <a:pos x="84" y="90"/>
                  </a:cxn>
                  <a:cxn ang="0">
                    <a:pos x="62" y="90"/>
                  </a:cxn>
                  <a:cxn ang="0">
                    <a:pos x="38" y="90"/>
                  </a:cxn>
                  <a:cxn ang="0">
                    <a:pos x="15" y="86"/>
                  </a:cxn>
                  <a:cxn ang="0">
                    <a:pos x="14" y="73"/>
                  </a:cxn>
                  <a:cxn ang="0">
                    <a:pos x="26" y="69"/>
                  </a:cxn>
                  <a:cxn ang="0">
                    <a:pos x="22" y="68"/>
                  </a:cxn>
                  <a:cxn ang="0">
                    <a:pos x="3" y="64"/>
                  </a:cxn>
                  <a:cxn ang="0">
                    <a:pos x="0" y="49"/>
                  </a:cxn>
                  <a:cxn ang="0">
                    <a:pos x="14" y="31"/>
                  </a:cxn>
                  <a:cxn ang="0">
                    <a:pos x="34" y="21"/>
                  </a:cxn>
                  <a:cxn ang="0">
                    <a:pos x="53" y="16"/>
                  </a:cxn>
                  <a:cxn ang="0">
                    <a:pos x="67" y="18"/>
                  </a:cxn>
                  <a:cxn ang="0">
                    <a:pos x="70" y="28"/>
                  </a:cxn>
                  <a:cxn ang="0">
                    <a:pos x="77" y="28"/>
                  </a:cxn>
                  <a:cxn ang="0">
                    <a:pos x="94" y="25"/>
                  </a:cxn>
                  <a:cxn ang="0">
                    <a:pos x="105" y="31"/>
                  </a:cxn>
                  <a:cxn ang="0">
                    <a:pos x="117" y="37"/>
                  </a:cxn>
                  <a:cxn ang="0">
                    <a:pos x="124" y="30"/>
                  </a:cxn>
                  <a:cxn ang="0">
                    <a:pos x="134" y="26"/>
                  </a:cxn>
                  <a:cxn ang="0">
                    <a:pos x="151" y="42"/>
                  </a:cxn>
                  <a:cxn ang="0">
                    <a:pos x="153" y="52"/>
                  </a:cxn>
                  <a:cxn ang="0">
                    <a:pos x="160" y="61"/>
                  </a:cxn>
                  <a:cxn ang="0">
                    <a:pos x="167" y="55"/>
                  </a:cxn>
                  <a:cxn ang="0">
                    <a:pos x="158" y="37"/>
                  </a:cxn>
                  <a:cxn ang="0">
                    <a:pos x="155" y="21"/>
                  </a:cxn>
                  <a:cxn ang="0">
                    <a:pos x="163" y="14"/>
                  </a:cxn>
                  <a:cxn ang="0">
                    <a:pos x="179" y="14"/>
                  </a:cxn>
                  <a:cxn ang="0">
                    <a:pos x="177" y="9"/>
                  </a:cxn>
                  <a:cxn ang="0">
                    <a:pos x="193" y="0"/>
                  </a:cxn>
                  <a:cxn ang="0">
                    <a:pos x="211" y="12"/>
                  </a:cxn>
                  <a:cxn ang="0">
                    <a:pos x="199" y="28"/>
                  </a:cxn>
                  <a:cxn ang="0">
                    <a:pos x="206" y="52"/>
                  </a:cxn>
                  <a:cxn ang="0">
                    <a:pos x="213" y="71"/>
                  </a:cxn>
                  <a:cxn ang="0">
                    <a:pos x="236" y="92"/>
                  </a:cxn>
                  <a:cxn ang="0">
                    <a:pos x="265" y="107"/>
                  </a:cxn>
                  <a:cxn ang="0">
                    <a:pos x="246" y="111"/>
                  </a:cxn>
                </a:cxnLst>
                <a:rect l="0" t="0" r="r" b="b"/>
                <a:pathLst>
                  <a:path w="265" h="140">
                    <a:moveTo>
                      <a:pt x="246" y="111"/>
                    </a:moveTo>
                    <a:lnTo>
                      <a:pt x="239" y="111"/>
                    </a:lnTo>
                    <a:lnTo>
                      <a:pt x="239" y="116"/>
                    </a:lnTo>
                    <a:lnTo>
                      <a:pt x="241" y="117"/>
                    </a:lnTo>
                    <a:lnTo>
                      <a:pt x="246" y="119"/>
                    </a:lnTo>
                    <a:lnTo>
                      <a:pt x="248" y="124"/>
                    </a:lnTo>
                    <a:lnTo>
                      <a:pt x="251" y="126"/>
                    </a:lnTo>
                    <a:lnTo>
                      <a:pt x="246" y="131"/>
                    </a:lnTo>
                    <a:lnTo>
                      <a:pt x="239" y="135"/>
                    </a:lnTo>
                    <a:lnTo>
                      <a:pt x="230" y="135"/>
                    </a:lnTo>
                    <a:lnTo>
                      <a:pt x="222" y="136"/>
                    </a:lnTo>
                    <a:lnTo>
                      <a:pt x="208" y="133"/>
                    </a:lnTo>
                    <a:lnTo>
                      <a:pt x="199" y="128"/>
                    </a:lnTo>
                    <a:lnTo>
                      <a:pt x="189" y="123"/>
                    </a:lnTo>
                    <a:lnTo>
                      <a:pt x="180" y="121"/>
                    </a:lnTo>
                    <a:lnTo>
                      <a:pt x="174" y="123"/>
                    </a:lnTo>
                    <a:lnTo>
                      <a:pt x="168" y="129"/>
                    </a:lnTo>
                    <a:lnTo>
                      <a:pt x="158" y="131"/>
                    </a:lnTo>
                    <a:lnTo>
                      <a:pt x="148" y="135"/>
                    </a:lnTo>
                    <a:lnTo>
                      <a:pt x="137" y="135"/>
                    </a:lnTo>
                    <a:lnTo>
                      <a:pt x="131" y="140"/>
                    </a:lnTo>
                    <a:lnTo>
                      <a:pt x="115" y="140"/>
                    </a:lnTo>
                    <a:lnTo>
                      <a:pt x="105" y="140"/>
                    </a:lnTo>
                    <a:lnTo>
                      <a:pt x="94" y="140"/>
                    </a:lnTo>
                    <a:lnTo>
                      <a:pt x="86" y="140"/>
                    </a:lnTo>
                    <a:lnTo>
                      <a:pt x="79" y="135"/>
                    </a:lnTo>
                    <a:lnTo>
                      <a:pt x="76" y="128"/>
                    </a:lnTo>
                    <a:lnTo>
                      <a:pt x="69" y="124"/>
                    </a:lnTo>
                    <a:lnTo>
                      <a:pt x="62" y="123"/>
                    </a:lnTo>
                    <a:lnTo>
                      <a:pt x="53" y="123"/>
                    </a:lnTo>
                    <a:lnTo>
                      <a:pt x="48" y="124"/>
                    </a:lnTo>
                    <a:lnTo>
                      <a:pt x="33" y="117"/>
                    </a:lnTo>
                    <a:lnTo>
                      <a:pt x="24" y="107"/>
                    </a:lnTo>
                    <a:lnTo>
                      <a:pt x="33" y="100"/>
                    </a:lnTo>
                    <a:lnTo>
                      <a:pt x="45" y="97"/>
                    </a:lnTo>
                    <a:lnTo>
                      <a:pt x="58" y="95"/>
                    </a:lnTo>
                    <a:lnTo>
                      <a:pt x="74" y="95"/>
                    </a:lnTo>
                    <a:lnTo>
                      <a:pt x="82" y="95"/>
                    </a:lnTo>
                    <a:lnTo>
                      <a:pt x="91" y="95"/>
                    </a:lnTo>
                    <a:lnTo>
                      <a:pt x="84" y="90"/>
                    </a:lnTo>
                    <a:lnTo>
                      <a:pt x="77" y="90"/>
                    </a:lnTo>
                    <a:lnTo>
                      <a:pt x="62" y="90"/>
                    </a:lnTo>
                    <a:lnTo>
                      <a:pt x="51" y="90"/>
                    </a:lnTo>
                    <a:lnTo>
                      <a:pt x="38" y="90"/>
                    </a:lnTo>
                    <a:lnTo>
                      <a:pt x="26" y="90"/>
                    </a:lnTo>
                    <a:lnTo>
                      <a:pt x="15" y="86"/>
                    </a:lnTo>
                    <a:lnTo>
                      <a:pt x="12" y="80"/>
                    </a:lnTo>
                    <a:lnTo>
                      <a:pt x="14" y="73"/>
                    </a:lnTo>
                    <a:lnTo>
                      <a:pt x="19" y="71"/>
                    </a:lnTo>
                    <a:lnTo>
                      <a:pt x="26" y="69"/>
                    </a:lnTo>
                    <a:lnTo>
                      <a:pt x="33" y="69"/>
                    </a:lnTo>
                    <a:lnTo>
                      <a:pt x="22" y="68"/>
                    </a:lnTo>
                    <a:lnTo>
                      <a:pt x="14" y="69"/>
                    </a:lnTo>
                    <a:lnTo>
                      <a:pt x="3" y="64"/>
                    </a:lnTo>
                    <a:lnTo>
                      <a:pt x="0" y="59"/>
                    </a:lnTo>
                    <a:lnTo>
                      <a:pt x="0" y="49"/>
                    </a:lnTo>
                    <a:lnTo>
                      <a:pt x="7" y="40"/>
                    </a:lnTo>
                    <a:lnTo>
                      <a:pt x="14" y="31"/>
                    </a:lnTo>
                    <a:lnTo>
                      <a:pt x="24" y="26"/>
                    </a:lnTo>
                    <a:lnTo>
                      <a:pt x="34" y="21"/>
                    </a:lnTo>
                    <a:lnTo>
                      <a:pt x="45" y="18"/>
                    </a:lnTo>
                    <a:lnTo>
                      <a:pt x="53" y="16"/>
                    </a:lnTo>
                    <a:lnTo>
                      <a:pt x="64" y="16"/>
                    </a:lnTo>
                    <a:lnTo>
                      <a:pt x="67" y="18"/>
                    </a:lnTo>
                    <a:lnTo>
                      <a:pt x="69" y="23"/>
                    </a:lnTo>
                    <a:lnTo>
                      <a:pt x="70" y="28"/>
                    </a:lnTo>
                    <a:lnTo>
                      <a:pt x="72" y="33"/>
                    </a:lnTo>
                    <a:lnTo>
                      <a:pt x="77" y="28"/>
                    </a:lnTo>
                    <a:lnTo>
                      <a:pt x="88" y="25"/>
                    </a:lnTo>
                    <a:lnTo>
                      <a:pt x="94" y="25"/>
                    </a:lnTo>
                    <a:lnTo>
                      <a:pt x="101" y="28"/>
                    </a:lnTo>
                    <a:lnTo>
                      <a:pt x="105" y="31"/>
                    </a:lnTo>
                    <a:lnTo>
                      <a:pt x="110" y="40"/>
                    </a:lnTo>
                    <a:lnTo>
                      <a:pt x="117" y="37"/>
                    </a:lnTo>
                    <a:lnTo>
                      <a:pt x="125" y="37"/>
                    </a:lnTo>
                    <a:lnTo>
                      <a:pt x="124" y="30"/>
                    </a:lnTo>
                    <a:lnTo>
                      <a:pt x="124" y="26"/>
                    </a:lnTo>
                    <a:lnTo>
                      <a:pt x="134" y="26"/>
                    </a:lnTo>
                    <a:lnTo>
                      <a:pt x="144" y="31"/>
                    </a:lnTo>
                    <a:lnTo>
                      <a:pt x="151" y="42"/>
                    </a:lnTo>
                    <a:lnTo>
                      <a:pt x="151" y="45"/>
                    </a:lnTo>
                    <a:lnTo>
                      <a:pt x="153" y="52"/>
                    </a:lnTo>
                    <a:lnTo>
                      <a:pt x="153" y="57"/>
                    </a:lnTo>
                    <a:lnTo>
                      <a:pt x="160" y="61"/>
                    </a:lnTo>
                    <a:lnTo>
                      <a:pt x="163" y="57"/>
                    </a:lnTo>
                    <a:lnTo>
                      <a:pt x="167" y="55"/>
                    </a:lnTo>
                    <a:lnTo>
                      <a:pt x="162" y="47"/>
                    </a:lnTo>
                    <a:lnTo>
                      <a:pt x="158" y="37"/>
                    </a:lnTo>
                    <a:lnTo>
                      <a:pt x="155" y="26"/>
                    </a:lnTo>
                    <a:lnTo>
                      <a:pt x="155" y="21"/>
                    </a:lnTo>
                    <a:lnTo>
                      <a:pt x="156" y="14"/>
                    </a:lnTo>
                    <a:lnTo>
                      <a:pt x="163" y="14"/>
                    </a:lnTo>
                    <a:lnTo>
                      <a:pt x="170" y="14"/>
                    </a:lnTo>
                    <a:lnTo>
                      <a:pt x="179" y="14"/>
                    </a:lnTo>
                    <a:lnTo>
                      <a:pt x="177" y="11"/>
                    </a:lnTo>
                    <a:lnTo>
                      <a:pt x="177" y="9"/>
                    </a:lnTo>
                    <a:lnTo>
                      <a:pt x="182" y="2"/>
                    </a:lnTo>
                    <a:lnTo>
                      <a:pt x="193" y="0"/>
                    </a:lnTo>
                    <a:lnTo>
                      <a:pt x="205" y="2"/>
                    </a:lnTo>
                    <a:lnTo>
                      <a:pt x="211" y="12"/>
                    </a:lnTo>
                    <a:lnTo>
                      <a:pt x="205" y="19"/>
                    </a:lnTo>
                    <a:lnTo>
                      <a:pt x="199" y="28"/>
                    </a:lnTo>
                    <a:lnTo>
                      <a:pt x="201" y="40"/>
                    </a:lnTo>
                    <a:lnTo>
                      <a:pt x="206" y="52"/>
                    </a:lnTo>
                    <a:lnTo>
                      <a:pt x="210" y="61"/>
                    </a:lnTo>
                    <a:lnTo>
                      <a:pt x="213" y="71"/>
                    </a:lnTo>
                    <a:lnTo>
                      <a:pt x="218" y="81"/>
                    </a:lnTo>
                    <a:lnTo>
                      <a:pt x="236" y="92"/>
                    </a:lnTo>
                    <a:lnTo>
                      <a:pt x="253" y="98"/>
                    </a:lnTo>
                    <a:lnTo>
                      <a:pt x="265" y="107"/>
                    </a:lnTo>
                    <a:lnTo>
                      <a:pt x="254" y="111"/>
                    </a:lnTo>
                    <a:lnTo>
                      <a:pt x="246" y="1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6" name="Freeform 303"/>
              <p:cNvSpPr>
                <a:spLocks/>
              </p:cNvSpPr>
              <p:nvPr/>
            </p:nvSpPr>
            <p:spPr bwMode="auto">
              <a:xfrm>
                <a:off x="1421607" y="1873250"/>
                <a:ext cx="234950" cy="152400"/>
              </a:xfrm>
              <a:custGeom>
                <a:avLst/>
                <a:gdLst/>
                <a:ahLst/>
                <a:cxnLst>
                  <a:cxn ang="0">
                    <a:pos x="31" y="91"/>
                  </a:cxn>
                  <a:cxn ang="0">
                    <a:pos x="27" y="86"/>
                  </a:cxn>
                  <a:cxn ang="0">
                    <a:pos x="24" y="81"/>
                  </a:cxn>
                  <a:cxn ang="0">
                    <a:pos x="17" y="77"/>
                  </a:cxn>
                  <a:cxn ang="0">
                    <a:pos x="10" y="75"/>
                  </a:cxn>
                  <a:cxn ang="0">
                    <a:pos x="2" y="72"/>
                  </a:cxn>
                  <a:cxn ang="0">
                    <a:pos x="0" y="70"/>
                  </a:cxn>
                  <a:cxn ang="0">
                    <a:pos x="3" y="57"/>
                  </a:cxn>
                  <a:cxn ang="0">
                    <a:pos x="12" y="46"/>
                  </a:cxn>
                  <a:cxn ang="0">
                    <a:pos x="19" y="34"/>
                  </a:cxn>
                  <a:cxn ang="0">
                    <a:pos x="24" y="22"/>
                  </a:cxn>
                  <a:cxn ang="0">
                    <a:pos x="20" y="12"/>
                  </a:cxn>
                  <a:cxn ang="0">
                    <a:pos x="17" y="3"/>
                  </a:cxn>
                  <a:cxn ang="0">
                    <a:pos x="33" y="0"/>
                  </a:cxn>
                  <a:cxn ang="0">
                    <a:pos x="48" y="3"/>
                  </a:cxn>
                  <a:cxn ang="0">
                    <a:pos x="55" y="0"/>
                  </a:cxn>
                  <a:cxn ang="0">
                    <a:pos x="69" y="0"/>
                  </a:cxn>
                  <a:cxn ang="0">
                    <a:pos x="81" y="5"/>
                  </a:cxn>
                  <a:cxn ang="0">
                    <a:pos x="94" y="10"/>
                  </a:cxn>
                  <a:cxn ang="0">
                    <a:pos x="103" y="10"/>
                  </a:cxn>
                  <a:cxn ang="0">
                    <a:pos x="112" y="8"/>
                  </a:cxn>
                  <a:cxn ang="0">
                    <a:pos x="120" y="8"/>
                  </a:cxn>
                  <a:cxn ang="0">
                    <a:pos x="134" y="14"/>
                  </a:cxn>
                  <a:cxn ang="0">
                    <a:pos x="143" y="20"/>
                  </a:cxn>
                  <a:cxn ang="0">
                    <a:pos x="148" y="31"/>
                  </a:cxn>
                  <a:cxn ang="0">
                    <a:pos x="143" y="32"/>
                  </a:cxn>
                  <a:cxn ang="0">
                    <a:pos x="132" y="36"/>
                  </a:cxn>
                  <a:cxn ang="0">
                    <a:pos x="122" y="38"/>
                  </a:cxn>
                  <a:cxn ang="0">
                    <a:pos x="117" y="41"/>
                  </a:cxn>
                  <a:cxn ang="0">
                    <a:pos x="103" y="46"/>
                  </a:cxn>
                  <a:cxn ang="0">
                    <a:pos x="89" y="58"/>
                  </a:cxn>
                  <a:cxn ang="0">
                    <a:pos x="81" y="69"/>
                  </a:cxn>
                  <a:cxn ang="0">
                    <a:pos x="77" y="81"/>
                  </a:cxn>
                  <a:cxn ang="0">
                    <a:pos x="70" y="84"/>
                  </a:cxn>
                  <a:cxn ang="0">
                    <a:pos x="58" y="89"/>
                  </a:cxn>
                  <a:cxn ang="0">
                    <a:pos x="46" y="93"/>
                  </a:cxn>
                  <a:cxn ang="0">
                    <a:pos x="39" y="96"/>
                  </a:cxn>
                  <a:cxn ang="0">
                    <a:pos x="34" y="93"/>
                  </a:cxn>
                  <a:cxn ang="0">
                    <a:pos x="31" y="91"/>
                  </a:cxn>
                </a:cxnLst>
                <a:rect l="0" t="0" r="r" b="b"/>
                <a:pathLst>
                  <a:path w="148" h="96">
                    <a:moveTo>
                      <a:pt x="31" y="91"/>
                    </a:moveTo>
                    <a:lnTo>
                      <a:pt x="27" y="86"/>
                    </a:lnTo>
                    <a:lnTo>
                      <a:pt x="24" y="81"/>
                    </a:lnTo>
                    <a:lnTo>
                      <a:pt x="17" y="77"/>
                    </a:lnTo>
                    <a:lnTo>
                      <a:pt x="10" y="75"/>
                    </a:lnTo>
                    <a:lnTo>
                      <a:pt x="2" y="72"/>
                    </a:lnTo>
                    <a:lnTo>
                      <a:pt x="0" y="70"/>
                    </a:lnTo>
                    <a:lnTo>
                      <a:pt x="3" y="57"/>
                    </a:lnTo>
                    <a:lnTo>
                      <a:pt x="12" y="46"/>
                    </a:lnTo>
                    <a:lnTo>
                      <a:pt x="19" y="34"/>
                    </a:lnTo>
                    <a:lnTo>
                      <a:pt x="24" y="22"/>
                    </a:lnTo>
                    <a:lnTo>
                      <a:pt x="20" y="12"/>
                    </a:lnTo>
                    <a:lnTo>
                      <a:pt x="17" y="3"/>
                    </a:lnTo>
                    <a:lnTo>
                      <a:pt x="33" y="0"/>
                    </a:lnTo>
                    <a:lnTo>
                      <a:pt x="48" y="3"/>
                    </a:lnTo>
                    <a:lnTo>
                      <a:pt x="55" y="0"/>
                    </a:lnTo>
                    <a:lnTo>
                      <a:pt x="69" y="0"/>
                    </a:lnTo>
                    <a:lnTo>
                      <a:pt x="81" y="5"/>
                    </a:lnTo>
                    <a:lnTo>
                      <a:pt x="94" y="10"/>
                    </a:lnTo>
                    <a:lnTo>
                      <a:pt x="103" y="10"/>
                    </a:lnTo>
                    <a:lnTo>
                      <a:pt x="112" y="8"/>
                    </a:lnTo>
                    <a:lnTo>
                      <a:pt x="120" y="8"/>
                    </a:lnTo>
                    <a:lnTo>
                      <a:pt x="134" y="14"/>
                    </a:lnTo>
                    <a:lnTo>
                      <a:pt x="143" y="20"/>
                    </a:lnTo>
                    <a:lnTo>
                      <a:pt x="148" y="31"/>
                    </a:lnTo>
                    <a:lnTo>
                      <a:pt x="143" y="32"/>
                    </a:lnTo>
                    <a:lnTo>
                      <a:pt x="132" y="36"/>
                    </a:lnTo>
                    <a:lnTo>
                      <a:pt x="122" y="38"/>
                    </a:lnTo>
                    <a:lnTo>
                      <a:pt x="117" y="41"/>
                    </a:lnTo>
                    <a:lnTo>
                      <a:pt x="103" y="46"/>
                    </a:lnTo>
                    <a:lnTo>
                      <a:pt x="89" y="58"/>
                    </a:lnTo>
                    <a:lnTo>
                      <a:pt x="81" y="69"/>
                    </a:lnTo>
                    <a:lnTo>
                      <a:pt x="77" y="81"/>
                    </a:lnTo>
                    <a:lnTo>
                      <a:pt x="70" y="84"/>
                    </a:lnTo>
                    <a:lnTo>
                      <a:pt x="58" y="89"/>
                    </a:lnTo>
                    <a:lnTo>
                      <a:pt x="46" y="93"/>
                    </a:lnTo>
                    <a:lnTo>
                      <a:pt x="39" y="96"/>
                    </a:lnTo>
                    <a:lnTo>
                      <a:pt x="34" y="93"/>
                    </a:lnTo>
                    <a:lnTo>
                      <a:pt x="31"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7" name="Freeform 304"/>
              <p:cNvSpPr>
                <a:spLocks/>
              </p:cNvSpPr>
              <p:nvPr/>
            </p:nvSpPr>
            <p:spPr bwMode="auto">
              <a:xfrm>
                <a:off x="1607344" y="1760538"/>
                <a:ext cx="284163" cy="117475"/>
              </a:xfrm>
              <a:custGeom>
                <a:avLst/>
                <a:gdLst/>
                <a:ahLst/>
                <a:cxnLst>
                  <a:cxn ang="0">
                    <a:pos x="51" y="71"/>
                  </a:cxn>
                  <a:cxn ang="0">
                    <a:pos x="51" y="61"/>
                  </a:cxn>
                  <a:cxn ang="0">
                    <a:pos x="55" y="55"/>
                  </a:cxn>
                  <a:cxn ang="0">
                    <a:pos x="48" y="52"/>
                  </a:cxn>
                  <a:cxn ang="0">
                    <a:pos x="34" y="57"/>
                  </a:cxn>
                  <a:cxn ang="0">
                    <a:pos x="15" y="57"/>
                  </a:cxn>
                  <a:cxn ang="0">
                    <a:pos x="2" y="52"/>
                  </a:cxn>
                  <a:cxn ang="0">
                    <a:pos x="0" y="43"/>
                  </a:cxn>
                  <a:cxn ang="0">
                    <a:pos x="7" y="38"/>
                  </a:cxn>
                  <a:cxn ang="0">
                    <a:pos x="26" y="38"/>
                  </a:cxn>
                  <a:cxn ang="0">
                    <a:pos x="24" y="38"/>
                  </a:cxn>
                  <a:cxn ang="0">
                    <a:pos x="14" y="26"/>
                  </a:cxn>
                  <a:cxn ang="0">
                    <a:pos x="22" y="26"/>
                  </a:cxn>
                  <a:cxn ang="0">
                    <a:pos x="31" y="28"/>
                  </a:cxn>
                  <a:cxn ang="0">
                    <a:pos x="45" y="30"/>
                  </a:cxn>
                  <a:cxn ang="0">
                    <a:pos x="19" y="24"/>
                  </a:cxn>
                  <a:cxn ang="0">
                    <a:pos x="29" y="19"/>
                  </a:cxn>
                  <a:cxn ang="0">
                    <a:pos x="43" y="21"/>
                  </a:cxn>
                  <a:cxn ang="0">
                    <a:pos x="27" y="14"/>
                  </a:cxn>
                  <a:cxn ang="0">
                    <a:pos x="43" y="14"/>
                  </a:cxn>
                  <a:cxn ang="0">
                    <a:pos x="51" y="21"/>
                  </a:cxn>
                  <a:cxn ang="0">
                    <a:pos x="63" y="21"/>
                  </a:cxn>
                  <a:cxn ang="0">
                    <a:pos x="84" y="31"/>
                  </a:cxn>
                  <a:cxn ang="0">
                    <a:pos x="112" y="42"/>
                  </a:cxn>
                  <a:cxn ang="0">
                    <a:pos x="124" y="35"/>
                  </a:cxn>
                  <a:cxn ang="0">
                    <a:pos x="113" y="33"/>
                  </a:cxn>
                  <a:cxn ang="0">
                    <a:pos x="118" y="31"/>
                  </a:cxn>
                  <a:cxn ang="0">
                    <a:pos x="110" y="21"/>
                  </a:cxn>
                  <a:cxn ang="0">
                    <a:pos x="106" y="11"/>
                  </a:cxn>
                  <a:cxn ang="0">
                    <a:pos x="117" y="2"/>
                  </a:cxn>
                  <a:cxn ang="0">
                    <a:pos x="129" y="2"/>
                  </a:cxn>
                  <a:cxn ang="0">
                    <a:pos x="132" y="7"/>
                  </a:cxn>
                  <a:cxn ang="0">
                    <a:pos x="139" y="23"/>
                  </a:cxn>
                  <a:cxn ang="0">
                    <a:pos x="158" y="26"/>
                  </a:cxn>
                  <a:cxn ang="0">
                    <a:pos x="174" y="26"/>
                  </a:cxn>
                  <a:cxn ang="0">
                    <a:pos x="175" y="42"/>
                  </a:cxn>
                  <a:cxn ang="0">
                    <a:pos x="165" y="55"/>
                  </a:cxn>
                  <a:cxn ang="0">
                    <a:pos x="155" y="59"/>
                  </a:cxn>
                  <a:cxn ang="0">
                    <a:pos x="132" y="57"/>
                  </a:cxn>
                  <a:cxn ang="0">
                    <a:pos x="122" y="59"/>
                  </a:cxn>
                  <a:cxn ang="0">
                    <a:pos x="100" y="64"/>
                  </a:cxn>
                  <a:cxn ang="0">
                    <a:pos x="77" y="71"/>
                  </a:cxn>
                </a:cxnLst>
                <a:rect l="0" t="0" r="r" b="b"/>
                <a:pathLst>
                  <a:path w="179" h="74">
                    <a:moveTo>
                      <a:pt x="62" y="74"/>
                    </a:moveTo>
                    <a:lnTo>
                      <a:pt x="51" y="71"/>
                    </a:lnTo>
                    <a:lnTo>
                      <a:pt x="48" y="67"/>
                    </a:lnTo>
                    <a:lnTo>
                      <a:pt x="51" y="61"/>
                    </a:lnTo>
                    <a:lnTo>
                      <a:pt x="62" y="61"/>
                    </a:lnTo>
                    <a:lnTo>
                      <a:pt x="55" y="55"/>
                    </a:lnTo>
                    <a:lnTo>
                      <a:pt x="53" y="48"/>
                    </a:lnTo>
                    <a:lnTo>
                      <a:pt x="48" y="52"/>
                    </a:lnTo>
                    <a:lnTo>
                      <a:pt x="48" y="55"/>
                    </a:lnTo>
                    <a:lnTo>
                      <a:pt x="34" y="57"/>
                    </a:lnTo>
                    <a:lnTo>
                      <a:pt x="26" y="59"/>
                    </a:lnTo>
                    <a:lnTo>
                      <a:pt x="15" y="57"/>
                    </a:lnTo>
                    <a:lnTo>
                      <a:pt x="8" y="55"/>
                    </a:lnTo>
                    <a:lnTo>
                      <a:pt x="2" y="52"/>
                    </a:lnTo>
                    <a:lnTo>
                      <a:pt x="0" y="48"/>
                    </a:lnTo>
                    <a:lnTo>
                      <a:pt x="0" y="43"/>
                    </a:lnTo>
                    <a:lnTo>
                      <a:pt x="0" y="42"/>
                    </a:lnTo>
                    <a:lnTo>
                      <a:pt x="7" y="38"/>
                    </a:lnTo>
                    <a:lnTo>
                      <a:pt x="14" y="36"/>
                    </a:lnTo>
                    <a:lnTo>
                      <a:pt x="26" y="38"/>
                    </a:lnTo>
                    <a:lnTo>
                      <a:pt x="36" y="42"/>
                    </a:lnTo>
                    <a:lnTo>
                      <a:pt x="24" y="38"/>
                    </a:lnTo>
                    <a:lnTo>
                      <a:pt x="14" y="35"/>
                    </a:lnTo>
                    <a:lnTo>
                      <a:pt x="14" y="26"/>
                    </a:lnTo>
                    <a:lnTo>
                      <a:pt x="19" y="26"/>
                    </a:lnTo>
                    <a:lnTo>
                      <a:pt x="22" y="26"/>
                    </a:lnTo>
                    <a:lnTo>
                      <a:pt x="24" y="26"/>
                    </a:lnTo>
                    <a:lnTo>
                      <a:pt x="31" y="28"/>
                    </a:lnTo>
                    <a:lnTo>
                      <a:pt x="38" y="28"/>
                    </a:lnTo>
                    <a:lnTo>
                      <a:pt x="45" y="30"/>
                    </a:lnTo>
                    <a:lnTo>
                      <a:pt x="29" y="28"/>
                    </a:lnTo>
                    <a:lnTo>
                      <a:pt x="19" y="24"/>
                    </a:lnTo>
                    <a:lnTo>
                      <a:pt x="22" y="19"/>
                    </a:lnTo>
                    <a:lnTo>
                      <a:pt x="29" y="19"/>
                    </a:lnTo>
                    <a:lnTo>
                      <a:pt x="36" y="19"/>
                    </a:lnTo>
                    <a:lnTo>
                      <a:pt x="43" y="21"/>
                    </a:lnTo>
                    <a:lnTo>
                      <a:pt x="32" y="19"/>
                    </a:lnTo>
                    <a:lnTo>
                      <a:pt x="27" y="14"/>
                    </a:lnTo>
                    <a:lnTo>
                      <a:pt x="36" y="12"/>
                    </a:lnTo>
                    <a:lnTo>
                      <a:pt x="43" y="14"/>
                    </a:lnTo>
                    <a:lnTo>
                      <a:pt x="48" y="14"/>
                    </a:lnTo>
                    <a:lnTo>
                      <a:pt x="51" y="21"/>
                    </a:lnTo>
                    <a:lnTo>
                      <a:pt x="60" y="21"/>
                    </a:lnTo>
                    <a:lnTo>
                      <a:pt x="63" y="21"/>
                    </a:lnTo>
                    <a:lnTo>
                      <a:pt x="74" y="23"/>
                    </a:lnTo>
                    <a:lnTo>
                      <a:pt x="84" y="31"/>
                    </a:lnTo>
                    <a:lnTo>
                      <a:pt x="94" y="38"/>
                    </a:lnTo>
                    <a:lnTo>
                      <a:pt x="112" y="42"/>
                    </a:lnTo>
                    <a:lnTo>
                      <a:pt x="118" y="38"/>
                    </a:lnTo>
                    <a:lnTo>
                      <a:pt x="124" y="35"/>
                    </a:lnTo>
                    <a:lnTo>
                      <a:pt x="117" y="33"/>
                    </a:lnTo>
                    <a:lnTo>
                      <a:pt x="113" y="33"/>
                    </a:lnTo>
                    <a:lnTo>
                      <a:pt x="115" y="31"/>
                    </a:lnTo>
                    <a:lnTo>
                      <a:pt x="118" y="31"/>
                    </a:lnTo>
                    <a:lnTo>
                      <a:pt x="118" y="24"/>
                    </a:lnTo>
                    <a:lnTo>
                      <a:pt x="110" y="21"/>
                    </a:lnTo>
                    <a:lnTo>
                      <a:pt x="105" y="16"/>
                    </a:lnTo>
                    <a:lnTo>
                      <a:pt x="106" y="11"/>
                    </a:lnTo>
                    <a:lnTo>
                      <a:pt x="112" y="5"/>
                    </a:lnTo>
                    <a:lnTo>
                      <a:pt x="117" y="2"/>
                    </a:lnTo>
                    <a:lnTo>
                      <a:pt x="124" y="0"/>
                    </a:lnTo>
                    <a:lnTo>
                      <a:pt x="129" y="2"/>
                    </a:lnTo>
                    <a:lnTo>
                      <a:pt x="134" y="4"/>
                    </a:lnTo>
                    <a:lnTo>
                      <a:pt x="132" y="7"/>
                    </a:lnTo>
                    <a:lnTo>
                      <a:pt x="134" y="11"/>
                    </a:lnTo>
                    <a:lnTo>
                      <a:pt x="139" y="23"/>
                    </a:lnTo>
                    <a:lnTo>
                      <a:pt x="153" y="30"/>
                    </a:lnTo>
                    <a:lnTo>
                      <a:pt x="158" y="26"/>
                    </a:lnTo>
                    <a:lnTo>
                      <a:pt x="167" y="23"/>
                    </a:lnTo>
                    <a:lnTo>
                      <a:pt x="174" y="26"/>
                    </a:lnTo>
                    <a:lnTo>
                      <a:pt x="179" y="36"/>
                    </a:lnTo>
                    <a:lnTo>
                      <a:pt x="175" y="42"/>
                    </a:lnTo>
                    <a:lnTo>
                      <a:pt x="172" y="50"/>
                    </a:lnTo>
                    <a:lnTo>
                      <a:pt x="165" y="55"/>
                    </a:lnTo>
                    <a:lnTo>
                      <a:pt x="161" y="59"/>
                    </a:lnTo>
                    <a:lnTo>
                      <a:pt x="155" y="59"/>
                    </a:lnTo>
                    <a:lnTo>
                      <a:pt x="143" y="59"/>
                    </a:lnTo>
                    <a:lnTo>
                      <a:pt x="132" y="57"/>
                    </a:lnTo>
                    <a:lnTo>
                      <a:pt x="129" y="59"/>
                    </a:lnTo>
                    <a:lnTo>
                      <a:pt x="122" y="59"/>
                    </a:lnTo>
                    <a:lnTo>
                      <a:pt x="112" y="62"/>
                    </a:lnTo>
                    <a:lnTo>
                      <a:pt x="100" y="64"/>
                    </a:lnTo>
                    <a:lnTo>
                      <a:pt x="94" y="67"/>
                    </a:lnTo>
                    <a:lnTo>
                      <a:pt x="77" y="71"/>
                    </a:lnTo>
                    <a:lnTo>
                      <a:pt x="62" y="7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8" name="Freeform 305"/>
              <p:cNvSpPr>
                <a:spLocks/>
              </p:cNvSpPr>
              <p:nvPr/>
            </p:nvSpPr>
            <p:spPr bwMode="auto">
              <a:xfrm>
                <a:off x="1569244" y="1801813"/>
                <a:ext cx="38100" cy="30162"/>
              </a:xfrm>
              <a:custGeom>
                <a:avLst/>
                <a:gdLst/>
                <a:ahLst/>
                <a:cxnLst>
                  <a:cxn ang="0">
                    <a:pos x="8" y="19"/>
                  </a:cxn>
                  <a:cxn ang="0">
                    <a:pos x="1" y="16"/>
                  </a:cxn>
                  <a:cxn ang="0">
                    <a:pos x="0" y="12"/>
                  </a:cxn>
                  <a:cxn ang="0">
                    <a:pos x="1" y="5"/>
                  </a:cxn>
                  <a:cxn ang="0">
                    <a:pos x="8" y="2"/>
                  </a:cxn>
                  <a:cxn ang="0">
                    <a:pos x="17" y="0"/>
                  </a:cxn>
                  <a:cxn ang="0">
                    <a:pos x="24" y="0"/>
                  </a:cxn>
                  <a:cxn ang="0">
                    <a:pos x="17" y="12"/>
                  </a:cxn>
                  <a:cxn ang="0">
                    <a:pos x="8" y="19"/>
                  </a:cxn>
                </a:cxnLst>
                <a:rect l="0" t="0" r="r" b="b"/>
                <a:pathLst>
                  <a:path w="24" h="19">
                    <a:moveTo>
                      <a:pt x="8" y="19"/>
                    </a:moveTo>
                    <a:lnTo>
                      <a:pt x="1" y="16"/>
                    </a:lnTo>
                    <a:lnTo>
                      <a:pt x="0" y="12"/>
                    </a:lnTo>
                    <a:lnTo>
                      <a:pt x="1" y="5"/>
                    </a:lnTo>
                    <a:lnTo>
                      <a:pt x="8" y="2"/>
                    </a:lnTo>
                    <a:lnTo>
                      <a:pt x="17" y="0"/>
                    </a:lnTo>
                    <a:lnTo>
                      <a:pt x="24" y="0"/>
                    </a:lnTo>
                    <a:lnTo>
                      <a:pt x="17" y="12"/>
                    </a:lnTo>
                    <a:lnTo>
                      <a:pt x="8"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69" name="Freeform 306"/>
              <p:cNvSpPr>
                <a:spLocks/>
              </p:cNvSpPr>
              <p:nvPr/>
            </p:nvSpPr>
            <p:spPr bwMode="auto">
              <a:xfrm>
                <a:off x="1669257" y="1760538"/>
                <a:ext cx="28575" cy="11112"/>
              </a:xfrm>
              <a:custGeom>
                <a:avLst/>
                <a:gdLst/>
                <a:ahLst/>
                <a:cxnLst>
                  <a:cxn ang="0">
                    <a:pos x="7" y="7"/>
                  </a:cxn>
                  <a:cxn ang="0">
                    <a:pos x="2" y="5"/>
                  </a:cxn>
                  <a:cxn ang="0">
                    <a:pos x="0" y="0"/>
                  </a:cxn>
                  <a:cxn ang="0">
                    <a:pos x="18" y="0"/>
                  </a:cxn>
                  <a:cxn ang="0">
                    <a:pos x="18" y="7"/>
                  </a:cxn>
                  <a:cxn ang="0">
                    <a:pos x="11" y="7"/>
                  </a:cxn>
                  <a:cxn ang="0">
                    <a:pos x="7" y="7"/>
                  </a:cxn>
                </a:cxnLst>
                <a:rect l="0" t="0" r="r" b="b"/>
                <a:pathLst>
                  <a:path w="18" h="7">
                    <a:moveTo>
                      <a:pt x="7" y="7"/>
                    </a:moveTo>
                    <a:lnTo>
                      <a:pt x="2" y="5"/>
                    </a:lnTo>
                    <a:lnTo>
                      <a:pt x="0" y="0"/>
                    </a:lnTo>
                    <a:lnTo>
                      <a:pt x="18" y="0"/>
                    </a:lnTo>
                    <a:lnTo>
                      <a:pt x="18" y="7"/>
                    </a:lnTo>
                    <a:lnTo>
                      <a:pt x="11" y="7"/>
                    </a:lnTo>
                    <a:lnTo>
                      <a:pt x="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0" name="Freeform 307"/>
              <p:cNvSpPr>
                <a:spLocks/>
              </p:cNvSpPr>
              <p:nvPr/>
            </p:nvSpPr>
            <p:spPr bwMode="auto">
              <a:xfrm>
                <a:off x="1486694" y="1730375"/>
                <a:ext cx="161925" cy="85725"/>
              </a:xfrm>
              <a:custGeom>
                <a:avLst/>
                <a:gdLst/>
                <a:ahLst/>
                <a:cxnLst>
                  <a:cxn ang="0">
                    <a:pos x="102" y="6"/>
                  </a:cxn>
                  <a:cxn ang="0">
                    <a:pos x="98" y="9"/>
                  </a:cxn>
                  <a:cxn ang="0">
                    <a:pos x="95" y="14"/>
                  </a:cxn>
                  <a:cxn ang="0">
                    <a:pos x="96" y="19"/>
                  </a:cxn>
                  <a:cxn ang="0">
                    <a:pos x="100" y="24"/>
                  </a:cxn>
                  <a:cxn ang="0">
                    <a:pos x="78" y="40"/>
                  </a:cxn>
                  <a:cxn ang="0">
                    <a:pos x="69" y="33"/>
                  </a:cxn>
                  <a:cxn ang="0">
                    <a:pos x="65" y="26"/>
                  </a:cxn>
                  <a:cxn ang="0">
                    <a:pos x="59" y="37"/>
                  </a:cxn>
                  <a:cxn ang="0">
                    <a:pos x="48" y="42"/>
                  </a:cxn>
                  <a:cxn ang="0">
                    <a:pos x="43" y="49"/>
                  </a:cxn>
                  <a:cxn ang="0">
                    <a:pos x="36" y="54"/>
                  </a:cxn>
                  <a:cxn ang="0">
                    <a:pos x="31" y="49"/>
                  </a:cxn>
                  <a:cxn ang="0">
                    <a:pos x="28" y="45"/>
                  </a:cxn>
                  <a:cxn ang="0">
                    <a:pos x="21" y="45"/>
                  </a:cxn>
                  <a:cxn ang="0">
                    <a:pos x="14" y="45"/>
                  </a:cxn>
                  <a:cxn ang="0">
                    <a:pos x="9" y="47"/>
                  </a:cxn>
                  <a:cxn ang="0">
                    <a:pos x="5" y="50"/>
                  </a:cxn>
                  <a:cxn ang="0">
                    <a:pos x="2" y="45"/>
                  </a:cxn>
                  <a:cxn ang="0">
                    <a:pos x="0" y="42"/>
                  </a:cxn>
                  <a:cxn ang="0">
                    <a:pos x="4" y="37"/>
                  </a:cxn>
                  <a:cxn ang="0">
                    <a:pos x="12" y="33"/>
                  </a:cxn>
                  <a:cxn ang="0">
                    <a:pos x="22" y="28"/>
                  </a:cxn>
                  <a:cxn ang="0">
                    <a:pos x="36" y="23"/>
                  </a:cxn>
                  <a:cxn ang="0">
                    <a:pos x="41" y="16"/>
                  </a:cxn>
                  <a:cxn ang="0">
                    <a:pos x="47" y="11"/>
                  </a:cxn>
                  <a:cxn ang="0">
                    <a:pos x="52" y="6"/>
                  </a:cxn>
                  <a:cxn ang="0">
                    <a:pos x="62" y="4"/>
                  </a:cxn>
                  <a:cxn ang="0">
                    <a:pos x="65" y="4"/>
                  </a:cxn>
                  <a:cxn ang="0">
                    <a:pos x="71" y="6"/>
                  </a:cxn>
                  <a:cxn ang="0">
                    <a:pos x="74" y="4"/>
                  </a:cxn>
                  <a:cxn ang="0">
                    <a:pos x="86" y="2"/>
                  </a:cxn>
                  <a:cxn ang="0">
                    <a:pos x="96" y="0"/>
                  </a:cxn>
                  <a:cxn ang="0">
                    <a:pos x="102" y="6"/>
                  </a:cxn>
                </a:cxnLst>
                <a:rect l="0" t="0" r="r" b="b"/>
                <a:pathLst>
                  <a:path w="102" h="54">
                    <a:moveTo>
                      <a:pt x="102" y="6"/>
                    </a:moveTo>
                    <a:lnTo>
                      <a:pt x="98" y="9"/>
                    </a:lnTo>
                    <a:lnTo>
                      <a:pt x="95" y="14"/>
                    </a:lnTo>
                    <a:lnTo>
                      <a:pt x="96" y="19"/>
                    </a:lnTo>
                    <a:lnTo>
                      <a:pt x="100" y="24"/>
                    </a:lnTo>
                    <a:lnTo>
                      <a:pt x="78" y="40"/>
                    </a:lnTo>
                    <a:lnTo>
                      <a:pt x="69" y="33"/>
                    </a:lnTo>
                    <a:lnTo>
                      <a:pt x="65" y="26"/>
                    </a:lnTo>
                    <a:lnTo>
                      <a:pt x="59" y="37"/>
                    </a:lnTo>
                    <a:lnTo>
                      <a:pt x="48" y="42"/>
                    </a:lnTo>
                    <a:lnTo>
                      <a:pt x="43" y="49"/>
                    </a:lnTo>
                    <a:lnTo>
                      <a:pt x="36" y="54"/>
                    </a:lnTo>
                    <a:lnTo>
                      <a:pt x="31" y="49"/>
                    </a:lnTo>
                    <a:lnTo>
                      <a:pt x="28" y="45"/>
                    </a:lnTo>
                    <a:lnTo>
                      <a:pt x="21" y="45"/>
                    </a:lnTo>
                    <a:lnTo>
                      <a:pt x="14" y="45"/>
                    </a:lnTo>
                    <a:lnTo>
                      <a:pt x="9" y="47"/>
                    </a:lnTo>
                    <a:lnTo>
                      <a:pt x="5" y="50"/>
                    </a:lnTo>
                    <a:lnTo>
                      <a:pt x="2" y="45"/>
                    </a:lnTo>
                    <a:lnTo>
                      <a:pt x="0" y="42"/>
                    </a:lnTo>
                    <a:lnTo>
                      <a:pt x="4" y="37"/>
                    </a:lnTo>
                    <a:lnTo>
                      <a:pt x="12" y="33"/>
                    </a:lnTo>
                    <a:lnTo>
                      <a:pt x="22" y="28"/>
                    </a:lnTo>
                    <a:lnTo>
                      <a:pt x="36" y="23"/>
                    </a:lnTo>
                    <a:lnTo>
                      <a:pt x="41" y="16"/>
                    </a:lnTo>
                    <a:lnTo>
                      <a:pt x="47" y="11"/>
                    </a:lnTo>
                    <a:lnTo>
                      <a:pt x="52" y="6"/>
                    </a:lnTo>
                    <a:lnTo>
                      <a:pt x="62" y="4"/>
                    </a:lnTo>
                    <a:lnTo>
                      <a:pt x="65" y="4"/>
                    </a:lnTo>
                    <a:lnTo>
                      <a:pt x="71" y="6"/>
                    </a:lnTo>
                    <a:lnTo>
                      <a:pt x="74" y="4"/>
                    </a:lnTo>
                    <a:lnTo>
                      <a:pt x="86" y="2"/>
                    </a:lnTo>
                    <a:lnTo>
                      <a:pt x="96" y="0"/>
                    </a:lnTo>
                    <a:lnTo>
                      <a:pt x="102"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1" name="Freeform 308"/>
              <p:cNvSpPr>
                <a:spLocks/>
              </p:cNvSpPr>
              <p:nvPr/>
            </p:nvSpPr>
            <p:spPr bwMode="auto">
              <a:xfrm>
                <a:off x="1702594" y="1668463"/>
                <a:ext cx="92075" cy="26987"/>
              </a:xfrm>
              <a:custGeom>
                <a:avLst/>
                <a:gdLst/>
                <a:ahLst/>
                <a:cxnLst>
                  <a:cxn ang="0">
                    <a:pos x="22" y="17"/>
                  </a:cxn>
                  <a:cxn ang="0">
                    <a:pos x="15" y="15"/>
                  </a:cxn>
                  <a:cxn ang="0">
                    <a:pos x="10" y="14"/>
                  </a:cxn>
                  <a:cxn ang="0">
                    <a:pos x="3" y="15"/>
                  </a:cxn>
                  <a:cxn ang="0">
                    <a:pos x="0" y="17"/>
                  </a:cxn>
                  <a:cxn ang="0">
                    <a:pos x="3" y="10"/>
                  </a:cxn>
                  <a:cxn ang="0">
                    <a:pos x="15" y="5"/>
                  </a:cxn>
                  <a:cxn ang="0">
                    <a:pos x="28" y="0"/>
                  </a:cxn>
                  <a:cxn ang="0">
                    <a:pos x="36" y="0"/>
                  </a:cxn>
                  <a:cxn ang="0">
                    <a:pos x="50" y="3"/>
                  </a:cxn>
                  <a:cxn ang="0">
                    <a:pos x="58" y="12"/>
                  </a:cxn>
                  <a:cxn ang="0">
                    <a:pos x="52" y="15"/>
                  </a:cxn>
                  <a:cxn ang="0">
                    <a:pos x="45" y="17"/>
                  </a:cxn>
                  <a:cxn ang="0">
                    <a:pos x="36" y="17"/>
                  </a:cxn>
                  <a:cxn ang="0">
                    <a:pos x="33" y="17"/>
                  </a:cxn>
                  <a:cxn ang="0">
                    <a:pos x="28" y="17"/>
                  </a:cxn>
                  <a:cxn ang="0">
                    <a:pos x="22" y="17"/>
                  </a:cxn>
                </a:cxnLst>
                <a:rect l="0" t="0" r="r" b="b"/>
                <a:pathLst>
                  <a:path w="58" h="17">
                    <a:moveTo>
                      <a:pt x="22" y="17"/>
                    </a:moveTo>
                    <a:lnTo>
                      <a:pt x="15" y="15"/>
                    </a:lnTo>
                    <a:lnTo>
                      <a:pt x="10" y="14"/>
                    </a:lnTo>
                    <a:lnTo>
                      <a:pt x="3" y="15"/>
                    </a:lnTo>
                    <a:lnTo>
                      <a:pt x="0" y="17"/>
                    </a:lnTo>
                    <a:lnTo>
                      <a:pt x="3" y="10"/>
                    </a:lnTo>
                    <a:lnTo>
                      <a:pt x="15" y="5"/>
                    </a:lnTo>
                    <a:lnTo>
                      <a:pt x="28" y="0"/>
                    </a:lnTo>
                    <a:lnTo>
                      <a:pt x="36" y="0"/>
                    </a:lnTo>
                    <a:lnTo>
                      <a:pt x="50" y="3"/>
                    </a:lnTo>
                    <a:lnTo>
                      <a:pt x="58" y="12"/>
                    </a:lnTo>
                    <a:lnTo>
                      <a:pt x="52" y="15"/>
                    </a:lnTo>
                    <a:lnTo>
                      <a:pt x="45" y="17"/>
                    </a:lnTo>
                    <a:lnTo>
                      <a:pt x="36" y="17"/>
                    </a:lnTo>
                    <a:lnTo>
                      <a:pt x="33" y="17"/>
                    </a:lnTo>
                    <a:lnTo>
                      <a:pt x="28" y="17"/>
                    </a:lnTo>
                    <a:lnTo>
                      <a:pt x="22"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2" name="Freeform 309"/>
              <p:cNvSpPr>
                <a:spLocks/>
              </p:cNvSpPr>
              <p:nvPr/>
            </p:nvSpPr>
            <p:spPr bwMode="auto">
              <a:xfrm>
                <a:off x="1705769" y="1700213"/>
                <a:ext cx="79375" cy="41275"/>
              </a:xfrm>
              <a:custGeom>
                <a:avLst/>
                <a:gdLst/>
                <a:ahLst/>
                <a:cxnLst>
                  <a:cxn ang="0">
                    <a:pos x="43" y="11"/>
                  </a:cxn>
                  <a:cxn ang="0">
                    <a:pos x="39" y="16"/>
                  </a:cxn>
                  <a:cxn ang="0">
                    <a:pos x="32" y="21"/>
                  </a:cxn>
                  <a:cxn ang="0">
                    <a:pos x="24" y="25"/>
                  </a:cxn>
                  <a:cxn ang="0">
                    <a:pos x="15" y="26"/>
                  </a:cxn>
                  <a:cxn ang="0">
                    <a:pos x="5" y="21"/>
                  </a:cxn>
                  <a:cxn ang="0">
                    <a:pos x="0" y="13"/>
                  </a:cxn>
                  <a:cxn ang="0">
                    <a:pos x="3" y="4"/>
                  </a:cxn>
                  <a:cxn ang="0">
                    <a:pos x="15" y="0"/>
                  </a:cxn>
                  <a:cxn ang="0">
                    <a:pos x="29" y="0"/>
                  </a:cxn>
                  <a:cxn ang="0">
                    <a:pos x="41" y="0"/>
                  </a:cxn>
                  <a:cxn ang="0">
                    <a:pos x="46" y="2"/>
                  </a:cxn>
                  <a:cxn ang="0">
                    <a:pos x="50" y="6"/>
                  </a:cxn>
                  <a:cxn ang="0">
                    <a:pos x="39" y="9"/>
                  </a:cxn>
                  <a:cxn ang="0">
                    <a:pos x="29" y="11"/>
                  </a:cxn>
                  <a:cxn ang="0">
                    <a:pos x="43" y="11"/>
                  </a:cxn>
                </a:cxnLst>
                <a:rect l="0" t="0" r="r" b="b"/>
                <a:pathLst>
                  <a:path w="50" h="26">
                    <a:moveTo>
                      <a:pt x="43" y="11"/>
                    </a:moveTo>
                    <a:lnTo>
                      <a:pt x="39" y="16"/>
                    </a:lnTo>
                    <a:lnTo>
                      <a:pt x="32" y="21"/>
                    </a:lnTo>
                    <a:lnTo>
                      <a:pt x="24" y="25"/>
                    </a:lnTo>
                    <a:lnTo>
                      <a:pt x="15" y="26"/>
                    </a:lnTo>
                    <a:lnTo>
                      <a:pt x="5" y="21"/>
                    </a:lnTo>
                    <a:lnTo>
                      <a:pt x="0" y="13"/>
                    </a:lnTo>
                    <a:lnTo>
                      <a:pt x="3" y="4"/>
                    </a:lnTo>
                    <a:lnTo>
                      <a:pt x="15" y="0"/>
                    </a:lnTo>
                    <a:lnTo>
                      <a:pt x="29" y="0"/>
                    </a:lnTo>
                    <a:lnTo>
                      <a:pt x="41" y="0"/>
                    </a:lnTo>
                    <a:lnTo>
                      <a:pt x="46" y="2"/>
                    </a:lnTo>
                    <a:lnTo>
                      <a:pt x="50" y="6"/>
                    </a:lnTo>
                    <a:lnTo>
                      <a:pt x="39" y="9"/>
                    </a:lnTo>
                    <a:lnTo>
                      <a:pt x="29" y="11"/>
                    </a:lnTo>
                    <a:lnTo>
                      <a:pt x="43"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3" name="Freeform 310"/>
              <p:cNvSpPr>
                <a:spLocks/>
              </p:cNvSpPr>
              <p:nvPr/>
            </p:nvSpPr>
            <p:spPr bwMode="auto">
              <a:xfrm>
                <a:off x="1667669" y="1703388"/>
                <a:ext cx="26988" cy="22225"/>
              </a:xfrm>
              <a:custGeom>
                <a:avLst/>
                <a:gdLst/>
                <a:ahLst/>
                <a:cxnLst>
                  <a:cxn ang="0">
                    <a:pos x="17" y="9"/>
                  </a:cxn>
                  <a:cxn ang="0">
                    <a:pos x="13" y="12"/>
                  </a:cxn>
                  <a:cxn ang="0">
                    <a:pos x="10" y="14"/>
                  </a:cxn>
                  <a:cxn ang="0">
                    <a:pos x="1" y="11"/>
                  </a:cxn>
                  <a:cxn ang="0">
                    <a:pos x="0" y="7"/>
                  </a:cxn>
                  <a:cxn ang="0">
                    <a:pos x="1" y="0"/>
                  </a:cxn>
                  <a:cxn ang="0">
                    <a:pos x="7" y="2"/>
                  </a:cxn>
                  <a:cxn ang="0">
                    <a:pos x="12" y="5"/>
                  </a:cxn>
                  <a:cxn ang="0">
                    <a:pos x="17" y="9"/>
                  </a:cxn>
                </a:cxnLst>
                <a:rect l="0" t="0" r="r" b="b"/>
                <a:pathLst>
                  <a:path w="17" h="14">
                    <a:moveTo>
                      <a:pt x="17" y="9"/>
                    </a:moveTo>
                    <a:lnTo>
                      <a:pt x="13" y="12"/>
                    </a:lnTo>
                    <a:lnTo>
                      <a:pt x="10" y="14"/>
                    </a:lnTo>
                    <a:lnTo>
                      <a:pt x="1" y="11"/>
                    </a:lnTo>
                    <a:lnTo>
                      <a:pt x="0" y="7"/>
                    </a:lnTo>
                    <a:lnTo>
                      <a:pt x="1" y="0"/>
                    </a:lnTo>
                    <a:lnTo>
                      <a:pt x="7" y="2"/>
                    </a:lnTo>
                    <a:lnTo>
                      <a:pt x="12" y="5"/>
                    </a:lnTo>
                    <a:lnTo>
                      <a:pt x="17" y="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4" name="Freeform 311"/>
              <p:cNvSpPr>
                <a:spLocks/>
              </p:cNvSpPr>
              <p:nvPr/>
            </p:nvSpPr>
            <p:spPr bwMode="auto">
              <a:xfrm>
                <a:off x="1964532" y="1905000"/>
                <a:ext cx="136525" cy="109537"/>
              </a:xfrm>
              <a:custGeom>
                <a:avLst/>
                <a:gdLst/>
                <a:ahLst/>
                <a:cxnLst>
                  <a:cxn ang="0">
                    <a:pos x="76" y="26"/>
                  </a:cxn>
                  <a:cxn ang="0">
                    <a:pos x="74" y="30"/>
                  </a:cxn>
                  <a:cxn ang="0">
                    <a:pos x="74" y="33"/>
                  </a:cxn>
                  <a:cxn ang="0">
                    <a:pos x="79" y="33"/>
                  </a:cxn>
                  <a:cxn ang="0">
                    <a:pos x="86" y="37"/>
                  </a:cxn>
                  <a:cxn ang="0">
                    <a:pos x="84" y="43"/>
                  </a:cxn>
                  <a:cxn ang="0">
                    <a:pos x="83" y="50"/>
                  </a:cxn>
                  <a:cxn ang="0">
                    <a:pos x="81" y="54"/>
                  </a:cxn>
                  <a:cxn ang="0">
                    <a:pos x="81" y="57"/>
                  </a:cxn>
                  <a:cxn ang="0">
                    <a:pos x="74" y="59"/>
                  </a:cxn>
                  <a:cxn ang="0">
                    <a:pos x="65" y="62"/>
                  </a:cxn>
                  <a:cxn ang="0">
                    <a:pos x="60" y="66"/>
                  </a:cxn>
                  <a:cxn ang="0">
                    <a:pos x="55" y="69"/>
                  </a:cxn>
                  <a:cxn ang="0">
                    <a:pos x="48" y="66"/>
                  </a:cxn>
                  <a:cxn ang="0">
                    <a:pos x="45" y="61"/>
                  </a:cxn>
                  <a:cxn ang="0">
                    <a:pos x="33" y="52"/>
                  </a:cxn>
                  <a:cxn ang="0">
                    <a:pos x="22" y="47"/>
                  </a:cxn>
                  <a:cxn ang="0">
                    <a:pos x="10" y="42"/>
                  </a:cxn>
                  <a:cxn ang="0">
                    <a:pos x="0" y="35"/>
                  </a:cxn>
                  <a:cxn ang="0">
                    <a:pos x="0" y="26"/>
                  </a:cxn>
                  <a:cxn ang="0">
                    <a:pos x="10" y="28"/>
                  </a:cxn>
                  <a:cxn ang="0">
                    <a:pos x="22" y="31"/>
                  </a:cxn>
                  <a:cxn ang="0">
                    <a:pos x="26" y="31"/>
                  </a:cxn>
                  <a:cxn ang="0">
                    <a:pos x="31" y="31"/>
                  </a:cxn>
                  <a:cxn ang="0">
                    <a:pos x="31" y="18"/>
                  </a:cxn>
                  <a:cxn ang="0">
                    <a:pos x="19" y="16"/>
                  </a:cxn>
                  <a:cxn ang="0">
                    <a:pos x="14" y="12"/>
                  </a:cxn>
                  <a:cxn ang="0">
                    <a:pos x="16" y="9"/>
                  </a:cxn>
                  <a:cxn ang="0">
                    <a:pos x="17" y="7"/>
                  </a:cxn>
                  <a:cxn ang="0">
                    <a:pos x="31" y="0"/>
                  </a:cxn>
                  <a:cxn ang="0">
                    <a:pos x="48" y="2"/>
                  </a:cxn>
                  <a:cxn ang="0">
                    <a:pos x="60" y="2"/>
                  </a:cxn>
                  <a:cxn ang="0">
                    <a:pos x="69" y="2"/>
                  </a:cxn>
                  <a:cxn ang="0">
                    <a:pos x="71" y="2"/>
                  </a:cxn>
                  <a:cxn ang="0">
                    <a:pos x="72" y="6"/>
                  </a:cxn>
                  <a:cxn ang="0">
                    <a:pos x="65" y="18"/>
                  </a:cxn>
                  <a:cxn ang="0">
                    <a:pos x="57" y="25"/>
                  </a:cxn>
                  <a:cxn ang="0">
                    <a:pos x="60" y="23"/>
                  </a:cxn>
                  <a:cxn ang="0">
                    <a:pos x="67" y="23"/>
                  </a:cxn>
                  <a:cxn ang="0">
                    <a:pos x="72" y="21"/>
                  </a:cxn>
                  <a:cxn ang="0">
                    <a:pos x="76" y="26"/>
                  </a:cxn>
                </a:cxnLst>
                <a:rect l="0" t="0" r="r" b="b"/>
                <a:pathLst>
                  <a:path w="86" h="69">
                    <a:moveTo>
                      <a:pt x="76" y="26"/>
                    </a:moveTo>
                    <a:lnTo>
                      <a:pt x="74" y="30"/>
                    </a:lnTo>
                    <a:lnTo>
                      <a:pt x="74" y="33"/>
                    </a:lnTo>
                    <a:lnTo>
                      <a:pt x="79" y="33"/>
                    </a:lnTo>
                    <a:lnTo>
                      <a:pt x="86" y="37"/>
                    </a:lnTo>
                    <a:lnTo>
                      <a:pt x="84" y="43"/>
                    </a:lnTo>
                    <a:lnTo>
                      <a:pt x="83" y="50"/>
                    </a:lnTo>
                    <a:lnTo>
                      <a:pt x="81" y="54"/>
                    </a:lnTo>
                    <a:lnTo>
                      <a:pt x="81" y="57"/>
                    </a:lnTo>
                    <a:lnTo>
                      <a:pt x="74" y="59"/>
                    </a:lnTo>
                    <a:lnTo>
                      <a:pt x="65" y="62"/>
                    </a:lnTo>
                    <a:lnTo>
                      <a:pt x="60" y="66"/>
                    </a:lnTo>
                    <a:lnTo>
                      <a:pt x="55" y="69"/>
                    </a:lnTo>
                    <a:lnTo>
                      <a:pt x="48" y="66"/>
                    </a:lnTo>
                    <a:lnTo>
                      <a:pt x="45" y="61"/>
                    </a:lnTo>
                    <a:lnTo>
                      <a:pt x="33" y="52"/>
                    </a:lnTo>
                    <a:lnTo>
                      <a:pt x="22" y="47"/>
                    </a:lnTo>
                    <a:lnTo>
                      <a:pt x="10" y="42"/>
                    </a:lnTo>
                    <a:lnTo>
                      <a:pt x="0" y="35"/>
                    </a:lnTo>
                    <a:lnTo>
                      <a:pt x="0" y="26"/>
                    </a:lnTo>
                    <a:lnTo>
                      <a:pt x="10" y="28"/>
                    </a:lnTo>
                    <a:lnTo>
                      <a:pt x="22" y="31"/>
                    </a:lnTo>
                    <a:lnTo>
                      <a:pt x="26" y="31"/>
                    </a:lnTo>
                    <a:lnTo>
                      <a:pt x="31" y="31"/>
                    </a:lnTo>
                    <a:lnTo>
                      <a:pt x="31" y="18"/>
                    </a:lnTo>
                    <a:lnTo>
                      <a:pt x="19" y="16"/>
                    </a:lnTo>
                    <a:lnTo>
                      <a:pt x="14" y="12"/>
                    </a:lnTo>
                    <a:lnTo>
                      <a:pt x="16" y="9"/>
                    </a:lnTo>
                    <a:lnTo>
                      <a:pt x="17" y="7"/>
                    </a:lnTo>
                    <a:lnTo>
                      <a:pt x="31" y="0"/>
                    </a:lnTo>
                    <a:lnTo>
                      <a:pt x="48" y="2"/>
                    </a:lnTo>
                    <a:lnTo>
                      <a:pt x="60" y="2"/>
                    </a:lnTo>
                    <a:lnTo>
                      <a:pt x="69" y="2"/>
                    </a:lnTo>
                    <a:lnTo>
                      <a:pt x="71" y="2"/>
                    </a:lnTo>
                    <a:lnTo>
                      <a:pt x="72" y="6"/>
                    </a:lnTo>
                    <a:lnTo>
                      <a:pt x="65" y="18"/>
                    </a:lnTo>
                    <a:lnTo>
                      <a:pt x="57" y="25"/>
                    </a:lnTo>
                    <a:lnTo>
                      <a:pt x="60" y="23"/>
                    </a:lnTo>
                    <a:lnTo>
                      <a:pt x="67" y="23"/>
                    </a:lnTo>
                    <a:lnTo>
                      <a:pt x="72" y="21"/>
                    </a:lnTo>
                    <a:lnTo>
                      <a:pt x="76"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5" name="Freeform 312"/>
              <p:cNvSpPr>
                <a:spLocks/>
              </p:cNvSpPr>
              <p:nvPr/>
            </p:nvSpPr>
            <p:spPr bwMode="auto">
              <a:xfrm>
                <a:off x="1915319" y="1771650"/>
                <a:ext cx="152400" cy="76200"/>
              </a:xfrm>
              <a:custGeom>
                <a:avLst/>
                <a:gdLst/>
                <a:ahLst/>
                <a:cxnLst>
                  <a:cxn ang="0">
                    <a:pos x="4" y="12"/>
                  </a:cxn>
                  <a:cxn ang="0">
                    <a:pos x="0" y="7"/>
                  </a:cxn>
                  <a:cxn ang="0">
                    <a:pos x="0" y="2"/>
                  </a:cxn>
                  <a:cxn ang="0">
                    <a:pos x="2" y="2"/>
                  </a:cxn>
                  <a:cxn ang="0">
                    <a:pos x="5" y="2"/>
                  </a:cxn>
                  <a:cxn ang="0">
                    <a:pos x="14" y="5"/>
                  </a:cxn>
                  <a:cxn ang="0">
                    <a:pos x="24" y="14"/>
                  </a:cxn>
                  <a:cxn ang="0">
                    <a:pos x="31" y="21"/>
                  </a:cxn>
                  <a:cxn ang="0">
                    <a:pos x="43" y="23"/>
                  </a:cxn>
                  <a:cxn ang="0">
                    <a:pos x="36" y="17"/>
                  </a:cxn>
                  <a:cxn ang="0">
                    <a:pos x="33" y="14"/>
                  </a:cxn>
                  <a:cxn ang="0">
                    <a:pos x="33" y="9"/>
                  </a:cxn>
                  <a:cxn ang="0">
                    <a:pos x="40" y="9"/>
                  </a:cxn>
                  <a:cxn ang="0">
                    <a:pos x="47" y="14"/>
                  </a:cxn>
                  <a:cxn ang="0">
                    <a:pos x="52" y="16"/>
                  </a:cxn>
                  <a:cxn ang="0">
                    <a:pos x="62" y="19"/>
                  </a:cxn>
                  <a:cxn ang="0">
                    <a:pos x="62" y="9"/>
                  </a:cxn>
                  <a:cxn ang="0">
                    <a:pos x="48" y="7"/>
                  </a:cxn>
                  <a:cxn ang="0">
                    <a:pos x="43" y="2"/>
                  </a:cxn>
                  <a:cxn ang="0">
                    <a:pos x="47" y="0"/>
                  </a:cxn>
                  <a:cxn ang="0">
                    <a:pos x="52" y="0"/>
                  </a:cxn>
                  <a:cxn ang="0">
                    <a:pos x="62" y="2"/>
                  </a:cxn>
                  <a:cxn ang="0">
                    <a:pos x="76" y="5"/>
                  </a:cxn>
                  <a:cxn ang="0">
                    <a:pos x="79" y="4"/>
                  </a:cxn>
                  <a:cxn ang="0">
                    <a:pos x="86" y="2"/>
                  </a:cxn>
                  <a:cxn ang="0">
                    <a:pos x="93" y="5"/>
                  </a:cxn>
                  <a:cxn ang="0">
                    <a:pos x="96" y="14"/>
                  </a:cxn>
                  <a:cxn ang="0">
                    <a:pos x="95" y="21"/>
                  </a:cxn>
                  <a:cxn ang="0">
                    <a:pos x="93" y="29"/>
                  </a:cxn>
                  <a:cxn ang="0">
                    <a:pos x="90" y="36"/>
                  </a:cxn>
                  <a:cxn ang="0">
                    <a:pos x="91" y="47"/>
                  </a:cxn>
                  <a:cxn ang="0">
                    <a:pos x="78" y="47"/>
                  </a:cxn>
                  <a:cxn ang="0">
                    <a:pos x="71" y="48"/>
                  </a:cxn>
                  <a:cxn ang="0">
                    <a:pos x="66" y="48"/>
                  </a:cxn>
                  <a:cxn ang="0">
                    <a:pos x="62" y="48"/>
                  </a:cxn>
                  <a:cxn ang="0">
                    <a:pos x="57" y="47"/>
                  </a:cxn>
                  <a:cxn ang="0">
                    <a:pos x="55" y="47"/>
                  </a:cxn>
                  <a:cxn ang="0">
                    <a:pos x="55" y="43"/>
                  </a:cxn>
                  <a:cxn ang="0">
                    <a:pos x="59" y="41"/>
                  </a:cxn>
                  <a:cxn ang="0">
                    <a:pos x="59" y="38"/>
                  </a:cxn>
                  <a:cxn ang="0">
                    <a:pos x="59" y="36"/>
                  </a:cxn>
                  <a:cxn ang="0">
                    <a:pos x="64" y="31"/>
                  </a:cxn>
                  <a:cxn ang="0">
                    <a:pos x="71" y="29"/>
                  </a:cxn>
                  <a:cxn ang="0">
                    <a:pos x="67" y="28"/>
                  </a:cxn>
                  <a:cxn ang="0">
                    <a:pos x="66" y="28"/>
                  </a:cxn>
                  <a:cxn ang="0">
                    <a:pos x="55" y="28"/>
                  </a:cxn>
                  <a:cxn ang="0">
                    <a:pos x="47" y="29"/>
                  </a:cxn>
                  <a:cxn ang="0">
                    <a:pos x="36" y="31"/>
                  </a:cxn>
                  <a:cxn ang="0">
                    <a:pos x="28" y="33"/>
                  </a:cxn>
                  <a:cxn ang="0">
                    <a:pos x="23" y="29"/>
                  </a:cxn>
                  <a:cxn ang="0">
                    <a:pos x="23" y="26"/>
                  </a:cxn>
                  <a:cxn ang="0">
                    <a:pos x="14" y="26"/>
                  </a:cxn>
                  <a:cxn ang="0">
                    <a:pos x="14" y="21"/>
                  </a:cxn>
                  <a:cxn ang="0">
                    <a:pos x="5" y="19"/>
                  </a:cxn>
                  <a:cxn ang="0">
                    <a:pos x="0" y="16"/>
                  </a:cxn>
                  <a:cxn ang="0">
                    <a:pos x="0" y="7"/>
                  </a:cxn>
                  <a:cxn ang="0">
                    <a:pos x="4" y="12"/>
                  </a:cxn>
                </a:cxnLst>
                <a:rect l="0" t="0" r="r" b="b"/>
                <a:pathLst>
                  <a:path w="96" h="48">
                    <a:moveTo>
                      <a:pt x="4" y="12"/>
                    </a:moveTo>
                    <a:lnTo>
                      <a:pt x="0" y="7"/>
                    </a:lnTo>
                    <a:lnTo>
                      <a:pt x="0" y="2"/>
                    </a:lnTo>
                    <a:lnTo>
                      <a:pt x="2" y="2"/>
                    </a:lnTo>
                    <a:lnTo>
                      <a:pt x="5" y="2"/>
                    </a:lnTo>
                    <a:lnTo>
                      <a:pt x="14" y="5"/>
                    </a:lnTo>
                    <a:lnTo>
                      <a:pt x="24" y="14"/>
                    </a:lnTo>
                    <a:lnTo>
                      <a:pt x="31" y="21"/>
                    </a:lnTo>
                    <a:lnTo>
                      <a:pt x="43" y="23"/>
                    </a:lnTo>
                    <a:lnTo>
                      <a:pt x="36" y="17"/>
                    </a:lnTo>
                    <a:lnTo>
                      <a:pt x="33" y="14"/>
                    </a:lnTo>
                    <a:lnTo>
                      <a:pt x="33" y="9"/>
                    </a:lnTo>
                    <a:lnTo>
                      <a:pt x="40" y="9"/>
                    </a:lnTo>
                    <a:lnTo>
                      <a:pt x="47" y="14"/>
                    </a:lnTo>
                    <a:lnTo>
                      <a:pt x="52" y="16"/>
                    </a:lnTo>
                    <a:lnTo>
                      <a:pt x="62" y="19"/>
                    </a:lnTo>
                    <a:lnTo>
                      <a:pt x="62" y="9"/>
                    </a:lnTo>
                    <a:lnTo>
                      <a:pt x="48" y="7"/>
                    </a:lnTo>
                    <a:lnTo>
                      <a:pt x="43" y="2"/>
                    </a:lnTo>
                    <a:lnTo>
                      <a:pt x="47" y="0"/>
                    </a:lnTo>
                    <a:lnTo>
                      <a:pt x="52" y="0"/>
                    </a:lnTo>
                    <a:lnTo>
                      <a:pt x="62" y="2"/>
                    </a:lnTo>
                    <a:lnTo>
                      <a:pt x="76" y="5"/>
                    </a:lnTo>
                    <a:lnTo>
                      <a:pt x="79" y="4"/>
                    </a:lnTo>
                    <a:lnTo>
                      <a:pt x="86" y="2"/>
                    </a:lnTo>
                    <a:lnTo>
                      <a:pt x="93" y="5"/>
                    </a:lnTo>
                    <a:lnTo>
                      <a:pt x="96" y="14"/>
                    </a:lnTo>
                    <a:lnTo>
                      <a:pt x="95" y="21"/>
                    </a:lnTo>
                    <a:lnTo>
                      <a:pt x="93" y="29"/>
                    </a:lnTo>
                    <a:lnTo>
                      <a:pt x="90" y="36"/>
                    </a:lnTo>
                    <a:lnTo>
                      <a:pt x="91" y="47"/>
                    </a:lnTo>
                    <a:lnTo>
                      <a:pt x="78" y="47"/>
                    </a:lnTo>
                    <a:lnTo>
                      <a:pt x="71" y="48"/>
                    </a:lnTo>
                    <a:lnTo>
                      <a:pt x="66" y="48"/>
                    </a:lnTo>
                    <a:lnTo>
                      <a:pt x="62" y="48"/>
                    </a:lnTo>
                    <a:lnTo>
                      <a:pt x="57" y="47"/>
                    </a:lnTo>
                    <a:lnTo>
                      <a:pt x="55" y="47"/>
                    </a:lnTo>
                    <a:lnTo>
                      <a:pt x="55" y="43"/>
                    </a:lnTo>
                    <a:lnTo>
                      <a:pt x="59" y="41"/>
                    </a:lnTo>
                    <a:lnTo>
                      <a:pt x="59" y="38"/>
                    </a:lnTo>
                    <a:lnTo>
                      <a:pt x="59" y="36"/>
                    </a:lnTo>
                    <a:lnTo>
                      <a:pt x="64" y="31"/>
                    </a:lnTo>
                    <a:lnTo>
                      <a:pt x="71" y="29"/>
                    </a:lnTo>
                    <a:lnTo>
                      <a:pt x="67" y="28"/>
                    </a:lnTo>
                    <a:lnTo>
                      <a:pt x="66" y="28"/>
                    </a:lnTo>
                    <a:lnTo>
                      <a:pt x="55" y="28"/>
                    </a:lnTo>
                    <a:lnTo>
                      <a:pt x="47" y="29"/>
                    </a:lnTo>
                    <a:lnTo>
                      <a:pt x="36" y="31"/>
                    </a:lnTo>
                    <a:lnTo>
                      <a:pt x="28" y="33"/>
                    </a:lnTo>
                    <a:lnTo>
                      <a:pt x="23" y="29"/>
                    </a:lnTo>
                    <a:lnTo>
                      <a:pt x="23" y="26"/>
                    </a:lnTo>
                    <a:lnTo>
                      <a:pt x="14" y="26"/>
                    </a:lnTo>
                    <a:lnTo>
                      <a:pt x="14" y="21"/>
                    </a:lnTo>
                    <a:lnTo>
                      <a:pt x="5" y="19"/>
                    </a:lnTo>
                    <a:lnTo>
                      <a:pt x="0" y="16"/>
                    </a:lnTo>
                    <a:lnTo>
                      <a:pt x="0" y="7"/>
                    </a:lnTo>
                    <a:lnTo>
                      <a:pt x="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6" name="Freeform 313"/>
              <p:cNvSpPr>
                <a:spLocks/>
              </p:cNvSpPr>
              <p:nvPr/>
            </p:nvSpPr>
            <p:spPr bwMode="auto">
              <a:xfrm>
                <a:off x="2029619" y="2078038"/>
                <a:ext cx="90488" cy="53975"/>
              </a:xfrm>
              <a:custGeom>
                <a:avLst/>
                <a:gdLst/>
                <a:ahLst/>
                <a:cxnLst>
                  <a:cxn ang="0">
                    <a:pos x="45" y="34"/>
                  </a:cxn>
                  <a:cxn ang="0">
                    <a:pos x="35" y="31"/>
                  </a:cxn>
                  <a:cxn ang="0">
                    <a:pos x="19" y="26"/>
                  </a:cxn>
                  <a:cxn ang="0">
                    <a:pos x="6" y="20"/>
                  </a:cxn>
                  <a:cxn ang="0">
                    <a:pos x="0" y="19"/>
                  </a:cxn>
                  <a:cxn ang="0">
                    <a:pos x="6" y="15"/>
                  </a:cxn>
                  <a:cxn ang="0">
                    <a:pos x="12" y="17"/>
                  </a:cxn>
                  <a:cxn ang="0">
                    <a:pos x="14" y="12"/>
                  </a:cxn>
                  <a:cxn ang="0">
                    <a:pos x="16" y="7"/>
                  </a:cxn>
                  <a:cxn ang="0">
                    <a:pos x="19" y="2"/>
                  </a:cxn>
                  <a:cxn ang="0">
                    <a:pos x="26" y="0"/>
                  </a:cxn>
                  <a:cxn ang="0">
                    <a:pos x="33" y="2"/>
                  </a:cxn>
                  <a:cxn ang="0">
                    <a:pos x="43" y="10"/>
                  </a:cxn>
                  <a:cxn ang="0">
                    <a:pos x="52" y="17"/>
                  </a:cxn>
                  <a:cxn ang="0">
                    <a:pos x="57" y="26"/>
                  </a:cxn>
                  <a:cxn ang="0">
                    <a:pos x="50" y="31"/>
                  </a:cxn>
                  <a:cxn ang="0">
                    <a:pos x="45" y="34"/>
                  </a:cxn>
                </a:cxnLst>
                <a:rect l="0" t="0" r="r" b="b"/>
                <a:pathLst>
                  <a:path w="57" h="34">
                    <a:moveTo>
                      <a:pt x="45" y="34"/>
                    </a:moveTo>
                    <a:lnTo>
                      <a:pt x="35" y="31"/>
                    </a:lnTo>
                    <a:lnTo>
                      <a:pt x="19" y="26"/>
                    </a:lnTo>
                    <a:lnTo>
                      <a:pt x="6" y="20"/>
                    </a:lnTo>
                    <a:lnTo>
                      <a:pt x="0" y="19"/>
                    </a:lnTo>
                    <a:lnTo>
                      <a:pt x="6" y="15"/>
                    </a:lnTo>
                    <a:lnTo>
                      <a:pt x="12" y="17"/>
                    </a:lnTo>
                    <a:lnTo>
                      <a:pt x="14" y="12"/>
                    </a:lnTo>
                    <a:lnTo>
                      <a:pt x="16" y="7"/>
                    </a:lnTo>
                    <a:lnTo>
                      <a:pt x="19" y="2"/>
                    </a:lnTo>
                    <a:lnTo>
                      <a:pt x="26" y="0"/>
                    </a:lnTo>
                    <a:lnTo>
                      <a:pt x="33" y="2"/>
                    </a:lnTo>
                    <a:lnTo>
                      <a:pt x="43" y="10"/>
                    </a:lnTo>
                    <a:lnTo>
                      <a:pt x="52" y="17"/>
                    </a:lnTo>
                    <a:lnTo>
                      <a:pt x="57" y="26"/>
                    </a:lnTo>
                    <a:lnTo>
                      <a:pt x="50" y="31"/>
                    </a:lnTo>
                    <a:lnTo>
                      <a:pt x="45" y="3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7" name="Freeform 314"/>
              <p:cNvSpPr>
                <a:spLocks/>
              </p:cNvSpPr>
              <p:nvPr/>
            </p:nvSpPr>
            <p:spPr bwMode="auto">
              <a:xfrm>
                <a:off x="2116932" y="1889125"/>
                <a:ext cx="117475" cy="95250"/>
              </a:xfrm>
              <a:custGeom>
                <a:avLst/>
                <a:gdLst/>
                <a:ahLst/>
                <a:cxnLst>
                  <a:cxn ang="0">
                    <a:pos x="74" y="12"/>
                  </a:cxn>
                  <a:cxn ang="0">
                    <a:pos x="69" y="16"/>
                  </a:cxn>
                  <a:cxn ang="0">
                    <a:pos x="66" y="21"/>
                  </a:cxn>
                  <a:cxn ang="0">
                    <a:pos x="59" y="26"/>
                  </a:cxn>
                  <a:cxn ang="0">
                    <a:pos x="54" y="33"/>
                  </a:cxn>
                  <a:cxn ang="0">
                    <a:pos x="45" y="38"/>
                  </a:cxn>
                  <a:cxn ang="0">
                    <a:pos x="37" y="41"/>
                  </a:cxn>
                  <a:cxn ang="0">
                    <a:pos x="26" y="38"/>
                  </a:cxn>
                  <a:cxn ang="0">
                    <a:pos x="23" y="45"/>
                  </a:cxn>
                  <a:cxn ang="0">
                    <a:pos x="30" y="45"/>
                  </a:cxn>
                  <a:cxn ang="0">
                    <a:pos x="25" y="53"/>
                  </a:cxn>
                  <a:cxn ang="0">
                    <a:pos x="18" y="60"/>
                  </a:cxn>
                  <a:cxn ang="0">
                    <a:pos x="7" y="60"/>
                  </a:cxn>
                  <a:cxn ang="0">
                    <a:pos x="7" y="52"/>
                  </a:cxn>
                  <a:cxn ang="0">
                    <a:pos x="7" y="47"/>
                  </a:cxn>
                  <a:cxn ang="0">
                    <a:pos x="2" y="35"/>
                  </a:cxn>
                  <a:cxn ang="0">
                    <a:pos x="0" y="22"/>
                  </a:cxn>
                  <a:cxn ang="0">
                    <a:pos x="0" y="12"/>
                  </a:cxn>
                  <a:cxn ang="0">
                    <a:pos x="6" y="12"/>
                  </a:cxn>
                  <a:cxn ang="0">
                    <a:pos x="12" y="12"/>
                  </a:cxn>
                  <a:cxn ang="0">
                    <a:pos x="11" y="10"/>
                  </a:cxn>
                  <a:cxn ang="0">
                    <a:pos x="12" y="9"/>
                  </a:cxn>
                  <a:cxn ang="0">
                    <a:pos x="14" y="4"/>
                  </a:cxn>
                  <a:cxn ang="0">
                    <a:pos x="26" y="0"/>
                  </a:cxn>
                  <a:cxn ang="0">
                    <a:pos x="38" y="0"/>
                  </a:cxn>
                  <a:cxn ang="0">
                    <a:pos x="50" y="4"/>
                  </a:cxn>
                  <a:cxn ang="0">
                    <a:pos x="61" y="5"/>
                  </a:cxn>
                  <a:cxn ang="0">
                    <a:pos x="74" y="7"/>
                  </a:cxn>
                  <a:cxn ang="0">
                    <a:pos x="74" y="9"/>
                  </a:cxn>
                  <a:cxn ang="0">
                    <a:pos x="74" y="12"/>
                  </a:cxn>
                </a:cxnLst>
                <a:rect l="0" t="0" r="r" b="b"/>
                <a:pathLst>
                  <a:path w="74" h="60">
                    <a:moveTo>
                      <a:pt x="74" y="12"/>
                    </a:moveTo>
                    <a:lnTo>
                      <a:pt x="69" y="16"/>
                    </a:lnTo>
                    <a:lnTo>
                      <a:pt x="66" y="21"/>
                    </a:lnTo>
                    <a:lnTo>
                      <a:pt x="59" y="26"/>
                    </a:lnTo>
                    <a:lnTo>
                      <a:pt x="54" y="33"/>
                    </a:lnTo>
                    <a:lnTo>
                      <a:pt x="45" y="38"/>
                    </a:lnTo>
                    <a:lnTo>
                      <a:pt x="37" y="41"/>
                    </a:lnTo>
                    <a:lnTo>
                      <a:pt x="26" y="38"/>
                    </a:lnTo>
                    <a:lnTo>
                      <a:pt x="23" y="45"/>
                    </a:lnTo>
                    <a:lnTo>
                      <a:pt x="30" y="45"/>
                    </a:lnTo>
                    <a:lnTo>
                      <a:pt x="25" y="53"/>
                    </a:lnTo>
                    <a:lnTo>
                      <a:pt x="18" y="60"/>
                    </a:lnTo>
                    <a:lnTo>
                      <a:pt x="7" y="60"/>
                    </a:lnTo>
                    <a:lnTo>
                      <a:pt x="7" y="52"/>
                    </a:lnTo>
                    <a:lnTo>
                      <a:pt x="7" y="47"/>
                    </a:lnTo>
                    <a:lnTo>
                      <a:pt x="2" y="35"/>
                    </a:lnTo>
                    <a:lnTo>
                      <a:pt x="0" y="22"/>
                    </a:lnTo>
                    <a:lnTo>
                      <a:pt x="0" y="12"/>
                    </a:lnTo>
                    <a:lnTo>
                      <a:pt x="6" y="12"/>
                    </a:lnTo>
                    <a:lnTo>
                      <a:pt x="12" y="12"/>
                    </a:lnTo>
                    <a:lnTo>
                      <a:pt x="11" y="10"/>
                    </a:lnTo>
                    <a:lnTo>
                      <a:pt x="12" y="9"/>
                    </a:lnTo>
                    <a:lnTo>
                      <a:pt x="14" y="4"/>
                    </a:lnTo>
                    <a:lnTo>
                      <a:pt x="26" y="0"/>
                    </a:lnTo>
                    <a:lnTo>
                      <a:pt x="38" y="0"/>
                    </a:lnTo>
                    <a:lnTo>
                      <a:pt x="50" y="4"/>
                    </a:lnTo>
                    <a:lnTo>
                      <a:pt x="61" y="5"/>
                    </a:lnTo>
                    <a:lnTo>
                      <a:pt x="74" y="7"/>
                    </a:lnTo>
                    <a:lnTo>
                      <a:pt x="74" y="9"/>
                    </a:lnTo>
                    <a:lnTo>
                      <a:pt x="7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8" name="Freeform 315"/>
              <p:cNvSpPr>
                <a:spLocks/>
              </p:cNvSpPr>
              <p:nvPr/>
            </p:nvSpPr>
            <p:spPr bwMode="auto">
              <a:xfrm>
                <a:off x="1874044" y="1717675"/>
                <a:ext cx="41275" cy="31750"/>
              </a:xfrm>
              <a:custGeom>
                <a:avLst/>
                <a:gdLst/>
                <a:ahLst/>
                <a:cxnLst>
                  <a:cxn ang="0">
                    <a:pos x="26" y="15"/>
                  </a:cxn>
                  <a:cxn ang="0">
                    <a:pos x="23" y="19"/>
                  </a:cxn>
                  <a:cxn ang="0">
                    <a:pos x="19" y="20"/>
                  </a:cxn>
                  <a:cxn ang="0">
                    <a:pos x="12" y="17"/>
                  </a:cxn>
                  <a:cxn ang="0">
                    <a:pos x="7" y="12"/>
                  </a:cxn>
                  <a:cxn ang="0">
                    <a:pos x="0" y="5"/>
                  </a:cxn>
                  <a:cxn ang="0">
                    <a:pos x="0" y="0"/>
                  </a:cxn>
                  <a:cxn ang="0">
                    <a:pos x="7" y="0"/>
                  </a:cxn>
                  <a:cxn ang="0">
                    <a:pos x="14" y="5"/>
                  </a:cxn>
                  <a:cxn ang="0">
                    <a:pos x="19" y="10"/>
                  </a:cxn>
                  <a:cxn ang="0">
                    <a:pos x="26" y="15"/>
                  </a:cxn>
                </a:cxnLst>
                <a:rect l="0" t="0" r="r" b="b"/>
                <a:pathLst>
                  <a:path w="26" h="20">
                    <a:moveTo>
                      <a:pt x="26" y="15"/>
                    </a:moveTo>
                    <a:lnTo>
                      <a:pt x="23" y="19"/>
                    </a:lnTo>
                    <a:lnTo>
                      <a:pt x="19" y="20"/>
                    </a:lnTo>
                    <a:lnTo>
                      <a:pt x="12" y="17"/>
                    </a:lnTo>
                    <a:lnTo>
                      <a:pt x="7" y="12"/>
                    </a:lnTo>
                    <a:lnTo>
                      <a:pt x="0" y="5"/>
                    </a:lnTo>
                    <a:lnTo>
                      <a:pt x="0" y="0"/>
                    </a:lnTo>
                    <a:lnTo>
                      <a:pt x="7" y="0"/>
                    </a:lnTo>
                    <a:lnTo>
                      <a:pt x="14" y="5"/>
                    </a:lnTo>
                    <a:lnTo>
                      <a:pt x="19" y="10"/>
                    </a:lnTo>
                    <a:lnTo>
                      <a:pt x="26" y="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79" name="Freeform 316"/>
              <p:cNvSpPr>
                <a:spLocks/>
              </p:cNvSpPr>
              <p:nvPr/>
            </p:nvSpPr>
            <p:spPr bwMode="auto">
              <a:xfrm>
                <a:off x="1899444" y="1827213"/>
                <a:ext cx="26988" cy="20637"/>
              </a:xfrm>
              <a:custGeom>
                <a:avLst/>
                <a:gdLst/>
                <a:ahLst/>
                <a:cxnLst>
                  <a:cxn ang="0">
                    <a:pos x="14" y="0"/>
                  </a:cxn>
                  <a:cxn ang="0">
                    <a:pos x="15" y="3"/>
                  </a:cxn>
                  <a:cxn ang="0">
                    <a:pos x="17" y="6"/>
                  </a:cxn>
                  <a:cxn ang="0">
                    <a:pos x="14" y="12"/>
                  </a:cxn>
                  <a:cxn ang="0">
                    <a:pos x="10" y="13"/>
                  </a:cxn>
                  <a:cxn ang="0">
                    <a:pos x="3" y="13"/>
                  </a:cxn>
                  <a:cxn ang="0">
                    <a:pos x="0" y="13"/>
                  </a:cxn>
                  <a:cxn ang="0">
                    <a:pos x="3" y="3"/>
                  </a:cxn>
                  <a:cxn ang="0">
                    <a:pos x="14" y="0"/>
                  </a:cxn>
                </a:cxnLst>
                <a:rect l="0" t="0" r="r" b="b"/>
                <a:pathLst>
                  <a:path w="17" h="13">
                    <a:moveTo>
                      <a:pt x="14" y="0"/>
                    </a:moveTo>
                    <a:lnTo>
                      <a:pt x="15" y="3"/>
                    </a:lnTo>
                    <a:lnTo>
                      <a:pt x="17" y="6"/>
                    </a:lnTo>
                    <a:lnTo>
                      <a:pt x="14" y="12"/>
                    </a:lnTo>
                    <a:lnTo>
                      <a:pt x="10" y="13"/>
                    </a:lnTo>
                    <a:lnTo>
                      <a:pt x="3" y="13"/>
                    </a:lnTo>
                    <a:lnTo>
                      <a:pt x="0" y="13"/>
                    </a:lnTo>
                    <a:lnTo>
                      <a:pt x="3" y="3"/>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0" name="Freeform 317"/>
              <p:cNvSpPr>
                <a:spLocks/>
              </p:cNvSpPr>
              <p:nvPr/>
            </p:nvSpPr>
            <p:spPr bwMode="auto">
              <a:xfrm>
                <a:off x="1885157" y="1638300"/>
                <a:ext cx="150813" cy="79375"/>
              </a:xfrm>
              <a:custGeom>
                <a:avLst/>
                <a:gdLst/>
                <a:ahLst/>
                <a:cxnLst>
                  <a:cxn ang="0">
                    <a:pos x="62" y="36"/>
                  </a:cxn>
                  <a:cxn ang="0">
                    <a:pos x="50" y="34"/>
                  </a:cxn>
                  <a:cxn ang="0">
                    <a:pos x="38" y="34"/>
                  </a:cxn>
                  <a:cxn ang="0">
                    <a:pos x="31" y="31"/>
                  </a:cxn>
                  <a:cxn ang="0">
                    <a:pos x="23" y="33"/>
                  </a:cxn>
                  <a:cxn ang="0">
                    <a:pos x="12" y="31"/>
                  </a:cxn>
                  <a:cxn ang="0">
                    <a:pos x="9" y="29"/>
                  </a:cxn>
                  <a:cxn ang="0">
                    <a:pos x="14" y="24"/>
                  </a:cxn>
                  <a:cxn ang="0">
                    <a:pos x="23" y="22"/>
                  </a:cxn>
                  <a:cxn ang="0">
                    <a:pos x="23" y="19"/>
                  </a:cxn>
                  <a:cxn ang="0">
                    <a:pos x="23" y="17"/>
                  </a:cxn>
                  <a:cxn ang="0">
                    <a:pos x="11" y="17"/>
                  </a:cxn>
                  <a:cxn ang="0">
                    <a:pos x="5" y="17"/>
                  </a:cxn>
                  <a:cxn ang="0">
                    <a:pos x="7" y="14"/>
                  </a:cxn>
                  <a:cxn ang="0">
                    <a:pos x="9" y="12"/>
                  </a:cxn>
                  <a:cxn ang="0">
                    <a:pos x="2" y="10"/>
                  </a:cxn>
                  <a:cxn ang="0">
                    <a:pos x="0" y="3"/>
                  </a:cxn>
                  <a:cxn ang="0">
                    <a:pos x="9" y="2"/>
                  </a:cxn>
                  <a:cxn ang="0">
                    <a:pos x="17" y="0"/>
                  </a:cxn>
                  <a:cxn ang="0">
                    <a:pos x="28" y="3"/>
                  </a:cxn>
                  <a:cxn ang="0">
                    <a:pos x="36" y="9"/>
                  </a:cxn>
                  <a:cxn ang="0">
                    <a:pos x="40" y="7"/>
                  </a:cxn>
                  <a:cxn ang="0">
                    <a:pos x="47" y="5"/>
                  </a:cxn>
                  <a:cxn ang="0">
                    <a:pos x="55" y="10"/>
                  </a:cxn>
                  <a:cxn ang="0">
                    <a:pos x="60" y="17"/>
                  </a:cxn>
                  <a:cxn ang="0">
                    <a:pos x="64" y="14"/>
                  </a:cxn>
                  <a:cxn ang="0">
                    <a:pos x="69" y="12"/>
                  </a:cxn>
                  <a:cxn ang="0">
                    <a:pos x="78" y="17"/>
                  </a:cxn>
                  <a:cxn ang="0">
                    <a:pos x="85" y="24"/>
                  </a:cxn>
                  <a:cxn ang="0">
                    <a:pos x="81" y="26"/>
                  </a:cxn>
                  <a:cxn ang="0">
                    <a:pos x="81" y="29"/>
                  </a:cxn>
                  <a:cxn ang="0">
                    <a:pos x="88" y="34"/>
                  </a:cxn>
                  <a:cxn ang="0">
                    <a:pos x="95" y="43"/>
                  </a:cxn>
                  <a:cxn ang="0">
                    <a:pos x="91" y="48"/>
                  </a:cxn>
                  <a:cxn ang="0">
                    <a:pos x="85" y="50"/>
                  </a:cxn>
                  <a:cxn ang="0">
                    <a:pos x="76" y="46"/>
                  </a:cxn>
                  <a:cxn ang="0">
                    <a:pos x="72" y="43"/>
                  </a:cxn>
                  <a:cxn ang="0">
                    <a:pos x="67" y="38"/>
                  </a:cxn>
                  <a:cxn ang="0">
                    <a:pos x="62" y="36"/>
                  </a:cxn>
                </a:cxnLst>
                <a:rect l="0" t="0" r="r" b="b"/>
                <a:pathLst>
                  <a:path w="95" h="50">
                    <a:moveTo>
                      <a:pt x="62" y="36"/>
                    </a:moveTo>
                    <a:lnTo>
                      <a:pt x="50" y="34"/>
                    </a:lnTo>
                    <a:lnTo>
                      <a:pt x="38" y="34"/>
                    </a:lnTo>
                    <a:lnTo>
                      <a:pt x="31" y="31"/>
                    </a:lnTo>
                    <a:lnTo>
                      <a:pt x="23" y="33"/>
                    </a:lnTo>
                    <a:lnTo>
                      <a:pt x="12" y="31"/>
                    </a:lnTo>
                    <a:lnTo>
                      <a:pt x="9" y="29"/>
                    </a:lnTo>
                    <a:lnTo>
                      <a:pt x="14" y="24"/>
                    </a:lnTo>
                    <a:lnTo>
                      <a:pt x="23" y="22"/>
                    </a:lnTo>
                    <a:lnTo>
                      <a:pt x="23" y="19"/>
                    </a:lnTo>
                    <a:lnTo>
                      <a:pt x="23" y="17"/>
                    </a:lnTo>
                    <a:lnTo>
                      <a:pt x="11" y="17"/>
                    </a:lnTo>
                    <a:lnTo>
                      <a:pt x="5" y="17"/>
                    </a:lnTo>
                    <a:lnTo>
                      <a:pt x="7" y="14"/>
                    </a:lnTo>
                    <a:lnTo>
                      <a:pt x="9" y="12"/>
                    </a:lnTo>
                    <a:lnTo>
                      <a:pt x="2" y="10"/>
                    </a:lnTo>
                    <a:lnTo>
                      <a:pt x="0" y="3"/>
                    </a:lnTo>
                    <a:lnTo>
                      <a:pt x="9" y="2"/>
                    </a:lnTo>
                    <a:lnTo>
                      <a:pt x="17" y="0"/>
                    </a:lnTo>
                    <a:lnTo>
                      <a:pt x="28" y="3"/>
                    </a:lnTo>
                    <a:lnTo>
                      <a:pt x="36" y="9"/>
                    </a:lnTo>
                    <a:lnTo>
                      <a:pt x="40" y="7"/>
                    </a:lnTo>
                    <a:lnTo>
                      <a:pt x="47" y="5"/>
                    </a:lnTo>
                    <a:lnTo>
                      <a:pt x="55" y="10"/>
                    </a:lnTo>
                    <a:lnTo>
                      <a:pt x="60" y="17"/>
                    </a:lnTo>
                    <a:lnTo>
                      <a:pt x="64" y="14"/>
                    </a:lnTo>
                    <a:lnTo>
                      <a:pt x="69" y="12"/>
                    </a:lnTo>
                    <a:lnTo>
                      <a:pt x="78" y="17"/>
                    </a:lnTo>
                    <a:lnTo>
                      <a:pt x="85" y="24"/>
                    </a:lnTo>
                    <a:lnTo>
                      <a:pt x="81" y="26"/>
                    </a:lnTo>
                    <a:lnTo>
                      <a:pt x="81" y="29"/>
                    </a:lnTo>
                    <a:lnTo>
                      <a:pt x="88" y="34"/>
                    </a:lnTo>
                    <a:lnTo>
                      <a:pt x="95" y="43"/>
                    </a:lnTo>
                    <a:lnTo>
                      <a:pt x="91" y="48"/>
                    </a:lnTo>
                    <a:lnTo>
                      <a:pt x="85" y="50"/>
                    </a:lnTo>
                    <a:lnTo>
                      <a:pt x="76" y="46"/>
                    </a:lnTo>
                    <a:lnTo>
                      <a:pt x="72" y="43"/>
                    </a:lnTo>
                    <a:lnTo>
                      <a:pt x="67" y="38"/>
                    </a:lnTo>
                    <a:lnTo>
                      <a:pt x="62"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1" name="Freeform 318"/>
              <p:cNvSpPr>
                <a:spLocks/>
              </p:cNvSpPr>
              <p:nvPr/>
            </p:nvSpPr>
            <p:spPr bwMode="auto">
              <a:xfrm>
                <a:off x="1956594" y="1706563"/>
                <a:ext cx="30163" cy="11112"/>
              </a:xfrm>
              <a:custGeom>
                <a:avLst/>
                <a:gdLst/>
                <a:ahLst/>
                <a:cxnLst>
                  <a:cxn ang="0">
                    <a:pos x="2" y="7"/>
                  </a:cxn>
                  <a:cxn ang="0">
                    <a:pos x="0" y="3"/>
                  </a:cxn>
                  <a:cxn ang="0">
                    <a:pos x="7" y="0"/>
                  </a:cxn>
                  <a:cxn ang="0">
                    <a:pos x="12" y="0"/>
                  </a:cxn>
                  <a:cxn ang="0">
                    <a:pos x="19" y="3"/>
                  </a:cxn>
                  <a:cxn ang="0">
                    <a:pos x="10" y="5"/>
                  </a:cxn>
                  <a:cxn ang="0">
                    <a:pos x="2" y="7"/>
                  </a:cxn>
                </a:cxnLst>
                <a:rect l="0" t="0" r="r" b="b"/>
                <a:pathLst>
                  <a:path w="19" h="7">
                    <a:moveTo>
                      <a:pt x="2" y="7"/>
                    </a:moveTo>
                    <a:lnTo>
                      <a:pt x="0" y="3"/>
                    </a:lnTo>
                    <a:lnTo>
                      <a:pt x="7" y="0"/>
                    </a:lnTo>
                    <a:lnTo>
                      <a:pt x="12" y="0"/>
                    </a:lnTo>
                    <a:lnTo>
                      <a:pt x="19" y="3"/>
                    </a:lnTo>
                    <a:lnTo>
                      <a:pt x="10" y="5"/>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2" name="Freeform 319"/>
              <p:cNvSpPr>
                <a:spLocks/>
              </p:cNvSpPr>
              <p:nvPr/>
            </p:nvSpPr>
            <p:spPr bwMode="auto">
              <a:xfrm>
                <a:off x="2089944" y="1752600"/>
                <a:ext cx="396875" cy="123825"/>
              </a:xfrm>
              <a:custGeom>
                <a:avLst/>
                <a:gdLst/>
                <a:ahLst/>
                <a:cxnLst>
                  <a:cxn ang="0">
                    <a:pos x="244" y="53"/>
                  </a:cxn>
                  <a:cxn ang="0">
                    <a:pos x="246" y="59"/>
                  </a:cxn>
                  <a:cxn ang="0">
                    <a:pos x="244" y="69"/>
                  </a:cxn>
                  <a:cxn ang="0">
                    <a:pos x="220" y="76"/>
                  </a:cxn>
                  <a:cxn ang="0">
                    <a:pos x="200" y="74"/>
                  </a:cxn>
                  <a:cxn ang="0">
                    <a:pos x="189" y="71"/>
                  </a:cxn>
                  <a:cxn ang="0">
                    <a:pos x="145" y="76"/>
                  </a:cxn>
                  <a:cxn ang="0">
                    <a:pos x="126" y="76"/>
                  </a:cxn>
                  <a:cxn ang="0">
                    <a:pos x="119" y="69"/>
                  </a:cxn>
                  <a:cxn ang="0">
                    <a:pos x="105" y="72"/>
                  </a:cxn>
                  <a:cxn ang="0">
                    <a:pos x="86" y="74"/>
                  </a:cxn>
                  <a:cxn ang="0">
                    <a:pos x="66" y="60"/>
                  </a:cxn>
                  <a:cxn ang="0">
                    <a:pos x="64" y="48"/>
                  </a:cxn>
                  <a:cxn ang="0">
                    <a:pos x="57" y="33"/>
                  </a:cxn>
                  <a:cxn ang="0">
                    <a:pos x="43" y="23"/>
                  </a:cxn>
                  <a:cxn ang="0">
                    <a:pos x="28" y="23"/>
                  </a:cxn>
                  <a:cxn ang="0">
                    <a:pos x="4" y="10"/>
                  </a:cxn>
                  <a:cxn ang="0">
                    <a:pos x="5" y="0"/>
                  </a:cxn>
                  <a:cxn ang="0">
                    <a:pos x="28" y="2"/>
                  </a:cxn>
                  <a:cxn ang="0">
                    <a:pos x="48" y="14"/>
                  </a:cxn>
                  <a:cxn ang="0">
                    <a:pos x="66" y="16"/>
                  </a:cxn>
                  <a:cxn ang="0">
                    <a:pos x="76" y="14"/>
                  </a:cxn>
                  <a:cxn ang="0">
                    <a:pos x="79" y="19"/>
                  </a:cxn>
                  <a:cxn ang="0">
                    <a:pos x="95" y="24"/>
                  </a:cxn>
                  <a:cxn ang="0">
                    <a:pos x="83" y="29"/>
                  </a:cxn>
                  <a:cxn ang="0">
                    <a:pos x="91" y="38"/>
                  </a:cxn>
                  <a:cxn ang="0">
                    <a:pos x="105" y="41"/>
                  </a:cxn>
                  <a:cxn ang="0">
                    <a:pos x="102" y="43"/>
                  </a:cxn>
                  <a:cxn ang="0">
                    <a:pos x="110" y="47"/>
                  </a:cxn>
                  <a:cxn ang="0">
                    <a:pos x="145" y="52"/>
                  </a:cxn>
                  <a:cxn ang="0">
                    <a:pos x="162" y="48"/>
                  </a:cxn>
                  <a:cxn ang="0">
                    <a:pos x="177" y="45"/>
                  </a:cxn>
                  <a:cxn ang="0">
                    <a:pos x="189" y="40"/>
                  </a:cxn>
                  <a:cxn ang="0">
                    <a:pos x="208" y="40"/>
                  </a:cxn>
                  <a:cxn ang="0">
                    <a:pos x="234" y="41"/>
                  </a:cxn>
                  <a:cxn ang="0">
                    <a:pos x="250" y="53"/>
                  </a:cxn>
                  <a:cxn ang="0">
                    <a:pos x="244" y="53"/>
                  </a:cxn>
                </a:cxnLst>
                <a:rect l="0" t="0" r="r" b="b"/>
                <a:pathLst>
                  <a:path w="250" h="78">
                    <a:moveTo>
                      <a:pt x="248" y="52"/>
                    </a:moveTo>
                    <a:lnTo>
                      <a:pt x="244" y="53"/>
                    </a:lnTo>
                    <a:lnTo>
                      <a:pt x="243" y="59"/>
                    </a:lnTo>
                    <a:lnTo>
                      <a:pt x="246" y="59"/>
                    </a:lnTo>
                    <a:lnTo>
                      <a:pt x="250" y="60"/>
                    </a:lnTo>
                    <a:lnTo>
                      <a:pt x="244" y="69"/>
                    </a:lnTo>
                    <a:lnTo>
                      <a:pt x="234" y="74"/>
                    </a:lnTo>
                    <a:lnTo>
                      <a:pt x="220" y="76"/>
                    </a:lnTo>
                    <a:lnTo>
                      <a:pt x="207" y="78"/>
                    </a:lnTo>
                    <a:lnTo>
                      <a:pt x="200" y="74"/>
                    </a:lnTo>
                    <a:lnTo>
                      <a:pt x="198" y="69"/>
                    </a:lnTo>
                    <a:lnTo>
                      <a:pt x="189" y="71"/>
                    </a:lnTo>
                    <a:lnTo>
                      <a:pt x="184" y="76"/>
                    </a:lnTo>
                    <a:lnTo>
                      <a:pt x="145" y="76"/>
                    </a:lnTo>
                    <a:lnTo>
                      <a:pt x="134" y="76"/>
                    </a:lnTo>
                    <a:lnTo>
                      <a:pt x="126" y="76"/>
                    </a:lnTo>
                    <a:lnTo>
                      <a:pt x="119" y="72"/>
                    </a:lnTo>
                    <a:lnTo>
                      <a:pt x="119" y="69"/>
                    </a:lnTo>
                    <a:lnTo>
                      <a:pt x="112" y="69"/>
                    </a:lnTo>
                    <a:lnTo>
                      <a:pt x="105" y="72"/>
                    </a:lnTo>
                    <a:lnTo>
                      <a:pt x="98" y="78"/>
                    </a:lnTo>
                    <a:lnTo>
                      <a:pt x="86" y="74"/>
                    </a:lnTo>
                    <a:lnTo>
                      <a:pt x="76" y="69"/>
                    </a:lnTo>
                    <a:lnTo>
                      <a:pt x="66" y="60"/>
                    </a:lnTo>
                    <a:lnTo>
                      <a:pt x="62" y="53"/>
                    </a:lnTo>
                    <a:lnTo>
                      <a:pt x="64" y="48"/>
                    </a:lnTo>
                    <a:lnTo>
                      <a:pt x="67" y="47"/>
                    </a:lnTo>
                    <a:lnTo>
                      <a:pt x="57" y="33"/>
                    </a:lnTo>
                    <a:lnTo>
                      <a:pt x="48" y="21"/>
                    </a:lnTo>
                    <a:lnTo>
                      <a:pt x="43" y="23"/>
                    </a:lnTo>
                    <a:lnTo>
                      <a:pt x="38" y="26"/>
                    </a:lnTo>
                    <a:lnTo>
                      <a:pt x="28" y="23"/>
                    </a:lnTo>
                    <a:lnTo>
                      <a:pt x="16" y="17"/>
                    </a:lnTo>
                    <a:lnTo>
                      <a:pt x="4" y="10"/>
                    </a:lnTo>
                    <a:lnTo>
                      <a:pt x="0" y="7"/>
                    </a:lnTo>
                    <a:lnTo>
                      <a:pt x="5" y="0"/>
                    </a:lnTo>
                    <a:lnTo>
                      <a:pt x="16" y="0"/>
                    </a:lnTo>
                    <a:lnTo>
                      <a:pt x="28" y="2"/>
                    </a:lnTo>
                    <a:lnTo>
                      <a:pt x="40" y="9"/>
                    </a:lnTo>
                    <a:lnTo>
                      <a:pt x="48" y="14"/>
                    </a:lnTo>
                    <a:lnTo>
                      <a:pt x="60" y="17"/>
                    </a:lnTo>
                    <a:lnTo>
                      <a:pt x="66" y="16"/>
                    </a:lnTo>
                    <a:lnTo>
                      <a:pt x="71" y="14"/>
                    </a:lnTo>
                    <a:lnTo>
                      <a:pt x="76" y="14"/>
                    </a:lnTo>
                    <a:lnTo>
                      <a:pt x="79" y="14"/>
                    </a:lnTo>
                    <a:lnTo>
                      <a:pt x="79" y="19"/>
                    </a:lnTo>
                    <a:lnTo>
                      <a:pt x="88" y="23"/>
                    </a:lnTo>
                    <a:lnTo>
                      <a:pt x="95" y="24"/>
                    </a:lnTo>
                    <a:lnTo>
                      <a:pt x="103" y="29"/>
                    </a:lnTo>
                    <a:lnTo>
                      <a:pt x="83" y="29"/>
                    </a:lnTo>
                    <a:lnTo>
                      <a:pt x="86" y="35"/>
                    </a:lnTo>
                    <a:lnTo>
                      <a:pt x="91" y="38"/>
                    </a:lnTo>
                    <a:lnTo>
                      <a:pt x="98" y="38"/>
                    </a:lnTo>
                    <a:lnTo>
                      <a:pt x="105" y="41"/>
                    </a:lnTo>
                    <a:lnTo>
                      <a:pt x="103" y="41"/>
                    </a:lnTo>
                    <a:lnTo>
                      <a:pt x="102" y="43"/>
                    </a:lnTo>
                    <a:lnTo>
                      <a:pt x="105" y="47"/>
                    </a:lnTo>
                    <a:lnTo>
                      <a:pt x="110" y="47"/>
                    </a:lnTo>
                    <a:lnTo>
                      <a:pt x="128" y="48"/>
                    </a:lnTo>
                    <a:lnTo>
                      <a:pt x="145" y="52"/>
                    </a:lnTo>
                    <a:lnTo>
                      <a:pt x="153" y="50"/>
                    </a:lnTo>
                    <a:lnTo>
                      <a:pt x="162" y="48"/>
                    </a:lnTo>
                    <a:lnTo>
                      <a:pt x="169" y="47"/>
                    </a:lnTo>
                    <a:lnTo>
                      <a:pt x="177" y="45"/>
                    </a:lnTo>
                    <a:lnTo>
                      <a:pt x="183" y="41"/>
                    </a:lnTo>
                    <a:lnTo>
                      <a:pt x="189" y="40"/>
                    </a:lnTo>
                    <a:lnTo>
                      <a:pt x="198" y="40"/>
                    </a:lnTo>
                    <a:lnTo>
                      <a:pt x="208" y="40"/>
                    </a:lnTo>
                    <a:lnTo>
                      <a:pt x="222" y="40"/>
                    </a:lnTo>
                    <a:lnTo>
                      <a:pt x="234" y="41"/>
                    </a:lnTo>
                    <a:lnTo>
                      <a:pt x="243" y="45"/>
                    </a:lnTo>
                    <a:lnTo>
                      <a:pt x="250" y="53"/>
                    </a:lnTo>
                    <a:lnTo>
                      <a:pt x="246" y="53"/>
                    </a:lnTo>
                    <a:lnTo>
                      <a:pt x="244" y="53"/>
                    </a:lnTo>
                    <a:lnTo>
                      <a:pt x="248" y="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3" name="Freeform 320"/>
              <p:cNvSpPr>
                <a:spLocks/>
              </p:cNvSpPr>
              <p:nvPr/>
            </p:nvSpPr>
            <p:spPr bwMode="auto">
              <a:xfrm>
                <a:off x="2096294" y="1817688"/>
                <a:ext cx="69850" cy="52387"/>
              </a:xfrm>
              <a:custGeom>
                <a:avLst/>
                <a:gdLst/>
                <a:ahLst/>
                <a:cxnLst>
                  <a:cxn ang="0">
                    <a:pos x="7" y="12"/>
                  </a:cxn>
                  <a:cxn ang="0">
                    <a:pos x="12" y="6"/>
                  </a:cxn>
                  <a:cxn ang="0">
                    <a:pos x="22" y="0"/>
                  </a:cxn>
                  <a:cxn ang="0">
                    <a:pos x="27" y="0"/>
                  </a:cxn>
                  <a:cxn ang="0">
                    <a:pos x="36" y="6"/>
                  </a:cxn>
                  <a:cxn ang="0">
                    <a:pos x="41" y="11"/>
                  </a:cxn>
                  <a:cxn ang="0">
                    <a:pos x="44" y="18"/>
                  </a:cxn>
                  <a:cxn ang="0">
                    <a:pos x="41" y="28"/>
                  </a:cxn>
                  <a:cxn ang="0">
                    <a:pos x="34" y="33"/>
                  </a:cxn>
                  <a:cxn ang="0">
                    <a:pos x="27" y="30"/>
                  </a:cxn>
                  <a:cxn ang="0">
                    <a:pos x="15" y="26"/>
                  </a:cxn>
                  <a:cxn ang="0">
                    <a:pos x="3" y="21"/>
                  </a:cxn>
                  <a:cxn ang="0">
                    <a:pos x="0" y="19"/>
                  </a:cxn>
                  <a:cxn ang="0">
                    <a:pos x="3" y="12"/>
                  </a:cxn>
                  <a:cxn ang="0">
                    <a:pos x="7" y="12"/>
                  </a:cxn>
                </a:cxnLst>
                <a:rect l="0" t="0" r="r" b="b"/>
                <a:pathLst>
                  <a:path w="44" h="33">
                    <a:moveTo>
                      <a:pt x="7" y="12"/>
                    </a:moveTo>
                    <a:lnTo>
                      <a:pt x="12" y="6"/>
                    </a:lnTo>
                    <a:lnTo>
                      <a:pt x="22" y="0"/>
                    </a:lnTo>
                    <a:lnTo>
                      <a:pt x="27" y="0"/>
                    </a:lnTo>
                    <a:lnTo>
                      <a:pt x="36" y="6"/>
                    </a:lnTo>
                    <a:lnTo>
                      <a:pt x="41" y="11"/>
                    </a:lnTo>
                    <a:lnTo>
                      <a:pt x="44" y="18"/>
                    </a:lnTo>
                    <a:lnTo>
                      <a:pt x="41" y="28"/>
                    </a:lnTo>
                    <a:lnTo>
                      <a:pt x="34" y="33"/>
                    </a:lnTo>
                    <a:lnTo>
                      <a:pt x="27" y="30"/>
                    </a:lnTo>
                    <a:lnTo>
                      <a:pt x="15" y="26"/>
                    </a:lnTo>
                    <a:lnTo>
                      <a:pt x="3" y="21"/>
                    </a:lnTo>
                    <a:lnTo>
                      <a:pt x="0" y="19"/>
                    </a:lnTo>
                    <a:lnTo>
                      <a:pt x="3" y="12"/>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4" name="Freeform 321"/>
              <p:cNvSpPr>
                <a:spLocks/>
              </p:cNvSpPr>
              <p:nvPr/>
            </p:nvSpPr>
            <p:spPr bwMode="auto">
              <a:xfrm>
                <a:off x="2104232" y="1717675"/>
                <a:ext cx="61913" cy="19050"/>
              </a:xfrm>
              <a:custGeom>
                <a:avLst/>
                <a:gdLst/>
                <a:ahLst/>
                <a:cxnLst>
                  <a:cxn ang="0">
                    <a:pos x="34" y="0"/>
                  </a:cxn>
                  <a:cxn ang="0">
                    <a:pos x="36" y="0"/>
                  </a:cxn>
                  <a:cxn ang="0">
                    <a:pos x="39" y="0"/>
                  </a:cxn>
                  <a:cxn ang="0">
                    <a:pos x="39" y="3"/>
                  </a:cxn>
                  <a:cxn ang="0">
                    <a:pos x="39" y="7"/>
                  </a:cxn>
                  <a:cxn ang="0">
                    <a:pos x="38" y="10"/>
                  </a:cxn>
                  <a:cxn ang="0">
                    <a:pos x="33" y="12"/>
                  </a:cxn>
                  <a:cxn ang="0">
                    <a:pos x="26" y="10"/>
                  </a:cxn>
                  <a:cxn ang="0">
                    <a:pos x="14" y="8"/>
                  </a:cxn>
                  <a:cxn ang="0">
                    <a:pos x="3" y="7"/>
                  </a:cxn>
                  <a:cxn ang="0">
                    <a:pos x="0" y="7"/>
                  </a:cxn>
                  <a:cxn ang="0">
                    <a:pos x="5" y="2"/>
                  </a:cxn>
                  <a:cxn ang="0">
                    <a:pos x="14" y="0"/>
                  </a:cxn>
                  <a:cxn ang="0">
                    <a:pos x="24" y="0"/>
                  </a:cxn>
                  <a:cxn ang="0">
                    <a:pos x="34" y="0"/>
                  </a:cxn>
                </a:cxnLst>
                <a:rect l="0" t="0" r="r" b="b"/>
                <a:pathLst>
                  <a:path w="39" h="12">
                    <a:moveTo>
                      <a:pt x="34" y="0"/>
                    </a:moveTo>
                    <a:lnTo>
                      <a:pt x="36" y="0"/>
                    </a:lnTo>
                    <a:lnTo>
                      <a:pt x="39" y="0"/>
                    </a:lnTo>
                    <a:lnTo>
                      <a:pt x="39" y="3"/>
                    </a:lnTo>
                    <a:lnTo>
                      <a:pt x="39" y="7"/>
                    </a:lnTo>
                    <a:lnTo>
                      <a:pt x="38" y="10"/>
                    </a:lnTo>
                    <a:lnTo>
                      <a:pt x="33" y="12"/>
                    </a:lnTo>
                    <a:lnTo>
                      <a:pt x="26" y="10"/>
                    </a:lnTo>
                    <a:lnTo>
                      <a:pt x="14" y="8"/>
                    </a:lnTo>
                    <a:lnTo>
                      <a:pt x="3" y="7"/>
                    </a:lnTo>
                    <a:lnTo>
                      <a:pt x="0" y="7"/>
                    </a:lnTo>
                    <a:lnTo>
                      <a:pt x="5" y="2"/>
                    </a:lnTo>
                    <a:lnTo>
                      <a:pt x="14" y="0"/>
                    </a:lnTo>
                    <a:lnTo>
                      <a:pt x="24" y="0"/>
                    </a:lnTo>
                    <a:lnTo>
                      <a:pt x="3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5" name="Freeform 322"/>
              <p:cNvSpPr>
                <a:spLocks/>
              </p:cNvSpPr>
              <p:nvPr/>
            </p:nvSpPr>
            <p:spPr bwMode="auto">
              <a:xfrm>
                <a:off x="2058194" y="1657350"/>
                <a:ext cx="73025" cy="53975"/>
              </a:xfrm>
              <a:custGeom>
                <a:avLst/>
                <a:gdLst/>
                <a:ahLst/>
                <a:cxnLst>
                  <a:cxn ang="0">
                    <a:pos x="10" y="33"/>
                  </a:cxn>
                  <a:cxn ang="0">
                    <a:pos x="12" y="27"/>
                  </a:cxn>
                  <a:cxn ang="0">
                    <a:pos x="15" y="27"/>
                  </a:cxn>
                  <a:cxn ang="0">
                    <a:pos x="5" y="17"/>
                  </a:cxn>
                  <a:cxn ang="0">
                    <a:pos x="0" y="9"/>
                  </a:cxn>
                  <a:cxn ang="0">
                    <a:pos x="3" y="2"/>
                  </a:cxn>
                  <a:cxn ang="0">
                    <a:pos x="10" y="0"/>
                  </a:cxn>
                  <a:cxn ang="0">
                    <a:pos x="17" y="5"/>
                  </a:cxn>
                  <a:cxn ang="0">
                    <a:pos x="29" y="9"/>
                  </a:cxn>
                  <a:cxn ang="0">
                    <a:pos x="31" y="12"/>
                  </a:cxn>
                  <a:cxn ang="0">
                    <a:pos x="37" y="14"/>
                  </a:cxn>
                  <a:cxn ang="0">
                    <a:pos x="43" y="14"/>
                  </a:cxn>
                  <a:cxn ang="0">
                    <a:pos x="46" y="19"/>
                  </a:cxn>
                  <a:cxn ang="0">
                    <a:pos x="44" y="24"/>
                  </a:cxn>
                  <a:cxn ang="0">
                    <a:pos x="46" y="33"/>
                  </a:cxn>
                  <a:cxn ang="0">
                    <a:pos x="32" y="33"/>
                  </a:cxn>
                  <a:cxn ang="0">
                    <a:pos x="20" y="34"/>
                  </a:cxn>
                  <a:cxn ang="0">
                    <a:pos x="12" y="34"/>
                  </a:cxn>
                  <a:cxn ang="0">
                    <a:pos x="10" y="33"/>
                  </a:cxn>
                </a:cxnLst>
                <a:rect l="0" t="0" r="r" b="b"/>
                <a:pathLst>
                  <a:path w="46" h="34">
                    <a:moveTo>
                      <a:pt x="10" y="33"/>
                    </a:moveTo>
                    <a:lnTo>
                      <a:pt x="12" y="27"/>
                    </a:lnTo>
                    <a:lnTo>
                      <a:pt x="15" y="27"/>
                    </a:lnTo>
                    <a:lnTo>
                      <a:pt x="5" y="17"/>
                    </a:lnTo>
                    <a:lnTo>
                      <a:pt x="0" y="9"/>
                    </a:lnTo>
                    <a:lnTo>
                      <a:pt x="3" y="2"/>
                    </a:lnTo>
                    <a:lnTo>
                      <a:pt x="10" y="0"/>
                    </a:lnTo>
                    <a:lnTo>
                      <a:pt x="17" y="5"/>
                    </a:lnTo>
                    <a:lnTo>
                      <a:pt x="29" y="9"/>
                    </a:lnTo>
                    <a:lnTo>
                      <a:pt x="31" y="12"/>
                    </a:lnTo>
                    <a:lnTo>
                      <a:pt x="37" y="14"/>
                    </a:lnTo>
                    <a:lnTo>
                      <a:pt x="43" y="14"/>
                    </a:lnTo>
                    <a:lnTo>
                      <a:pt x="46" y="19"/>
                    </a:lnTo>
                    <a:lnTo>
                      <a:pt x="44" y="24"/>
                    </a:lnTo>
                    <a:lnTo>
                      <a:pt x="46" y="33"/>
                    </a:lnTo>
                    <a:lnTo>
                      <a:pt x="32" y="33"/>
                    </a:lnTo>
                    <a:lnTo>
                      <a:pt x="20" y="34"/>
                    </a:lnTo>
                    <a:lnTo>
                      <a:pt x="12" y="34"/>
                    </a:lnTo>
                    <a:lnTo>
                      <a:pt x="10"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6" name="Freeform 323"/>
              <p:cNvSpPr>
                <a:spLocks/>
              </p:cNvSpPr>
              <p:nvPr/>
            </p:nvSpPr>
            <p:spPr bwMode="auto">
              <a:xfrm>
                <a:off x="2028032" y="1603375"/>
                <a:ext cx="30163" cy="15875"/>
              </a:xfrm>
              <a:custGeom>
                <a:avLst/>
                <a:gdLst/>
                <a:ahLst/>
                <a:cxnLst>
                  <a:cxn ang="0">
                    <a:pos x="19" y="0"/>
                  </a:cxn>
                  <a:cxn ang="0">
                    <a:pos x="19" y="10"/>
                  </a:cxn>
                  <a:cxn ang="0">
                    <a:pos x="10" y="10"/>
                  </a:cxn>
                  <a:cxn ang="0">
                    <a:pos x="3" y="6"/>
                  </a:cxn>
                  <a:cxn ang="0">
                    <a:pos x="0" y="0"/>
                  </a:cxn>
                  <a:cxn ang="0">
                    <a:pos x="10" y="0"/>
                  </a:cxn>
                  <a:cxn ang="0">
                    <a:pos x="19" y="0"/>
                  </a:cxn>
                </a:cxnLst>
                <a:rect l="0" t="0" r="r" b="b"/>
                <a:pathLst>
                  <a:path w="19" h="10">
                    <a:moveTo>
                      <a:pt x="19" y="0"/>
                    </a:moveTo>
                    <a:lnTo>
                      <a:pt x="19" y="10"/>
                    </a:lnTo>
                    <a:lnTo>
                      <a:pt x="10" y="10"/>
                    </a:lnTo>
                    <a:lnTo>
                      <a:pt x="3" y="6"/>
                    </a:lnTo>
                    <a:lnTo>
                      <a:pt x="0" y="0"/>
                    </a:lnTo>
                    <a:lnTo>
                      <a:pt x="10"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7" name="Freeform 324"/>
              <p:cNvSpPr>
                <a:spLocks/>
              </p:cNvSpPr>
              <p:nvPr/>
            </p:nvSpPr>
            <p:spPr bwMode="auto">
              <a:xfrm>
                <a:off x="2108994" y="1531938"/>
                <a:ext cx="249238" cy="168275"/>
              </a:xfrm>
              <a:custGeom>
                <a:avLst/>
                <a:gdLst/>
                <a:ahLst/>
                <a:cxnLst>
                  <a:cxn ang="0">
                    <a:pos x="112" y="43"/>
                  </a:cxn>
                  <a:cxn ang="0">
                    <a:pos x="109" y="33"/>
                  </a:cxn>
                  <a:cxn ang="0">
                    <a:pos x="114" y="33"/>
                  </a:cxn>
                  <a:cxn ang="0">
                    <a:pos x="121" y="41"/>
                  </a:cxn>
                  <a:cxn ang="0">
                    <a:pos x="128" y="48"/>
                  </a:cxn>
                  <a:cxn ang="0">
                    <a:pos x="124" y="57"/>
                  </a:cxn>
                  <a:cxn ang="0">
                    <a:pos x="133" y="57"/>
                  </a:cxn>
                  <a:cxn ang="0">
                    <a:pos x="157" y="64"/>
                  </a:cxn>
                  <a:cxn ang="0">
                    <a:pos x="157" y="70"/>
                  </a:cxn>
                  <a:cxn ang="0">
                    <a:pos x="145" y="74"/>
                  </a:cxn>
                  <a:cxn ang="0">
                    <a:pos x="131" y="81"/>
                  </a:cxn>
                  <a:cxn ang="0">
                    <a:pos x="121" y="89"/>
                  </a:cxn>
                  <a:cxn ang="0">
                    <a:pos x="112" y="79"/>
                  </a:cxn>
                  <a:cxn ang="0">
                    <a:pos x="107" y="88"/>
                  </a:cxn>
                  <a:cxn ang="0">
                    <a:pos x="114" y="96"/>
                  </a:cxn>
                  <a:cxn ang="0">
                    <a:pos x="103" y="103"/>
                  </a:cxn>
                  <a:cxn ang="0">
                    <a:pos x="86" y="94"/>
                  </a:cxn>
                  <a:cxn ang="0">
                    <a:pos x="74" y="106"/>
                  </a:cxn>
                  <a:cxn ang="0">
                    <a:pos x="54" y="96"/>
                  </a:cxn>
                  <a:cxn ang="0">
                    <a:pos x="60" y="93"/>
                  </a:cxn>
                  <a:cxn ang="0">
                    <a:pos x="45" y="89"/>
                  </a:cxn>
                  <a:cxn ang="0">
                    <a:pos x="36" y="81"/>
                  </a:cxn>
                  <a:cxn ang="0">
                    <a:pos x="54" y="72"/>
                  </a:cxn>
                  <a:cxn ang="0">
                    <a:pos x="76" y="70"/>
                  </a:cxn>
                  <a:cxn ang="0">
                    <a:pos x="55" y="67"/>
                  </a:cxn>
                  <a:cxn ang="0">
                    <a:pos x="40" y="70"/>
                  </a:cxn>
                  <a:cxn ang="0">
                    <a:pos x="33" y="64"/>
                  </a:cxn>
                  <a:cxn ang="0">
                    <a:pos x="23" y="69"/>
                  </a:cxn>
                  <a:cxn ang="0">
                    <a:pos x="17" y="64"/>
                  </a:cxn>
                  <a:cxn ang="0">
                    <a:pos x="30" y="57"/>
                  </a:cxn>
                  <a:cxn ang="0">
                    <a:pos x="9" y="53"/>
                  </a:cxn>
                  <a:cxn ang="0">
                    <a:pos x="0" y="41"/>
                  </a:cxn>
                  <a:cxn ang="0">
                    <a:pos x="14" y="43"/>
                  </a:cxn>
                  <a:cxn ang="0">
                    <a:pos x="24" y="43"/>
                  </a:cxn>
                  <a:cxn ang="0">
                    <a:pos x="21" y="38"/>
                  </a:cxn>
                  <a:cxn ang="0">
                    <a:pos x="7" y="33"/>
                  </a:cxn>
                  <a:cxn ang="0">
                    <a:pos x="9" y="26"/>
                  </a:cxn>
                  <a:cxn ang="0">
                    <a:pos x="24" y="27"/>
                  </a:cxn>
                  <a:cxn ang="0">
                    <a:pos x="33" y="26"/>
                  </a:cxn>
                  <a:cxn ang="0">
                    <a:pos x="28" y="22"/>
                  </a:cxn>
                  <a:cxn ang="0">
                    <a:pos x="17" y="19"/>
                  </a:cxn>
                  <a:cxn ang="0">
                    <a:pos x="23" y="10"/>
                  </a:cxn>
                  <a:cxn ang="0">
                    <a:pos x="43" y="10"/>
                  </a:cxn>
                  <a:cxn ang="0">
                    <a:pos x="28" y="0"/>
                  </a:cxn>
                  <a:cxn ang="0">
                    <a:pos x="60" y="5"/>
                  </a:cxn>
                  <a:cxn ang="0">
                    <a:pos x="67" y="15"/>
                  </a:cxn>
                  <a:cxn ang="0">
                    <a:pos x="76" y="27"/>
                  </a:cxn>
                  <a:cxn ang="0">
                    <a:pos x="97" y="29"/>
                  </a:cxn>
                  <a:cxn ang="0">
                    <a:pos x="105" y="43"/>
                  </a:cxn>
                </a:cxnLst>
                <a:rect l="0" t="0" r="r" b="b"/>
                <a:pathLst>
                  <a:path w="157" h="106">
                    <a:moveTo>
                      <a:pt x="105" y="43"/>
                    </a:moveTo>
                    <a:lnTo>
                      <a:pt x="112" y="43"/>
                    </a:lnTo>
                    <a:lnTo>
                      <a:pt x="112" y="36"/>
                    </a:lnTo>
                    <a:lnTo>
                      <a:pt x="109" y="33"/>
                    </a:lnTo>
                    <a:lnTo>
                      <a:pt x="110" y="33"/>
                    </a:lnTo>
                    <a:lnTo>
                      <a:pt x="114" y="33"/>
                    </a:lnTo>
                    <a:lnTo>
                      <a:pt x="119" y="34"/>
                    </a:lnTo>
                    <a:lnTo>
                      <a:pt x="121" y="41"/>
                    </a:lnTo>
                    <a:lnTo>
                      <a:pt x="124" y="45"/>
                    </a:lnTo>
                    <a:lnTo>
                      <a:pt x="128" y="48"/>
                    </a:lnTo>
                    <a:lnTo>
                      <a:pt x="126" y="51"/>
                    </a:lnTo>
                    <a:lnTo>
                      <a:pt x="124" y="57"/>
                    </a:lnTo>
                    <a:lnTo>
                      <a:pt x="128" y="58"/>
                    </a:lnTo>
                    <a:lnTo>
                      <a:pt x="133" y="57"/>
                    </a:lnTo>
                    <a:lnTo>
                      <a:pt x="143" y="58"/>
                    </a:lnTo>
                    <a:lnTo>
                      <a:pt x="157" y="64"/>
                    </a:lnTo>
                    <a:lnTo>
                      <a:pt x="157" y="67"/>
                    </a:lnTo>
                    <a:lnTo>
                      <a:pt x="157" y="70"/>
                    </a:lnTo>
                    <a:lnTo>
                      <a:pt x="150" y="72"/>
                    </a:lnTo>
                    <a:lnTo>
                      <a:pt x="145" y="74"/>
                    </a:lnTo>
                    <a:lnTo>
                      <a:pt x="136" y="76"/>
                    </a:lnTo>
                    <a:lnTo>
                      <a:pt x="131" y="81"/>
                    </a:lnTo>
                    <a:lnTo>
                      <a:pt x="126" y="86"/>
                    </a:lnTo>
                    <a:lnTo>
                      <a:pt x="121" y="89"/>
                    </a:lnTo>
                    <a:lnTo>
                      <a:pt x="114" y="86"/>
                    </a:lnTo>
                    <a:lnTo>
                      <a:pt x="112" y="79"/>
                    </a:lnTo>
                    <a:lnTo>
                      <a:pt x="109" y="82"/>
                    </a:lnTo>
                    <a:lnTo>
                      <a:pt x="107" y="88"/>
                    </a:lnTo>
                    <a:lnTo>
                      <a:pt x="110" y="91"/>
                    </a:lnTo>
                    <a:lnTo>
                      <a:pt x="114" y="96"/>
                    </a:lnTo>
                    <a:lnTo>
                      <a:pt x="103" y="96"/>
                    </a:lnTo>
                    <a:lnTo>
                      <a:pt x="103" y="103"/>
                    </a:lnTo>
                    <a:lnTo>
                      <a:pt x="95" y="100"/>
                    </a:lnTo>
                    <a:lnTo>
                      <a:pt x="86" y="94"/>
                    </a:lnTo>
                    <a:lnTo>
                      <a:pt x="83" y="103"/>
                    </a:lnTo>
                    <a:lnTo>
                      <a:pt x="74" y="106"/>
                    </a:lnTo>
                    <a:lnTo>
                      <a:pt x="60" y="103"/>
                    </a:lnTo>
                    <a:lnTo>
                      <a:pt x="54" y="96"/>
                    </a:lnTo>
                    <a:lnTo>
                      <a:pt x="57" y="94"/>
                    </a:lnTo>
                    <a:lnTo>
                      <a:pt x="60" y="93"/>
                    </a:lnTo>
                    <a:lnTo>
                      <a:pt x="52" y="91"/>
                    </a:lnTo>
                    <a:lnTo>
                      <a:pt x="45" y="89"/>
                    </a:lnTo>
                    <a:lnTo>
                      <a:pt x="38" y="84"/>
                    </a:lnTo>
                    <a:lnTo>
                      <a:pt x="36" y="81"/>
                    </a:lnTo>
                    <a:lnTo>
                      <a:pt x="40" y="74"/>
                    </a:lnTo>
                    <a:lnTo>
                      <a:pt x="54" y="72"/>
                    </a:lnTo>
                    <a:lnTo>
                      <a:pt x="66" y="70"/>
                    </a:lnTo>
                    <a:lnTo>
                      <a:pt x="76" y="70"/>
                    </a:lnTo>
                    <a:lnTo>
                      <a:pt x="64" y="67"/>
                    </a:lnTo>
                    <a:lnTo>
                      <a:pt x="55" y="67"/>
                    </a:lnTo>
                    <a:lnTo>
                      <a:pt x="45" y="69"/>
                    </a:lnTo>
                    <a:lnTo>
                      <a:pt x="40" y="70"/>
                    </a:lnTo>
                    <a:lnTo>
                      <a:pt x="35" y="67"/>
                    </a:lnTo>
                    <a:lnTo>
                      <a:pt x="33" y="64"/>
                    </a:lnTo>
                    <a:lnTo>
                      <a:pt x="26" y="65"/>
                    </a:lnTo>
                    <a:lnTo>
                      <a:pt x="23" y="69"/>
                    </a:lnTo>
                    <a:lnTo>
                      <a:pt x="17" y="65"/>
                    </a:lnTo>
                    <a:lnTo>
                      <a:pt x="17" y="64"/>
                    </a:lnTo>
                    <a:lnTo>
                      <a:pt x="23" y="60"/>
                    </a:lnTo>
                    <a:lnTo>
                      <a:pt x="30" y="57"/>
                    </a:lnTo>
                    <a:lnTo>
                      <a:pt x="17" y="55"/>
                    </a:lnTo>
                    <a:lnTo>
                      <a:pt x="9" y="53"/>
                    </a:lnTo>
                    <a:lnTo>
                      <a:pt x="2" y="48"/>
                    </a:lnTo>
                    <a:lnTo>
                      <a:pt x="0" y="41"/>
                    </a:lnTo>
                    <a:lnTo>
                      <a:pt x="7" y="41"/>
                    </a:lnTo>
                    <a:lnTo>
                      <a:pt x="14" y="43"/>
                    </a:lnTo>
                    <a:lnTo>
                      <a:pt x="23" y="45"/>
                    </a:lnTo>
                    <a:lnTo>
                      <a:pt x="24" y="43"/>
                    </a:lnTo>
                    <a:lnTo>
                      <a:pt x="28" y="41"/>
                    </a:lnTo>
                    <a:lnTo>
                      <a:pt x="21" y="38"/>
                    </a:lnTo>
                    <a:lnTo>
                      <a:pt x="14" y="36"/>
                    </a:lnTo>
                    <a:lnTo>
                      <a:pt x="7" y="33"/>
                    </a:lnTo>
                    <a:lnTo>
                      <a:pt x="5" y="31"/>
                    </a:lnTo>
                    <a:lnTo>
                      <a:pt x="9" y="26"/>
                    </a:lnTo>
                    <a:lnTo>
                      <a:pt x="17" y="26"/>
                    </a:lnTo>
                    <a:lnTo>
                      <a:pt x="24" y="27"/>
                    </a:lnTo>
                    <a:lnTo>
                      <a:pt x="31" y="29"/>
                    </a:lnTo>
                    <a:lnTo>
                      <a:pt x="33" y="26"/>
                    </a:lnTo>
                    <a:lnTo>
                      <a:pt x="36" y="24"/>
                    </a:lnTo>
                    <a:lnTo>
                      <a:pt x="28" y="22"/>
                    </a:lnTo>
                    <a:lnTo>
                      <a:pt x="23" y="24"/>
                    </a:lnTo>
                    <a:lnTo>
                      <a:pt x="17" y="19"/>
                    </a:lnTo>
                    <a:lnTo>
                      <a:pt x="16" y="15"/>
                    </a:lnTo>
                    <a:lnTo>
                      <a:pt x="23" y="10"/>
                    </a:lnTo>
                    <a:lnTo>
                      <a:pt x="35" y="10"/>
                    </a:lnTo>
                    <a:lnTo>
                      <a:pt x="43" y="10"/>
                    </a:lnTo>
                    <a:lnTo>
                      <a:pt x="33" y="7"/>
                    </a:lnTo>
                    <a:lnTo>
                      <a:pt x="28" y="0"/>
                    </a:lnTo>
                    <a:lnTo>
                      <a:pt x="43" y="2"/>
                    </a:lnTo>
                    <a:lnTo>
                      <a:pt x="60" y="5"/>
                    </a:lnTo>
                    <a:lnTo>
                      <a:pt x="66" y="8"/>
                    </a:lnTo>
                    <a:lnTo>
                      <a:pt x="67" y="15"/>
                    </a:lnTo>
                    <a:lnTo>
                      <a:pt x="69" y="22"/>
                    </a:lnTo>
                    <a:lnTo>
                      <a:pt x="76" y="27"/>
                    </a:lnTo>
                    <a:lnTo>
                      <a:pt x="86" y="27"/>
                    </a:lnTo>
                    <a:lnTo>
                      <a:pt x="97" y="29"/>
                    </a:lnTo>
                    <a:lnTo>
                      <a:pt x="102" y="34"/>
                    </a:lnTo>
                    <a:lnTo>
                      <a:pt x="105"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8" name="Freeform 325"/>
              <p:cNvSpPr>
                <a:spLocks/>
              </p:cNvSpPr>
              <p:nvPr/>
            </p:nvSpPr>
            <p:spPr bwMode="auto">
              <a:xfrm>
                <a:off x="2312194" y="2233613"/>
                <a:ext cx="163513" cy="103187"/>
              </a:xfrm>
              <a:custGeom>
                <a:avLst/>
                <a:gdLst/>
                <a:ahLst/>
                <a:cxnLst>
                  <a:cxn ang="0">
                    <a:pos x="6" y="45"/>
                  </a:cxn>
                  <a:cxn ang="0">
                    <a:pos x="10" y="41"/>
                  </a:cxn>
                  <a:cxn ang="0">
                    <a:pos x="12" y="38"/>
                  </a:cxn>
                  <a:cxn ang="0">
                    <a:pos x="12" y="32"/>
                  </a:cxn>
                  <a:cxn ang="0">
                    <a:pos x="12" y="31"/>
                  </a:cxn>
                  <a:cxn ang="0">
                    <a:pos x="12" y="20"/>
                  </a:cxn>
                  <a:cxn ang="0">
                    <a:pos x="13" y="12"/>
                  </a:cxn>
                  <a:cxn ang="0">
                    <a:pos x="18" y="3"/>
                  </a:cxn>
                  <a:cxn ang="0">
                    <a:pos x="29" y="0"/>
                  </a:cxn>
                  <a:cxn ang="0">
                    <a:pos x="32" y="7"/>
                  </a:cxn>
                  <a:cxn ang="0">
                    <a:pos x="36" y="14"/>
                  </a:cxn>
                  <a:cxn ang="0">
                    <a:pos x="37" y="12"/>
                  </a:cxn>
                  <a:cxn ang="0">
                    <a:pos x="41" y="10"/>
                  </a:cxn>
                  <a:cxn ang="0">
                    <a:pos x="48" y="15"/>
                  </a:cxn>
                  <a:cxn ang="0">
                    <a:pos x="58" y="20"/>
                  </a:cxn>
                  <a:cxn ang="0">
                    <a:pos x="67" y="22"/>
                  </a:cxn>
                  <a:cxn ang="0">
                    <a:pos x="77" y="31"/>
                  </a:cxn>
                  <a:cxn ang="0">
                    <a:pos x="77" y="34"/>
                  </a:cxn>
                  <a:cxn ang="0">
                    <a:pos x="80" y="39"/>
                  </a:cxn>
                  <a:cxn ang="0">
                    <a:pos x="92" y="45"/>
                  </a:cxn>
                  <a:cxn ang="0">
                    <a:pos x="103" y="50"/>
                  </a:cxn>
                  <a:cxn ang="0">
                    <a:pos x="94" y="53"/>
                  </a:cxn>
                  <a:cxn ang="0">
                    <a:pos x="86" y="55"/>
                  </a:cxn>
                  <a:cxn ang="0">
                    <a:pos x="77" y="55"/>
                  </a:cxn>
                  <a:cxn ang="0">
                    <a:pos x="72" y="55"/>
                  </a:cxn>
                  <a:cxn ang="0">
                    <a:pos x="68" y="51"/>
                  </a:cxn>
                  <a:cxn ang="0">
                    <a:pos x="61" y="48"/>
                  </a:cxn>
                  <a:cxn ang="0">
                    <a:pos x="55" y="43"/>
                  </a:cxn>
                  <a:cxn ang="0">
                    <a:pos x="53" y="43"/>
                  </a:cxn>
                  <a:cxn ang="0">
                    <a:pos x="49" y="50"/>
                  </a:cxn>
                  <a:cxn ang="0">
                    <a:pos x="43" y="57"/>
                  </a:cxn>
                  <a:cxn ang="0">
                    <a:pos x="34" y="60"/>
                  </a:cxn>
                  <a:cxn ang="0">
                    <a:pos x="29" y="60"/>
                  </a:cxn>
                  <a:cxn ang="0">
                    <a:pos x="25" y="63"/>
                  </a:cxn>
                  <a:cxn ang="0">
                    <a:pos x="24" y="65"/>
                  </a:cxn>
                  <a:cxn ang="0">
                    <a:pos x="18" y="62"/>
                  </a:cxn>
                  <a:cxn ang="0">
                    <a:pos x="20" y="55"/>
                  </a:cxn>
                  <a:cxn ang="0">
                    <a:pos x="8" y="53"/>
                  </a:cxn>
                  <a:cxn ang="0">
                    <a:pos x="0" y="55"/>
                  </a:cxn>
                  <a:cxn ang="0">
                    <a:pos x="1" y="46"/>
                  </a:cxn>
                  <a:cxn ang="0">
                    <a:pos x="6" y="45"/>
                  </a:cxn>
                </a:cxnLst>
                <a:rect l="0" t="0" r="r" b="b"/>
                <a:pathLst>
                  <a:path w="103" h="65">
                    <a:moveTo>
                      <a:pt x="6" y="45"/>
                    </a:moveTo>
                    <a:lnTo>
                      <a:pt x="10" y="41"/>
                    </a:lnTo>
                    <a:lnTo>
                      <a:pt x="12" y="38"/>
                    </a:lnTo>
                    <a:lnTo>
                      <a:pt x="12" y="32"/>
                    </a:lnTo>
                    <a:lnTo>
                      <a:pt x="12" y="31"/>
                    </a:lnTo>
                    <a:lnTo>
                      <a:pt x="12" y="20"/>
                    </a:lnTo>
                    <a:lnTo>
                      <a:pt x="13" y="12"/>
                    </a:lnTo>
                    <a:lnTo>
                      <a:pt x="18" y="3"/>
                    </a:lnTo>
                    <a:lnTo>
                      <a:pt x="29" y="0"/>
                    </a:lnTo>
                    <a:lnTo>
                      <a:pt x="32" y="7"/>
                    </a:lnTo>
                    <a:lnTo>
                      <a:pt x="36" y="14"/>
                    </a:lnTo>
                    <a:lnTo>
                      <a:pt x="37" y="12"/>
                    </a:lnTo>
                    <a:lnTo>
                      <a:pt x="41" y="10"/>
                    </a:lnTo>
                    <a:lnTo>
                      <a:pt x="48" y="15"/>
                    </a:lnTo>
                    <a:lnTo>
                      <a:pt x="58" y="20"/>
                    </a:lnTo>
                    <a:lnTo>
                      <a:pt x="67" y="22"/>
                    </a:lnTo>
                    <a:lnTo>
                      <a:pt x="77" y="31"/>
                    </a:lnTo>
                    <a:lnTo>
                      <a:pt x="77" y="34"/>
                    </a:lnTo>
                    <a:lnTo>
                      <a:pt x="80" y="39"/>
                    </a:lnTo>
                    <a:lnTo>
                      <a:pt x="92" y="45"/>
                    </a:lnTo>
                    <a:lnTo>
                      <a:pt x="103" y="50"/>
                    </a:lnTo>
                    <a:lnTo>
                      <a:pt x="94" y="53"/>
                    </a:lnTo>
                    <a:lnTo>
                      <a:pt x="86" y="55"/>
                    </a:lnTo>
                    <a:lnTo>
                      <a:pt x="77" y="55"/>
                    </a:lnTo>
                    <a:lnTo>
                      <a:pt x="72" y="55"/>
                    </a:lnTo>
                    <a:lnTo>
                      <a:pt x="68" y="51"/>
                    </a:lnTo>
                    <a:lnTo>
                      <a:pt x="61" y="48"/>
                    </a:lnTo>
                    <a:lnTo>
                      <a:pt x="55" y="43"/>
                    </a:lnTo>
                    <a:lnTo>
                      <a:pt x="53" y="43"/>
                    </a:lnTo>
                    <a:lnTo>
                      <a:pt x="49" y="50"/>
                    </a:lnTo>
                    <a:lnTo>
                      <a:pt x="43" y="57"/>
                    </a:lnTo>
                    <a:lnTo>
                      <a:pt x="34" y="60"/>
                    </a:lnTo>
                    <a:lnTo>
                      <a:pt x="29" y="60"/>
                    </a:lnTo>
                    <a:lnTo>
                      <a:pt x="25" y="63"/>
                    </a:lnTo>
                    <a:lnTo>
                      <a:pt x="24" y="65"/>
                    </a:lnTo>
                    <a:lnTo>
                      <a:pt x="18" y="62"/>
                    </a:lnTo>
                    <a:lnTo>
                      <a:pt x="20" y="55"/>
                    </a:lnTo>
                    <a:lnTo>
                      <a:pt x="8" y="53"/>
                    </a:lnTo>
                    <a:lnTo>
                      <a:pt x="0" y="55"/>
                    </a:lnTo>
                    <a:lnTo>
                      <a:pt x="1" y="46"/>
                    </a:lnTo>
                    <a:lnTo>
                      <a:pt x="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89" name="Freeform 326"/>
              <p:cNvSpPr>
                <a:spLocks/>
              </p:cNvSpPr>
              <p:nvPr/>
            </p:nvSpPr>
            <p:spPr bwMode="auto">
              <a:xfrm>
                <a:off x="2543969" y="2139950"/>
                <a:ext cx="49213" cy="41275"/>
              </a:xfrm>
              <a:custGeom>
                <a:avLst/>
                <a:gdLst/>
                <a:ahLst/>
                <a:cxnLst>
                  <a:cxn ang="0">
                    <a:pos x="31" y="14"/>
                  </a:cxn>
                  <a:cxn ang="0">
                    <a:pos x="24" y="23"/>
                  </a:cxn>
                  <a:cxn ang="0">
                    <a:pos x="12" y="26"/>
                  </a:cxn>
                  <a:cxn ang="0">
                    <a:pos x="3" y="23"/>
                  </a:cxn>
                  <a:cxn ang="0">
                    <a:pos x="0" y="14"/>
                  </a:cxn>
                  <a:cxn ang="0">
                    <a:pos x="3" y="2"/>
                  </a:cxn>
                  <a:cxn ang="0">
                    <a:pos x="15" y="0"/>
                  </a:cxn>
                  <a:cxn ang="0">
                    <a:pos x="26" y="4"/>
                  </a:cxn>
                  <a:cxn ang="0">
                    <a:pos x="31" y="14"/>
                  </a:cxn>
                </a:cxnLst>
                <a:rect l="0" t="0" r="r" b="b"/>
                <a:pathLst>
                  <a:path w="31" h="26">
                    <a:moveTo>
                      <a:pt x="31" y="14"/>
                    </a:moveTo>
                    <a:lnTo>
                      <a:pt x="24" y="23"/>
                    </a:lnTo>
                    <a:lnTo>
                      <a:pt x="12" y="26"/>
                    </a:lnTo>
                    <a:lnTo>
                      <a:pt x="3" y="23"/>
                    </a:lnTo>
                    <a:lnTo>
                      <a:pt x="0" y="14"/>
                    </a:lnTo>
                    <a:lnTo>
                      <a:pt x="3" y="2"/>
                    </a:lnTo>
                    <a:lnTo>
                      <a:pt x="15" y="0"/>
                    </a:lnTo>
                    <a:lnTo>
                      <a:pt x="26" y="4"/>
                    </a:lnTo>
                    <a:lnTo>
                      <a:pt x="31"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0" name="Freeform 327"/>
              <p:cNvSpPr>
                <a:spLocks/>
              </p:cNvSpPr>
              <p:nvPr/>
            </p:nvSpPr>
            <p:spPr bwMode="auto">
              <a:xfrm>
                <a:off x="2393157" y="2339975"/>
                <a:ext cx="41275" cy="31750"/>
              </a:xfrm>
              <a:custGeom>
                <a:avLst/>
                <a:gdLst/>
                <a:ahLst/>
                <a:cxnLst>
                  <a:cxn ang="0">
                    <a:pos x="10" y="2"/>
                  </a:cxn>
                  <a:cxn ang="0">
                    <a:pos x="19" y="0"/>
                  </a:cxn>
                  <a:cxn ang="0">
                    <a:pos x="26" y="3"/>
                  </a:cxn>
                  <a:cxn ang="0">
                    <a:pos x="14" y="14"/>
                  </a:cxn>
                  <a:cxn ang="0">
                    <a:pos x="0" y="20"/>
                  </a:cxn>
                  <a:cxn ang="0">
                    <a:pos x="0" y="14"/>
                  </a:cxn>
                  <a:cxn ang="0">
                    <a:pos x="5" y="7"/>
                  </a:cxn>
                  <a:cxn ang="0">
                    <a:pos x="10" y="2"/>
                  </a:cxn>
                </a:cxnLst>
                <a:rect l="0" t="0" r="r" b="b"/>
                <a:pathLst>
                  <a:path w="26" h="20">
                    <a:moveTo>
                      <a:pt x="10" y="2"/>
                    </a:moveTo>
                    <a:lnTo>
                      <a:pt x="19" y="0"/>
                    </a:lnTo>
                    <a:lnTo>
                      <a:pt x="26" y="3"/>
                    </a:lnTo>
                    <a:lnTo>
                      <a:pt x="14" y="14"/>
                    </a:lnTo>
                    <a:lnTo>
                      <a:pt x="0" y="20"/>
                    </a:lnTo>
                    <a:lnTo>
                      <a:pt x="0" y="14"/>
                    </a:lnTo>
                    <a:lnTo>
                      <a:pt x="5" y="7"/>
                    </a:lnTo>
                    <a:lnTo>
                      <a:pt x="1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1" name="Freeform 328"/>
              <p:cNvSpPr>
                <a:spLocks/>
              </p:cNvSpPr>
              <p:nvPr/>
            </p:nvSpPr>
            <p:spPr bwMode="auto">
              <a:xfrm>
                <a:off x="2458244" y="1908175"/>
                <a:ext cx="107950" cy="46037"/>
              </a:xfrm>
              <a:custGeom>
                <a:avLst/>
                <a:gdLst/>
                <a:ahLst/>
                <a:cxnLst>
                  <a:cxn ang="0">
                    <a:pos x="25" y="29"/>
                  </a:cxn>
                  <a:cxn ang="0">
                    <a:pos x="11" y="26"/>
                  </a:cxn>
                  <a:cxn ang="0">
                    <a:pos x="11" y="17"/>
                  </a:cxn>
                  <a:cxn ang="0">
                    <a:pos x="2" y="12"/>
                  </a:cxn>
                  <a:cxn ang="0">
                    <a:pos x="0" y="7"/>
                  </a:cxn>
                  <a:cxn ang="0">
                    <a:pos x="2" y="0"/>
                  </a:cxn>
                  <a:cxn ang="0">
                    <a:pos x="9" y="0"/>
                  </a:cxn>
                  <a:cxn ang="0">
                    <a:pos x="21" y="2"/>
                  </a:cxn>
                  <a:cxn ang="0">
                    <a:pos x="33" y="4"/>
                  </a:cxn>
                  <a:cxn ang="0">
                    <a:pos x="42" y="4"/>
                  </a:cxn>
                  <a:cxn ang="0">
                    <a:pos x="52" y="9"/>
                  </a:cxn>
                  <a:cxn ang="0">
                    <a:pos x="59" y="14"/>
                  </a:cxn>
                  <a:cxn ang="0">
                    <a:pos x="68" y="19"/>
                  </a:cxn>
                  <a:cxn ang="0">
                    <a:pos x="64" y="24"/>
                  </a:cxn>
                  <a:cxn ang="0">
                    <a:pos x="59" y="28"/>
                  </a:cxn>
                  <a:cxn ang="0">
                    <a:pos x="50" y="26"/>
                  </a:cxn>
                  <a:cxn ang="0">
                    <a:pos x="43" y="24"/>
                  </a:cxn>
                  <a:cxn ang="0">
                    <a:pos x="35" y="26"/>
                  </a:cxn>
                  <a:cxn ang="0">
                    <a:pos x="25" y="29"/>
                  </a:cxn>
                </a:cxnLst>
                <a:rect l="0" t="0" r="r" b="b"/>
                <a:pathLst>
                  <a:path w="68" h="29">
                    <a:moveTo>
                      <a:pt x="25" y="29"/>
                    </a:moveTo>
                    <a:lnTo>
                      <a:pt x="11" y="26"/>
                    </a:lnTo>
                    <a:lnTo>
                      <a:pt x="11" y="17"/>
                    </a:lnTo>
                    <a:lnTo>
                      <a:pt x="2" y="12"/>
                    </a:lnTo>
                    <a:lnTo>
                      <a:pt x="0" y="7"/>
                    </a:lnTo>
                    <a:lnTo>
                      <a:pt x="2" y="0"/>
                    </a:lnTo>
                    <a:lnTo>
                      <a:pt x="9" y="0"/>
                    </a:lnTo>
                    <a:lnTo>
                      <a:pt x="21" y="2"/>
                    </a:lnTo>
                    <a:lnTo>
                      <a:pt x="33" y="4"/>
                    </a:lnTo>
                    <a:lnTo>
                      <a:pt x="42" y="4"/>
                    </a:lnTo>
                    <a:lnTo>
                      <a:pt x="52" y="9"/>
                    </a:lnTo>
                    <a:lnTo>
                      <a:pt x="59" y="14"/>
                    </a:lnTo>
                    <a:lnTo>
                      <a:pt x="68" y="19"/>
                    </a:lnTo>
                    <a:lnTo>
                      <a:pt x="64" y="24"/>
                    </a:lnTo>
                    <a:lnTo>
                      <a:pt x="59" y="28"/>
                    </a:lnTo>
                    <a:lnTo>
                      <a:pt x="50" y="26"/>
                    </a:lnTo>
                    <a:lnTo>
                      <a:pt x="43" y="24"/>
                    </a:lnTo>
                    <a:lnTo>
                      <a:pt x="35" y="26"/>
                    </a:lnTo>
                    <a:lnTo>
                      <a:pt x="25"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2" name="Freeform 329"/>
              <p:cNvSpPr>
                <a:spLocks/>
              </p:cNvSpPr>
              <p:nvPr/>
            </p:nvSpPr>
            <p:spPr bwMode="auto">
              <a:xfrm>
                <a:off x="2467769" y="2363788"/>
                <a:ext cx="26988" cy="25400"/>
              </a:xfrm>
              <a:custGeom>
                <a:avLst/>
                <a:gdLst/>
                <a:ahLst/>
                <a:cxnLst>
                  <a:cxn ang="0">
                    <a:pos x="17" y="4"/>
                  </a:cxn>
                  <a:cxn ang="0">
                    <a:pos x="12" y="11"/>
                  </a:cxn>
                  <a:cxn ang="0">
                    <a:pos x="8" y="16"/>
                  </a:cxn>
                  <a:cxn ang="0">
                    <a:pos x="3" y="12"/>
                  </a:cxn>
                  <a:cxn ang="0">
                    <a:pos x="0" y="9"/>
                  </a:cxn>
                  <a:cxn ang="0">
                    <a:pos x="5" y="0"/>
                  </a:cxn>
                  <a:cxn ang="0">
                    <a:pos x="17" y="4"/>
                  </a:cxn>
                </a:cxnLst>
                <a:rect l="0" t="0" r="r" b="b"/>
                <a:pathLst>
                  <a:path w="17" h="16">
                    <a:moveTo>
                      <a:pt x="17" y="4"/>
                    </a:moveTo>
                    <a:lnTo>
                      <a:pt x="12" y="11"/>
                    </a:lnTo>
                    <a:lnTo>
                      <a:pt x="8" y="16"/>
                    </a:lnTo>
                    <a:lnTo>
                      <a:pt x="3" y="12"/>
                    </a:lnTo>
                    <a:lnTo>
                      <a:pt x="0" y="9"/>
                    </a:lnTo>
                    <a:lnTo>
                      <a:pt x="5" y="0"/>
                    </a:lnTo>
                    <a:lnTo>
                      <a:pt x="17"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3" name="Freeform 330"/>
              <p:cNvSpPr>
                <a:spLocks/>
              </p:cNvSpPr>
              <p:nvPr/>
            </p:nvSpPr>
            <p:spPr bwMode="auto">
              <a:xfrm>
                <a:off x="2601119" y="2143125"/>
                <a:ext cx="26988" cy="15875"/>
              </a:xfrm>
              <a:custGeom>
                <a:avLst/>
                <a:gdLst/>
                <a:ahLst/>
                <a:cxnLst>
                  <a:cxn ang="0">
                    <a:pos x="7" y="10"/>
                  </a:cxn>
                  <a:cxn ang="0">
                    <a:pos x="2" y="9"/>
                  </a:cxn>
                  <a:cxn ang="0">
                    <a:pos x="0" y="7"/>
                  </a:cxn>
                  <a:cxn ang="0">
                    <a:pos x="2" y="2"/>
                  </a:cxn>
                  <a:cxn ang="0">
                    <a:pos x="7" y="0"/>
                  </a:cxn>
                  <a:cxn ang="0">
                    <a:pos x="12" y="3"/>
                  </a:cxn>
                  <a:cxn ang="0">
                    <a:pos x="17" y="9"/>
                  </a:cxn>
                  <a:cxn ang="0">
                    <a:pos x="10" y="9"/>
                  </a:cxn>
                  <a:cxn ang="0">
                    <a:pos x="7" y="10"/>
                  </a:cxn>
                </a:cxnLst>
                <a:rect l="0" t="0" r="r" b="b"/>
                <a:pathLst>
                  <a:path w="17" h="10">
                    <a:moveTo>
                      <a:pt x="7" y="10"/>
                    </a:moveTo>
                    <a:lnTo>
                      <a:pt x="2" y="9"/>
                    </a:lnTo>
                    <a:lnTo>
                      <a:pt x="0" y="7"/>
                    </a:lnTo>
                    <a:lnTo>
                      <a:pt x="2" y="2"/>
                    </a:lnTo>
                    <a:lnTo>
                      <a:pt x="7" y="0"/>
                    </a:lnTo>
                    <a:lnTo>
                      <a:pt x="12" y="3"/>
                    </a:lnTo>
                    <a:lnTo>
                      <a:pt x="17" y="9"/>
                    </a:lnTo>
                    <a:lnTo>
                      <a:pt x="10" y="9"/>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4" name="Freeform 331"/>
              <p:cNvSpPr>
                <a:spLocks/>
              </p:cNvSpPr>
              <p:nvPr/>
            </p:nvSpPr>
            <p:spPr bwMode="auto">
              <a:xfrm>
                <a:off x="2497932" y="2100263"/>
                <a:ext cx="15875" cy="15875"/>
              </a:xfrm>
              <a:custGeom>
                <a:avLst/>
                <a:gdLst/>
                <a:ahLst/>
                <a:cxnLst>
                  <a:cxn ang="0">
                    <a:pos x="0" y="10"/>
                  </a:cxn>
                  <a:cxn ang="0">
                    <a:pos x="0" y="5"/>
                  </a:cxn>
                  <a:cxn ang="0">
                    <a:pos x="10" y="0"/>
                  </a:cxn>
                  <a:cxn ang="0">
                    <a:pos x="5" y="6"/>
                  </a:cxn>
                  <a:cxn ang="0">
                    <a:pos x="0" y="10"/>
                  </a:cxn>
                </a:cxnLst>
                <a:rect l="0" t="0" r="r" b="b"/>
                <a:pathLst>
                  <a:path w="10" h="10">
                    <a:moveTo>
                      <a:pt x="0" y="10"/>
                    </a:moveTo>
                    <a:lnTo>
                      <a:pt x="0" y="5"/>
                    </a:lnTo>
                    <a:lnTo>
                      <a:pt x="10" y="0"/>
                    </a:lnTo>
                    <a:lnTo>
                      <a:pt x="5" y="6"/>
                    </a:lnTo>
                    <a:lnTo>
                      <a:pt x="0"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5" name="Freeform 332"/>
              <p:cNvSpPr>
                <a:spLocks/>
              </p:cNvSpPr>
              <p:nvPr/>
            </p:nvSpPr>
            <p:spPr bwMode="auto">
              <a:xfrm>
                <a:off x="2243932" y="1905000"/>
                <a:ext cx="663575" cy="477837"/>
              </a:xfrm>
              <a:custGeom>
                <a:avLst/>
                <a:gdLst/>
                <a:ahLst/>
                <a:cxnLst>
                  <a:cxn ang="0">
                    <a:pos x="375" y="222"/>
                  </a:cxn>
                  <a:cxn ang="0">
                    <a:pos x="347" y="196"/>
                  </a:cxn>
                  <a:cxn ang="0">
                    <a:pos x="328" y="198"/>
                  </a:cxn>
                  <a:cxn ang="0">
                    <a:pos x="326" y="205"/>
                  </a:cxn>
                  <a:cxn ang="0">
                    <a:pos x="344" y="231"/>
                  </a:cxn>
                  <a:cxn ang="0">
                    <a:pos x="366" y="238"/>
                  </a:cxn>
                  <a:cxn ang="0">
                    <a:pos x="376" y="258"/>
                  </a:cxn>
                  <a:cxn ang="0">
                    <a:pos x="342" y="270"/>
                  </a:cxn>
                  <a:cxn ang="0">
                    <a:pos x="321" y="265"/>
                  </a:cxn>
                  <a:cxn ang="0">
                    <a:pos x="347" y="298"/>
                  </a:cxn>
                  <a:cxn ang="0">
                    <a:pos x="328" y="289"/>
                  </a:cxn>
                  <a:cxn ang="0">
                    <a:pos x="290" y="277"/>
                  </a:cxn>
                  <a:cxn ang="0">
                    <a:pos x="258" y="253"/>
                  </a:cxn>
                  <a:cxn ang="0">
                    <a:pos x="225" y="239"/>
                  </a:cxn>
                  <a:cxn ang="0">
                    <a:pos x="203" y="243"/>
                  </a:cxn>
                  <a:cxn ang="0">
                    <a:pos x="175" y="236"/>
                  </a:cxn>
                  <a:cxn ang="0">
                    <a:pos x="187" y="219"/>
                  </a:cxn>
                  <a:cxn ang="0">
                    <a:pos x="227" y="215"/>
                  </a:cxn>
                  <a:cxn ang="0">
                    <a:pos x="233" y="195"/>
                  </a:cxn>
                  <a:cxn ang="0">
                    <a:pos x="251" y="159"/>
                  </a:cxn>
                  <a:cxn ang="0">
                    <a:pos x="206" y="135"/>
                  </a:cxn>
                  <a:cxn ang="0">
                    <a:pos x="197" y="126"/>
                  </a:cxn>
                  <a:cxn ang="0">
                    <a:pos x="175" y="100"/>
                  </a:cxn>
                  <a:cxn ang="0">
                    <a:pos x="151" y="114"/>
                  </a:cxn>
                  <a:cxn ang="0">
                    <a:pos x="132" y="104"/>
                  </a:cxn>
                  <a:cxn ang="0">
                    <a:pos x="92" y="104"/>
                  </a:cxn>
                  <a:cxn ang="0">
                    <a:pos x="55" y="100"/>
                  </a:cxn>
                  <a:cxn ang="0">
                    <a:pos x="13" y="80"/>
                  </a:cxn>
                  <a:cxn ang="0">
                    <a:pos x="27" y="71"/>
                  </a:cxn>
                  <a:cxn ang="0">
                    <a:pos x="3" y="64"/>
                  </a:cxn>
                  <a:cxn ang="0">
                    <a:pos x="5" y="35"/>
                  </a:cxn>
                  <a:cxn ang="0">
                    <a:pos x="20" y="11"/>
                  </a:cxn>
                  <a:cxn ang="0">
                    <a:pos x="56" y="0"/>
                  </a:cxn>
                  <a:cxn ang="0">
                    <a:pos x="65" y="11"/>
                  </a:cxn>
                  <a:cxn ang="0">
                    <a:pos x="49" y="35"/>
                  </a:cxn>
                  <a:cxn ang="0">
                    <a:pos x="53" y="50"/>
                  </a:cxn>
                  <a:cxn ang="0">
                    <a:pos x="65" y="38"/>
                  </a:cxn>
                  <a:cxn ang="0">
                    <a:pos x="91" y="7"/>
                  </a:cxn>
                  <a:cxn ang="0">
                    <a:pos x="127" y="7"/>
                  </a:cxn>
                  <a:cxn ang="0">
                    <a:pos x="137" y="40"/>
                  </a:cxn>
                  <a:cxn ang="0">
                    <a:pos x="154" y="42"/>
                  </a:cxn>
                  <a:cxn ang="0">
                    <a:pos x="173" y="33"/>
                  </a:cxn>
                  <a:cxn ang="0">
                    <a:pos x="209" y="35"/>
                  </a:cxn>
                  <a:cxn ang="0">
                    <a:pos x="237" y="61"/>
                  </a:cxn>
                  <a:cxn ang="0">
                    <a:pos x="266" y="64"/>
                  </a:cxn>
                  <a:cxn ang="0">
                    <a:pos x="289" y="78"/>
                  </a:cxn>
                  <a:cxn ang="0">
                    <a:pos x="314" y="98"/>
                  </a:cxn>
                  <a:cxn ang="0">
                    <a:pos x="338" y="111"/>
                  </a:cxn>
                  <a:cxn ang="0">
                    <a:pos x="335" y="117"/>
                  </a:cxn>
                  <a:cxn ang="0">
                    <a:pos x="326" y="135"/>
                  </a:cxn>
                  <a:cxn ang="0">
                    <a:pos x="349" y="150"/>
                  </a:cxn>
                  <a:cxn ang="0">
                    <a:pos x="376" y="174"/>
                  </a:cxn>
                  <a:cxn ang="0">
                    <a:pos x="404" y="179"/>
                  </a:cxn>
                  <a:cxn ang="0">
                    <a:pos x="402" y="198"/>
                  </a:cxn>
                  <a:cxn ang="0">
                    <a:pos x="392" y="212"/>
                  </a:cxn>
                </a:cxnLst>
                <a:rect l="0" t="0" r="r" b="b"/>
                <a:pathLst>
                  <a:path w="418" h="301">
                    <a:moveTo>
                      <a:pt x="392" y="212"/>
                    </a:moveTo>
                    <a:lnTo>
                      <a:pt x="390" y="221"/>
                    </a:lnTo>
                    <a:lnTo>
                      <a:pt x="385" y="226"/>
                    </a:lnTo>
                    <a:lnTo>
                      <a:pt x="375" y="222"/>
                    </a:lnTo>
                    <a:lnTo>
                      <a:pt x="368" y="219"/>
                    </a:lnTo>
                    <a:lnTo>
                      <a:pt x="362" y="214"/>
                    </a:lnTo>
                    <a:lnTo>
                      <a:pt x="357" y="209"/>
                    </a:lnTo>
                    <a:lnTo>
                      <a:pt x="347" y="196"/>
                    </a:lnTo>
                    <a:lnTo>
                      <a:pt x="333" y="191"/>
                    </a:lnTo>
                    <a:lnTo>
                      <a:pt x="328" y="193"/>
                    </a:lnTo>
                    <a:lnTo>
                      <a:pt x="323" y="196"/>
                    </a:lnTo>
                    <a:lnTo>
                      <a:pt x="328" y="198"/>
                    </a:lnTo>
                    <a:lnTo>
                      <a:pt x="333" y="198"/>
                    </a:lnTo>
                    <a:lnTo>
                      <a:pt x="333" y="205"/>
                    </a:lnTo>
                    <a:lnTo>
                      <a:pt x="330" y="205"/>
                    </a:lnTo>
                    <a:lnTo>
                      <a:pt x="326" y="205"/>
                    </a:lnTo>
                    <a:lnTo>
                      <a:pt x="326" y="212"/>
                    </a:lnTo>
                    <a:lnTo>
                      <a:pt x="333" y="212"/>
                    </a:lnTo>
                    <a:lnTo>
                      <a:pt x="337" y="222"/>
                    </a:lnTo>
                    <a:lnTo>
                      <a:pt x="344" y="231"/>
                    </a:lnTo>
                    <a:lnTo>
                      <a:pt x="354" y="231"/>
                    </a:lnTo>
                    <a:lnTo>
                      <a:pt x="357" y="238"/>
                    </a:lnTo>
                    <a:lnTo>
                      <a:pt x="361" y="238"/>
                    </a:lnTo>
                    <a:lnTo>
                      <a:pt x="366" y="238"/>
                    </a:lnTo>
                    <a:lnTo>
                      <a:pt x="366" y="243"/>
                    </a:lnTo>
                    <a:lnTo>
                      <a:pt x="366" y="248"/>
                    </a:lnTo>
                    <a:lnTo>
                      <a:pt x="371" y="252"/>
                    </a:lnTo>
                    <a:lnTo>
                      <a:pt x="376" y="258"/>
                    </a:lnTo>
                    <a:lnTo>
                      <a:pt x="371" y="269"/>
                    </a:lnTo>
                    <a:lnTo>
                      <a:pt x="368" y="279"/>
                    </a:lnTo>
                    <a:lnTo>
                      <a:pt x="356" y="276"/>
                    </a:lnTo>
                    <a:lnTo>
                      <a:pt x="342" y="270"/>
                    </a:lnTo>
                    <a:lnTo>
                      <a:pt x="328" y="264"/>
                    </a:lnTo>
                    <a:lnTo>
                      <a:pt x="321" y="258"/>
                    </a:lnTo>
                    <a:lnTo>
                      <a:pt x="313" y="258"/>
                    </a:lnTo>
                    <a:lnTo>
                      <a:pt x="321" y="265"/>
                    </a:lnTo>
                    <a:lnTo>
                      <a:pt x="333" y="276"/>
                    </a:lnTo>
                    <a:lnTo>
                      <a:pt x="344" y="284"/>
                    </a:lnTo>
                    <a:lnTo>
                      <a:pt x="350" y="294"/>
                    </a:lnTo>
                    <a:lnTo>
                      <a:pt x="347" y="298"/>
                    </a:lnTo>
                    <a:lnTo>
                      <a:pt x="345" y="301"/>
                    </a:lnTo>
                    <a:lnTo>
                      <a:pt x="342" y="298"/>
                    </a:lnTo>
                    <a:lnTo>
                      <a:pt x="340" y="294"/>
                    </a:lnTo>
                    <a:lnTo>
                      <a:pt x="328" y="289"/>
                    </a:lnTo>
                    <a:lnTo>
                      <a:pt x="319" y="288"/>
                    </a:lnTo>
                    <a:lnTo>
                      <a:pt x="311" y="286"/>
                    </a:lnTo>
                    <a:lnTo>
                      <a:pt x="304" y="282"/>
                    </a:lnTo>
                    <a:lnTo>
                      <a:pt x="290" y="277"/>
                    </a:lnTo>
                    <a:lnTo>
                      <a:pt x="278" y="274"/>
                    </a:lnTo>
                    <a:lnTo>
                      <a:pt x="268" y="267"/>
                    </a:lnTo>
                    <a:lnTo>
                      <a:pt x="270" y="260"/>
                    </a:lnTo>
                    <a:lnTo>
                      <a:pt x="258" y="253"/>
                    </a:lnTo>
                    <a:lnTo>
                      <a:pt x="247" y="246"/>
                    </a:lnTo>
                    <a:lnTo>
                      <a:pt x="239" y="239"/>
                    </a:lnTo>
                    <a:lnTo>
                      <a:pt x="230" y="234"/>
                    </a:lnTo>
                    <a:lnTo>
                      <a:pt x="225" y="239"/>
                    </a:lnTo>
                    <a:lnTo>
                      <a:pt x="220" y="243"/>
                    </a:lnTo>
                    <a:lnTo>
                      <a:pt x="215" y="241"/>
                    </a:lnTo>
                    <a:lnTo>
                      <a:pt x="211" y="239"/>
                    </a:lnTo>
                    <a:lnTo>
                      <a:pt x="203" y="243"/>
                    </a:lnTo>
                    <a:lnTo>
                      <a:pt x="196" y="246"/>
                    </a:lnTo>
                    <a:lnTo>
                      <a:pt x="189" y="245"/>
                    </a:lnTo>
                    <a:lnTo>
                      <a:pt x="182" y="241"/>
                    </a:lnTo>
                    <a:lnTo>
                      <a:pt x="175" y="236"/>
                    </a:lnTo>
                    <a:lnTo>
                      <a:pt x="173" y="233"/>
                    </a:lnTo>
                    <a:lnTo>
                      <a:pt x="175" y="227"/>
                    </a:lnTo>
                    <a:lnTo>
                      <a:pt x="180" y="222"/>
                    </a:lnTo>
                    <a:lnTo>
                      <a:pt x="187" y="219"/>
                    </a:lnTo>
                    <a:lnTo>
                      <a:pt x="194" y="219"/>
                    </a:lnTo>
                    <a:lnTo>
                      <a:pt x="206" y="219"/>
                    </a:lnTo>
                    <a:lnTo>
                      <a:pt x="216" y="219"/>
                    </a:lnTo>
                    <a:lnTo>
                      <a:pt x="227" y="215"/>
                    </a:lnTo>
                    <a:lnTo>
                      <a:pt x="239" y="212"/>
                    </a:lnTo>
                    <a:lnTo>
                      <a:pt x="233" y="207"/>
                    </a:lnTo>
                    <a:lnTo>
                      <a:pt x="230" y="202"/>
                    </a:lnTo>
                    <a:lnTo>
                      <a:pt x="233" y="195"/>
                    </a:lnTo>
                    <a:lnTo>
                      <a:pt x="242" y="193"/>
                    </a:lnTo>
                    <a:lnTo>
                      <a:pt x="251" y="181"/>
                    </a:lnTo>
                    <a:lnTo>
                      <a:pt x="258" y="171"/>
                    </a:lnTo>
                    <a:lnTo>
                      <a:pt x="251" y="159"/>
                    </a:lnTo>
                    <a:lnTo>
                      <a:pt x="239" y="147"/>
                    </a:lnTo>
                    <a:lnTo>
                      <a:pt x="225" y="136"/>
                    </a:lnTo>
                    <a:lnTo>
                      <a:pt x="215" y="133"/>
                    </a:lnTo>
                    <a:lnTo>
                      <a:pt x="206" y="135"/>
                    </a:lnTo>
                    <a:lnTo>
                      <a:pt x="197" y="138"/>
                    </a:lnTo>
                    <a:lnTo>
                      <a:pt x="194" y="135"/>
                    </a:lnTo>
                    <a:lnTo>
                      <a:pt x="194" y="133"/>
                    </a:lnTo>
                    <a:lnTo>
                      <a:pt x="197" y="126"/>
                    </a:lnTo>
                    <a:lnTo>
                      <a:pt x="206" y="126"/>
                    </a:lnTo>
                    <a:lnTo>
                      <a:pt x="197" y="117"/>
                    </a:lnTo>
                    <a:lnTo>
                      <a:pt x="187" y="109"/>
                    </a:lnTo>
                    <a:lnTo>
                      <a:pt x="175" y="100"/>
                    </a:lnTo>
                    <a:lnTo>
                      <a:pt x="168" y="98"/>
                    </a:lnTo>
                    <a:lnTo>
                      <a:pt x="163" y="100"/>
                    </a:lnTo>
                    <a:lnTo>
                      <a:pt x="158" y="107"/>
                    </a:lnTo>
                    <a:lnTo>
                      <a:pt x="151" y="114"/>
                    </a:lnTo>
                    <a:lnTo>
                      <a:pt x="146" y="117"/>
                    </a:lnTo>
                    <a:lnTo>
                      <a:pt x="141" y="112"/>
                    </a:lnTo>
                    <a:lnTo>
                      <a:pt x="141" y="105"/>
                    </a:lnTo>
                    <a:lnTo>
                      <a:pt x="132" y="104"/>
                    </a:lnTo>
                    <a:lnTo>
                      <a:pt x="123" y="104"/>
                    </a:lnTo>
                    <a:lnTo>
                      <a:pt x="113" y="104"/>
                    </a:lnTo>
                    <a:lnTo>
                      <a:pt x="104" y="104"/>
                    </a:lnTo>
                    <a:lnTo>
                      <a:pt x="92" y="104"/>
                    </a:lnTo>
                    <a:lnTo>
                      <a:pt x="82" y="104"/>
                    </a:lnTo>
                    <a:lnTo>
                      <a:pt x="72" y="104"/>
                    </a:lnTo>
                    <a:lnTo>
                      <a:pt x="63" y="105"/>
                    </a:lnTo>
                    <a:lnTo>
                      <a:pt x="55" y="100"/>
                    </a:lnTo>
                    <a:lnTo>
                      <a:pt x="48" y="95"/>
                    </a:lnTo>
                    <a:lnTo>
                      <a:pt x="24" y="95"/>
                    </a:lnTo>
                    <a:lnTo>
                      <a:pt x="17" y="86"/>
                    </a:lnTo>
                    <a:lnTo>
                      <a:pt x="13" y="80"/>
                    </a:lnTo>
                    <a:lnTo>
                      <a:pt x="24" y="80"/>
                    </a:lnTo>
                    <a:lnTo>
                      <a:pt x="36" y="81"/>
                    </a:lnTo>
                    <a:lnTo>
                      <a:pt x="36" y="74"/>
                    </a:lnTo>
                    <a:lnTo>
                      <a:pt x="27" y="71"/>
                    </a:lnTo>
                    <a:lnTo>
                      <a:pt x="18" y="71"/>
                    </a:lnTo>
                    <a:lnTo>
                      <a:pt x="10" y="69"/>
                    </a:lnTo>
                    <a:lnTo>
                      <a:pt x="8" y="69"/>
                    </a:lnTo>
                    <a:lnTo>
                      <a:pt x="3" y="64"/>
                    </a:lnTo>
                    <a:lnTo>
                      <a:pt x="0" y="55"/>
                    </a:lnTo>
                    <a:lnTo>
                      <a:pt x="0" y="45"/>
                    </a:lnTo>
                    <a:lnTo>
                      <a:pt x="1" y="40"/>
                    </a:lnTo>
                    <a:lnTo>
                      <a:pt x="5" y="35"/>
                    </a:lnTo>
                    <a:lnTo>
                      <a:pt x="10" y="33"/>
                    </a:lnTo>
                    <a:lnTo>
                      <a:pt x="12" y="25"/>
                    </a:lnTo>
                    <a:lnTo>
                      <a:pt x="13" y="19"/>
                    </a:lnTo>
                    <a:lnTo>
                      <a:pt x="20" y="11"/>
                    </a:lnTo>
                    <a:lnTo>
                      <a:pt x="31" y="6"/>
                    </a:lnTo>
                    <a:lnTo>
                      <a:pt x="41" y="0"/>
                    </a:lnTo>
                    <a:lnTo>
                      <a:pt x="55" y="0"/>
                    </a:lnTo>
                    <a:lnTo>
                      <a:pt x="56" y="0"/>
                    </a:lnTo>
                    <a:lnTo>
                      <a:pt x="61" y="2"/>
                    </a:lnTo>
                    <a:lnTo>
                      <a:pt x="67" y="4"/>
                    </a:lnTo>
                    <a:lnTo>
                      <a:pt x="72" y="6"/>
                    </a:lnTo>
                    <a:lnTo>
                      <a:pt x="65" y="11"/>
                    </a:lnTo>
                    <a:lnTo>
                      <a:pt x="58" y="16"/>
                    </a:lnTo>
                    <a:lnTo>
                      <a:pt x="51" y="21"/>
                    </a:lnTo>
                    <a:lnTo>
                      <a:pt x="49" y="31"/>
                    </a:lnTo>
                    <a:lnTo>
                      <a:pt x="49" y="35"/>
                    </a:lnTo>
                    <a:lnTo>
                      <a:pt x="53" y="37"/>
                    </a:lnTo>
                    <a:lnTo>
                      <a:pt x="53" y="42"/>
                    </a:lnTo>
                    <a:lnTo>
                      <a:pt x="53" y="47"/>
                    </a:lnTo>
                    <a:lnTo>
                      <a:pt x="53" y="50"/>
                    </a:lnTo>
                    <a:lnTo>
                      <a:pt x="58" y="54"/>
                    </a:lnTo>
                    <a:lnTo>
                      <a:pt x="63" y="50"/>
                    </a:lnTo>
                    <a:lnTo>
                      <a:pt x="68" y="45"/>
                    </a:lnTo>
                    <a:lnTo>
                      <a:pt x="65" y="38"/>
                    </a:lnTo>
                    <a:lnTo>
                      <a:pt x="63" y="31"/>
                    </a:lnTo>
                    <a:lnTo>
                      <a:pt x="68" y="18"/>
                    </a:lnTo>
                    <a:lnTo>
                      <a:pt x="82" y="11"/>
                    </a:lnTo>
                    <a:lnTo>
                      <a:pt x="91" y="7"/>
                    </a:lnTo>
                    <a:lnTo>
                      <a:pt x="99" y="6"/>
                    </a:lnTo>
                    <a:lnTo>
                      <a:pt x="108" y="6"/>
                    </a:lnTo>
                    <a:lnTo>
                      <a:pt x="118" y="6"/>
                    </a:lnTo>
                    <a:lnTo>
                      <a:pt x="127" y="7"/>
                    </a:lnTo>
                    <a:lnTo>
                      <a:pt x="134" y="14"/>
                    </a:lnTo>
                    <a:lnTo>
                      <a:pt x="137" y="25"/>
                    </a:lnTo>
                    <a:lnTo>
                      <a:pt x="139" y="35"/>
                    </a:lnTo>
                    <a:lnTo>
                      <a:pt x="137" y="40"/>
                    </a:lnTo>
                    <a:lnTo>
                      <a:pt x="139" y="45"/>
                    </a:lnTo>
                    <a:lnTo>
                      <a:pt x="142" y="42"/>
                    </a:lnTo>
                    <a:lnTo>
                      <a:pt x="149" y="40"/>
                    </a:lnTo>
                    <a:lnTo>
                      <a:pt x="154" y="42"/>
                    </a:lnTo>
                    <a:lnTo>
                      <a:pt x="160" y="45"/>
                    </a:lnTo>
                    <a:lnTo>
                      <a:pt x="165" y="42"/>
                    </a:lnTo>
                    <a:lnTo>
                      <a:pt x="170" y="38"/>
                    </a:lnTo>
                    <a:lnTo>
                      <a:pt x="173" y="33"/>
                    </a:lnTo>
                    <a:lnTo>
                      <a:pt x="180" y="31"/>
                    </a:lnTo>
                    <a:lnTo>
                      <a:pt x="189" y="31"/>
                    </a:lnTo>
                    <a:lnTo>
                      <a:pt x="199" y="33"/>
                    </a:lnTo>
                    <a:lnTo>
                      <a:pt x="209" y="35"/>
                    </a:lnTo>
                    <a:lnTo>
                      <a:pt x="218" y="40"/>
                    </a:lnTo>
                    <a:lnTo>
                      <a:pt x="225" y="45"/>
                    </a:lnTo>
                    <a:lnTo>
                      <a:pt x="232" y="54"/>
                    </a:lnTo>
                    <a:lnTo>
                      <a:pt x="237" y="61"/>
                    </a:lnTo>
                    <a:lnTo>
                      <a:pt x="249" y="64"/>
                    </a:lnTo>
                    <a:lnTo>
                      <a:pt x="258" y="64"/>
                    </a:lnTo>
                    <a:lnTo>
                      <a:pt x="263" y="64"/>
                    </a:lnTo>
                    <a:lnTo>
                      <a:pt x="266" y="64"/>
                    </a:lnTo>
                    <a:lnTo>
                      <a:pt x="273" y="66"/>
                    </a:lnTo>
                    <a:lnTo>
                      <a:pt x="276" y="68"/>
                    </a:lnTo>
                    <a:lnTo>
                      <a:pt x="280" y="74"/>
                    </a:lnTo>
                    <a:lnTo>
                      <a:pt x="289" y="78"/>
                    </a:lnTo>
                    <a:lnTo>
                      <a:pt x="297" y="83"/>
                    </a:lnTo>
                    <a:lnTo>
                      <a:pt x="304" y="86"/>
                    </a:lnTo>
                    <a:lnTo>
                      <a:pt x="314" y="90"/>
                    </a:lnTo>
                    <a:lnTo>
                      <a:pt x="314" y="98"/>
                    </a:lnTo>
                    <a:lnTo>
                      <a:pt x="319" y="98"/>
                    </a:lnTo>
                    <a:lnTo>
                      <a:pt x="323" y="98"/>
                    </a:lnTo>
                    <a:lnTo>
                      <a:pt x="332" y="100"/>
                    </a:lnTo>
                    <a:lnTo>
                      <a:pt x="338" y="111"/>
                    </a:lnTo>
                    <a:lnTo>
                      <a:pt x="328" y="111"/>
                    </a:lnTo>
                    <a:lnTo>
                      <a:pt x="319" y="117"/>
                    </a:lnTo>
                    <a:lnTo>
                      <a:pt x="328" y="117"/>
                    </a:lnTo>
                    <a:lnTo>
                      <a:pt x="335" y="117"/>
                    </a:lnTo>
                    <a:lnTo>
                      <a:pt x="338" y="117"/>
                    </a:lnTo>
                    <a:lnTo>
                      <a:pt x="344" y="123"/>
                    </a:lnTo>
                    <a:lnTo>
                      <a:pt x="333" y="126"/>
                    </a:lnTo>
                    <a:lnTo>
                      <a:pt x="326" y="135"/>
                    </a:lnTo>
                    <a:lnTo>
                      <a:pt x="332" y="136"/>
                    </a:lnTo>
                    <a:lnTo>
                      <a:pt x="340" y="138"/>
                    </a:lnTo>
                    <a:lnTo>
                      <a:pt x="342" y="145"/>
                    </a:lnTo>
                    <a:lnTo>
                      <a:pt x="349" y="150"/>
                    </a:lnTo>
                    <a:lnTo>
                      <a:pt x="357" y="153"/>
                    </a:lnTo>
                    <a:lnTo>
                      <a:pt x="366" y="157"/>
                    </a:lnTo>
                    <a:lnTo>
                      <a:pt x="368" y="167"/>
                    </a:lnTo>
                    <a:lnTo>
                      <a:pt x="376" y="174"/>
                    </a:lnTo>
                    <a:lnTo>
                      <a:pt x="388" y="171"/>
                    </a:lnTo>
                    <a:lnTo>
                      <a:pt x="395" y="176"/>
                    </a:lnTo>
                    <a:lnTo>
                      <a:pt x="399" y="178"/>
                    </a:lnTo>
                    <a:lnTo>
                      <a:pt x="404" y="179"/>
                    </a:lnTo>
                    <a:lnTo>
                      <a:pt x="414" y="181"/>
                    </a:lnTo>
                    <a:lnTo>
                      <a:pt x="418" y="191"/>
                    </a:lnTo>
                    <a:lnTo>
                      <a:pt x="412" y="196"/>
                    </a:lnTo>
                    <a:lnTo>
                      <a:pt x="402" y="198"/>
                    </a:lnTo>
                    <a:lnTo>
                      <a:pt x="402" y="203"/>
                    </a:lnTo>
                    <a:lnTo>
                      <a:pt x="402" y="205"/>
                    </a:lnTo>
                    <a:lnTo>
                      <a:pt x="399" y="209"/>
                    </a:lnTo>
                    <a:lnTo>
                      <a:pt x="392" y="2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6" name="Freeform 333"/>
              <p:cNvSpPr>
                <a:spLocks/>
              </p:cNvSpPr>
              <p:nvPr/>
            </p:nvSpPr>
            <p:spPr bwMode="auto">
              <a:xfrm>
                <a:off x="2516982" y="2320925"/>
                <a:ext cx="19050" cy="11112"/>
              </a:xfrm>
              <a:custGeom>
                <a:avLst/>
                <a:gdLst/>
                <a:ahLst/>
                <a:cxnLst>
                  <a:cxn ang="0">
                    <a:pos x="12" y="5"/>
                  </a:cxn>
                  <a:cxn ang="0">
                    <a:pos x="5" y="7"/>
                  </a:cxn>
                  <a:cxn ang="0">
                    <a:pos x="0" y="5"/>
                  </a:cxn>
                  <a:cxn ang="0">
                    <a:pos x="5" y="0"/>
                  </a:cxn>
                  <a:cxn ang="0">
                    <a:pos x="12" y="5"/>
                  </a:cxn>
                </a:cxnLst>
                <a:rect l="0" t="0" r="r" b="b"/>
                <a:pathLst>
                  <a:path w="12" h="7">
                    <a:moveTo>
                      <a:pt x="12" y="5"/>
                    </a:moveTo>
                    <a:lnTo>
                      <a:pt x="5" y="7"/>
                    </a:lnTo>
                    <a:lnTo>
                      <a:pt x="0" y="5"/>
                    </a:lnTo>
                    <a:lnTo>
                      <a:pt x="5" y="0"/>
                    </a:lnTo>
                    <a:lnTo>
                      <a:pt x="12"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7" name="Freeform 334"/>
              <p:cNvSpPr>
                <a:spLocks/>
              </p:cNvSpPr>
              <p:nvPr/>
            </p:nvSpPr>
            <p:spPr bwMode="auto">
              <a:xfrm>
                <a:off x="2382044" y="2230438"/>
                <a:ext cx="14288" cy="11112"/>
              </a:xfrm>
              <a:custGeom>
                <a:avLst/>
                <a:gdLst/>
                <a:ahLst/>
                <a:cxnLst>
                  <a:cxn ang="0">
                    <a:pos x="0" y="0"/>
                  </a:cxn>
                  <a:cxn ang="0">
                    <a:pos x="4" y="0"/>
                  </a:cxn>
                  <a:cxn ang="0">
                    <a:pos x="9" y="7"/>
                  </a:cxn>
                  <a:cxn ang="0">
                    <a:pos x="2" y="4"/>
                  </a:cxn>
                  <a:cxn ang="0">
                    <a:pos x="0" y="0"/>
                  </a:cxn>
                </a:cxnLst>
                <a:rect l="0" t="0" r="r" b="b"/>
                <a:pathLst>
                  <a:path w="9" h="7">
                    <a:moveTo>
                      <a:pt x="0" y="0"/>
                    </a:moveTo>
                    <a:lnTo>
                      <a:pt x="4" y="0"/>
                    </a:lnTo>
                    <a:lnTo>
                      <a:pt x="9" y="7"/>
                    </a:lnTo>
                    <a:lnTo>
                      <a:pt x="2" y="4"/>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8" name="Freeform 335"/>
              <p:cNvSpPr>
                <a:spLocks/>
              </p:cNvSpPr>
              <p:nvPr/>
            </p:nvSpPr>
            <p:spPr bwMode="auto">
              <a:xfrm>
                <a:off x="2204244" y="1428750"/>
                <a:ext cx="704850" cy="368300"/>
              </a:xfrm>
              <a:custGeom>
                <a:avLst/>
                <a:gdLst/>
                <a:ahLst/>
                <a:cxnLst>
                  <a:cxn ang="0">
                    <a:pos x="394" y="5"/>
                  </a:cxn>
                  <a:cxn ang="0">
                    <a:pos x="412" y="17"/>
                  </a:cxn>
                  <a:cxn ang="0">
                    <a:pos x="444" y="30"/>
                  </a:cxn>
                  <a:cxn ang="0">
                    <a:pos x="398" y="48"/>
                  </a:cxn>
                  <a:cxn ang="0">
                    <a:pos x="360" y="56"/>
                  </a:cxn>
                  <a:cxn ang="0">
                    <a:pos x="398" y="58"/>
                  </a:cxn>
                  <a:cxn ang="0">
                    <a:pos x="339" y="84"/>
                  </a:cxn>
                  <a:cxn ang="0">
                    <a:pos x="293" y="122"/>
                  </a:cxn>
                  <a:cxn ang="0">
                    <a:pos x="234" y="134"/>
                  </a:cxn>
                  <a:cxn ang="0">
                    <a:pos x="241" y="147"/>
                  </a:cxn>
                  <a:cxn ang="0">
                    <a:pos x="212" y="178"/>
                  </a:cxn>
                  <a:cxn ang="0">
                    <a:pos x="202" y="182"/>
                  </a:cxn>
                  <a:cxn ang="0">
                    <a:pos x="185" y="201"/>
                  </a:cxn>
                  <a:cxn ang="0">
                    <a:pos x="198" y="209"/>
                  </a:cxn>
                  <a:cxn ang="0">
                    <a:pos x="172" y="228"/>
                  </a:cxn>
                  <a:cxn ang="0">
                    <a:pos x="135" y="225"/>
                  </a:cxn>
                  <a:cxn ang="0">
                    <a:pos x="100" y="227"/>
                  </a:cxn>
                  <a:cxn ang="0">
                    <a:pos x="56" y="223"/>
                  </a:cxn>
                  <a:cxn ang="0">
                    <a:pos x="33" y="221"/>
                  </a:cxn>
                  <a:cxn ang="0">
                    <a:pos x="57" y="202"/>
                  </a:cxn>
                  <a:cxn ang="0">
                    <a:pos x="57" y="180"/>
                  </a:cxn>
                  <a:cxn ang="0">
                    <a:pos x="90" y="189"/>
                  </a:cxn>
                  <a:cxn ang="0">
                    <a:pos x="92" y="182"/>
                  </a:cxn>
                  <a:cxn ang="0">
                    <a:pos x="73" y="170"/>
                  </a:cxn>
                  <a:cxn ang="0">
                    <a:pos x="69" y="154"/>
                  </a:cxn>
                  <a:cxn ang="0">
                    <a:pos x="104" y="142"/>
                  </a:cxn>
                  <a:cxn ang="0">
                    <a:pos x="78" y="115"/>
                  </a:cxn>
                  <a:cxn ang="0">
                    <a:pos x="78" y="104"/>
                  </a:cxn>
                  <a:cxn ang="0">
                    <a:pos x="95" y="99"/>
                  </a:cxn>
                  <a:cxn ang="0">
                    <a:pos x="133" y="115"/>
                  </a:cxn>
                  <a:cxn ang="0">
                    <a:pos x="126" y="106"/>
                  </a:cxn>
                  <a:cxn ang="0">
                    <a:pos x="154" y="98"/>
                  </a:cxn>
                  <a:cxn ang="0">
                    <a:pos x="162" y="87"/>
                  </a:cxn>
                  <a:cxn ang="0">
                    <a:pos x="121" y="92"/>
                  </a:cxn>
                  <a:cxn ang="0">
                    <a:pos x="88" y="92"/>
                  </a:cxn>
                  <a:cxn ang="0">
                    <a:pos x="66" y="91"/>
                  </a:cxn>
                  <a:cxn ang="0">
                    <a:pos x="38" y="80"/>
                  </a:cxn>
                  <a:cxn ang="0">
                    <a:pos x="28" y="75"/>
                  </a:cxn>
                  <a:cxn ang="0">
                    <a:pos x="59" y="60"/>
                  </a:cxn>
                  <a:cxn ang="0">
                    <a:pos x="28" y="67"/>
                  </a:cxn>
                  <a:cxn ang="0">
                    <a:pos x="33" y="55"/>
                  </a:cxn>
                  <a:cxn ang="0">
                    <a:pos x="6" y="58"/>
                  </a:cxn>
                  <a:cxn ang="0">
                    <a:pos x="37" y="39"/>
                  </a:cxn>
                  <a:cxn ang="0">
                    <a:pos x="64" y="37"/>
                  </a:cxn>
                  <a:cxn ang="0">
                    <a:pos x="80" y="24"/>
                  </a:cxn>
                  <a:cxn ang="0">
                    <a:pos x="112" y="32"/>
                  </a:cxn>
                  <a:cxn ang="0">
                    <a:pos x="135" y="13"/>
                  </a:cxn>
                  <a:cxn ang="0">
                    <a:pos x="160" y="5"/>
                  </a:cxn>
                  <a:cxn ang="0">
                    <a:pos x="202" y="5"/>
                  </a:cxn>
                  <a:cxn ang="0">
                    <a:pos x="228" y="1"/>
                  </a:cxn>
                  <a:cxn ang="0">
                    <a:pos x="258" y="3"/>
                  </a:cxn>
                  <a:cxn ang="0">
                    <a:pos x="289" y="3"/>
                  </a:cxn>
                  <a:cxn ang="0">
                    <a:pos x="319" y="1"/>
                  </a:cxn>
                  <a:cxn ang="0">
                    <a:pos x="357" y="6"/>
                  </a:cxn>
                </a:cxnLst>
                <a:rect l="0" t="0" r="r" b="b"/>
                <a:pathLst>
                  <a:path w="444" h="232">
                    <a:moveTo>
                      <a:pt x="363" y="12"/>
                    </a:moveTo>
                    <a:lnTo>
                      <a:pt x="358" y="13"/>
                    </a:lnTo>
                    <a:lnTo>
                      <a:pt x="353" y="17"/>
                    </a:lnTo>
                    <a:lnTo>
                      <a:pt x="394" y="5"/>
                    </a:lnTo>
                    <a:lnTo>
                      <a:pt x="398" y="6"/>
                    </a:lnTo>
                    <a:lnTo>
                      <a:pt x="403" y="8"/>
                    </a:lnTo>
                    <a:lnTo>
                      <a:pt x="406" y="12"/>
                    </a:lnTo>
                    <a:lnTo>
                      <a:pt x="412" y="17"/>
                    </a:lnTo>
                    <a:lnTo>
                      <a:pt x="418" y="18"/>
                    </a:lnTo>
                    <a:lnTo>
                      <a:pt x="430" y="22"/>
                    </a:lnTo>
                    <a:lnTo>
                      <a:pt x="439" y="24"/>
                    </a:lnTo>
                    <a:lnTo>
                      <a:pt x="444" y="30"/>
                    </a:lnTo>
                    <a:lnTo>
                      <a:pt x="439" y="36"/>
                    </a:lnTo>
                    <a:lnTo>
                      <a:pt x="432" y="37"/>
                    </a:lnTo>
                    <a:lnTo>
                      <a:pt x="415" y="44"/>
                    </a:lnTo>
                    <a:lnTo>
                      <a:pt x="398" y="48"/>
                    </a:lnTo>
                    <a:lnTo>
                      <a:pt x="387" y="48"/>
                    </a:lnTo>
                    <a:lnTo>
                      <a:pt x="379" y="49"/>
                    </a:lnTo>
                    <a:lnTo>
                      <a:pt x="369" y="51"/>
                    </a:lnTo>
                    <a:lnTo>
                      <a:pt x="360" y="56"/>
                    </a:lnTo>
                    <a:lnTo>
                      <a:pt x="365" y="56"/>
                    </a:lnTo>
                    <a:lnTo>
                      <a:pt x="375" y="58"/>
                    </a:lnTo>
                    <a:lnTo>
                      <a:pt x="386" y="58"/>
                    </a:lnTo>
                    <a:lnTo>
                      <a:pt x="398" y="58"/>
                    </a:lnTo>
                    <a:lnTo>
                      <a:pt x="384" y="65"/>
                    </a:lnTo>
                    <a:lnTo>
                      <a:pt x="370" y="72"/>
                    </a:lnTo>
                    <a:lnTo>
                      <a:pt x="353" y="77"/>
                    </a:lnTo>
                    <a:lnTo>
                      <a:pt x="339" y="84"/>
                    </a:lnTo>
                    <a:lnTo>
                      <a:pt x="324" y="89"/>
                    </a:lnTo>
                    <a:lnTo>
                      <a:pt x="314" y="99"/>
                    </a:lnTo>
                    <a:lnTo>
                      <a:pt x="303" y="110"/>
                    </a:lnTo>
                    <a:lnTo>
                      <a:pt x="293" y="122"/>
                    </a:lnTo>
                    <a:lnTo>
                      <a:pt x="279" y="122"/>
                    </a:lnTo>
                    <a:lnTo>
                      <a:pt x="267" y="123"/>
                    </a:lnTo>
                    <a:lnTo>
                      <a:pt x="248" y="127"/>
                    </a:lnTo>
                    <a:lnTo>
                      <a:pt x="234" y="134"/>
                    </a:lnTo>
                    <a:lnTo>
                      <a:pt x="248" y="134"/>
                    </a:lnTo>
                    <a:lnTo>
                      <a:pt x="245" y="142"/>
                    </a:lnTo>
                    <a:lnTo>
                      <a:pt x="234" y="144"/>
                    </a:lnTo>
                    <a:lnTo>
                      <a:pt x="241" y="147"/>
                    </a:lnTo>
                    <a:lnTo>
                      <a:pt x="248" y="156"/>
                    </a:lnTo>
                    <a:lnTo>
                      <a:pt x="236" y="166"/>
                    </a:lnTo>
                    <a:lnTo>
                      <a:pt x="226" y="178"/>
                    </a:lnTo>
                    <a:lnTo>
                      <a:pt x="212" y="178"/>
                    </a:lnTo>
                    <a:lnTo>
                      <a:pt x="205" y="178"/>
                    </a:lnTo>
                    <a:lnTo>
                      <a:pt x="202" y="178"/>
                    </a:lnTo>
                    <a:lnTo>
                      <a:pt x="200" y="178"/>
                    </a:lnTo>
                    <a:lnTo>
                      <a:pt x="202" y="182"/>
                    </a:lnTo>
                    <a:lnTo>
                      <a:pt x="203" y="187"/>
                    </a:lnTo>
                    <a:lnTo>
                      <a:pt x="200" y="194"/>
                    </a:lnTo>
                    <a:lnTo>
                      <a:pt x="193" y="197"/>
                    </a:lnTo>
                    <a:lnTo>
                      <a:pt x="185" y="201"/>
                    </a:lnTo>
                    <a:lnTo>
                      <a:pt x="183" y="209"/>
                    </a:lnTo>
                    <a:lnTo>
                      <a:pt x="190" y="209"/>
                    </a:lnTo>
                    <a:lnTo>
                      <a:pt x="195" y="209"/>
                    </a:lnTo>
                    <a:lnTo>
                      <a:pt x="198" y="209"/>
                    </a:lnTo>
                    <a:lnTo>
                      <a:pt x="203" y="214"/>
                    </a:lnTo>
                    <a:lnTo>
                      <a:pt x="197" y="220"/>
                    </a:lnTo>
                    <a:lnTo>
                      <a:pt x="186" y="225"/>
                    </a:lnTo>
                    <a:lnTo>
                      <a:pt x="172" y="228"/>
                    </a:lnTo>
                    <a:lnTo>
                      <a:pt x="162" y="232"/>
                    </a:lnTo>
                    <a:lnTo>
                      <a:pt x="152" y="228"/>
                    </a:lnTo>
                    <a:lnTo>
                      <a:pt x="145" y="225"/>
                    </a:lnTo>
                    <a:lnTo>
                      <a:pt x="135" y="225"/>
                    </a:lnTo>
                    <a:lnTo>
                      <a:pt x="126" y="225"/>
                    </a:lnTo>
                    <a:lnTo>
                      <a:pt x="116" y="225"/>
                    </a:lnTo>
                    <a:lnTo>
                      <a:pt x="107" y="225"/>
                    </a:lnTo>
                    <a:lnTo>
                      <a:pt x="100" y="227"/>
                    </a:lnTo>
                    <a:lnTo>
                      <a:pt x="92" y="230"/>
                    </a:lnTo>
                    <a:lnTo>
                      <a:pt x="80" y="228"/>
                    </a:lnTo>
                    <a:lnTo>
                      <a:pt x="68" y="227"/>
                    </a:lnTo>
                    <a:lnTo>
                      <a:pt x="56" y="223"/>
                    </a:lnTo>
                    <a:lnTo>
                      <a:pt x="43" y="220"/>
                    </a:lnTo>
                    <a:lnTo>
                      <a:pt x="40" y="221"/>
                    </a:lnTo>
                    <a:lnTo>
                      <a:pt x="38" y="225"/>
                    </a:lnTo>
                    <a:lnTo>
                      <a:pt x="33" y="221"/>
                    </a:lnTo>
                    <a:lnTo>
                      <a:pt x="33" y="220"/>
                    </a:lnTo>
                    <a:lnTo>
                      <a:pt x="37" y="208"/>
                    </a:lnTo>
                    <a:lnTo>
                      <a:pt x="47" y="204"/>
                    </a:lnTo>
                    <a:lnTo>
                      <a:pt x="57" y="202"/>
                    </a:lnTo>
                    <a:lnTo>
                      <a:pt x="69" y="201"/>
                    </a:lnTo>
                    <a:lnTo>
                      <a:pt x="59" y="194"/>
                    </a:lnTo>
                    <a:lnTo>
                      <a:pt x="54" y="185"/>
                    </a:lnTo>
                    <a:lnTo>
                      <a:pt x="57" y="180"/>
                    </a:lnTo>
                    <a:lnTo>
                      <a:pt x="66" y="180"/>
                    </a:lnTo>
                    <a:lnTo>
                      <a:pt x="74" y="180"/>
                    </a:lnTo>
                    <a:lnTo>
                      <a:pt x="83" y="184"/>
                    </a:lnTo>
                    <a:lnTo>
                      <a:pt x="90" y="189"/>
                    </a:lnTo>
                    <a:lnTo>
                      <a:pt x="97" y="194"/>
                    </a:lnTo>
                    <a:lnTo>
                      <a:pt x="107" y="194"/>
                    </a:lnTo>
                    <a:lnTo>
                      <a:pt x="99" y="187"/>
                    </a:lnTo>
                    <a:lnTo>
                      <a:pt x="92" y="182"/>
                    </a:lnTo>
                    <a:lnTo>
                      <a:pt x="85" y="175"/>
                    </a:lnTo>
                    <a:lnTo>
                      <a:pt x="83" y="168"/>
                    </a:lnTo>
                    <a:lnTo>
                      <a:pt x="76" y="168"/>
                    </a:lnTo>
                    <a:lnTo>
                      <a:pt x="73" y="170"/>
                    </a:lnTo>
                    <a:lnTo>
                      <a:pt x="71" y="171"/>
                    </a:lnTo>
                    <a:lnTo>
                      <a:pt x="64" y="171"/>
                    </a:lnTo>
                    <a:lnTo>
                      <a:pt x="64" y="166"/>
                    </a:lnTo>
                    <a:lnTo>
                      <a:pt x="69" y="154"/>
                    </a:lnTo>
                    <a:lnTo>
                      <a:pt x="78" y="149"/>
                    </a:lnTo>
                    <a:lnTo>
                      <a:pt x="86" y="147"/>
                    </a:lnTo>
                    <a:lnTo>
                      <a:pt x="97" y="146"/>
                    </a:lnTo>
                    <a:lnTo>
                      <a:pt x="104" y="142"/>
                    </a:lnTo>
                    <a:lnTo>
                      <a:pt x="107" y="135"/>
                    </a:lnTo>
                    <a:lnTo>
                      <a:pt x="100" y="125"/>
                    </a:lnTo>
                    <a:lnTo>
                      <a:pt x="90" y="120"/>
                    </a:lnTo>
                    <a:lnTo>
                      <a:pt x="78" y="115"/>
                    </a:lnTo>
                    <a:lnTo>
                      <a:pt x="73" y="110"/>
                    </a:lnTo>
                    <a:lnTo>
                      <a:pt x="76" y="106"/>
                    </a:lnTo>
                    <a:lnTo>
                      <a:pt x="85" y="106"/>
                    </a:lnTo>
                    <a:lnTo>
                      <a:pt x="78" y="104"/>
                    </a:lnTo>
                    <a:lnTo>
                      <a:pt x="78" y="101"/>
                    </a:lnTo>
                    <a:lnTo>
                      <a:pt x="80" y="99"/>
                    </a:lnTo>
                    <a:lnTo>
                      <a:pt x="85" y="101"/>
                    </a:lnTo>
                    <a:lnTo>
                      <a:pt x="95" y="99"/>
                    </a:lnTo>
                    <a:lnTo>
                      <a:pt x="112" y="101"/>
                    </a:lnTo>
                    <a:lnTo>
                      <a:pt x="119" y="104"/>
                    </a:lnTo>
                    <a:lnTo>
                      <a:pt x="126" y="111"/>
                    </a:lnTo>
                    <a:lnTo>
                      <a:pt x="133" y="115"/>
                    </a:lnTo>
                    <a:lnTo>
                      <a:pt x="143" y="118"/>
                    </a:lnTo>
                    <a:lnTo>
                      <a:pt x="138" y="113"/>
                    </a:lnTo>
                    <a:lnTo>
                      <a:pt x="131" y="110"/>
                    </a:lnTo>
                    <a:lnTo>
                      <a:pt x="126" y="106"/>
                    </a:lnTo>
                    <a:lnTo>
                      <a:pt x="124" y="103"/>
                    </a:lnTo>
                    <a:lnTo>
                      <a:pt x="124" y="99"/>
                    </a:lnTo>
                    <a:lnTo>
                      <a:pt x="128" y="98"/>
                    </a:lnTo>
                    <a:lnTo>
                      <a:pt x="154" y="98"/>
                    </a:lnTo>
                    <a:lnTo>
                      <a:pt x="166" y="91"/>
                    </a:lnTo>
                    <a:lnTo>
                      <a:pt x="178" y="84"/>
                    </a:lnTo>
                    <a:lnTo>
                      <a:pt x="171" y="84"/>
                    </a:lnTo>
                    <a:lnTo>
                      <a:pt x="162" y="87"/>
                    </a:lnTo>
                    <a:lnTo>
                      <a:pt x="154" y="92"/>
                    </a:lnTo>
                    <a:lnTo>
                      <a:pt x="142" y="94"/>
                    </a:lnTo>
                    <a:lnTo>
                      <a:pt x="131" y="96"/>
                    </a:lnTo>
                    <a:lnTo>
                      <a:pt x="121" y="92"/>
                    </a:lnTo>
                    <a:lnTo>
                      <a:pt x="114" y="91"/>
                    </a:lnTo>
                    <a:lnTo>
                      <a:pt x="109" y="92"/>
                    </a:lnTo>
                    <a:lnTo>
                      <a:pt x="104" y="96"/>
                    </a:lnTo>
                    <a:lnTo>
                      <a:pt x="88" y="92"/>
                    </a:lnTo>
                    <a:lnTo>
                      <a:pt x="83" y="86"/>
                    </a:lnTo>
                    <a:lnTo>
                      <a:pt x="78" y="86"/>
                    </a:lnTo>
                    <a:lnTo>
                      <a:pt x="71" y="89"/>
                    </a:lnTo>
                    <a:lnTo>
                      <a:pt x="66" y="91"/>
                    </a:lnTo>
                    <a:lnTo>
                      <a:pt x="57" y="89"/>
                    </a:lnTo>
                    <a:lnTo>
                      <a:pt x="49" y="87"/>
                    </a:lnTo>
                    <a:lnTo>
                      <a:pt x="42" y="84"/>
                    </a:lnTo>
                    <a:lnTo>
                      <a:pt x="38" y="80"/>
                    </a:lnTo>
                    <a:lnTo>
                      <a:pt x="43" y="77"/>
                    </a:lnTo>
                    <a:lnTo>
                      <a:pt x="52" y="75"/>
                    </a:lnTo>
                    <a:lnTo>
                      <a:pt x="37" y="75"/>
                    </a:lnTo>
                    <a:lnTo>
                      <a:pt x="28" y="75"/>
                    </a:lnTo>
                    <a:lnTo>
                      <a:pt x="31" y="67"/>
                    </a:lnTo>
                    <a:lnTo>
                      <a:pt x="40" y="63"/>
                    </a:lnTo>
                    <a:lnTo>
                      <a:pt x="49" y="61"/>
                    </a:lnTo>
                    <a:lnTo>
                      <a:pt x="59" y="60"/>
                    </a:lnTo>
                    <a:lnTo>
                      <a:pt x="54" y="58"/>
                    </a:lnTo>
                    <a:lnTo>
                      <a:pt x="49" y="58"/>
                    </a:lnTo>
                    <a:lnTo>
                      <a:pt x="38" y="61"/>
                    </a:lnTo>
                    <a:lnTo>
                      <a:pt x="28" y="67"/>
                    </a:lnTo>
                    <a:lnTo>
                      <a:pt x="23" y="65"/>
                    </a:lnTo>
                    <a:lnTo>
                      <a:pt x="19" y="63"/>
                    </a:lnTo>
                    <a:lnTo>
                      <a:pt x="26" y="56"/>
                    </a:lnTo>
                    <a:lnTo>
                      <a:pt x="33" y="55"/>
                    </a:lnTo>
                    <a:lnTo>
                      <a:pt x="19" y="55"/>
                    </a:lnTo>
                    <a:lnTo>
                      <a:pt x="14" y="56"/>
                    </a:lnTo>
                    <a:lnTo>
                      <a:pt x="11" y="58"/>
                    </a:lnTo>
                    <a:lnTo>
                      <a:pt x="6" y="58"/>
                    </a:lnTo>
                    <a:lnTo>
                      <a:pt x="0" y="58"/>
                    </a:lnTo>
                    <a:lnTo>
                      <a:pt x="6" y="48"/>
                    </a:lnTo>
                    <a:lnTo>
                      <a:pt x="19" y="43"/>
                    </a:lnTo>
                    <a:lnTo>
                      <a:pt x="37" y="39"/>
                    </a:lnTo>
                    <a:lnTo>
                      <a:pt x="50" y="39"/>
                    </a:lnTo>
                    <a:lnTo>
                      <a:pt x="57" y="39"/>
                    </a:lnTo>
                    <a:lnTo>
                      <a:pt x="62" y="39"/>
                    </a:lnTo>
                    <a:lnTo>
                      <a:pt x="64" y="37"/>
                    </a:lnTo>
                    <a:lnTo>
                      <a:pt x="66" y="36"/>
                    </a:lnTo>
                    <a:lnTo>
                      <a:pt x="73" y="32"/>
                    </a:lnTo>
                    <a:lnTo>
                      <a:pt x="78" y="29"/>
                    </a:lnTo>
                    <a:lnTo>
                      <a:pt x="80" y="24"/>
                    </a:lnTo>
                    <a:lnTo>
                      <a:pt x="86" y="24"/>
                    </a:lnTo>
                    <a:lnTo>
                      <a:pt x="93" y="24"/>
                    </a:lnTo>
                    <a:lnTo>
                      <a:pt x="104" y="29"/>
                    </a:lnTo>
                    <a:lnTo>
                      <a:pt x="112" y="32"/>
                    </a:lnTo>
                    <a:lnTo>
                      <a:pt x="121" y="36"/>
                    </a:lnTo>
                    <a:lnTo>
                      <a:pt x="123" y="25"/>
                    </a:lnTo>
                    <a:lnTo>
                      <a:pt x="128" y="18"/>
                    </a:lnTo>
                    <a:lnTo>
                      <a:pt x="135" y="13"/>
                    </a:lnTo>
                    <a:lnTo>
                      <a:pt x="145" y="13"/>
                    </a:lnTo>
                    <a:lnTo>
                      <a:pt x="150" y="13"/>
                    </a:lnTo>
                    <a:lnTo>
                      <a:pt x="155" y="12"/>
                    </a:lnTo>
                    <a:lnTo>
                      <a:pt x="160" y="5"/>
                    </a:lnTo>
                    <a:lnTo>
                      <a:pt x="167" y="5"/>
                    </a:lnTo>
                    <a:lnTo>
                      <a:pt x="183" y="5"/>
                    </a:lnTo>
                    <a:lnTo>
                      <a:pt x="197" y="5"/>
                    </a:lnTo>
                    <a:lnTo>
                      <a:pt x="202" y="5"/>
                    </a:lnTo>
                    <a:lnTo>
                      <a:pt x="209" y="5"/>
                    </a:lnTo>
                    <a:lnTo>
                      <a:pt x="215" y="5"/>
                    </a:lnTo>
                    <a:lnTo>
                      <a:pt x="226" y="5"/>
                    </a:lnTo>
                    <a:lnTo>
                      <a:pt x="228" y="1"/>
                    </a:lnTo>
                    <a:lnTo>
                      <a:pt x="233" y="1"/>
                    </a:lnTo>
                    <a:lnTo>
                      <a:pt x="241" y="5"/>
                    </a:lnTo>
                    <a:lnTo>
                      <a:pt x="252" y="8"/>
                    </a:lnTo>
                    <a:lnTo>
                      <a:pt x="258" y="3"/>
                    </a:lnTo>
                    <a:lnTo>
                      <a:pt x="267" y="0"/>
                    </a:lnTo>
                    <a:lnTo>
                      <a:pt x="274" y="1"/>
                    </a:lnTo>
                    <a:lnTo>
                      <a:pt x="283" y="3"/>
                    </a:lnTo>
                    <a:lnTo>
                      <a:pt x="289" y="3"/>
                    </a:lnTo>
                    <a:lnTo>
                      <a:pt x="296" y="3"/>
                    </a:lnTo>
                    <a:lnTo>
                      <a:pt x="300" y="1"/>
                    </a:lnTo>
                    <a:lnTo>
                      <a:pt x="308" y="1"/>
                    </a:lnTo>
                    <a:lnTo>
                      <a:pt x="319" y="1"/>
                    </a:lnTo>
                    <a:lnTo>
                      <a:pt x="329" y="3"/>
                    </a:lnTo>
                    <a:lnTo>
                      <a:pt x="339" y="3"/>
                    </a:lnTo>
                    <a:lnTo>
                      <a:pt x="350" y="5"/>
                    </a:lnTo>
                    <a:lnTo>
                      <a:pt x="357" y="6"/>
                    </a:lnTo>
                    <a:lnTo>
                      <a:pt x="363"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599" name="Freeform 336"/>
              <p:cNvSpPr>
                <a:spLocks/>
              </p:cNvSpPr>
              <p:nvPr/>
            </p:nvSpPr>
            <p:spPr bwMode="auto">
              <a:xfrm>
                <a:off x="2647157" y="1392238"/>
                <a:ext cx="1381125" cy="1047750"/>
              </a:xfrm>
              <a:custGeom>
                <a:avLst/>
                <a:gdLst/>
                <a:ahLst/>
                <a:cxnLst>
                  <a:cxn ang="0">
                    <a:pos x="322" y="427"/>
                  </a:cxn>
                  <a:cxn ang="0">
                    <a:pos x="291" y="409"/>
                  </a:cxn>
                  <a:cxn ang="0">
                    <a:pos x="275" y="377"/>
                  </a:cxn>
                  <a:cxn ang="0">
                    <a:pos x="255" y="348"/>
                  </a:cxn>
                  <a:cxn ang="0">
                    <a:pos x="193" y="265"/>
                  </a:cxn>
                  <a:cxn ang="0">
                    <a:pos x="108" y="258"/>
                  </a:cxn>
                  <a:cxn ang="0">
                    <a:pos x="86" y="262"/>
                  </a:cxn>
                  <a:cxn ang="0">
                    <a:pos x="59" y="241"/>
                  </a:cxn>
                  <a:cxn ang="0">
                    <a:pos x="43" y="222"/>
                  </a:cxn>
                  <a:cxn ang="0">
                    <a:pos x="74" y="207"/>
                  </a:cxn>
                  <a:cxn ang="0">
                    <a:pos x="7" y="194"/>
                  </a:cxn>
                  <a:cxn ang="0">
                    <a:pos x="53" y="165"/>
                  </a:cxn>
                  <a:cxn ang="0">
                    <a:pos x="100" y="133"/>
                  </a:cxn>
                  <a:cxn ang="0">
                    <a:pos x="110" y="103"/>
                  </a:cxn>
                  <a:cxn ang="0">
                    <a:pos x="157" y="71"/>
                  </a:cxn>
                  <a:cxn ang="0">
                    <a:pos x="232" y="52"/>
                  </a:cxn>
                  <a:cxn ang="0">
                    <a:pos x="270" y="59"/>
                  </a:cxn>
                  <a:cxn ang="0">
                    <a:pos x="305" y="55"/>
                  </a:cxn>
                  <a:cxn ang="0">
                    <a:pos x="361" y="60"/>
                  </a:cxn>
                  <a:cxn ang="0">
                    <a:pos x="363" y="35"/>
                  </a:cxn>
                  <a:cxn ang="0">
                    <a:pos x="396" y="17"/>
                  </a:cxn>
                  <a:cxn ang="0">
                    <a:pos x="470" y="14"/>
                  </a:cxn>
                  <a:cxn ang="0">
                    <a:pos x="549" y="0"/>
                  </a:cxn>
                  <a:cxn ang="0">
                    <a:pos x="614" y="0"/>
                  </a:cxn>
                  <a:cxn ang="0">
                    <a:pos x="700" y="29"/>
                  </a:cxn>
                  <a:cxn ang="0">
                    <a:pos x="683" y="55"/>
                  </a:cxn>
                  <a:cxn ang="0">
                    <a:pos x="655" y="59"/>
                  </a:cxn>
                  <a:cxn ang="0">
                    <a:pos x="666" y="81"/>
                  </a:cxn>
                  <a:cxn ang="0">
                    <a:pos x="710" y="95"/>
                  </a:cxn>
                  <a:cxn ang="0">
                    <a:pos x="750" y="74"/>
                  </a:cxn>
                  <a:cxn ang="0">
                    <a:pos x="805" y="66"/>
                  </a:cxn>
                  <a:cxn ang="0">
                    <a:pos x="870" y="76"/>
                  </a:cxn>
                  <a:cxn ang="0">
                    <a:pos x="812" y="109"/>
                  </a:cxn>
                  <a:cxn ang="0">
                    <a:pos x="795" y="131"/>
                  </a:cxn>
                  <a:cxn ang="0">
                    <a:pos x="747" y="182"/>
                  </a:cxn>
                  <a:cxn ang="0">
                    <a:pos x="769" y="207"/>
                  </a:cxn>
                  <a:cxn ang="0">
                    <a:pos x="764" y="232"/>
                  </a:cxn>
                  <a:cxn ang="0">
                    <a:pos x="769" y="270"/>
                  </a:cxn>
                  <a:cxn ang="0">
                    <a:pos x="767" y="296"/>
                  </a:cxn>
                  <a:cxn ang="0">
                    <a:pos x="741" y="330"/>
                  </a:cxn>
                  <a:cxn ang="0">
                    <a:pos x="721" y="337"/>
                  </a:cxn>
                  <a:cxn ang="0">
                    <a:pos x="700" y="348"/>
                  </a:cxn>
                  <a:cxn ang="0">
                    <a:pos x="735" y="385"/>
                  </a:cxn>
                  <a:cxn ang="0">
                    <a:pos x="698" y="389"/>
                  </a:cxn>
                  <a:cxn ang="0">
                    <a:pos x="674" y="404"/>
                  </a:cxn>
                  <a:cxn ang="0">
                    <a:pos x="724" y="420"/>
                  </a:cxn>
                  <a:cxn ang="0">
                    <a:pos x="673" y="456"/>
                  </a:cxn>
                  <a:cxn ang="0">
                    <a:pos x="587" y="476"/>
                  </a:cxn>
                  <a:cxn ang="0">
                    <a:pos x="518" y="526"/>
                  </a:cxn>
                  <a:cxn ang="0">
                    <a:pos x="464" y="542"/>
                  </a:cxn>
                  <a:cxn ang="0">
                    <a:pos x="464" y="575"/>
                  </a:cxn>
                  <a:cxn ang="0">
                    <a:pos x="434" y="635"/>
                  </a:cxn>
                  <a:cxn ang="0">
                    <a:pos x="406" y="659"/>
                  </a:cxn>
                  <a:cxn ang="0">
                    <a:pos x="353" y="633"/>
                  </a:cxn>
                  <a:cxn ang="0">
                    <a:pos x="310" y="573"/>
                  </a:cxn>
                  <a:cxn ang="0">
                    <a:pos x="289" y="537"/>
                  </a:cxn>
                  <a:cxn ang="0">
                    <a:pos x="272" y="504"/>
                  </a:cxn>
                </a:cxnLst>
                <a:rect l="0" t="0" r="r" b="b"/>
                <a:pathLst>
                  <a:path w="870" h="660">
                    <a:moveTo>
                      <a:pt x="292" y="463"/>
                    </a:moveTo>
                    <a:lnTo>
                      <a:pt x="299" y="459"/>
                    </a:lnTo>
                    <a:lnTo>
                      <a:pt x="306" y="463"/>
                    </a:lnTo>
                    <a:lnTo>
                      <a:pt x="308" y="451"/>
                    </a:lnTo>
                    <a:lnTo>
                      <a:pt x="313" y="444"/>
                    </a:lnTo>
                    <a:lnTo>
                      <a:pt x="317" y="435"/>
                    </a:lnTo>
                    <a:lnTo>
                      <a:pt x="322" y="427"/>
                    </a:lnTo>
                    <a:lnTo>
                      <a:pt x="306" y="421"/>
                    </a:lnTo>
                    <a:lnTo>
                      <a:pt x="289" y="418"/>
                    </a:lnTo>
                    <a:lnTo>
                      <a:pt x="274" y="413"/>
                    </a:lnTo>
                    <a:lnTo>
                      <a:pt x="267" y="406"/>
                    </a:lnTo>
                    <a:lnTo>
                      <a:pt x="272" y="404"/>
                    </a:lnTo>
                    <a:lnTo>
                      <a:pt x="277" y="406"/>
                    </a:lnTo>
                    <a:lnTo>
                      <a:pt x="291" y="409"/>
                    </a:lnTo>
                    <a:lnTo>
                      <a:pt x="306" y="413"/>
                    </a:lnTo>
                    <a:lnTo>
                      <a:pt x="310" y="409"/>
                    </a:lnTo>
                    <a:lnTo>
                      <a:pt x="311" y="406"/>
                    </a:lnTo>
                    <a:lnTo>
                      <a:pt x="299" y="397"/>
                    </a:lnTo>
                    <a:lnTo>
                      <a:pt x="292" y="389"/>
                    </a:lnTo>
                    <a:lnTo>
                      <a:pt x="286" y="380"/>
                    </a:lnTo>
                    <a:lnTo>
                      <a:pt x="275" y="377"/>
                    </a:lnTo>
                    <a:lnTo>
                      <a:pt x="268" y="380"/>
                    </a:lnTo>
                    <a:lnTo>
                      <a:pt x="262" y="385"/>
                    </a:lnTo>
                    <a:lnTo>
                      <a:pt x="251" y="384"/>
                    </a:lnTo>
                    <a:lnTo>
                      <a:pt x="248" y="377"/>
                    </a:lnTo>
                    <a:lnTo>
                      <a:pt x="253" y="365"/>
                    </a:lnTo>
                    <a:lnTo>
                      <a:pt x="260" y="354"/>
                    </a:lnTo>
                    <a:lnTo>
                      <a:pt x="255" y="348"/>
                    </a:lnTo>
                    <a:lnTo>
                      <a:pt x="248" y="346"/>
                    </a:lnTo>
                    <a:lnTo>
                      <a:pt x="248" y="339"/>
                    </a:lnTo>
                    <a:lnTo>
                      <a:pt x="239" y="322"/>
                    </a:lnTo>
                    <a:lnTo>
                      <a:pt x="231" y="305"/>
                    </a:lnTo>
                    <a:lnTo>
                      <a:pt x="220" y="289"/>
                    </a:lnTo>
                    <a:lnTo>
                      <a:pt x="210" y="277"/>
                    </a:lnTo>
                    <a:lnTo>
                      <a:pt x="193" y="265"/>
                    </a:lnTo>
                    <a:lnTo>
                      <a:pt x="177" y="258"/>
                    </a:lnTo>
                    <a:lnTo>
                      <a:pt x="160" y="251"/>
                    </a:lnTo>
                    <a:lnTo>
                      <a:pt x="141" y="251"/>
                    </a:lnTo>
                    <a:lnTo>
                      <a:pt x="131" y="251"/>
                    </a:lnTo>
                    <a:lnTo>
                      <a:pt x="126" y="251"/>
                    </a:lnTo>
                    <a:lnTo>
                      <a:pt x="117" y="255"/>
                    </a:lnTo>
                    <a:lnTo>
                      <a:pt x="108" y="258"/>
                    </a:lnTo>
                    <a:lnTo>
                      <a:pt x="102" y="255"/>
                    </a:lnTo>
                    <a:lnTo>
                      <a:pt x="95" y="253"/>
                    </a:lnTo>
                    <a:lnTo>
                      <a:pt x="86" y="253"/>
                    </a:lnTo>
                    <a:lnTo>
                      <a:pt x="84" y="256"/>
                    </a:lnTo>
                    <a:lnTo>
                      <a:pt x="86" y="258"/>
                    </a:lnTo>
                    <a:lnTo>
                      <a:pt x="90" y="260"/>
                    </a:lnTo>
                    <a:lnTo>
                      <a:pt x="86" y="262"/>
                    </a:lnTo>
                    <a:lnTo>
                      <a:pt x="83" y="262"/>
                    </a:lnTo>
                    <a:lnTo>
                      <a:pt x="72" y="260"/>
                    </a:lnTo>
                    <a:lnTo>
                      <a:pt x="64" y="258"/>
                    </a:lnTo>
                    <a:lnTo>
                      <a:pt x="53" y="253"/>
                    </a:lnTo>
                    <a:lnTo>
                      <a:pt x="50" y="250"/>
                    </a:lnTo>
                    <a:lnTo>
                      <a:pt x="53" y="244"/>
                    </a:lnTo>
                    <a:lnTo>
                      <a:pt x="59" y="241"/>
                    </a:lnTo>
                    <a:lnTo>
                      <a:pt x="48" y="234"/>
                    </a:lnTo>
                    <a:lnTo>
                      <a:pt x="40" y="232"/>
                    </a:lnTo>
                    <a:lnTo>
                      <a:pt x="29" y="232"/>
                    </a:lnTo>
                    <a:lnTo>
                      <a:pt x="21" y="232"/>
                    </a:lnTo>
                    <a:lnTo>
                      <a:pt x="28" y="224"/>
                    </a:lnTo>
                    <a:lnTo>
                      <a:pt x="36" y="222"/>
                    </a:lnTo>
                    <a:lnTo>
                      <a:pt x="43" y="222"/>
                    </a:lnTo>
                    <a:lnTo>
                      <a:pt x="50" y="222"/>
                    </a:lnTo>
                    <a:lnTo>
                      <a:pt x="53" y="220"/>
                    </a:lnTo>
                    <a:lnTo>
                      <a:pt x="59" y="219"/>
                    </a:lnTo>
                    <a:lnTo>
                      <a:pt x="88" y="219"/>
                    </a:lnTo>
                    <a:lnTo>
                      <a:pt x="91" y="212"/>
                    </a:lnTo>
                    <a:lnTo>
                      <a:pt x="95" y="207"/>
                    </a:lnTo>
                    <a:lnTo>
                      <a:pt x="74" y="207"/>
                    </a:lnTo>
                    <a:lnTo>
                      <a:pt x="71" y="210"/>
                    </a:lnTo>
                    <a:lnTo>
                      <a:pt x="69" y="212"/>
                    </a:lnTo>
                    <a:lnTo>
                      <a:pt x="59" y="212"/>
                    </a:lnTo>
                    <a:lnTo>
                      <a:pt x="50" y="212"/>
                    </a:lnTo>
                    <a:lnTo>
                      <a:pt x="40" y="208"/>
                    </a:lnTo>
                    <a:lnTo>
                      <a:pt x="24" y="203"/>
                    </a:lnTo>
                    <a:lnTo>
                      <a:pt x="7" y="194"/>
                    </a:lnTo>
                    <a:lnTo>
                      <a:pt x="0" y="189"/>
                    </a:lnTo>
                    <a:lnTo>
                      <a:pt x="2" y="181"/>
                    </a:lnTo>
                    <a:lnTo>
                      <a:pt x="9" y="177"/>
                    </a:lnTo>
                    <a:lnTo>
                      <a:pt x="19" y="177"/>
                    </a:lnTo>
                    <a:lnTo>
                      <a:pt x="29" y="177"/>
                    </a:lnTo>
                    <a:lnTo>
                      <a:pt x="40" y="170"/>
                    </a:lnTo>
                    <a:lnTo>
                      <a:pt x="53" y="165"/>
                    </a:lnTo>
                    <a:lnTo>
                      <a:pt x="64" y="162"/>
                    </a:lnTo>
                    <a:lnTo>
                      <a:pt x="74" y="164"/>
                    </a:lnTo>
                    <a:lnTo>
                      <a:pt x="84" y="162"/>
                    </a:lnTo>
                    <a:lnTo>
                      <a:pt x="96" y="162"/>
                    </a:lnTo>
                    <a:lnTo>
                      <a:pt x="105" y="150"/>
                    </a:lnTo>
                    <a:lnTo>
                      <a:pt x="110" y="134"/>
                    </a:lnTo>
                    <a:lnTo>
                      <a:pt x="100" y="133"/>
                    </a:lnTo>
                    <a:lnTo>
                      <a:pt x="88" y="131"/>
                    </a:lnTo>
                    <a:lnTo>
                      <a:pt x="76" y="129"/>
                    </a:lnTo>
                    <a:lnTo>
                      <a:pt x="72" y="124"/>
                    </a:lnTo>
                    <a:lnTo>
                      <a:pt x="76" y="117"/>
                    </a:lnTo>
                    <a:lnTo>
                      <a:pt x="83" y="117"/>
                    </a:lnTo>
                    <a:lnTo>
                      <a:pt x="95" y="110"/>
                    </a:lnTo>
                    <a:lnTo>
                      <a:pt x="110" y="103"/>
                    </a:lnTo>
                    <a:lnTo>
                      <a:pt x="122" y="95"/>
                    </a:lnTo>
                    <a:lnTo>
                      <a:pt x="133" y="88"/>
                    </a:lnTo>
                    <a:lnTo>
                      <a:pt x="138" y="91"/>
                    </a:lnTo>
                    <a:lnTo>
                      <a:pt x="146" y="93"/>
                    </a:lnTo>
                    <a:lnTo>
                      <a:pt x="153" y="88"/>
                    </a:lnTo>
                    <a:lnTo>
                      <a:pt x="155" y="79"/>
                    </a:lnTo>
                    <a:lnTo>
                      <a:pt x="157" y="71"/>
                    </a:lnTo>
                    <a:lnTo>
                      <a:pt x="165" y="67"/>
                    </a:lnTo>
                    <a:lnTo>
                      <a:pt x="177" y="64"/>
                    </a:lnTo>
                    <a:lnTo>
                      <a:pt x="189" y="62"/>
                    </a:lnTo>
                    <a:lnTo>
                      <a:pt x="200" y="60"/>
                    </a:lnTo>
                    <a:lnTo>
                      <a:pt x="213" y="60"/>
                    </a:lnTo>
                    <a:lnTo>
                      <a:pt x="222" y="55"/>
                    </a:lnTo>
                    <a:lnTo>
                      <a:pt x="232" y="52"/>
                    </a:lnTo>
                    <a:lnTo>
                      <a:pt x="241" y="48"/>
                    </a:lnTo>
                    <a:lnTo>
                      <a:pt x="251" y="48"/>
                    </a:lnTo>
                    <a:lnTo>
                      <a:pt x="256" y="50"/>
                    </a:lnTo>
                    <a:lnTo>
                      <a:pt x="262" y="55"/>
                    </a:lnTo>
                    <a:lnTo>
                      <a:pt x="265" y="60"/>
                    </a:lnTo>
                    <a:lnTo>
                      <a:pt x="272" y="64"/>
                    </a:lnTo>
                    <a:lnTo>
                      <a:pt x="270" y="59"/>
                    </a:lnTo>
                    <a:lnTo>
                      <a:pt x="270" y="53"/>
                    </a:lnTo>
                    <a:lnTo>
                      <a:pt x="275" y="48"/>
                    </a:lnTo>
                    <a:lnTo>
                      <a:pt x="284" y="55"/>
                    </a:lnTo>
                    <a:lnTo>
                      <a:pt x="299" y="60"/>
                    </a:lnTo>
                    <a:lnTo>
                      <a:pt x="303" y="60"/>
                    </a:lnTo>
                    <a:lnTo>
                      <a:pt x="306" y="60"/>
                    </a:lnTo>
                    <a:lnTo>
                      <a:pt x="305" y="55"/>
                    </a:lnTo>
                    <a:lnTo>
                      <a:pt x="303" y="50"/>
                    </a:lnTo>
                    <a:lnTo>
                      <a:pt x="306" y="43"/>
                    </a:lnTo>
                    <a:lnTo>
                      <a:pt x="315" y="43"/>
                    </a:lnTo>
                    <a:lnTo>
                      <a:pt x="329" y="43"/>
                    </a:lnTo>
                    <a:lnTo>
                      <a:pt x="341" y="48"/>
                    </a:lnTo>
                    <a:lnTo>
                      <a:pt x="351" y="53"/>
                    </a:lnTo>
                    <a:lnTo>
                      <a:pt x="361" y="60"/>
                    </a:lnTo>
                    <a:lnTo>
                      <a:pt x="384" y="60"/>
                    </a:lnTo>
                    <a:lnTo>
                      <a:pt x="373" y="55"/>
                    </a:lnTo>
                    <a:lnTo>
                      <a:pt x="365" y="52"/>
                    </a:lnTo>
                    <a:lnTo>
                      <a:pt x="356" y="45"/>
                    </a:lnTo>
                    <a:lnTo>
                      <a:pt x="354" y="40"/>
                    </a:lnTo>
                    <a:lnTo>
                      <a:pt x="356" y="35"/>
                    </a:lnTo>
                    <a:lnTo>
                      <a:pt x="363" y="35"/>
                    </a:lnTo>
                    <a:lnTo>
                      <a:pt x="370" y="35"/>
                    </a:lnTo>
                    <a:lnTo>
                      <a:pt x="375" y="35"/>
                    </a:lnTo>
                    <a:lnTo>
                      <a:pt x="370" y="31"/>
                    </a:lnTo>
                    <a:lnTo>
                      <a:pt x="365" y="28"/>
                    </a:lnTo>
                    <a:lnTo>
                      <a:pt x="375" y="23"/>
                    </a:lnTo>
                    <a:lnTo>
                      <a:pt x="385" y="19"/>
                    </a:lnTo>
                    <a:lnTo>
                      <a:pt x="396" y="17"/>
                    </a:lnTo>
                    <a:lnTo>
                      <a:pt x="408" y="17"/>
                    </a:lnTo>
                    <a:lnTo>
                      <a:pt x="423" y="16"/>
                    </a:lnTo>
                    <a:lnTo>
                      <a:pt x="440" y="21"/>
                    </a:lnTo>
                    <a:lnTo>
                      <a:pt x="451" y="21"/>
                    </a:lnTo>
                    <a:lnTo>
                      <a:pt x="451" y="14"/>
                    </a:lnTo>
                    <a:lnTo>
                      <a:pt x="459" y="14"/>
                    </a:lnTo>
                    <a:lnTo>
                      <a:pt x="470" y="14"/>
                    </a:lnTo>
                    <a:lnTo>
                      <a:pt x="487" y="11"/>
                    </a:lnTo>
                    <a:lnTo>
                      <a:pt x="504" y="7"/>
                    </a:lnTo>
                    <a:lnTo>
                      <a:pt x="511" y="4"/>
                    </a:lnTo>
                    <a:lnTo>
                      <a:pt x="521" y="2"/>
                    </a:lnTo>
                    <a:lnTo>
                      <a:pt x="530" y="0"/>
                    </a:lnTo>
                    <a:lnTo>
                      <a:pt x="540" y="0"/>
                    </a:lnTo>
                    <a:lnTo>
                      <a:pt x="549" y="0"/>
                    </a:lnTo>
                    <a:lnTo>
                      <a:pt x="559" y="0"/>
                    </a:lnTo>
                    <a:lnTo>
                      <a:pt x="568" y="0"/>
                    </a:lnTo>
                    <a:lnTo>
                      <a:pt x="578" y="0"/>
                    </a:lnTo>
                    <a:lnTo>
                      <a:pt x="585" y="0"/>
                    </a:lnTo>
                    <a:lnTo>
                      <a:pt x="595" y="0"/>
                    </a:lnTo>
                    <a:lnTo>
                      <a:pt x="604" y="0"/>
                    </a:lnTo>
                    <a:lnTo>
                      <a:pt x="614" y="0"/>
                    </a:lnTo>
                    <a:lnTo>
                      <a:pt x="623" y="0"/>
                    </a:lnTo>
                    <a:lnTo>
                      <a:pt x="633" y="2"/>
                    </a:lnTo>
                    <a:lnTo>
                      <a:pt x="643" y="5"/>
                    </a:lnTo>
                    <a:lnTo>
                      <a:pt x="654" y="11"/>
                    </a:lnTo>
                    <a:lnTo>
                      <a:pt x="671" y="19"/>
                    </a:lnTo>
                    <a:lnTo>
                      <a:pt x="690" y="29"/>
                    </a:lnTo>
                    <a:lnTo>
                      <a:pt x="700" y="29"/>
                    </a:lnTo>
                    <a:lnTo>
                      <a:pt x="712" y="31"/>
                    </a:lnTo>
                    <a:lnTo>
                      <a:pt x="722" y="33"/>
                    </a:lnTo>
                    <a:lnTo>
                      <a:pt x="735" y="35"/>
                    </a:lnTo>
                    <a:lnTo>
                      <a:pt x="726" y="43"/>
                    </a:lnTo>
                    <a:lnTo>
                      <a:pt x="712" y="48"/>
                    </a:lnTo>
                    <a:lnTo>
                      <a:pt x="695" y="52"/>
                    </a:lnTo>
                    <a:lnTo>
                      <a:pt x="683" y="55"/>
                    </a:lnTo>
                    <a:lnTo>
                      <a:pt x="571" y="60"/>
                    </a:lnTo>
                    <a:lnTo>
                      <a:pt x="576" y="60"/>
                    </a:lnTo>
                    <a:lnTo>
                      <a:pt x="588" y="62"/>
                    </a:lnTo>
                    <a:lnTo>
                      <a:pt x="604" y="60"/>
                    </a:lnTo>
                    <a:lnTo>
                      <a:pt x="623" y="60"/>
                    </a:lnTo>
                    <a:lnTo>
                      <a:pt x="638" y="59"/>
                    </a:lnTo>
                    <a:lnTo>
                      <a:pt x="655" y="59"/>
                    </a:lnTo>
                    <a:lnTo>
                      <a:pt x="666" y="59"/>
                    </a:lnTo>
                    <a:lnTo>
                      <a:pt x="674" y="60"/>
                    </a:lnTo>
                    <a:lnTo>
                      <a:pt x="669" y="66"/>
                    </a:lnTo>
                    <a:lnTo>
                      <a:pt x="662" y="74"/>
                    </a:lnTo>
                    <a:lnTo>
                      <a:pt x="655" y="83"/>
                    </a:lnTo>
                    <a:lnTo>
                      <a:pt x="655" y="86"/>
                    </a:lnTo>
                    <a:lnTo>
                      <a:pt x="666" y="81"/>
                    </a:lnTo>
                    <a:lnTo>
                      <a:pt x="683" y="71"/>
                    </a:lnTo>
                    <a:lnTo>
                      <a:pt x="700" y="60"/>
                    </a:lnTo>
                    <a:lnTo>
                      <a:pt x="716" y="57"/>
                    </a:lnTo>
                    <a:lnTo>
                      <a:pt x="724" y="62"/>
                    </a:lnTo>
                    <a:lnTo>
                      <a:pt x="728" y="72"/>
                    </a:lnTo>
                    <a:lnTo>
                      <a:pt x="721" y="79"/>
                    </a:lnTo>
                    <a:lnTo>
                      <a:pt x="710" y="95"/>
                    </a:lnTo>
                    <a:lnTo>
                      <a:pt x="698" y="107"/>
                    </a:lnTo>
                    <a:lnTo>
                      <a:pt x="693" y="117"/>
                    </a:lnTo>
                    <a:lnTo>
                      <a:pt x="704" y="109"/>
                    </a:lnTo>
                    <a:lnTo>
                      <a:pt x="719" y="95"/>
                    </a:lnTo>
                    <a:lnTo>
                      <a:pt x="731" y="81"/>
                    </a:lnTo>
                    <a:lnTo>
                      <a:pt x="741" y="74"/>
                    </a:lnTo>
                    <a:lnTo>
                      <a:pt x="750" y="74"/>
                    </a:lnTo>
                    <a:lnTo>
                      <a:pt x="762" y="74"/>
                    </a:lnTo>
                    <a:lnTo>
                      <a:pt x="771" y="74"/>
                    </a:lnTo>
                    <a:lnTo>
                      <a:pt x="774" y="74"/>
                    </a:lnTo>
                    <a:lnTo>
                      <a:pt x="779" y="74"/>
                    </a:lnTo>
                    <a:lnTo>
                      <a:pt x="786" y="76"/>
                    </a:lnTo>
                    <a:lnTo>
                      <a:pt x="795" y="69"/>
                    </a:lnTo>
                    <a:lnTo>
                      <a:pt x="805" y="66"/>
                    </a:lnTo>
                    <a:lnTo>
                      <a:pt x="829" y="66"/>
                    </a:lnTo>
                    <a:lnTo>
                      <a:pt x="833" y="59"/>
                    </a:lnTo>
                    <a:lnTo>
                      <a:pt x="839" y="59"/>
                    </a:lnTo>
                    <a:lnTo>
                      <a:pt x="846" y="59"/>
                    </a:lnTo>
                    <a:lnTo>
                      <a:pt x="857" y="64"/>
                    </a:lnTo>
                    <a:lnTo>
                      <a:pt x="865" y="69"/>
                    </a:lnTo>
                    <a:lnTo>
                      <a:pt x="870" y="76"/>
                    </a:lnTo>
                    <a:lnTo>
                      <a:pt x="864" y="83"/>
                    </a:lnTo>
                    <a:lnTo>
                      <a:pt x="858" y="88"/>
                    </a:lnTo>
                    <a:lnTo>
                      <a:pt x="846" y="91"/>
                    </a:lnTo>
                    <a:lnTo>
                      <a:pt x="834" y="100"/>
                    </a:lnTo>
                    <a:lnTo>
                      <a:pt x="822" y="105"/>
                    </a:lnTo>
                    <a:lnTo>
                      <a:pt x="807" y="109"/>
                    </a:lnTo>
                    <a:lnTo>
                      <a:pt x="812" y="109"/>
                    </a:lnTo>
                    <a:lnTo>
                      <a:pt x="817" y="109"/>
                    </a:lnTo>
                    <a:lnTo>
                      <a:pt x="814" y="115"/>
                    </a:lnTo>
                    <a:lnTo>
                      <a:pt x="808" y="121"/>
                    </a:lnTo>
                    <a:lnTo>
                      <a:pt x="800" y="122"/>
                    </a:lnTo>
                    <a:lnTo>
                      <a:pt x="795" y="124"/>
                    </a:lnTo>
                    <a:lnTo>
                      <a:pt x="795" y="127"/>
                    </a:lnTo>
                    <a:lnTo>
                      <a:pt x="795" y="131"/>
                    </a:lnTo>
                    <a:lnTo>
                      <a:pt x="786" y="139"/>
                    </a:lnTo>
                    <a:lnTo>
                      <a:pt x="772" y="143"/>
                    </a:lnTo>
                    <a:lnTo>
                      <a:pt x="772" y="148"/>
                    </a:lnTo>
                    <a:lnTo>
                      <a:pt x="772" y="152"/>
                    </a:lnTo>
                    <a:lnTo>
                      <a:pt x="765" y="162"/>
                    </a:lnTo>
                    <a:lnTo>
                      <a:pt x="752" y="172"/>
                    </a:lnTo>
                    <a:lnTo>
                      <a:pt x="747" y="182"/>
                    </a:lnTo>
                    <a:lnTo>
                      <a:pt x="743" y="194"/>
                    </a:lnTo>
                    <a:lnTo>
                      <a:pt x="750" y="194"/>
                    </a:lnTo>
                    <a:lnTo>
                      <a:pt x="759" y="194"/>
                    </a:lnTo>
                    <a:lnTo>
                      <a:pt x="769" y="196"/>
                    </a:lnTo>
                    <a:lnTo>
                      <a:pt x="779" y="203"/>
                    </a:lnTo>
                    <a:lnTo>
                      <a:pt x="774" y="205"/>
                    </a:lnTo>
                    <a:lnTo>
                      <a:pt x="769" y="207"/>
                    </a:lnTo>
                    <a:lnTo>
                      <a:pt x="772" y="210"/>
                    </a:lnTo>
                    <a:lnTo>
                      <a:pt x="781" y="213"/>
                    </a:lnTo>
                    <a:lnTo>
                      <a:pt x="788" y="217"/>
                    </a:lnTo>
                    <a:lnTo>
                      <a:pt x="791" y="225"/>
                    </a:lnTo>
                    <a:lnTo>
                      <a:pt x="786" y="231"/>
                    </a:lnTo>
                    <a:lnTo>
                      <a:pt x="776" y="232"/>
                    </a:lnTo>
                    <a:lnTo>
                      <a:pt x="764" y="232"/>
                    </a:lnTo>
                    <a:lnTo>
                      <a:pt x="755" y="232"/>
                    </a:lnTo>
                    <a:lnTo>
                      <a:pt x="748" y="234"/>
                    </a:lnTo>
                    <a:lnTo>
                      <a:pt x="747" y="239"/>
                    </a:lnTo>
                    <a:lnTo>
                      <a:pt x="752" y="246"/>
                    </a:lnTo>
                    <a:lnTo>
                      <a:pt x="762" y="248"/>
                    </a:lnTo>
                    <a:lnTo>
                      <a:pt x="765" y="260"/>
                    </a:lnTo>
                    <a:lnTo>
                      <a:pt x="769" y="270"/>
                    </a:lnTo>
                    <a:lnTo>
                      <a:pt x="767" y="275"/>
                    </a:lnTo>
                    <a:lnTo>
                      <a:pt x="769" y="280"/>
                    </a:lnTo>
                    <a:lnTo>
                      <a:pt x="759" y="280"/>
                    </a:lnTo>
                    <a:lnTo>
                      <a:pt x="753" y="287"/>
                    </a:lnTo>
                    <a:lnTo>
                      <a:pt x="755" y="291"/>
                    </a:lnTo>
                    <a:lnTo>
                      <a:pt x="760" y="294"/>
                    </a:lnTo>
                    <a:lnTo>
                      <a:pt x="767" y="296"/>
                    </a:lnTo>
                    <a:lnTo>
                      <a:pt x="774" y="298"/>
                    </a:lnTo>
                    <a:lnTo>
                      <a:pt x="764" y="306"/>
                    </a:lnTo>
                    <a:lnTo>
                      <a:pt x="752" y="311"/>
                    </a:lnTo>
                    <a:lnTo>
                      <a:pt x="752" y="315"/>
                    </a:lnTo>
                    <a:lnTo>
                      <a:pt x="755" y="320"/>
                    </a:lnTo>
                    <a:lnTo>
                      <a:pt x="748" y="327"/>
                    </a:lnTo>
                    <a:lnTo>
                      <a:pt x="741" y="330"/>
                    </a:lnTo>
                    <a:lnTo>
                      <a:pt x="733" y="332"/>
                    </a:lnTo>
                    <a:lnTo>
                      <a:pt x="728" y="339"/>
                    </a:lnTo>
                    <a:lnTo>
                      <a:pt x="719" y="332"/>
                    </a:lnTo>
                    <a:lnTo>
                      <a:pt x="712" y="327"/>
                    </a:lnTo>
                    <a:lnTo>
                      <a:pt x="705" y="327"/>
                    </a:lnTo>
                    <a:lnTo>
                      <a:pt x="710" y="334"/>
                    </a:lnTo>
                    <a:lnTo>
                      <a:pt x="721" y="337"/>
                    </a:lnTo>
                    <a:lnTo>
                      <a:pt x="728" y="341"/>
                    </a:lnTo>
                    <a:lnTo>
                      <a:pt x="733" y="349"/>
                    </a:lnTo>
                    <a:lnTo>
                      <a:pt x="731" y="360"/>
                    </a:lnTo>
                    <a:lnTo>
                      <a:pt x="726" y="365"/>
                    </a:lnTo>
                    <a:lnTo>
                      <a:pt x="717" y="361"/>
                    </a:lnTo>
                    <a:lnTo>
                      <a:pt x="709" y="356"/>
                    </a:lnTo>
                    <a:lnTo>
                      <a:pt x="700" y="348"/>
                    </a:lnTo>
                    <a:lnTo>
                      <a:pt x="697" y="341"/>
                    </a:lnTo>
                    <a:lnTo>
                      <a:pt x="692" y="341"/>
                    </a:lnTo>
                    <a:lnTo>
                      <a:pt x="692" y="349"/>
                    </a:lnTo>
                    <a:lnTo>
                      <a:pt x="705" y="360"/>
                    </a:lnTo>
                    <a:lnTo>
                      <a:pt x="722" y="372"/>
                    </a:lnTo>
                    <a:lnTo>
                      <a:pt x="728" y="377"/>
                    </a:lnTo>
                    <a:lnTo>
                      <a:pt x="735" y="385"/>
                    </a:lnTo>
                    <a:lnTo>
                      <a:pt x="738" y="392"/>
                    </a:lnTo>
                    <a:lnTo>
                      <a:pt x="741" y="404"/>
                    </a:lnTo>
                    <a:lnTo>
                      <a:pt x="736" y="409"/>
                    </a:lnTo>
                    <a:lnTo>
                      <a:pt x="728" y="411"/>
                    </a:lnTo>
                    <a:lnTo>
                      <a:pt x="714" y="406"/>
                    </a:lnTo>
                    <a:lnTo>
                      <a:pt x="705" y="397"/>
                    </a:lnTo>
                    <a:lnTo>
                      <a:pt x="698" y="389"/>
                    </a:lnTo>
                    <a:lnTo>
                      <a:pt x="688" y="385"/>
                    </a:lnTo>
                    <a:lnTo>
                      <a:pt x="685" y="385"/>
                    </a:lnTo>
                    <a:lnTo>
                      <a:pt x="681" y="385"/>
                    </a:lnTo>
                    <a:lnTo>
                      <a:pt x="683" y="392"/>
                    </a:lnTo>
                    <a:lnTo>
                      <a:pt x="686" y="397"/>
                    </a:lnTo>
                    <a:lnTo>
                      <a:pt x="681" y="403"/>
                    </a:lnTo>
                    <a:lnTo>
                      <a:pt x="674" y="404"/>
                    </a:lnTo>
                    <a:lnTo>
                      <a:pt x="674" y="408"/>
                    </a:lnTo>
                    <a:lnTo>
                      <a:pt x="681" y="411"/>
                    </a:lnTo>
                    <a:lnTo>
                      <a:pt x="688" y="413"/>
                    </a:lnTo>
                    <a:lnTo>
                      <a:pt x="698" y="416"/>
                    </a:lnTo>
                    <a:lnTo>
                      <a:pt x="707" y="416"/>
                    </a:lnTo>
                    <a:lnTo>
                      <a:pt x="717" y="418"/>
                    </a:lnTo>
                    <a:lnTo>
                      <a:pt x="724" y="420"/>
                    </a:lnTo>
                    <a:lnTo>
                      <a:pt x="731" y="421"/>
                    </a:lnTo>
                    <a:lnTo>
                      <a:pt x="719" y="427"/>
                    </a:lnTo>
                    <a:lnTo>
                      <a:pt x="709" y="432"/>
                    </a:lnTo>
                    <a:lnTo>
                      <a:pt x="697" y="435"/>
                    </a:lnTo>
                    <a:lnTo>
                      <a:pt x="688" y="444"/>
                    </a:lnTo>
                    <a:lnTo>
                      <a:pt x="679" y="449"/>
                    </a:lnTo>
                    <a:lnTo>
                      <a:pt x="673" y="456"/>
                    </a:lnTo>
                    <a:lnTo>
                      <a:pt x="657" y="458"/>
                    </a:lnTo>
                    <a:lnTo>
                      <a:pt x="645" y="459"/>
                    </a:lnTo>
                    <a:lnTo>
                      <a:pt x="633" y="461"/>
                    </a:lnTo>
                    <a:lnTo>
                      <a:pt x="619" y="468"/>
                    </a:lnTo>
                    <a:lnTo>
                      <a:pt x="597" y="468"/>
                    </a:lnTo>
                    <a:lnTo>
                      <a:pt x="588" y="471"/>
                    </a:lnTo>
                    <a:lnTo>
                      <a:pt x="587" y="476"/>
                    </a:lnTo>
                    <a:lnTo>
                      <a:pt x="573" y="485"/>
                    </a:lnTo>
                    <a:lnTo>
                      <a:pt x="563" y="497"/>
                    </a:lnTo>
                    <a:lnTo>
                      <a:pt x="556" y="511"/>
                    </a:lnTo>
                    <a:lnTo>
                      <a:pt x="545" y="516"/>
                    </a:lnTo>
                    <a:lnTo>
                      <a:pt x="537" y="518"/>
                    </a:lnTo>
                    <a:lnTo>
                      <a:pt x="526" y="519"/>
                    </a:lnTo>
                    <a:lnTo>
                      <a:pt x="518" y="526"/>
                    </a:lnTo>
                    <a:lnTo>
                      <a:pt x="509" y="526"/>
                    </a:lnTo>
                    <a:lnTo>
                      <a:pt x="509" y="516"/>
                    </a:lnTo>
                    <a:lnTo>
                      <a:pt x="502" y="521"/>
                    </a:lnTo>
                    <a:lnTo>
                      <a:pt x="499" y="528"/>
                    </a:lnTo>
                    <a:lnTo>
                      <a:pt x="487" y="533"/>
                    </a:lnTo>
                    <a:lnTo>
                      <a:pt x="475" y="537"/>
                    </a:lnTo>
                    <a:lnTo>
                      <a:pt x="464" y="542"/>
                    </a:lnTo>
                    <a:lnTo>
                      <a:pt x="461" y="552"/>
                    </a:lnTo>
                    <a:lnTo>
                      <a:pt x="461" y="554"/>
                    </a:lnTo>
                    <a:lnTo>
                      <a:pt x="463" y="557"/>
                    </a:lnTo>
                    <a:lnTo>
                      <a:pt x="459" y="559"/>
                    </a:lnTo>
                    <a:lnTo>
                      <a:pt x="459" y="562"/>
                    </a:lnTo>
                    <a:lnTo>
                      <a:pt x="461" y="568"/>
                    </a:lnTo>
                    <a:lnTo>
                      <a:pt x="464" y="575"/>
                    </a:lnTo>
                    <a:lnTo>
                      <a:pt x="459" y="583"/>
                    </a:lnTo>
                    <a:lnTo>
                      <a:pt x="452" y="588"/>
                    </a:lnTo>
                    <a:lnTo>
                      <a:pt x="444" y="592"/>
                    </a:lnTo>
                    <a:lnTo>
                      <a:pt x="442" y="600"/>
                    </a:lnTo>
                    <a:lnTo>
                      <a:pt x="440" y="616"/>
                    </a:lnTo>
                    <a:lnTo>
                      <a:pt x="442" y="628"/>
                    </a:lnTo>
                    <a:lnTo>
                      <a:pt x="434" y="635"/>
                    </a:lnTo>
                    <a:lnTo>
                      <a:pt x="432" y="647"/>
                    </a:lnTo>
                    <a:lnTo>
                      <a:pt x="428" y="655"/>
                    </a:lnTo>
                    <a:lnTo>
                      <a:pt x="421" y="660"/>
                    </a:lnTo>
                    <a:lnTo>
                      <a:pt x="416" y="659"/>
                    </a:lnTo>
                    <a:lnTo>
                      <a:pt x="416" y="655"/>
                    </a:lnTo>
                    <a:lnTo>
                      <a:pt x="409" y="657"/>
                    </a:lnTo>
                    <a:lnTo>
                      <a:pt x="406" y="659"/>
                    </a:lnTo>
                    <a:lnTo>
                      <a:pt x="397" y="654"/>
                    </a:lnTo>
                    <a:lnTo>
                      <a:pt x="392" y="647"/>
                    </a:lnTo>
                    <a:lnTo>
                      <a:pt x="387" y="638"/>
                    </a:lnTo>
                    <a:lnTo>
                      <a:pt x="382" y="636"/>
                    </a:lnTo>
                    <a:lnTo>
                      <a:pt x="370" y="638"/>
                    </a:lnTo>
                    <a:lnTo>
                      <a:pt x="360" y="643"/>
                    </a:lnTo>
                    <a:lnTo>
                      <a:pt x="353" y="633"/>
                    </a:lnTo>
                    <a:lnTo>
                      <a:pt x="344" y="628"/>
                    </a:lnTo>
                    <a:lnTo>
                      <a:pt x="341" y="623"/>
                    </a:lnTo>
                    <a:lnTo>
                      <a:pt x="341" y="619"/>
                    </a:lnTo>
                    <a:lnTo>
                      <a:pt x="330" y="609"/>
                    </a:lnTo>
                    <a:lnTo>
                      <a:pt x="320" y="599"/>
                    </a:lnTo>
                    <a:lnTo>
                      <a:pt x="311" y="585"/>
                    </a:lnTo>
                    <a:lnTo>
                      <a:pt x="310" y="573"/>
                    </a:lnTo>
                    <a:lnTo>
                      <a:pt x="311" y="566"/>
                    </a:lnTo>
                    <a:lnTo>
                      <a:pt x="318" y="562"/>
                    </a:lnTo>
                    <a:lnTo>
                      <a:pt x="308" y="559"/>
                    </a:lnTo>
                    <a:lnTo>
                      <a:pt x="299" y="562"/>
                    </a:lnTo>
                    <a:lnTo>
                      <a:pt x="296" y="554"/>
                    </a:lnTo>
                    <a:lnTo>
                      <a:pt x="294" y="545"/>
                    </a:lnTo>
                    <a:lnTo>
                      <a:pt x="289" y="537"/>
                    </a:lnTo>
                    <a:lnTo>
                      <a:pt x="284" y="532"/>
                    </a:lnTo>
                    <a:lnTo>
                      <a:pt x="279" y="523"/>
                    </a:lnTo>
                    <a:lnTo>
                      <a:pt x="277" y="516"/>
                    </a:lnTo>
                    <a:lnTo>
                      <a:pt x="279" y="509"/>
                    </a:lnTo>
                    <a:lnTo>
                      <a:pt x="282" y="504"/>
                    </a:lnTo>
                    <a:lnTo>
                      <a:pt x="277" y="501"/>
                    </a:lnTo>
                    <a:lnTo>
                      <a:pt x="272" y="504"/>
                    </a:lnTo>
                    <a:lnTo>
                      <a:pt x="272" y="492"/>
                    </a:lnTo>
                    <a:lnTo>
                      <a:pt x="280" y="476"/>
                    </a:lnTo>
                    <a:lnTo>
                      <a:pt x="292" y="464"/>
                    </a:lnTo>
                    <a:lnTo>
                      <a:pt x="292" y="46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0" name="Freeform 337"/>
              <p:cNvSpPr>
                <a:spLocks/>
              </p:cNvSpPr>
              <p:nvPr/>
            </p:nvSpPr>
            <p:spPr bwMode="auto">
              <a:xfrm>
                <a:off x="3056732" y="2052638"/>
                <a:ext cx="68263" cy="44450"/>
              </a:xfrm>
              <a:custGeom>
                <a:avLst/>
                <a:gdLst/>
                <a:ahLst/>
                <a:cxnLst>
                  <a:cxn ang="0">
                    <a:pos x="10" y="28"/>
                  </a:cxn>
                  <a:cxn ang="0">
                    <a:pos x="4" y="21"/>
                  </a:cxn>
                  <a:cxn ang="0">
                    <a:pos x="0" y="9"/>
                  </a:cxn>
                  <a:cxn ang="0">
                    <a:pos x="4" y="2"/>
                  </a:cxn>
                  <a:cxn ang="0">
                    <a:pos x="12" y="0"/>
                  </a:cxn>
                  <a:cxn ang="0">
                    <a:pos x="19" y="2"/>
                  </a:cxn>
                  <a:cxn ang="0">
                    <a:pos x="26" y="7"/>
                  </a:cxn>
                  <a:cxn ang="0">
                    <a:pos x="33" y="12"/>
                  </a:cxn>
                  <a:cxn ang="0">
                    <a:pos x="43" y="18"/>
                  </a:cxn>
                  <a:cxn ang="0">
                    <a:pos x="34" y="24"/>
                  </a:cxn>
                  <a:cxn ang="0">
                    <a:pos x="22" y="28"/>
                  </a:cxn>
                  <a:cxn ang="0">
                    <a:pos x="10" y="28"/>
                  </a:cxn>
                </a:cxnLst>
                <a:rect l="0" t="0" r="r" b="b"/>
                <a:pathLst>
                  <a:path w="43" h="28">
                    <a:moveTo>
                      <a:pt x="10" y="28"/>
                    </a:moveTo>
                    <a:lnTo>
                      <a:pt x="4" y="21"/>
                    </a:lnTo>
                    <a:lnTo>
                      <a:pt x="0" y="9"/>
                    </a:lnTo>
                    <a:lnTo>
                      <a:pt x="4" y="2"/>
                    </a:lnTo>
                    <a:lnTo>
                      <a:pt x="12" y="0"/>
                    </a:lnTo>
                    <a:lnTo>
                      <a:pt x="19" y="2"/>
                    </a:lnTo>
                    <a:lnTo>
                      <a:pt x="26" y="7"/>
                    </a:lnTo>
                    <a:lnTo>
                      <a:pt x="33" y="12"/>
                    </a:lnTo>
                    <a:lnTo>
                      <a:pt x="43" y="18"/>
                    </a:lnTo>
                    <a:lnTo>
                      <a:pt x="34" y="24"/>
                    </a:lnTo>
                    <a:lnTo>
                      <a:pt x="22" y="28"/>
                    </a:lnTo>
                    <a:lnTo>
                      <a:pt x="10"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1" name="Freeform 338"/>
              <p:cNvSpPr>
                <a:spLocks/>
              </p:cNvSpPr>
              <p:nvPr/>
            </p:nvSpPr>
            <p:spPr bwMode="auto">
              <a:xfrm>
                <a:off x="3882232" y="1827213"/>
                <a:ext cx="34925" cy="20637"/>
              </a:xfrm>
              <a:custGeom>
                <a:avLst/>
                <a:gdLst/>
                <a:ahLst/>
                <a:cxnLst>
                  <a:cxn ang="0">
                    <a:pos x="6" y="13"/>
                  </a:cxn>
                  <a:cxn ang="0">
                    <a:pos x="1" y="10"/>
                  </a:cxn>
                  <a:cxn ang="0">
                    <a:pos x="0" y="6"/>
                  </a:cxn>
                  <a:cxn ang="0">
                    <a:pos x="1" y="1"/>
                  </a:cxn>
                  <a:cxn ang="0">
                    <a:pos x="5" y="0"/>
                  </a:cxn>
                  <a:cxn ang="0">
                    <a:pos x="13" y="0"/>
                  </a:cxn>
                  <a:cxn ang="0">
                    <a:pos x="13" y="3"/>
                  </a:cxn>
                  <a:cxn ang="0">
                    <a:pos x="13" y="6"/>
                  </a:cxn>
                  <a:cxn ang="0">
                    <a:pos x="22" y="6"/>
                  </a:cxn>
                  <a:cxn ang="0">
                    <a:pos x="15" y="10"/>
                  </a:cxn>
                  <a:cxn ang="0">
                    <a:pos x="6" y="13"/>
                  </a:cxn>
                </a:cxnLst>
                <a:rect l="0" t="0" r="r" b="b"/>
                <a:pathLst>
                  <a:path w="22" h="13">
                    <a:moveTo>
                      <a:pt x="6" y="13"/>
                    </a:moveTo>
                    <a:lnTo>
                      <a:pt x="1" y="10"/>
                    </a:lnTo>
                    <a:lnTo>
                      <a:pt x="0" y="6"/>
                    </a:lnTo>
                    <a:lnTo>
                      <a:pt x="1" y="1"/>
                    </a:lnTo>
                    <a:lnTo>
                      <a:pt x="5" y="0"/>
                    </a:lnTo>
                    <a:lnTo>
                      <a:pt x="13" y="0"/>
                    </a:lnTo>
                    <a:lnTo>
                      <a:pt x="13" y="3"/>
                    </a:lnTo>
                    <a:lnTo>
                      <a:pt x="13" y="6"/>
                    </a:lnTo>
                    <a:lnTo>
                      <a:pt x="22" y="6"/>
                    </a:lnTo>
                    <a:lnTo>
                      <a:pt x="15" y="10"/>
                    </a:lnTo>
                    <a:lnTo>
                      <a:pt x="6"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2" name="Freeform 339"/>
              <p:cNvSpPr>
                <a:spLocks/>
              </p:cNvSpPr>
              <p:nvPr/>
            </p:nvSpPr>
            <p:spPr bwMode="auto">
              <a:xfrm>
                <a:off x="2958307" y="2716213"/>
                <a:ext cx="150813" cy="147637"/>
              </a:xfrm>
              <a:custGeom>
                <a:avLst/>
                <a:gdLst/>
                <a:ahLst/>
                <a:cxnLst>
                  <a:cxn ang="0">
                    <a:pos x="2" y="74"/>
                  </a:cxn>
                  <a:cxn ang="0">
                    <a:pos x="4" y="67"/>
                  </a:cxn>
                  <a:cxn ang="0">
                    <a:pos x="9" y="60"/>
                  </a:cxn>
                  <a:cxn ang="0">
                    <a:pos x="5" y="59"/>
                  </a:cxn>
                  <a:cxn ang="0">
                    <a:pos x="21" y="38"/>
                  </a:cxn>
                  <a:cxn ang="0">
                    <a:pos x="33" y="16"/>
                  </a:cxn>
                  <a:cxn ang="0">
                    <a:pos x="48" y="0"/>
                  </a:cxn>
                  <a:cxn ang="0">
                    <a:pos x="52" y="5"/>
                  </a:cxn>
                  <a:cxn ang="0">
                    <a:pos x="38" y="31"/>
                  </a:cxn>
                  <a:cxn ang="0">
                    <a:pos x="41" y="35"/>
                  </a:cxn>
                  <a:cxn ang="0">
                    <a:pos x="48" y="33"/>
                  </a:cxn>
                  <a:cxn ang="0">
                    <a:pos x="52" y="38"/>
                  </a:cxn>
                  <a:cxn ang="0">
                    <a:pos x="60" y="41"/>
                  </a:cxn>
                  <a:cxn ang="0">
                    <a:pos x="60" y="45"/>
                  </a:cxn>
                  <a:cxn ang="0">
                    <a:pos x="74" y="43"/>
                  </a:cxn>
                  <a:cxn ang="0">
                    <a:pos x="81" y="48"/>
                  </a:cxn>
                  <a:cxn ang="0">
                    <a:pos x="83" y="59"/>
                  </a:cxn>
                  <a:cxn ang="0">
                    <a:pos x="83" y="62"/>
                  </a:cxn>
                  <a:cxn ang="0">
                    <a:pos x="83" y="69"/>
                  </a:cxn>
                  <a:cxn ang="0">
                    <a:pos x="88" y="72"/>
                  </a:cxn>
                  <a:cxn ang="0">
                    <a:pos x="93" y="76"/>
                  </a:cxn>
                  <a:cxn ang="0">
                    <a:pos x="91" y="90"/>
                  </a:cxn>
                  <a:cxn ang="0">
                    <a:pos x="83" y="90"/>
                  </a:cxn>
                  <a:cxn ang="0">
                    <a:pos x="79" y="86"/>
                  </a:cxn>
                  <a:cxn ang="0">
                    <a:pos x="74" y="79"/>
                  </a:cxn>
                  <a:cxn ang="0">
                    <a:pos x="66" y="81"/>
                  </a:cxn>
                  <a:cxn ang="0">
                    <a:pos x="55" y="86"/>
                  </a:cxn>
                  <a:cxn ang="0">
                    <a:pos x="60" y="78"/>
                  </a:cxn>
                  <a:cxn ang="0">
                    <a:pos x="47" y="76"/>
                  </a:cxn>
                  <a:cxn ang="0">
                    <a:pos x="36" y="79"/>
                  </a:cxn>
                  <a:cxn ang="0">
                    <a:pos x="21" y="76"/>
                  </a:cxn>
                  <a:cxn ang="0">
                    <a:pos x="5" y="78"/>
                  </a:cxn>
                </a:cxnLst>
                <a:rect l="0" t="0" r="r" b="b"/>
                <a:pathLst>
                  <a:path w="95" h="93">
                    <a:moveTo>
                      <a:pt x="5" y="78"/>
                    </a:moveTo>
                    <a:lnTo>
                      <a:pt x="2" y="74"/>
                    </a:lnTo>
                    <a:lnTo>
                      <a:pt x="0" y="72"/>
                    </a:lnTo>
                    <a:lnTo>
                      <a:pt x="4" y="67"/>
                    </a:lnTo>
                    <a:lnTo>
                      <a:pt x="9" y="64"/>
                    </a:lnTo>
                    <a:lnTo>
                      <a:pt x="9" y="60"/>
                    </a:lnTo>
                    <a:lnTo>
                      <a:pt x="7" y="59"/>
                    </a:lnTo>
                    <a:lnTo>
                      <a:pt x="5" y="59"/>
                    </a:lnTo>
                    <a:lnTo>
                      <a:pt x="14" y="48"/>
                    </a:lnTo>
                    <a:lnTo>
                      <a:pt x="21" y="38"/>
                    </a:lnTo>
                    <a:lnTo>
                      <a:pt x="26" y="24"/>
                    </a:lnTo>
                    <a:lnTo>
                      <a:pt x="33" y="16"/>
                    </a:lnTo>
                    <a:lnTo>
                      <a:pt x="38" y="5"/>
                    </a:lnTo>
                    <a:lnTo>
                      <a:pt x="48" y="0"/>
                    </a:lnTo>
                    <a:lnTo>
                      <a:pt x="50" y="2"/>
                    </a:lnTo>
                    <a:lnTo>
                      <a:pt x="52" y="5"/>
                    </a:lnTo>
                    <a:lnTo>
                      <a:pt x="45" y="19"/>
                    </a:lnTo>
                    <a:lnTo>
                      <a:pt x="38" y="31"/>
                    </a:lnTo>
                    <a:lnTo>
                      <a:pt x="38" y="36"/>
                    </a:lnTo>
                    <a:lnTo>
                      <a:pt x="41" y="35"/>
                    </a:lnTo>
                    <a:lnTo>
                      <a:pt x="45" y="33"/>
                    </a:lnTo>
                    <a:lnTo>
                      <a:pt x="48" y="33"/>
                    </a:lnTo>
                    <a:lnTo>
                      <a:pt x="53" y="35"/>
                    </a:lnTo>
                    <a:lnTo>
                      <a:pt x="52" y="38"/>
                    </a:lnTo>
                    <a:lnTo>
                      <a:pt x="52" y="41"/>
                    </a:lnTo>
                    <a:lnTo>
                      <a:pt x="60" y="41"/>
                    </a:lnTo>
                    <a:lnTo>
                      <a:pt x="60" y="43"/>
                    </a:lnTo>
                    <a:lnTo>
                      <a:pt x="60" y="45"/>
                    </a:lnTo>
                    <a:lnTo>
                      <a:pt x="66" y="43"/>
                    </a:lnTo>
                    <a:lnTo>
                      <a:pt x="74" y="43"/>
                    </a:lnTo>
                    <a:lnTo>
                      <a:pt x="81" y="43"/>
                    </a:lnTo>
                    <a:lnTo>
                      <a:pt x="81" y="48"/>
                    </a:lnTo>
                    <a:lnTo>
                      <a:pt x="81" y="59"/>
                    </a:lnTo>
                    <a:lnTo>
                      <a:pt x="83" y="59"/>
                    </a:lnTo>
                    <a:lnTo>
                      <a:pt x="86" y="59"/>
                    </a:lnTo>
                    <a:lnTo>
                      <a:pt x="83" y="62"/>
                    </a:lnTo>
                    <a:lnTo>
                      <a:pt x="81" y="65"/>
                    </a:lnTo>
                    <a:lnTo>
                      <a:pt x="83" y="69"/>
                    </a:lnTo>
                    <a:lnTo>
                      <a:pt x="84" y="74"/>
                    </a:lnTo>
                    <a:lnTo>
                      <a:pt x="88" y="72"/>
                    </a:lnTo>
                    <a:lnTo>
                      <a:pt x="91" y="71"/>
                    </a:lnTo>
                    <a:lnTo>
                      <a:pt x="93" y="76"/>
                    </a:lnTo>
                    <a:lnTo>
                      <a:pt x="95" y="81"/>
                    </a:lnTo>
                    <a:lnTo>
                      <a:pt x="91" y="90"/>
                    </a:lnTo>
                    <a:lnTo>
                      <a:pt x="86" y="93"/>
                    </a:lnTo>
                    <a:lnTo>
                      <a:pt x="83" y="90"/>
                    </a:lnTo>
                    <a:lnTo>
                      <a:pt x="83" y="88"/>
                    </a:lnTo>
                    <a:lnTo>
                      <a:pt x="79" y="86"/>
                    </a:lnTo>
                    <a:lnTo>
                      <a:pt x="78" y="86"/>
                    </a:lnTo>
                    <a:lnTo>
                      <a:pt x="74" y="79"/>
                    </a:lnTo>
                    <a:lnTo>
                      <a:pt x="72" y="72"/>
                    </a:lnTo>
                    <a:lnTo>
                      <a:pt x="66" y="81"/>
                    </a:lnTo>
                    <a:lnTo>
                      <a:pt x="59" y="86"/>
                    </a:lnTo>
                    <a:lnTo>
                      <a:pt x="55" y="86"/>
                    </a:lnTo>
                    <a:lnTo>
                      <a:pt x="57" y="81"/>
                    </a:lnTo>
                    <a:lnTo>
                      <a:pt x="60" y="78"/>
                    </a:lnTo>
                    <a:lnTo>
                      <a:pt x="52" y="78"/>
                    </a:lnTo>
                    <a:lnTo>
                      <a:pt x="47" y="76"/>
                    </a:lnTo>
                    <a:lnTo>
                      <a:pt x="41" y="78"/>
                    </a:lnTo>
                    <a:lnTo>
                      <a:pt x="36" y="79"/>
                    </a:lnTo>
                    <a:lnTo>
                      <a:pt x="28" y="78"/>
                    </a:lnTo>
                    <a:lnTo>
                      <a:pt x="21" y="76"/>
                    </a:lnTo>
                    <a:lnTo>
                      <a:pt x="12" y="76"/>
                    </a:lnTo>
                    <a:lnTo>
                      <a:pt x="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3" name="Freeform 340"/>
              <p:cNvSpPr>
                <a:spLocks/>
              </p:cNvSpPr>
              <p:nvPr/>
            </p:nvSpPr>
            <p:spPr bwMode="auto">
              <a:xfrm>
                <a:off x="7455694" y="1779588"/>
                <a:ext cx="177800" cy="68262"/>
              </a:xfrm>
              <a:custGeom>
                <a:avLst/>
                <a:gdLst/>
                <a:ahLst/>
                <a:cxnLst>
                  <a:cxn ang="0">
                    <a:pos x="89" y="33"/>
                  </a:cxn>
                  <a:cxn ang="0">
                    <a:pos x="82" y="35"/>
                  </a:cxn>
                  <a:cxn ang="0">
                    <a:pos x="76" y="38"/>
                  </a:cxn>
                  <a:cxn ang="0">
                    <a:pos x="70" y="35"/>
                  </a:cxn>
                  <a:cxn ang="0">
                    <a:pos x="67" y="33"/>
                  </a:cxn>
                  <a:cxn ang="0">
                    <a:pos x="62" y="35"/>
                  </a:cxn>
                  <a:cxn ang="0">
                    <a:pos x="57" y="36"/>
                  </a:cxn>
                  <a:cxn ang="0">
                    <a:pos x="52" y="38"/>
                  </a:cxn>
                  <a:cxn ang="0">
                    <a:pos x="46" y="42"/>
                  </a:cxn>
                  <a:cxn ang="0">
                    <a:pos x="39" y="40"/>
                  </a:cxn>
                  <a:cxn ang="0">
                    <a:pos x="36" y="36"/>
                  </a:cxn>
                  <a:cxn ang="0">
                    <a:pos x="31" y="40"/>
                  </a:cxn>
                  <a:cxn ang="0">
                    <a:pos x="26" y="43"/>
                  </a:cxn>
                  <a:cxn ang="0">
                    <a:pos x="15" y="40"/>
                  </a:cxn>
                  <a:cxn ang="0">
                    <a:pos x="7" y="36"/>
                  </a:cxn>
                  <a:cxn ang="0">
                    <a:pos x="0" y="28"/>
                  </a:cxn>
                  <a:cxn ang="0">
                    <a:pos x="0" y="21"/>
                  </a:cxn>
                  <a:cxn ang="0">
                    <a:pos x="7" y="6"/>
                  </a:cxn>
                  <a:cxn ang="0">
                    <a:pos x="22" y="0"/>
                  </a:cxn>
                  <a:cxn ang="0">
                    <a:pos x="31" y="2"/>
                  </a:cxn>
                  <a:cxn ang="0">
                    <a:pos x="38" y="9"/>
                  </a:cxn>
                  <a:cxn ang="0">
                    <a:pos x="43" y="14"/>
                  </a:cxn>
                  <a:cxn ang="0">
                    <a:pos x="53" y="18"/>
                  </a:cxn>
                  <a:cxn ang="0">
                    <a:pos x="55" y="7"/>
                  </a:cxn>
                  <a:cxn ang="0">
                    <a:pos x="62" y="4"/>
                  </a:cxn>
                  <a:cxn ang="0">
                    <a:pos x="70" y="4"/>
                  </a:cxn>
                  <a:cxn ang="0">
                    <a:pos x="86" y="9"/>
                  </a:cxn>
                  <a:cxn ang="0">
                    <a:pos x="100" y="12"/>
                  </a:cxn>
                  <a:cxn ang="0">
                    <a:pos x="112" y="18"/>
                  </a:cxn>
                  <a:cxn ang="0">
                    <a:pos x="107" y="26"/>
                  </a:cxn>
                  <a:cxn ang="0">
                    <a:pos x="103" y="33"/>
                  </a:cxn>
                  <a:cxn ang="0">
                    <a:pos x="89" y="33"/>
                  </a:cxn>
                </a:cxnLst>
                <a:rect l="0" t="0" r="r" b="b"/>
                <a:pathLst>
                  <a:path w="112" h="43">
                    <a:moveTo>
                      <a:pt x="89" y="33"/>
                    </a:moveTo>
                    <a:lnTo>
                      <a:pt x="82" y="35"/>
                    </a:lnTo>
                    <a:lnTo>
                      <a:pt x="76" y="38"/>
                    </a:lnTo>
                    <a:lnTo>
                      <a:pt x="70" y="35"/>
                    </a:lnTo>
                    <a:lnTo>
                      <a:pt x="67" y="33"/>
                    </a:lnTo>
                    <a:lnTo>
                      <a:pt x="62" y="35"/>
                    </a:lnTo>
                    <a:lnTo>
                      <a:pt x="57" y="36"/>
                    </a:lnTo>
                    <a:lnTo>
                      <a:pt x="52" y="38"/>
                    </a:lnTo>
                    <a:lnTo>
                      <a:pt x="46" y="42"/>
                    </a:lnTo>
                    <a:lnTo>
                      <a:pt x="39" y="40"/>
                    </a:lnTo>
                    <a:lnTo>
                      <a:pt x="36" y="36"/>
                    </a:lnTo>
                    <a:lnTo>
                      <a:pt x="31" y="40"/>
                    </a:lnTo>
                    <a:lnTo>
                      <a:pt x="26" y="43"/>
                    </a:lnTo>
                    <a:lnTo>
                      <a:pt x="15" y="40"/>
                    </a:lnTo>
                    <a:lnTo>
                      <a:pt x="7" y="36"/>
                    </a:lnTo>
                    <a:lnTo>
                      <a:pt x="0" y="28"/>
                    </a:lnTo>
                    <a:lnTo>
                      <a:pt x="0" y="21"/>
                    </a:lnTo>
                    <a:lnTo>
                      <a:pt x="7" y="6"/>
                    </a:lnTo>
                    <a:lnTo>
                      <a:pt x="22" y="0"/>
                    </a:lnTo>
                    <a:lnTo>
                      <a:pt x="31" y="2"/>
                    </a:lnTo>
                    <a:lnTo>
                      <a:pt x="38" y="9"/>
                    </a:lnTo>
                    <a:lnTo>
                      <a:pt x="43" y="14"/>
                    </a:lnTo>
                    <a:lnTo>
                      <a:pt x="53" y="18"/>
                    </a:lnTo>
                    <a:lnTo>
                      <a:pt x="55" y="7"/>
                    </a:lnTo>
                    <a:lnTo>
                      <a:pt x="62" y="4"/>
                    </a:lnTo>
                    <a:lnTo>
                      <a:pt x="70" y="4"/>
                    </a:lnTo>
                    <a:lnTo>
                      <a:pt x="86" y="9"/>
                    </a:lnTo>
                    <a:lnTo>
                      <a:pt x="100" y="12"/>
                    </a:lnTo>
                    <a:lnTo>
                      <a:pt x="112" y="18"/>
                    </a:lnTo>
                    <a:lnTo>
                      <a:pt x="107" y="26"/>
                    </a:lnTo>
                    <a:lnTo>
                      <a:pt x="103" y="33"/>
                    </a:lnTo>
                    <a:lnTo>
                      <a:pt x="89"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4" name="Freeform 341"/>
              <p:cNvSpPr>
                <a:spLocks/>
              </p:cNvSpPr>
              <p:nvPr/>
            </p:nvSpPr>
            <p:spPr bwMode="auto">
              <a:xfrm>
                <a:off x="1629569" y="3248025"/>
                <a:ext cx="919163" cy="617537"/>
              </a:xfrm>
              <a:custGeom>
                <a:avLst/>
                <a:gdLst/>
                <a:ahLst/>
                <a:cxnLst>
                  <a:cxn ang="0">
                    <a:pos x="283" y="123"/>
                  </a:cxn>
                  <a:cxn ang="0">
                    <a:pos x="285" y="171"/>
                  </a:cxn>
                  <a:cxn ang="0">
                    <a:pos x="299" y="198"/>
                  </a:cxn>
                  <a:cxn ang="0">
                    <a:pos x="330" y="226"/>
                  </a:cxn>
                  <a:cxn ang="0">
                    <a:pos x="368" y="222"/>
                  </a:cxn>
                  <a:cxn ang="0">
                    <a:pos x="387" y="193"/>
                  </a:cxn>
                  <a:cxn ang="0">
                    <a:pos x="416" y="174"/>
                  </a:cxn>
                  <a:cxn ang="0">
                    <a:pos x="438" y="176"/>
                  </a:cxn>
                  <a:cxn ang="0">
                    <a:pos x="430" y="207"/>
                  </a:cxn>
                  <a:cxn ang="0">
                    <a:pos x="421" y="221"/>
                  </a:cxn>
                  <a:cxn ang="0">
                    <a:pos x="414" y="250"/>
                  </a:cxn>
                  <a:cxn ang="0">
                    <a:pos x="416" y="262"/>
                  </a:cxn>
                  <a:cxn ang="0">
                    <a:pos x="464" y="260"/>
                  </a:cxn>
                  <a:cxn ang="0">
                    <a:pos x="488" y="277"/>
                  </a:cxn>
                  <a:cxn ang="0">
                    <a:pos x="485" y="331"/>
                  </a:cxn>
                  <a:cxn ang="0">
                    <a:pos x="519" y="363"/>
                  </a:cxn>
                  <a:cxn ang="0">
                    <a:pos x="565" y="358"/>
                  </a:cxn>
                  <a:cxn ang="0">
                    <a:pos x="565" y="380"/>
                  </a:cxn>
                  <a:cxn ang="0">
                    <a:pos x="564" y="372"/>
                  </a:cxn>
                  <a:cxn ang="0">
                    <a:pos x="540" y="368"/>
                  </a:cxn>
                  <a:cxn ang="0">
                    <a:pos x="536" y="380"/>
                  </a:cxn>
                  <a:cxn ang="0">
                    <a:pos x="512" y="375"/>
                  </a:cxn>
                  <a:cxn ang="0">
                    <a:pos x="488" y="367"/>
                  </a:cxn>
                  <a:cxn ang="0">
                    <a:pos x="467" y="346"/>
                  </a:cxn>
                  <a:cxn ang="0">
                    <a:pos x="461" y="351"/>
                  </a:cxn>
                  <a:cxn ang="0">
                    <a:pos x="448" y="324"/>
                  </a:cxn>
                  <a:cxn ang="0">
                    <a:pos x="426" y="298"/>
                  </a:cxn>
                  <a:cxn ang="0">
                    <a:pos x="395" y="293"/>
                  </a:cxn>
                  <a:cxn ang="0">
                    <a:pos x="350" y="270"/>
                  </a:cxn>
                  <a:cxn ang="0">
                    <a:pos x="328" y="255"/>
                  </a:cxn>
                  <a:cxn ang="0">
                    <a:pos x="297" y="262"/>
                  </a:cxn>
                  <a:cxn ang="0">
                    <a:pos x="275" y="257"/>
                  </a:cxn>
                  <a:cxn ang="0">
                    <a:pos x="246" y="243"/>
                  </a:cxn>
                  <a:cxn ang="0">
                    <a:pos x="215" y="229"/>
                  </a:cxn>
                  <a:cxn ang="0">
                    <a:pos x="192" y="219"/>
                  </a:cxn>
                  <a:cxn ang="0">
                    <a:pos x="172" y="203"/>
                  </a:cxn>
                  <a:cxn ang="0">
                    <a:pos x="172" y="176"/>
                  </a:cxn>
                  <a:cxn ang="0">
                    <a:pos x="144" y="135"/>
                  </a:cxn>
                  <a:cxn ang="0">
                    <a:pos x="115" y="107"/>
                  </a:cxn>
                  <a:cxn ang="0">
                    <a:pos x="96" y="83"/>
                  </a:cxn>
                  <a:cxn ang="0">
                    <a:pos x="79" y="68"/>
                  </a:cxn>
                  <a:cxn ang="0">
                    <a:pos x="58" y="31"/>
                  </a:cxn>
                  <a:cxn ang="0">
                    <a:pos x="31" y="18"/>
                  </a:cxn>
                  <a:cxn ang="0">
                    <a:pos x="48" y="54"/>
                  </a:cxn>
                  <a:cxn ang="0">
                    <a:pos x="75" y="95"/>
                  </a:cxn>
                  <a:cxn ang="0">
                    <a:pos x="92" y="133"/>
                  </a:cxn>
                  <a:cxn ang="0">
                    <a:pos x="108" y="153"/>
                  </a:cxn>
                  <a:cxn ang="0">
                    <a:pos x="86" y="138"/>
                  </a:cxn>
                  <a:cxn ang="0">
                    <a:pos x="74" y="112"/>
                  </a:cxn>
                  <a:cxn ang="0">
                    <a:pos x="36" y="83"/>
                  </a:cxn>
                  <a:cxn ang="0">
                    <a:pos x="20" y="50"/>
                  </a:cxn>
                  <a:cxn ang="0">
                    <a:pos x="12" y="26"/>
                  </a:cxn>
                  <a:cxn ang="0">
                    <a:pos x="32" y="0"/>
                  </a:cxn>
                  <a:cxn ang="0">
                    <a:pos x="139" y="11"/>
                  </a:cxn>
                  <a:cxn ang="0">
                    <a:pos x="173" y="33"/>
                  </a:cxn>
                  <a:cxn ang="0">
                    <a:pos x="197" y="57"/>
                  </a:cxn>
                  <a:cxn ang="0">
                    <a:pos x="215" y="42"/>
                  </a:cxn>
                  <a:cxn ang="0">
                    <a:pos x="242" y="62"/>
                  </a:cxn>
                  <a:cxn ang="0">
                    <a:pos x="261" y="97"/>
                  </a:cxn>
                  <a:cxn ang="0">
                    <a:pos x="283" y="98"/>
                  </a:cxn>
                </a:cxnLst>
                <a:rect l="0" t="0" r="r" b="b"/>
                <a:pathLst>
                  <a:path w="579" h="389">
                    <a:moveTo>
                      <a:pt x="285" y="104"/>
                    </a:moveTo>
                    <a:lnTo>
                      <a:pt x="285" y="107"/>
                    </a:lnTo>
                    <a:lnTo>
                      <a:pt x="287" y="112"/>
                    </a:lnTo>
                    <a:lnTo>
                      <a:pt x="283" y="123"/>
                    </a:lnTo>
                    <a:lnTo>
                      <a:pt x="282" y="133"/>
                    </a:lnTo>
                    <a:lnTo>
                      <a:pt x="282" y="162"/>
                    </a:lnTo>
                    <a:lnTo>
                      <a:pt x="282" y="166"/>
                    </a:lnTo>
                    <a:lnTo>
                      <a:pt x="285" y="171"/>
                    </a:lnTo>
                    <a:lnTo>
                      <a:pt x="285" y="176"/>
                    </a:lnTo>
                    <a:lnTo>
                      <a:pt x="287" y="183"/>
                    </a:lnTo>
                    <a:lnTo>
                      <a:pt x="292" y="190"/>
                    </a:lnTo>
                    <a:lnTo>
                      <a:pt x="299" y="198"/>
                    </a:lnTo>
                    <a:lnTo>
                      <a:pt x="309" y="210"/>
                    </a:lnTo>
                    <a:lnTo>
                      <a:pt x="321" y="221"/>
                    </a:lnTo>
                    <a:lnTo>
                      <a:pt x="325" y="222"/>
                    </a:lnTo>
                    <a:lnTo>
                      <a:pt x="330" y="226"/>
                    </a:lnTo>
                    <a:lnTo>
                      <a:pt x="344" y="222"/>
                    </a:lnTo>
                    <a:lnTo>
                      <a:pt x="359" y="219"/>
                    </a:lnTo>
                    <a:lnTo>
                      <a:pt x="364" y="221"/>
                    </a:lnTo>
                    <a:lnTo>
                      <a:pt x="368" y="222"/>
                    </a:lnTo>
                    <a:lnTo>
                      <a:pt x="373" y="217"/>
                    </a:lnTo>
                    <a:lnTo>
                      <a:pt x="375" y="214"/>
                    </a:lnTo>
                    <a:lnTo>
                      <a:pt x="381" y="203"/>
                    </a:lnTo>
                    <a:lnTo>
                      <a:pt x="387" y="193"/>
                    </a:lnTo>
                    <a:lnTo>
                      <a:pt x="388" y="183"/>
                    </a:lnTo>
                    <a:lnTo>
                      <a:pt x="395" y="178"/>
                    </a:lnTo>
                    <a:lnTo>
                      <a:pt x="404" y="174"/>
                    </a:lnTo>
                    <a:lnTo>
                      <a:pt x="416" y="174"/>
                    </a:lnTo>
                    <a:lnTo>
                      <a:pt x="421" y="174"/>
                    </a:lnTo>
                    <a:lnTo>
                      <a:pt x="426" y="176"/>
                    </a:lnTo>
                    <a:lnTo>
                      <a:pt x="431" y="176"/>
                    </a:lnTo>
                    <a:lnTo>
                      <a:pt x="438" y="176"/>
                    </a:lnTo>
                    <a:lnTo>
                      <a:pt x="438" y="178"/>
                    </a:lnTo>
                    <a:lnTo>
                      <a:pt x="438" y="181"/>
                    </a:lnTo>
                    <a:lnTo>
                      <a:pt x="433" y="191"/>
                    </a:lnTo>
                    <a:lnTo>
                      <a:pt x="430" y="207"/>
                    </a:lnTo>
                    <a:lnTo>
                      <a:pt x="426" y="215"/>
                    </a:lnTo>
                    <a:lnTo>
                      <a:pt x="423" y="224"/>
                    </a:lnTo>
                    <a:lnTo>
                      <a:pt x="423" y="221"/>
                    </a:lnTo>
                    <a:lnTo>
                      <a:pt x="421" y="221"/>
                    </a:lnTo>
                    <a:lnTo>
                      <a:pt x="419" y="221"/>
                    </a:lnTo>
                    <a:lnTo>
                      <a:pt x="419" y="231"/>
                    </a:lnTo>
                    <a:lnTo>
                      <a:pt x="419" y="245"/>
                    </a:lnTo>
                    <a:lnTo>
                      <a:pt x="414" y="250"/>
                    </a:lnTo>
                    <a:lnTo>
                      <a:pt x="411" y="255"/>
                    </a:lnTo>
                    <a:lnTo>
                      <a:pt x="411" y="257"/>
                    </a:lnTo>
                    <a:lnTo>
                      <a:pt x="411" y="260"/>
                    </a:lnTo>
                    <a:lnTo>
                      <a:pt x="416" y="262"/>
                    </a:lnTo>
                    <a:lnTo>
                      <a:pt x="428" y="260"/>
                    </a:lnTo>
                    <a:lnTo>
                      <a:pt x="440" y="260"/>
                    </a:lnTo>
                    <a:lnTo>
                      <a:pt x="450" y="260"/>
                    </a:lnTo>
                    <a:lnTo>
                      <a:pt x="464" y="260"/>
                    </a:lnTo>
                    <a:lnTo>
                      <a:pt x="476" y="264"/>
                    </a:lnTo>
                    <a:lnTo>
                      <a:pt x="488" y="270"/>
                    </a:lnTo>
                    <a:lnTo>
                      <a:pt x="488" y="274"/>
                    </a:lnTo>
                    <a:lnTo>
                      <a:pt x="488" y="277"/>
                    </a:lnTo>
                    <a:lnTo>
                      <a:pt x="486" y="288"/>
                    </a:lnTo>
                    <a:lnTo>
                      <a:pt x="485" y="300"/>
                    </a:lnTo>
                    <a:lnTo>
                      <a:pt x="485" y="317"/>
                    </a:lnTo>
                    <a:lnTo>
                      <a:pt x="485" y="331"/>
                    </a:lnTo>
                    <a:lnTo>
                      <a:pt x="491" y="343"/>
                    </a:lnTo>
                    <a:lnTo>
                      <a:pt x="504" y="351"/>
                    </a:lnTo>
                    <a:lnTo>
                      <a:pt x="509" y="356"/>
                    </a:lnTo>
                    <a:lnTo>
                      <a:pt x="519" y="363"/>
                    </a:lnTo>
                    <a:lnTo>
                      <a:pt x="534" y="358"/>
                    </a:lnTo>
                    <a:lnTo>
                      <a:pt x="550" y="353"/>
                    </a:lnTo>
                    <a:lnTo>
                      <a:pt x="559" y="353"/>
                    </a:lnTo>
                    <a:lnTo>
                      <a:pt x="565" y="358"/>
                    </a:lnTo>
                    <a:lnTo>
                      <a:pt x="572" y="363"/>
                    </a:lnTo>
                    <a:lnTo>
                      <a:pt x="579" y="368"/>
                    </a:lnTo>
                    <a:lnTo>
                      <a:pt x="572" y="375"/>
                    </a:lnTo>
                    <a:lnTo>
                      <a:pt x="565" y="380"/>
                    </a:lnTo>
                    <a:lnTo>
                      <a:pt x="562" y="379"/>
                    </a:lnTo>
                    <a:lnTo>
                      <a:pt x="560" y="377"/>
                    </a:lnTo>
                    <a:lnTo>
                      <a:pt x="560" y="374"/>
                    </a:lnTo>
                    <a:lnTo>
                      <a:pt x="564" y="372"/>
                    </a:lnTo>
                    <a:lnTo>
                      <a:pt x="557" y="367"/>
                    </a:lnTo>
                    <a:lnTo>
                      <a:pt x="550" y="363"/>
                    </a:lnTo>
                    <a:lnTo>
                      <a:pt x="545" y="363"/>
                    </a:lnTo>
                    <a:lnTo>
                      <a:pt x="540" y="368"/>
                    </a:lnTo>
                    <a:lnTo>
                      <a:pt x="534" y="372"/>
                    </a:lnTo>
                    <a:lnTo>
                      <a:pt x="533" y="375"/>
                    </a:lnTo>
                    <a:lnTo>
                      <a:pt x="534" y="379"/>
                    </a:lnTo>
                    <a:lnTo>
                      <a:pt x="536" y="380"/>
                    </a:lnTo>
                    <a:lnTo>
                      <a:pt x="533" y="386"/>
                    </a:lnTo>
                    <a:lnTo>
                      <a:pt x="529" y="389"/>
                    </a:lnTo>
                    <a:lnTo>
                      <a:pt x="517" y="382"/>
                    </a:lnTo>
                    <a:lnTo>
                      <a:pt x="512" y="375"/>
                    </a:lnTo>
                    <a:lnTo>
                      <a:pt x="504" y="372"/>
                    </a:lnTo>
                    <a:lnTo>
                      <a:pt x="497" y="374"/>
                    </a:lnTo>
                    <a:lnTo>
                      <a:pt x="495" y="372"/>
                    </a:lnTo>
                    <a:lnTo>
                      <a:pt x="488" y="367"/>
                    </a:lnTo>
                    <a:lnTo>
                      <a:pt x="485" y="360"/>
                    </a:lnTo>
                    <a:lnTo>
                      <a:pt x="479" y="355"/>
                    </a:lnTo>
                    <a:lnTo>
                      <a:pt x="474" y="351"/>
                    </a:lnTo>
                    <a:lnTo>
                      <a:pt x="467" y="346"/>
                    </a:lnTo>
                    <a:lnTo>
                      <a:pt x="466" y="346"/>
                    </a:lnTo>
                    <a:lnTo>
                      <a:pt x="466" y="348"/>
                    </a:lnTo>
                    <a:lnTo>
                      <a:pt x="466" y="351"/>
                    </a:lnTo>
                    <a:lnTo>
                      <a:pt x="461" y="351"/>
                    </a:lnTo>
                    <a:lnTo>
                      <a:pt x="455" y="341"/>
                    </a:lnTo>
                    <a:lnTo>
                      <a:pt x="455" y="332"/>
                    </a:lnTo>
                    <a:lnTo>
                      <a:pt x="452" y="325"/>
                    </a:lnTo>
                    <a:lnTo>
                      <a:pt x="448" y="324"/>
                    </a:lnTo>
                    <a:lnTo>
                      <a:pt x="436" y="312"/>
                    </a:lnTo>
                    <a:lnTo>
                      <a:pt x="430" y="298"/>
                    </a:lnTo>
                    <a:lnTo>
                      <a:pt x="428" y="298"/>
                    </a:lnTo>
                    <a:lnTo>
                      <a:pt x="426" y="298"/>
                    </a:lnTo>
                    <a:lnTo>
                      <a:pt x="421" y="300"/>
                    </a:lnTo>
                    <a:lnTo>
                      <a:pt x="418" y="301"/>
                    </a:lnTo>
                    <a:lnTo>
                      <a:pt x="404" y="296"/>
                    </a:lnTo>
                    <a:lnTo>
                      <a:pt x="395" y="293"/>
                    </a:lnTo>
                    <a:lnTo>
                      <a:pt x="381" y="288"/>
                    </a:lnTo>
                    <a:lnTo>
                      <a:pt x="369" y="286"/>
                    </a:lnTo>
                    <a:lnTo>
                      <a:pt x="357" y="277"/>
                    </a:lnTo>
                    <a:lnTo>
                      <a:pt x="350" y="270"/>
                    </a:lnTo>
                    <a:lnTo>
                      <a:pt x="344" y="264"/>
                    </a:lnTo>
                    <a:lnTo>
                      <a:pt x="337" y="258"/>
                    </a:lnTo>
                    <a:lnTo>
                      <a:pt x="333" y="258"/>
                    </a:lnTo>
                    <a:lnTo>
                      <a:pt x="328" y="255"/>
                    </a:lnTo>
                    <a:lnTo>
                      <a:pt x="323" y="255"/>
                    </a:lnTo>
                    <a:lnTo>
                      <a:pt x="313" y="260"/>
                    </a:lnTo>
                    <a:lnTo>
                      <a:pt x="304" y="265"/>
                    </a:lnTo>
                    <a:lnTo>
                      <a:pt x="297" y="262"/>
                    </a:lnTo>
                    <a:lnTo>
                      <a:pt x="294" y="260"/>
                    </a:lnTo>
                    <a:lnTo>
                      <a:pt x="287" y="258"/>
                    </a:lnTo>
                    <a:lnTo>
                      <a:pt x="282" y="260"/>
                    </a:lnTo>
                    <a:lnTo>
                      <a:pt x="275" y="257"/>
                    </a:lnTo>
                    <a:lnTo>
                      <a:pt x="266" y="253"/>
                    </a:lnTo>
                    <a:lnTo>
                      <a:pt x="258" y="248"/>
                    </a:lnTo>
                    <a:lnTo>
                      <a:pt x="252" y="245"/>
                    </a:lnTo>
                    <a:lnTo>
                      <a:pt x="246" y="243"/>
                    </a:lnTo>
                    <a:lnTo>
                      <a:pt x="239" y="245"/>
                    </a:lnTo>
                    <a:lnTo>
                      <a:pt x="230" y="238"/>
                    </a:lnTo>
                    <a:lnTo>
                      <a:pt x="223" y="233"/>
                    </a:lnTo>
                    <a:lnTo>
                      <a:pt x="215" y="229"/>
                    </a:lnTo>
                    <a:lnTo>
                      <a:pt x="206" y="227"/>
                    </a:lnTo>
                    <a:lnTo>
                      <a:pt x="203" y="226"/>
                    </a:lnTo>
                    <a:lnTo>
                      <a:pt x="201" y="224"/>
                    </a:lnTo>
                    <a:lnTo>
                      <a:pt x="192" y="219"/>
                    </a:lnTo>
                    <a:lnTo>
                      <a:pt x="185" y="215"/>
                    </a:lnTo>
                    <a:lnTo>
                      <a:pt x="178" y="210"/>
                    </a:lnTo>
                    <a:lnTo>
                      <a:pt x="177" y="207"/>
                    </a:lnTo>
                    <a:lnTo>
                      <a:pt x="172" y="203"/>
                    </a:lnTo>
                    <a:lnTo>
                      <a:pt x="170" y="196"/>
                    </a:lnTo>
                    <a:lnTo>
                      <a:pt x="172" y="190"/>
                    </a:lnTo>
                    <a:lnTo>
                      <a:pt x="175" y="183"/>
                    </a:lnTo>
                    <a:lnTo>
                      <a:pt x="172" y="176"/>
                    </a:lnTo>
                    <a:lnTo>
                      <a:pt x="170" y="171"/>
                    </a:lnTo>
                    <a:lnTo>
                      <a:pt x="161" y="157"/>
                    </a:lnTo>
                    <a:lnTo>
                      <a:pt x="153" y="147"/>
                    </a:lnTo>
                    <a:lnTo>
                      <a:pt x="144" y="135"/>
                    </a:lnTo>
                    <a:lnTo>
                      <a:pt x="135" y="128"/>
                    </a:lnTo>
                    <a:lnTo>
                      <a:pt x="125" y="121"/>
                    </a:lnTo>
                    <a:lnTo>
                      <a:pt x="117" y="116"/>
                    </a:lnTo>
                    <a:lnTo>
                      <a:pt x="115" y="107"/>
                    </a:lnTo>
                    <a:lnTo>
                      <a:pt x="113" y="100"/>
                    </a:lnTo>
                    <a:lnTo>
                      <a:pt x="108" y="93"/>
                    </a:lnTo>
                    <a:lnTo>
                      <a:pt x="101" y="90"/>
                    </a:lnTo>
                    <a:lnTo>
                      <a:pt x="96" y="83"/>
                    </a:lnTo>
                    <a:lnTo>
                      <a:pt x="94" y="78"/>
                    </a:lnTo>
                    <a:lnTo>
                      <a:pt x="89" y="76"/>
                    </a:lnTo>
                    <a:lnTo>
                      <a:pt x="87" y="78"/>
                    </a:lnTo>
                    <a:lnTo>
                      <a:pt x="79" y="68"/>
                    </a:lnTo>
                    <a:lnTo>
                      <a:pt x="70" y="61"/>
                    </a:lnTo>
                    <a:lnTo>
                      <a:pt x="67" y="50"/>
                    </a:lnTo>
                    <a:lnTo>
                      <a:pt x="63" y="42"/>
                    </a:lnTo>
                    <a:lnTo>
                      <a:pt x="58" y="31"/>
                    </a:lnTo>
                    <a:lnTo>
                      <a:pt x="56" y="25"/>
                    </a:lnTo>
                    <a:lnTo>
                      <a:pt x="43" y="19"/>
                    </a:lnTo>
                    <a:lnTo>
                      <a:pt x="32" y="14"/>
                    </a:lnTo>
                    <a:lnTo>
                      <a:pt x="31" y="18"/>
                    </a:lnTo>
                    <a:lnTo>
                      <a:pt x="31" y="21"/>
                    </a:lnTo>
                    <a:lnTo>
                      <a:pt x="32" y="33"/>
                    </a:lnTo>
                    <a:lnTo>
                      <a:pt x="41" y="47"/>
                    </a:lnTo>
                    <a:lnTo>
                      <a:pt x="48" y="54"/>
                    </a:lnTo>
                    <a:lnTo>
                      <a:pt x="56" y="61"/>
                    </a:lnTo>
                    <a:lnTo>
                      <a:pt x="61" y="69"/>
                    </a:lnTo>
                    <a:lnTo>
                      <a:pt x="67" y="81"/>
                    </a:lnTo>
                    <a:lnTo>
                      <a:pt x="75" y="95"/>
                    </a:lnTo>
                    <a:lnTo>
                      <a:pt x="84" y="109"/>
                    </a:lnTo>
                    <a:lnTo>
                      <a:pt x="86" y="117"/>
                    </a:lnTo>
                    <a:lnTo>
                      <a:pt x="89" y="126"/>
                    </a:lnTo>
                    <a:lnTo>
                      <a:pt x="92" y="133"/>
                    </a:lnTo>
                    <a:lnTo>
                      <a:pt x="99" y="140"/>
                    </a:lnTo>
                    <a:lnTo>
                      <a:pt x="106" y="141"/>
                    </a:lnTo>
                    <a:lnTo>
                      <a:pt x="110" y="148"/>
                    </a:lnTo>
                    <a:lnTo>
                      <a:pt x="108" y="153"/>
                    </a:lnTo>
                    <a:lnTo>
                      <a:pt x="106" y="157"/>
                    </a:lnTo>
                    <a:lnTo>
                      <a:pt x="101" y="150"/>
                    </a:lnTo>
                    <a:lnTo>
                      <a:pt x="98" y="145"/>
                    </a:lnTo>
                    <a:lnTo>
                      <a:pt x="86" y="138"/>
                    </a:lnTo>
                    <a:lnTo>
                      <a:pt x="79" y="129"/>
                    </a:lnTo>
                    <a:lnTo>
                      <a:pt x="75" y="128"/>
                    </a:lnTo>
                    <a:lnTo>
                      <a:pt x="74" y="126"/>
                    </a:lnTo>
                    <a:lnTo>
                      <a:pt x="74" y="112"/>
                    </a:lnTo>
                    <a:lnTo>
                      <a:pt x="65" y="104"/>
                    </a:lnTo>
                    <a:lnTo>
                      <a:pt x="58" y="97"/>
                    </a:lnTo>
                    <a:lnTo>
                      <a:pt x="46" y="88"/>
                    </a:lnTo>
                    <a:lnTo>
                      <a:pt x="36" y="83"/>
                    </a:lnTo>
                    <a:lnTo>
                      <a:pt x="43" y="83"/>
                    </a:lnTo>
                    <a:lnTo>
                      <a:pt x="46" y="78"/>
                    </a:lnTo>
                    <a:lnTo>
                      <a:pt x="32" y="62"/>
                    </a:lnTo>
                    <a:lnTo>
                      <a:pt x="20" y="50"/>
                    </a:lnTo>
                    <a:lnTo>
                      <a:pt x="15" y="45"/>
                    </a:lnTo>
                    <a:lnTo>
                      <a:pt x="15" y="38"/>
                    </a:lnTo>
                    <a:lnTo>
                      <a:pt x="13" y="31"/>
                    </a:lnTo>
                    <a:lnTo>
                      <a:pt x="12" y="26"/>
                    </a:lnTo>
                    <a:lnTo>
                      <a:pt x="5" y="14"/>
                    </a:lnTo>
                    <a:lnTo>
                      <a:pt x="0" y="4"/>
                    </a:lnTo>
                    <a:lnTo>
                      <a:pt x="0" y="0"/>
                    </a:lnTo>
                    <a:lnTo>
                      <a:pt x="32" y="0"/>
                    </a:lnTo>
                    <a:lnTo>
                      <a:pt x="87" y="18"/>
                    </a:lnTo>
                    <a:lnTo>
                      <a:pt x="129" y="18"/>
                    </a:lnTo>
                    <a:lnTo>
                      <a:pt x="129" y="11"/>
                    </a:lnTo>
                    <a:lnTo>
                      <a:pt x="139" y="11"/>
                    </a:lnTo>
                    <a:lnTo>
                      <a:pt x="149" y="12"/>
                    </a:lnTo>
                    <a:lnTo>
                      <a:pt x="160" y="18"/>
                    </a:lnTo>
                    <a:lnTo>
                      <a:pt x="166" y="23"/>
                    </a:lnTo>
                    <a:lnTo>
                      <a:pt x="173" y="33"/>
                    </a:lnTo>
                    <a:lnTo>
                      <a:pt x="177" y="38"/>
                    </a:lnTo>
                    <a:lnTo>
                      <a:pt x="182" y="47"/>
                    </a:lnTo>
                    <a:lnTo>
                      <a:pt x="189" y="54"/>
                    </a:lnTo>
                    <a:lnTo>
                      <a:pt x="197" y="57"/>
                    </a:lnTo>
                    <a:lnTo>
                      <a:pt x="201" y="54"/>
                    </a:lnTo>
                    <a:lnTo>
                      <a:pt x="204" y="49"/>
                    </a:lnTo>
                    <a:lnTo>
                      <a:pt x="208" y="43"/>
                    </a:lnTo>
                    <a:lnTo>
                      <a:pt x="215" y="42"/>
                    </a:lnTo>
                    <a:lnTo>
                      <a:pt x="223" y="42"/>
                    </a:lnTo>
                    <a:lnTo>
                      <a:pt x="232" y="47"/>
                    </a:lnTo>
                    <a:lnTo>
                      <a:pt x="237" y="52"/>
                    </a:lnTo>
                    <a:lnTo>
                      <a:pt x="242" y="62"/>
                    </a:lnTo>
                    <a:lnTo>
                      <a:pt x="246" y="71"/>
                    </a:lnTo>
                    <a:lnTo>
                      <a:pt x="249" y="80"/>
                    </a:lnTo>
                    <a:lnTo>
                      <a:pt x="254" y="88"/>
                    </a:lnTo>
                    <a:lnTo>
                      <a:pt x="261" y="97"/>
                    </a:lnTo>
                    <a:lnTo>
                      <a:pt x="270" y="100"/>
                    </a:lnTo>
                    <a:lnTo>
                      <a:pt x="285" y="104"/>
                    </a:lnTo>
                    <a:lnTo>
                      <a:pt x="283" y="100"/>
                    </a:lnTo>
                    <a:lnTo>
                      <a:pt x="283" y="98"/>
                    </a:lnTo>
                    <a:lnTo>
                      <a:pt x="285" y="1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5" name="Freeform 342"/>
              <p:cNvSpPr>
                <a:spLocks/>
              </p:cNvSpPr>
              <p:nvPr/>
            </p:nvSpPr>
            <p:spPr bwMode="auto">
              <a:xfrm>
                <a:off x="2437607" y="2673350"/>
                <a:ext cx="26988" cy="12700"/>
              </a:xfrm>
              <a:custGeom>
                <a:avLst/>
                <a:gdLst/>
                <a:ahLst/>
                <a:cxnLst>
                  <a:cxn ang="0">
                    <a:pos x="0" y="0"/>
                  </a:cxn>
                  <a:cxn ang="0">
                    <a:pos x="10" y="1"/>
                  </a:cxn>
                  <a:cxn ang="0">
                    <a:pos x="17" y="8"/>
                  </a:cxn>
                  <a:cxn ang="0">
                    <a:pos x="15" y="8"/>
                  </a:cxn>
                  <a:cxn ang="0">
                    <a:pos x="13" y="8"/>
                  </a:cxn>
                  <a:cxn ang="0">
                    <a:pos x="5" y="7"/>
                  </a:cxn>
                  <a:cxn ang="0">
                    <a:pos x="0" y="3"/>
                  </a:cxn>
                  <a:cxn ang="0">
                    <a:pos x="0" y="0"/>
                  </a:cxn>
                </a:cxnLst>
                <a:rect l="0" t="0" r="r" b="b"/>
                <a:pathLst>
                  <a:path w="17" h="8">
                    <a:moveTo>
                      <a:pt x="0" y="0"/>
                    </a:moveTo>
                    <a:lnTo>
                      <a:pt x="10" y="1"/>
                    </a:lnTo>
                    <a:lnTo>
                      <a:pt x="17" y="8"/>
                    </a:lnTo>
                    <a:lnTo>
                      <a:pt x="15" y="8"/>
                    </a:lnTo>
                    <a:lnTo>
                      <a:pt x="13" y="8"/>
                    </a:lnTo>
                    <a:lnTo>
                      <a:pt x="5" y="7"/>
                    </a:lnTo>
                    <a:lnTo>
                      <a:pt x="0" y="3"/>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6" name="Freeform 343"/>
              <p:cNvSpPr>
                <a:spLocks/>
              </p:cNvSpPr>
              <p:nvPr/>
            </p:nvSpPr>
            <p:spPr bwMode="auto">
              <a:xfrm>
                <a:off x="1372394" y="2749550"/>
                <a:ext cx="109538" cy="68262"/>
              </a:xfrm>
              <a:custGeom>
                <a:avLst/>
                <a:gdLst/>
                <a:ahLst/>
                <a:cxnLst>
                  <a:cxn ang="0">
                    <a:pos x="0" y="2"/>
                  </a:cxn>
                  <a:cxn ang="0">
                    <a:pos x="3" y="0"/>
                  </a:cxn>
                  <a:cxn ang="0">
                    <a:pos x="7" y="0"/>
                  </a:cxn>
                  <a:cxn ang="0">
                    <a:pos x="14" y="2"/>
                  </a:cxn>
                  <a:cxn ang="0">
                    <a:pos x="21" y="7"/>
                  </a:cxn>
                  <a:cxn ang="0">
                    <a:pos x="34" y="12"/>
                  </a:cxn>
                  <a:cxn ang="0">
                    <a:pos x="46" y="20"/>
                  </a:cxn>
                  <a:cxn ang="0">
                    <a:pos x="57" y="29"/>
                  </a:cxn>
                  <a:cxn ang="0">
                    <a:pos x="69" y="39"/>
                  </a:cxn>
                  <a:cxn ang="0">
                    <a:pos x="69" y="43"/>
                  </a:cxn>
                  <a:cxn ang="0">
                    <a:pos x="65" y="43"/>
                  </a:cxn>
                  <a:cxn ang="0">
                    <a:pos x="64" y="43"/>
                  </a:cxn>
                  <a:cxn ang="0">
                    <a:pos x="53" y="39"/>
                  </a:cxn>
                  <a:cxn ang="0">
                    <a:pos x="43" y="34"/>
                  </a:cxn>
                  <a:cxn ang="0">
                    <a:pos x="33" y="27"/>
                  </a:cxn>
                  <a:cxn ang="0">
                    <a:pos x="26" y="24"/>
                  </a:cxn>
                  <a:cxn ang="0">
                    <a:pos x="27" y="20"/>
                  </a:cxn>
                  <a:cxn ang="0">
                    <a:pos x="31" y="19"/>
                  </a:cxn>
                  <a:cxn ang="0">
                    <a:pos x="22" y="17"/>
                  </a:cxn>
                  <a:cxn ang="0">
                    <a:pos x="14" y="15"/>
                  </a:cxn>
                  <a:cxn ang="0">
                    <a:pos x="7" y="12"/>
                  </a:cxn>
                  <a:cxn ang="0">
                    <a:pos x="5" y="8"/>
                  </a:cxn>
                  <a:cxn ang="0">
                    <a:pos x="7" y="5"/>
                  </a:cxn>
                  <a:cxn ang="0">
                    <a:pos x="10" y="3"/>
                  </a:cxn>
                  <a:cxn ang="0">
                    <a:pos x="3" y="2"/>
                  </a:cxn>
                  <a:cxn ang="0">
                    <a:pos x="2" y="2"/>
                  </a:cxn>
                  <a:cxn ang="0">
                    <a:pos x="0" y="2"/>
                  </a:cxn>
                </a:cxnLst>
                <a:rect l="0" t="0" r="r" b="b"/>
                <a:pathLst>
                  <a:path w="69" h="43">
                    <a:moveTo>
                      <a:pt x="0" y="2"/>
                    </a:moveTo>
                    <a:lnTo>
                      <a:pt x="3" y="0"/>
                    </a:lnTo>
                    <a:lnTo>
                      <a:pt x="7" y="0"/>
                    </a:lnTo>
                    <a:lnTo>
                      <a:pt x="14" y="2"/>
                    </a:lnTo>
                    <a:lnTo>
                      <a:pt x="21" y="7"/>
                    </a:lnTo>
                    <a:lnTo>
                      <a:pt x="34" y="12"/>
                    </a:lnTo>
                    <a:lnTo>
                      <a:pt x="46" y="20"/>
                    </a:lnTo>
                    <a:lnTo>
                      <a:pt x="57" y="29"/>
                    </a:lnTo>
                    <a:lnTo>
                      <a:pt x="69" y="39"/>
                    </a:lnTo>
                    <a:lnTo>
                      <a:pt x="69" y="43"/>
                    </a:lnTo>
                    <a:lnTo>
                      <a:pt x="65" y="43"/>
                    </a:lnTo>
                    <a:lnTo>
                      <a:pt x="64" y="43"/>
                    </a:lnTo>
                    <a:lnTo>
                      <a:pt x="53" y="39"/>
                    </a:lnTo>
                    <a:lnTo>
                      <a:pt x="43" y="34"/>
                    </a:lnTo>
                    <a:lnTo>
                      <a:pt x="33" y="27"/>
                    </a:lnTo>
                    <a:lnTo>
                      <a:pt x="26" y="24"/>
                    </a:lnTo>
                    <a:lnTo>
                      <a:pt x="27" y="20"/>
                    </a:lnTo>
                    <a:lnTo>
                      <a:pt x="31" y="19"/>
                    </a:lnTo>
                    <a:lnTo>
                      <a:pt x="22" y="17"/>
                    </a:lnTo>
                    <a:lnTo>
                      <a:pt x="14" y="15"/>
                    </a:lnTo>
                    <a:lnTo>
                      <a:pt x="7" y="12"/>
                    </a:lnTo>
                    <a:lnTo>
                      <a:pt x="5" y="8"/>
                    </a:lnTo>
                    <a:lnTo>
                      <a:pt x="7" y="5"/>
                    </a:lnTo>
                    <a:lnTo>
                      <a:pt x="10" y="3"/>
                    </a:lnTo>
                    <a:lnTo>
                      <a:pt x="3" y="2"/>
                    </a:lnTo>
                    <a:lnTo>
                      <a:pt x="2" y="2"/>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7" name="Freeform 344"/>
              <p:cNvSpPr>
                <a:spLocks/>
              </p:cNvSpPr>
              <p:nvPr/>
            </p:nvSpPr>
            <p:spPr bwMode="auto">
              <a:xfrm>
                <a:off x="1262857" y="2647950"/>
                <a:ext cx="33338" cy="55562"/>
              </a:xfrm>
              <a:custGeom>
                <a:avLst/>
                <a:gdLst/>
                <a:ahLst/>
                <a:cxnLst>
                  <a:cxn ang="0">
                    <a:pos x="7" y="12"/>
                  </a:cxn>
                  <a:cxn ang="0">
                    <a:pos x="4" y="9"/>
                  </a:cxn>
                  <a:cxn ang="0">
                    <a:pos x="0" y="4"/>
                  </a:cxn>
                  <a:cxn ang="0">
                    <a:pos x="0" y="0"/>
                  </a:cxn>
                  <a:cxn ang="0">
                    <a:pos x="5" y="0"/>
                  </a:cxn>
                  <a:cxn ang="0">
                    <a:pos x="12" y="4"/>
                  </a:cxn>
                  <a:cxn ang="0">
                    <a:pos x="9" y="5"/>
                  </a:cxn>
                  <a:cxn ang="0">
                    <a:pos x="9" y="9"/>
                  </a:cxn>
                  <a:cxn ang="0">
                    <a:pos x="14" y="5"/>
                  </a:cxn>
                  <a:cxn ang="0">
                    <a:pos x="16" y="2"/>
                  </a:cxn>
                  <a:cxn ang="0">
                    <a:pos x="16" y="7"/>
                  </a:cxn>
                  <a:cxn ang="0">
                    <a:pos x="16" y="14"/>
                  </a:cxn>
                  <a:cxn ang="0">
                    <a:pos x="17" y="16"/>
                  </a:cxn>
                  <a:cxn ang="0">
                    <a:pos x="19" y="19"/>
                  </a:cxn>
                  <a:cxn ang="0">
                    <a:pos x="17" y="21"/>
                  </a:cxn>
                  <a:cxn ang="0">
                    <a:pos x="16" y="24"/>
                  </a:cxn>
                  <a:cxn ang="0">
                    <a:pos x="19" y="29"/>
                  </a:cxn>
                  <a:cxn ang="0">
                    <a:pos x="21" y="35"/>
                  </a:cxn>
                  <a:cxn ang="0">
                    <a:pos x="14" y="31"/>
                  </a:cxn>
                  <a:cxn ang="0">
                    <a:pos x="14" y="24"/>
                  </a:cxn>
                  <a:cxn ang="0">
                    <a:pos x="14" y="21"/>
                  </a:cxn>
                  <a:cxn ang="0">
                    <a:pos x="16" y="19"/>
                  </a:cxn>
                  <a:cxn ang="0">
                    <a:pos x="10" y="14"/>
                  </a:cxn>
                  <a:cxn ang="0">
                    <a:pos x="7" y="12"/>
                  </a:cxn>
                </a:cxnLst>
                <a:rect l="0" t="0" r="r" b="b"/>
                <a:pathLst>
                  <a:path w="21" h="35">
                    <a:moveTo>
                      <a:pt x="7" y="12"/>
                    </a:moveTo>
                    <a:lnTo>
                      <a:pt x="4" y="9"/>
                    </a:lnTo>
                    <a:lnTo>
                      <a:pt x="0" y="4"/>
                    </a:lnTo>
                    <a:lnTo>
                      <a:pt x="0" y="0"/>
                    </a:lnTo>
                    <a:lnTo>
                      <a:pt x="5" y="0"/>
                    </a:lnTo>
                    <a:lnTo>
                      <a:pt x="12" y="4"/>
                    </a:lnTo>
                    <a:lnTo>
                      <a:pt x="9" y="5"/>
                    </a:lnTo>
                    <a:lnTo>
                      <a:pt x="9" y="9"/>
                    </a:lnTo>
                    <a:lnTo>
                      <a:pt x="14" y="5"/>
                    </a:lnTo>
                    <a:lnTo>
                      <a:pt x="16" y="2"/>
                    </a:lnTo>
                    <a:lnTo>
                      <a:pt x="16" y="7"/>
                    </a:lnTo>
                    <a:lnTo>
                      <a:pt x="16" y="14"/>
                    </a:lnTo>
                    <a:lnTo>
                      <a:pt x="17" y="16"/>
                    </a:lnTo>
                    <a:lnTo>
                      <a:pt x="19" y="19"/>
                    </a:lnTo>
                    <a:lnTo>
                      <a:pt x="17" y="21"/>
                    </a:lnTo>
                    <a:lnTo>
                      <a:pt x="16" y="24"/>
                    </a:lnTo>
                    <a:lnTo>
                      <a:pt x="19" y="29"/>
                    </a:lnTo>
                    <a:lnTo>
                      <a:pt x="21" y="35"/>
                    </a:lnTo>
                    <a:lnTo>
                      <a:pt x="14" y="31"/>
                    </a:lnTo>
                    <a:lnTo>
                      <a:pt x="14" y="24"/>
                    </a:lnTo>
                    <a:lnTo>
                      <a:pt x="14" y="21"/>
                    </a:lnTo>
                    <a:lnTo>
                      <a:pt x="16" y="19"/>
                    </a:lnTo>
                    <a:lnTo>
                      <a:pt x="10" y="14"/>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8" name="Freeform 345"/>
              <p:cNvSpPr>
                <a:spLocks/>
              </p:cNvSpPr>
              <p:nvPr/>
            </p:nvSpPr>
            <p:spPr bwMode="auto">
              <a:xfrm>
                <a:off x="772319" y="2525713"/>
                <a:ext cx="47625" cy="31750"/>
              </a:xfrm>
              <a:custGeom>
                <a:avLst/>
                <a:gdLst/>
                <a:ahLst/>
                <a:cxnLst>
                  <a:cxn ang="0">
                    <a:pos x="24" y="0"/>
                  </a:cxn>
                  <a:cxn ang="0">
                    <a:pos x="27" y="0"/>
                  </a:cxn>
                  <a:cxn ang="0">
                    <a:pos x="30" y="0"/>
                  </a:cxn>
                  <a:cxn ang="0">
                    <a:pos x="30" y="7"/>
                  </a:cxn>
                  <a:cxn ang="0">
                    <a:pos x="20" y="12"/>
                  </a:cxn>
                  <a:cxn ang="0">
                    <a:pos x="10" y="20"/>
                  </a:cxn>
                  <a:cxn ang="0">
                    <a:pos x="5" y="15"/>
                  </a:cxn>
                  <a:cxn ang="0">
                    <a:pos x="0" y="14"/>
                  </a:cxn>
                  <a:cxn ang="0">
                    <a:pos x="0" y="7"/>
                  </a:cxn>
                  <a:cxn ang="0">
                    <a:pos x="12" y="2"/>
                  </a:cxn>
                  <a:cxn ang="0">
                    <a:pos x="24" y="0"/>
                  </a:cxn>
                </a:cxnLst>
                <a:rect l="0" t="0" r="r" b="b"/>
                <a:pathLst>
                  <a:path w="30" h="20">
                    <a:moveTo>
                      <a:pt x="24" y="0"/>
                    </a:moveTo>
                    <a:lnTo>
                      <a:pt x="27" y="0"/>
                    </a:lnTo>
                    <a:lnTo>
                      <a:pt x="30" y="0"/>
                    </a:lnTo>
                    <a:lnTo>
                      <a:pt x="30" y="7"/>
                    </a:lnTo>
                    <a:lnTo>
                      <a:pt x="20" y="12"/>
                    </a:lnTo>
                    <a:lnTo>
                      <a:pt x="10" y="20"/>
                    </a:lnTo>
                    <a:lnTo>
                      <a:pt x="5" y="15"/>
                    </a:lnTo>
                    <a:lnTo>
                      <a:pt x="0" y="14"/>
                    </a:lnTo>
                    <a:lnTo>
                      <a:pt x="0" y="7"/>
                    </a:lnTo>
                    <a:lnTo>
                      <a:pt x="12" y="2"/>
                    </a:lnTo>
                    <a:lnTo>
                      <a:pt x="2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09" name="Freeform 346"/>
              <p:cNvSpPr>
                <a:spLocks/>
              </p:cNvSpPr>
              <p:nvPr/>
            </p:nvSpPr>
            <p:spPr bwMode="auto">
              <a:xfrm>
                <a:off x="4596607" y="3098800"/>
                <a:ext cx="63500" cy="38100"/>
              </a:xfrm>
              <a:custGeom>
                <a:avLst/>
                <a:gdLst/>
                <a:ahLst/>
                <a:cxnLst>
                  <a:cxn ang="0">
                    <a:pos x="0" y="2"/>
                  </a:cxn>
                  <a:cxn ang="0">
                    <a:pos x="0" y="5"/>
                  </a:cxn>
                  <a:cxn ang="0">
                    <a:pos x="4" y="7"/>
                  </a:cxn>
                  <a:cxn ang="0">
                    <a:pos x="9" y="8"/>
                  </a:cxn>
                  <a:cxn ang="0">
                    <a:pos x="19" y="14"/>
                  </a:cxn>
                  <a:cxn ang="0">
                    <a:pos x="31" y="22"/>
                  </a:cxn>
                  <a:cxn ang="0">
                    <a:pos x="33" y="22"/>
                  </a:cxn>
                  <a:cxn ang="0">
                    <a:pos x="35" y="24"/>
                  </a:cxn>
                  <a:cxn ang="0">
                    <a:pos x="36" y="22"/>
                  </a:cxn>
                  <a:cxn ang="0">
                    <a:pos x="38" y="21"/>
                  </a:cxn>
                  <a:cxn ang="0">
                    <a:pos x="36" y="15"/>
                  </a:cxn>
                  <a:cxn ang="0">
                    <a:pos x="36" y="12"/>
                  </a:cxn>
                  <a:cxn ang="0">
                    <a:pos x="36" y="8"/>
                  </a:cxn>
                  <a:cxn ang="0">
                    <a:pos x="38" y="7"/>
                  </a:cxn>
                  <a:cxn ang="0">
                    <a:pos x="40" y="0"/>
                  </a:cxn>
                  <a:cxn ang="0">
                    <a:pos x="31" y="2"/>
                  </a:cxn>
                  <a:cxn ang="0">
                    <a:pos x="22" y="3"/>
                  </a:cxn>
                  <a:cxn ang="0">
                    <a:pos x="12" y="0"/>
                  </a:cxn>
                  <a:cxn ang="0">
                    <a:pos x="0" y="2"/>
                  </a:cxn>
                </a:cxnLst>
                <a:rect l="0" t="0" r="r" b="b"/>
                <a:pathLst>
                  <a:path w="40" h="24">
                    <a:moveTo>
                      <a:pt x="0" y="2"/>
                    </a:moveTo>
                    <a:lnTo>
                      <a:pt x="0" y="5"/>
                    </a:lnTo>
                    <a:lnTo>
                      <a:pt x="4" y="7"/>
                    </a:lnTo>
                    <a:lnTo>
                      <a:pt x="9" y="8"/>
                    </a:lnTo>
                    <a:lnTo>
                      <a:pt x="19" y="14"/>
                    </a:lnTo>
                    <a:lnTo>
                      <a:pt x="31" y="22"/>
                    </a:lnTo>
                    <a:lnTo>
                      <a:pt x="33" y="22"/>
                    </a:lnTo>
                    <a:lnTo>
                      <a:pt x="35" y="24"/>
                    </a:lnTo>
                    <a:lnTo>
                      <a:pt x="36" y="22"/>
                    </a:lnTo>
                    <a:lnTo>
                      <a:pt x="38" y="21"/>
                    </a:lnTo>
                    <a:lnTo>
                      <a:pt x="36" y="15"/>
                    </a:lnTo>
                    <a:lnTo>
                      <a:pt x="36" y="12"/>
                    </a:lnTo>
                    <a:lnTo>
                      <a:pt x="36" y="8"/>
                    </a:lnTo>
                    <a:lnTo>
                      <a:pt x="38" y="7"/>
                    </a:lnTo>
                    <a:lnTo>
                      <a:pt x="40" y="0"/>
                    </a:lnTo>
                    <a:lnTo>
                      <a:pt x="31" y="2"/>
                    </a:lnTo>
                    <a:lnTo>
                      <a:pt x="22" y="3"/>
                    </a:lnTo>
                    <a:lnTo>
                      <a:pt x="12" y="0"/>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0" name="Freeform 347"/>
              <p:cNvSpPr>
                <a:spLocks/>
              </p:cNvSpPr>
              <p:nvPr/>
            </p:nvSpPr>
            <p:spPr bwMode="auto">
              <a:xfrm>
                <a:off x="4509294" y="2967038"/>
                <a:ext cx="22225" cy="41275"/>
              </a:xfrm>
              <a:custGeom>
                <a:avLst/>
                <a:gdLst/>
                <a:ahLst/>
                <a:cxnLst>
                  <a:cxn ang="0">
                    <a:pos x="4" y="6"/>
                  </a:cxn>
                  <a:cxn ang="0">
                    <a:pos x="7" y="2"/>
                  </a:cxn>
                  <a:cxn ang="0">
                    <a:pos x="12" y="0"/>
                  </a:cxn>
                  <a:cxn ang="0">
                    <a:pos x="12" y="4"/>
                  </a:cxn>
                  <a:cxn ang="0">
                    <a:pos x="14" y="7"/>
                  </a:cxn>
                  <a:cxn ang="0">
                    <a:pos x="10" y="18"/>
                  </a:cxn>
                  <a:cxn ang="0">
                    <a:pos x="10" y="26"/>
                  </a:cxn>
                  <a:cxn ang="0">
                    <a:pos x="5" y="23"/>
                  </a:cxn>
                  <a:cxn ang="0">
                    <a:pos x="4" y="18"/>
                  </a:cxn>
                  <a:cxn ang="0">
                    <a:pos x="2" y="11"/>
                  </a:cxn>
                  <a:cxn ang="0">
                    <a:pos x="0" y="7"/>
                  </a:cxn>
                  <a:cxn ang="0">
                    <a:pos x="2" y="6"/>
                  </a:cxn>
                  <a:cxn ang="0">
                    <a:pos x="4" y="6"/>
                  </a:cxn>
                </a:cxnLst>
                <a:rect l="0" t="0" r="r" b="b"/>
                <a:pathLst>
                  <a:path w="14" h="26">
                    <a:moveTo>
                      <a:pt x="4" y="6"/>
                    </a:moveTo>
                    <a:lnTo>
                      <a:pt x="7" y="2"/>
                    </a:lnTo>
                    <a:lnTo>
                      <a:pt x="12" y="0"/>
                    </a:lnTo>
                    <a:lnTo>
                      <a:pt x="12" y="4"/>
                    </a:lnTo>
                    <a:lnTo>
                      <a:pt x="14" y="7"/>
                    </a:lnTo>
                    <a:lnTo>
                      <a:pt x="10" y="18"/>
                    </a:lnTo>
                    <a:lnTo>
                      <a:pt x="10" y="26"/>
                    </a:lnTo>
                    <a:lnTo>
                      <a:pt x="5" y="23"/>
                    </a:lnTo>
                    <a:lnTo>
                      <a:pt x="4" y="18"/>
                    </a:lnTo>
                    <a:lnTo>
                      <a:pt x="2" y="11"/>
                    </a:lnTo>
                    <a:lnTo>
                      <a:pt x="0" y="7"/>
                    </a:lnTo>
                    <a:lnTo>
                      <a:pt x="2" y="6"/>
                    </a:lnTo>
                    <a:lnTo>
                      <a:pt x="4"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1" name="Freeform 348"/>
              <p:cNvSpPr>
                <a:spLocks/>
              </p:cNvSpPr>
              <p:nvPr/>
            </p:nvSpPr>
            <p:spPr bwMode="auto">
              <a:xfrm>
                <a:off x="4504532" y="3016250"/>
                <a:ext cx="31750" cy="60325"/>
              </a:xfrm>
              <a:custGeom>
                <a:avLst/>
                <a:gdLst/>
                <a:ahLst/>
                <a:cxnLst>
                  <a:cxn ang="0">
                    <a:pos x="5" y="17"/>
                  </a:cxn>
                  <a:cxn ang="0">
                    <a:pos x="1" y="11"/>
                  </a:cxn>
                  <a:cxn ang="0">
                    <a:pos x="0" y="5"/>
                  </a:cxn>
                  <a:cxn ang="0">
                    <a:pos x="5" y="2"/>
                  </a:cxn>
                  <a:cxn ang="0">
                    <a:pos x="10" y="0"/>
                  </a:cxn>
                  <a:cxn ang="0">
                    <a:pos x="13" y="0"/>
                  </a:cxn>
                  <a:cxn ang="0">
                    <a:pos x="17" y="2"/>
                  </a:cxn>
                  <a:cxn ang="0">
                    <a:pos x="20" y="12"/>
                  </a:cxn>
                  <a:cxn ang="0">
                    <a:pos x="20" y="23"/>
                  </a:cxn>
                  <a:cxn ang="0">
                    <a:pos x="15" y="33"/>
                  </a:cxn>
                  <a:cxn ang="0">
                    <a:pos x="7" y="38"/>
                  </a:cxn>
                  <a:cxn ang="0">
                    <a:pos x="1" y="33"/>
                  </a:cxn>
                  <a:cxn ang="0">
                    <a:pos x="1" y="26"/>
                  </a:cxn>
                  <a:cxn ang="0">
                    <a:pos x="3" y="21"/>
                  </a:cxn>
                  <a:cxn ang="0">
                    <a:pos x="5" y="17"/>
                  </a:cxn>
                </a:cxnLst>
                <a:rect l="0" t="0" r="r" b="b"/>
                <a:pathLst>
                  <a:path w="20" h="38">
                    <a:moveTo>
                      <a:pt x="5" y="17"/>
                    </a:moveTo>
                    <a:lnTo>
                      <a:pt x="1" y="11"/>
                    </a:lnTo>
                    <a:lnTo>
                      <a:pt x="0" y="5"/>
                    </a:lnTo>
                    <a:lnTo>
                      <a:pt x="5" y="2"/>
                    </a:lnTo>
                    <a:lnTo>
                      <a:pt x="10" y="0"/>
                    </a:lnTo>
                    <a:lnTo>
                      <a:pt x="13" y="0"/>
                    </a:lnTo>
                    <a:lnTo>
                      <a:pt x="17" y="2"/>
                    </a:lnTo>
                    <a:lnTo>
                      <a:pt x="20" y="12"/>
                    </a:lnTo>
                    <a:lnTo>
                      <a:pt x="20" y="23"/>
                    </a:lnTo>
                    <a:lnTo>
                      <a:pt x="15" y="33"/>
                    </a:lnTo>
                    <a:lnTo>
                      <a:pt x="7" y="38"/>
                    </a:lnTo>
                    <a:lnTo>
                      <a:pt x="1" y="33"/>
                    </a:lnTo>
                    <a:lnTo>
                      <a:pt x="1" y="26"/>
                    </a:lnTo>
                    <a:lnTo>
                      <a:pt x="3" y="21"/>
                    </a:lnTo>
                    <a:lnTo>
                      <a:pt x="5"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2" name="Freeform 349"/>
              <p:cNvSpPr>
                <a:spLocks/>
              </p:cNvSpPr>
              <p:nvPr/>
            </p:nvSpPr>
            <p:spPr bwMode="auto">
              <a:xfrm>
                <a:off x="4375944" y="3052763"/>
                <a:ext cx="15875" cy="12700"/>
              </a:xfrm>
              <a:custGeom>
                <a:avLst/>
                <a:gdLst/>
                <a:ahLst/>
                <a:cxnLst>
                  <a:cxn ang="0">
                    <a:pos x="10" y="5"/>
                  </a:cxn>
                  <a:cxn ang="0">
                    <a:pos x="7" y="7"/>
                  </a:cxn>
                  <a:cxn ang="0">
                    <a:pos x="5" y="8"/>
                  </a:cxn>
                  <a:cxn ang="0">
                    <a:pos x="2" y="5"/>
                  </a:cxn>
                  <a:cxn ang="0">
                    <a:pos x="0" y="3"/>
                  </a:cxn>
                  <a:cxn ang="0">
                    <a:pos x="3" y="0"/>
                  </a:cxn>
                  <a:cxn ang="0">
                    <a:pos x="7" y="0"/>
                  </a:cxn>
                  <a:cxn ang="0">
                    <a:pos x="8" y="1"/>
                  </a:cxn>
                  <a:cxn ang="0">
                    <a:pos x="10" y="5"/>
                  </a:cxn>
                </a:cxnLst>
                <a:rect l="0" t="0" r="r" b="b"/>
                <a:pathLst>
                  <a:path w="10" h="8">
                    <a:moveTo>
                      <a:pt x="10" y="5"/>
                    </a:moveTo>
                    <a:lnTo>
                      <a:pt x="7" y="7"/>
                    </a:lnTo>
                    <a:lnTo>
                      <a:pt x="5" y="8"/>
                    </a:lnTo>
                    <a:lnTo>
                      <a:pt x="2" y="5"/>
                    </a:lnTo>
                    <a:lnTo>
                      <a:pt x="0" y="3"/>
                    </a:lnTo>
                    <a:lnTo>
                      <a:pt x="3" y="0"/>
                    </a:lnTo>
                    <a:lnTo>
                      <a:pt x="7" y="0"/>
                    </a:lnTo>
                    <a:lnTo>
                      <a:pt x="8" y="1"/>
                    </a:lnTo>
                    <a:lnTo>
                      <a:pt x="1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3" name="Freeform 350"/>
              <p:cNvSpPr>
                <a:spLocks/>
              </p:cNvSpPr>
              <p:nvPr/>
            </p:nvSpPr>
            <p:spPr bwMode="auto">
              <a:xfrm>
                <a:off x="4542632" y="2587625"/>
                <a:ext cx="19050" cy="25400"/>
              </a:xfrm>
              <a:custGeom>
                <a:avLst/>
                <a:gdLst/>
                <a:ahLst/>
                <a:cxnLst>
                  <a:cxn ang="0">
                    <a:pos x="10" y="12"/>
                  </a:cxn>
                  <a:cxn ang="0">
                    <a:pos x="1" y="11"/>
                  </a:cxn>
                  <a:cxn ang="0">
                    <a:pos x="0" y="5"/>
                  </a:cxn>
                  <a:cxn ang="0">
                    <a:pos x="0" y="2"/>
                  </a:cxn>
                  <a:cxn ang="0">
                    <a:pos x="0" y="0"/>
                  </a:cxn>
                  <a:cxn ang="0">
                    <a:pos x="8" y="0"/>
                  </a:cxn>
                  <a:cxn ang="0">
                    <a:pos x="10" y="5"/>
                  </a:cxn>
                  <a:cxn ang="0">
                    <a:pos x="12" y="11"/>
                  </a:cxn>
                  <a:cxn ang="0">
                    <a:pos x="10" y="14"/>
                  </a:cxn>
                  <a:cxn ang="0">
                    <a:pos x="10" y="16"/>
                  </a:cxn>
                  <a:cxn ang="0">
                    <a:pos x="10" y="14"/>
                  </a:cxn>
                  <a:cxn ang="0">
                    <a:pos x="10" y="12"/>
                  </a:cxn>
                </a:cxnLst>
                <a:rect l="0" t="0" r="r" b="b"/>
                <a:pathLst>
                  <a:path w="12" h="16">
                    <a:moveTo>
                      <a:pt x="10" y="12"/>
                    </a:moveTo>
                    <a:lnTo>
                      <a:pt x="1" y="11"/>
                    </a:lnTo>
                    <a:lnTo>
                      <a:pt x="0" y="5"/>
                    </a:lnTo>
                    <a:lnTo>
                      <a:pt x="0" y="2"/>
                    </a:lnTo>
                    <a:lnTo>
                      <a:pt x="0" y="0"/>
                    </a:lnTo>
                    <a:lnTo>
                      <a:pt x="8" y="0"/>
                    </a:lnTo>
                    <a:lnTo>
                      <a:pt x="10" y="5"/>
                    </a:lnTo>
                    <a:lnTo>
                      <a:pt x="12" y="11"/>
                    </a:lnTo>
                    <a:lnTo>
                      <a:pt x="10" y="14"/>
                    </a:lnTo>
                    <a:lnTo>
                      <a:pt x="10" y="16"/>
                    </a:lnTo>
                    <a:lnTo>
                      <a:pt x="10" y="14"/>
                    </a:lnTo>
                    <a:lnTo>
                      <a:pt x="10"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4" name="Freeform 351"/>
              <p:cNvSpPr>
                <a:spLocks/>
              </p:cNvSpPr>
              <p:nvPr/>
            </p:nvSpPr>
            <p:spPr bwMode="auto">
              <a:xfrm>
                <a:off x="4566444" y="2566988"/>
                <a:ext cx="36513" cy="50800"/>
              </a:xfrm>
              <a:custGeom>
                <a:avLst/>
                <a:gdLst/>
                <a:ahLst/>
                <a:cxnLst>
                  <a:cxn ang="0">
                    <a:pos x="4" y="29"/>
                  </a:cxn>
                  <a:cxn ang="0">
                    <a:pos x="7" y="25"/>
                  </a:cxn>
                  <a:cxn ang="0">
                    <a:pos x="11" y="22"/>
                  </a:cxn>
                  <a:cxn ang="0">
                    <a:pos x="2" y="18"/>
                  </a:cxn>
                  <a:cxn ang="0">
                    <a:pos x="0" y="15"/>
                  </a:cxn>
                  <a:cxn ang="0">
                    <a:pos x="2" y="5"/>
                  </a:cxn>
                  <a:cxn ang="0">
                    <a:pos x="9" y="0"/>
                  </a:cxn>
                  <a:cxn ang="0">
                    <a:pos x="17" y="1"/>
                  </a:cxn>
                  <a:cxn ang="0">
                    <a:pos x="23" y="12"/>
                  </a:cxn>
                  <a:cxn ang="0">
                    <a:pos x="17" y="15"/>
                  </a:cxn>
                  <a:cxn ang="0">
                    <a:pos x="16" y="22"/>
                  </a:cxn>
                  <a:cxn ang="0">
                    <a:pos x="12" y="29"/>
                  </a:cxn>
                  <a:cxn ang="0">
                    <a:pos x="7" y="32"/>
                  </a:cxn>
                  <a:cxn ang="0">
                    <a:pos x="2" y="31"/>
                  </a:cxn>
                  <a:cxn ang="0">
                    <a:pos x="0" y="29"/>
                  </a:cxn>
                  <a:cxn ang="0">
                    <a:pos x="0" y="27"/>
                  </a:cxn>
                  <a:cxn ang="0">
                    <a:pos x="2" y="27"/>
                  </a:cxn>
                  <a:cxn ang="0">
                    <a:pos x="4" y="29"/>
                  </a:cxn>
                </a:cxnLst>
                <a:rect l="0" t="0" r="r" b="b"/>
                <a:pathLst>
                  <a:path w="23" h="32">
                    <a:moveTo>
                      <a:pt x="4" y="29"/>
                    </a:moveTo>
                    <a:lnTo>
                      <a:pt x="7" y="25"/>
                    </a:lnTo>
                    <a:lnTo>
                      <a:pt x="11" y="22"/>
                    </a:lnTo>
                    <a:lnTo>
                      <a:pt x="2" y="18"/>
                    </a:lnTo>
                    <a:lnTo>
                      <a:pt x="0" y="15"/>
                    </a:lnTo>
                    <a:lnTo>
                      <a:pt x="2" y="5"/>
                    </a:lnTo>
                    <a:lnTo>
                      <a:pt x="9" y="0"/>
                    </a:lnTo>
                    <a:lnTo>
                      <a:pt x="17" y="1"/>
                    </a:lnTo>
                    <a:lnTo>
                      <a:pt x="23" y="12"/>
                    </a:lnTo>
                    <a:lnTo>
                      <a:pt x="17" y="15"/>
                    </a:lnTo>
                    <a:lnTo>
                      <a:pt x="16" y="22"/>
                    </a:lnTo>
                    <a:lnTo>
                      <a:pt x="12" y="29"/>
                    </a:lnTo>
                    <a:lnTo>
                      <a:pt x="7" y="32"/>
                    </a:lnTo>
                    <a:lnTo>
                      <a:pt x="2" y="31"/>
                    </a:lnTo>
                    <a:lnTo>
                      <a:pt x="0" y="29"/>
                    </a:lnTo>
                    <a:lnTo>
                      <a:pt x="0" y="27"/>
                    </a:lnTo>
                    <a:lnTo>
                      <a:pt x="2" y="27"/>
                    </a:lnTo>
                    <a:lnTo>
                      <a:pt x="4"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5" name="Freeform 352"/>
              <p:cNvSpPr>
                <a:spLocks/>
              </p:cNvSpPr>
              <p:nvPr/>
            </p:nvSpPr>
            <p:spPr bwMode="auto">
              <a:xfrm>
                <a:off x="4725194" y="2506663"/>
                <a:ext cx="19050" cy="30162"/>
              </a:xfrm>
              <a:custGeom>
                <a:avLst/>
                <a:gdLst/>
                <a:ahLst/>
                <a:cxnLst>
                  <a:cxn ang="0">
                    <a:pos x="9" y="7"/>
                  </a:cxn>
                  <a:cxn ang="0">
                    <a:pos x="5" y="12"/>
                  </a:cxn>
                  <a:cxn ang="0">
                    <a:pos x="2" y="19"/>
                  </a:cxn>
                  <a:cxn ang="0">
                    <a:pos x="0" y="15"/>
                  </a:cxn>
                  <a:cxn ang="0">
                    <a:pos x="2" y="14"/>
                  </a:cxn>
                  <a:cxn ang="0">
                    <a:pos x="3" y="5"/>
                  </a:cxn>
                  <a:cxn ang="0">
                    <a:pos x="12" y="0"/>
                  </a:cxn>
                  <a:cxn ang="0">
                    <a:pos x="10" y="3"/>
                  </a:cxn>
                  <a:cxn ang="0">
                    <a:pos x="9" y="7"/>
                  </a:cxn>
                </a:cxnLst>
                <a:rect l="0" t="0" r="r" b="b"/>
                <a:pathLst>
                  <a:path w="12" h="19">
                    <a:moveTo>
                      <a:pt x="9" y="7"/>
                    </a:moveTo>
                    <a:lnTo>
                      <a:pt x="5" y="12"/>
                    </a:lnTo>
                    <a:lnTo>
                      <a:pt x="2" y="19"/>
                    </a:lnTo>
                    <a:lnTo>
                      <a:pt x="0" y="15"/>
                    </a:lnTo>
                    <a:lnTo>
                      <a:pt x="2" y="14"/>
                    </a:lnTo>
                    <a:lnTo>
                      <a:pt x="3" y="5"/>
                    </a:lnTo>
                    <a:lnTo>
                      <a:pt x="12" y="0"/>
                    </a:lnTo>
                    <a:lnTo>
                      <a:pt x="10" y="3"/>
                    </a:lnTo>
                    <a:lnTo>
                      <a:pt x="9"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6" name="Freeform 353"/>
              <p:cNvSpPr>
                <a:spLocks/>
              </p:cNvSpPr>
              <p:nvPr/>
            </p:nvSpPr>
            <p:spPr bwMode="auto">
              <a:xfrm>
                <a:off x="4809332" y="2465388"/>
                <a:ext cx="26988" cy="38100"/>
              </a:xfrm>
              <a:custGeom>
                <a:avLst/>
                <a:gdLst/>
                <a:ahLst/>
                <a:cxnLst>
                  <a:cxn ang="0">
                    <a:pos x="14" y="12"/>
                  </a:cxn>
                  <a:cxn ang="0">
                    <a:pos x="14" y="15"/>
                  </a:cxn>
                  <a:cxn ang="0">
                    <a:pos x="14" y="19"/>
                  </a:cxn>
                  <a:cxn ang="0">
                    <a:pos x="9" y="21"/>
                  </a:cxn>
                  <a:cxn ang="0">
                    <a:pos x="5" y="24"/>
                  </a:cxn>
                  <a:cxn ang="0">
                    <a:pos x="0" y="21"/>
                  </a:cxn>
                  <a:cxn ang="0">
                    <a:pos x="0" y="15"/>
                  </a:cxn>
                  <a:cxn ang="0">
                    <a:pos x="5" y="14"/>
                  </a:cxn>
                  <a:cxn ang="0">
                    <a:pos x="11" y="12"/>
                  </a:cxn>
                  <a:cxn ang="0">
                    <a:pos x="9" y="9"/>
                  </a:cxn>
                  <a:cxn ang="0">
                    <a:pos x="7" y="5"/>
                  </a:cxn>
                  <a:cxn ang="0">
                    <a:pos x="9" y="2"/>
                  </a:cxn>
                  <a:cxn ang="0">
                    <a:pos x="12" y="0"/>
                  </a:cxn>
                  <a:cxn ang="0">
                    <a:pos x="14" y="3"/>
                  </a:cxn>
                  <a:cxn ang="0">
                    <a:pos x="17" y="5"/>
                  </a:cxn>
                  <a:cxn ang="0">
                    <a:pos x="16" y="9"/>
                  </a:cxn>
                  <a:cxn ang="0">
                    <a:pos x="14" y="12"/>
                  </a:cxn>
                </a:cxnLst>
                <a:rect l="0" t="0" r="r" b="b"/>
                <a:pathLst>
                  <a:path w="17" h="24">
                    <a:moveTo>
                      <a:pt x="14" y="12"/>
                    </a:moveTo>
                    <a:lnTo>
                      <a:pt x="14" y="15"/>
                    </a:lnTo>
                    <a:lnTo>
                      <a:pt x="14" y="19"/>
                    </a:lnTo>
                    <a:lnTo>
                      <a:pt x="9" y="21"/>
                    </a:lnTo>
                    <a:lnTo>
                      <a:pt x="5" y="24"/>
                    </a:lnTo>
                    <a:lnTo>
                      <a:pt x="0" y="21"/>
                    </a:lnTo>
                    <a:lnTo>
                      <a:pt x="0" y="15"/>
                    </a:lnTo>
                    <a:lnTo>
                      <a:pt x="5" y="14"/>
                    </a:lnTo>
                    <a:lnTo>
                      <a:pt x="11" y="12"/>
                    </a:lnTo>
                    <a:lnTo>
                      <a:pt x="9" y="9"/>
                    </a:lnTo>
                    <a:lnTo>
                      <a:pt x="7" y="5"/>
                    </a:lnTo>
                    <a:lnTo>
                      <a:pt x="9" y="2"/>
                    </a:lnTo>
                    <a:lnTo>
                      <a:pt x="12" y="0"/>
                    </a:lnTo>
                    <a:lnTo>
                      <a:pt x="14" y="3"/>
                    </a:lnTo>
                    <a:lnTo>
                      <a:pt x="17" y="5"/>
                    </a:lnTo>
                    <a:lnTo>
                      <a:pt x="16" y="9"/>
                    </a:lnTo>
                    <a:lnTo>
                      <a:pt x="1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7" name="Freeform 354"/>
              <p:cNvSpPr>
                <a:spLocks/>
              </p:cNvSpPr>
              <p:nvPr/>
            </p:nvSpPr>
            <p:spPr bwMode="auto">
              <a:xfrm>
                <a:off x="4858544" y="3170238"/>
                <a:ext cx="52388" cy="7937"/>
              </a:xfrm>
              <a:custGeom>
                <a:avLst/>
                <a:gdLst/>
                <a:ahLst/>
                <a:cxnLst>
                  <a:cxn ang="0">
                    <a:pos x="33" y="5"/>
                  </a:cxn>
                  <a:cxn ang="0">
                    <a:pos x="24" y="5"/>
                  </a:cxn>
                  <a:cxn ang="0">
                    <a:pos x="19" y="5"/>
                  </a:cxn>
                  <a:cxn ang="0">
                    <a:pos x="11" y="3"/>
                  </a:cxn>
                  <a:cxn ang="0">
                    <a:pos x="0" y="1"/>
                  </a:cxn>
                  <a:cxn ang="0">
                    <a:pos x="17" y="0"/>
                  </a:cxn>
                  <a:cxn ang="0">
                    <a:pos x="33" y="5"/>
                  </a:cxn>
                </a:cxnLst>
                <a:rect l="0" t="0" r="r" b="b"/>
                <a:pathLst>
                  <a:path w="33" h="5">
                    <a:moveTo>
                      <a:pt x="33" y="5"/>
                    </a:moveTo>
                    <a:lnTo>
                      <a:pt x="24" y="5"/>
                    </a:lnTo>
                    <a:lnTo>
                      <a:pt x="19" y="5"/>
                    </a:lnTo>
                    <a:lnTo>
                      <a:pt x="11" y="3"/>
                    </a:lnTo>
                    <a:lnTo>
                      <a:pt x="0" y="1"/>
                    </a:lnTo>
                    <a:lnTo>
                      <a:pt x="17" y="0"/>
                    </a:lnTo>
                    <a:lnTo>
                      <a:pt x="3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8" name="Freeform 355"/>
              <p:cNvSpPr>
                <a:spLocks/>
              </p:cNvSpPr>
              <p:nvPr/>
            </p:nvSpPr>
            <p:spPr bwMode="auto">
              <a:xfrm>
                <a:off x="5052219" y="3160713"/>
                <a:ext cx="49213" cy="25400"/>
              </a:xfrm>
              <a:custGeom>
                <a:avLst/>
                <a:gdLst/>
                <a:ahLst/>
                <a:cxnLst>
                  <a:cxn ang="0">
                    <a:pos x="7" y="16"/>
                  </a:cxn>
                  <a:cxn ang="0">
                    <a:pos x="4" y="14"/>
                  </a:cxn>
                  <a:cxn ang="0">
                    <a:pos x="0" y="12"/>
                  </a:cxn>
                  <a:cxn ang="0">
                    <a:pos x="0" y="11"/>
                  </a:cxn>
                  <a:cxn ang="0">
                    <a:pos x="14" y="4"/>
                  </a:cxn>
                  <a:cxn ang="0">
                    <a:pos x="31" y="0"/>
                  </a:cxn>
                  <a:cxn ang="0">
                    <a:pos x="28" y="4"/>
                  </a:cxn>
                  <a:cxn ang="0">
                    <a:pos x="24" y="6"/>
                  </a:cxn>
                  <a:cxn ang="0">
                    <a:pos x="23" y="7"/>
                  </a:cxn>
                  <a:cxn ang="0">
                    <a:pos x="23" y="11"/>
                  </a:cxn>
                  <a:cxn ang="0">
                    <a:pos x="16" y="14"/>
                  </a:cxn>
                  <a:cxn ang="0">
                    <a:pos x="7" y="16"/>
                  </a:cxn>
                </a:cxnLst>
                <a:rect l="0" t="0" r="r" b="b"/>
                <a:pathLst>
                  <a:path w="31" h="16">
                    <a:moveTo>
                      <a:pt x="7" y="16"/>
                    </a:moveTo>
                    <a:lnTo>
                      <a:pt x="4" y="14"/>
                    </a:lnTo>
                    <a:lnTo>
                      <a:pt x="0" y="12"/>
                    </a:lnTo>
                    <a:lnTo>
                      <a:pt x="0" y="11"/>
                    </a:lnTo>
                    <a:lnTo>
                      <a:pt x="14" y="4"/>
                    </a:lnTo>
                    <a:lnTo>
                      <a:pt x="31" y="0"/>
                    </a:lnTo>
                    <a:lnTo>
                      <a:pt x="28" y="4"/>
                    </a:lnTo>
                    <a:lnTo>
                      <a:pt x="24" y="6"/>
                    </a:lnTo>
                    <a:lnTo>
                      <a:pt x="23" y="7"/>
                    </a:lnTo>
                    <a:lnTo>
                      <a:pt x="23" y="11"/>
                    </a:lnTo>
                    <a:lnTo>
                      <a:pt x="16" y="14"/>
                    </a:lnTo>
                    <a:lnTo>
                      <a:pt x="7"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19" name="Freeform 356"/>
              <p:cNvSpPr>
                <a:spLocks/>
              </p:cNvSpPr>
              <p:nvPr/>
            </p:nvSpPr>
            <p:spPr bwMode="auto">
              <a:xfrm>
                <a:off x="5530057" y="3729038"/>
                <a:ext cx="25400" cy="11112"/>
              </a:xfrm>
              <a:custGeom>
                <a:avLst/>
                <a:gdLst/>
                <a:ahLst/>
                <a:cxnLst>
                  <a:cxn ang="0">
                    <a:pos x="0" y="4"/>
                  </a:cxn>
                  <a:cxn ang="0">
                    <a:pos x="4" y="5"/>
                  </a:cxn>
                  <a:cxn ang="0">
                    <a:pos x="7" y="7"/>
                  </a:cxn>
                  <a:cxn ang="0">
                    <a:pos x="11" y="4"/>
                  </a:cxn>
                  <a:cxn ang="0">
                    <a:pos x="16" y="0"/>
                  </a:cxn>
                  <a:cxn ang="0">
                    <a:pos x="7" y="0"/>
                  </a:cxn>
                  <a:cxn ang="0">
                    <a:pos x="0" y="4"/>
                  </a:cxn>
                </a:cxnLst>
                <a:rect l="0" t="0" r="r" b="b"/>
                <a:pathLst>
                  <a:path w="16" h="7">
                    <a:moveTo>
                      <a:pt x="0" y="4"/>
                    </a:moveTo>
                    <a:lnTo>
                      <a:pt x="4" y="5"/>
                    </a:lnTo>
                    <a:lnTo>
                      <a:pt x="7" y="7"/>
                    </a:lnTo>
                    <a:lnTo>
                      <a:pt x="11" y="4"/>
                    </a:lnTo>
                    <a:lnTo>
                      <a:pt x="16" y="0"/>
                    </a:lnTo>
                    <a:lnTo>
                      <a:pt x="7" y="0"/>
                    </a:lnTo>
                    <a:lnTo>
                      <a:pt x="0"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0" name="Freeform 357"/>
              <p:cNvSpPr>
                <a:spLocks/>
              </p:cNvSpPr>
              <p:nvPr/>
            </p:nvSpPr>
            <p:spPr bwMode="auto">
              <a:xfrm>
                <a:off x="5407819" y="2081213"/>
                <a:ext cx="49213" cy="34925"/>
              </a:xfrm>
              <a:custGeom>
                <a:avLst/>
                <a:gdLst/>
                <a:ahLst/>
                <a:cxnLst>
                  <a:cxn ang="0">
                    <a:pos x="7" y="5"/>
                  </a:cxn>
                  <a:cxn ang="0">
                    <a:pos x="9" y="1"/>
                  </a:cxn>
                  <a:cxn ang="0">
                    <a:pos x="12" y="0"/>
                  </a:cxn>
                  <a:cxn ang="0">
                    <a:pos x="21" y="3"/>
                  </a:cxn>
                  <a:cxn ang="0">
                    <a:pos x="31" y="6"/>
                  </a:cxn>
                  <a:cxn ang="0">
                    <a:pos x="31" y="13"/>
                  </a:cxn>
                  <a:cxn ang="0">
                    <a:pos x="19" y="18"/>
                  </a:cxn>
                  <a:cxn ang="0">
                    <a:pos x="9" y="22"/>
                  </a:cxn>
                  <a:cxn ang="0">
                    <a:pos x="2" y="20"/>
                  </a:cxn>
                  <a:cxn ang="0">
                    <a:pos x="0" y="17"/>
                  </a:cxn>
                  <a:cxn ang="0">
                    <a:pos x="2" y="10"/>
                  </a:cxn>
                  <a:cxn ang="0">
                    <a:pos x="7" y="5"/>
                  </a:cxn>
                </a:cxnLst>
                <a:rect l="0" t="0" r="r" b="b"/>
                <a:pathLst>
                  <a:path w="31" h="22">
                    <a:moveTo>
                      <a:pt x="7" y="5"/>
                    </a:moveTo>
                    <a:lnTo>
                      <a:pt x="9" y="1"/>
                    </a:lnTo>
                    <a:lnTo>
                      <a:pt x="12" y="0"/>
                    </a:lnTo>
                    <a:lnTo>
                      <a:pt x="21" y="3"/>
                    </a:lnTo>
                    <a:lnTo>
                      <a:pt x="31" y="6"/>
                    </a:lnTo>
                    <a:lnTo>
                      <a:pt x="31" y="13"/>
                    </a:lnTo>
                    <a:lnTo>
                      <a:pt x="19" y="18"/>
                    </a:lnTo>
                    <a:lnTo>
                      <a:pt x="9" y="22"/>
                    </a:lnTo>
                    <a:lnTo>
                      <a:pt x="2" y="20"/>
                    </a:lnTo>
                    <a:lnTo>
                      <a:pt x="0" y="17"/>
                    </a:lnTo>
                    <a:lnTo>
                      <a:pt x="2"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1" name="Freeform 358"/>
              <p:cNvSpPr>
                <a:spLocks/>
              </p:cNvSpPr>
              <p:nvPr/>
            </p:nvSpPr>
            <p:spPr bwMode="auto">
              <a:xfrm>
                <a:off x="5647532" y="2047875"/>
                <a:ext cx="41275" cy="26987"/>
              </a:xfrm>
              <a:custGeom>
                <a:avLst/>
                <a:gdLst/>
                <a:ahLst/>
                <a:cxnLst>
                  <a:cxn ang="0">
                    <a:pos x="26" y="14"/>
                  </a:cxn>
                  <a:cxn ang="0">
                    <a:pos x="23" y="17"/>
                  </a:cxn>
                  <a:cxn ang="0">
                    <a:pos x="19" y="17"/>
                  </a:cxn>
                  <a:cxn ang="0">
                    <a:pos x="7" y="12"/>
                  </a:cxn>
                  <a:cxn ang="0">
                    <a:pos x="0" y="5"/>
                  </a:cxn>
                  <a:cxn ang="0">
                    <a:pos x="4" y="0"/>
                  </a:cxn>
                  <a:cxn ang="0">
                    <a:pos x="12" y="2"/>
                  </a:cxn>
                  <a:cxn ang="0">
                    <a:pos x="21" y="5"/>
                  </a:cxn>
                  <a:cxn ang="0">
                    <a:pos x="26" y="14"/>
                  </a:cxn>
                </a:cxnLst>
                <a:rect l="0" t="0" r="r" b="b"/>
                <a:pathLst>
                  <a:path w="26" h="17">
                    <a:moveTo>
                      <a:pt x="26" y="14"/>
                    </a:moveTo>
                    <a:lnTo>
                      <a:pt x="23" y="17"/>
                    </a:lnTo>
                    <a:lnTo>
                      <a:pt x="19" y="17"/>
                    </a:lnTo>
                    <a:lnTo>
                      <a:pt x="7" y="12"/>
                    </a:lnTo>
                    <a:lnTo>
                      <a:pt x="0" y="5"/>
                    </a:lnTo>
                    <a:lnTo>
                      <a:pt x="4" y="0"/>
                    </a:lnTo>
                    <a:lnTo>
                      <a:pt x="12" y="2"/>
                    </a:lnTo>
                    <a:lnTo>
                      <a:pt x="21" y="5"/>
                    </a:lnTo>
                    <a:lnTo>
                      <a:pt x="26"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2" name="Freeform 359"/>
              <p:cNvSpPr>
                <a:spLocks/>
              </p:cNvSpPr>
              <p:nvPr/>
            </p:nvSpPr>
            <p:spPr bwMode="auto">
              <a:xfrm>
                <a:off x="5909469" y="1908175"/>
                <a:ext cx="36513" cy="25400"/>
              </a:xfrm>
              <a:custGeom>
                <a:avLst/>
                <a:gdLst/>
                <a:ahLst/>
                <a:cxnLst>
                  <a:cxn ang="0">
                    <a:pos x="2" y="16"/>
                  </a:cxn>
                  <a:cxn ang="0">
                    <a:pos x="12" y="12"/>
                  </a:cxn>
                  <a:cxn ang="0">
                    <a:pos x="23" y="10"/>
                  </a:cxn>
                  <a:cxn ang="0">
                    <a:pos x="16" y="4"/>
                  </a:cxn>
                  <a:cxn ang="0">
                    <a:pos x="11" y="0"/>
                  </a:cxn>
                  <a:cxn ang="0">
                    <a:pos x="4" y="4"/>
                  </a:cxn>
                  <a:cxn ang="0">
                    <a:pos x="2" y="10"/>
                  </a:cxn>
                  <a:cxn ang="0">
                    <a:pos x="0" y="12"/>
                  </a:cxn>
                  <a:cxn ang="0">
                    <a:pos x="2" y="16"/>
                  </a:cxn>
                </a:cxnLst>
                <a:rect l="0" t="0" r="r" b="b"/>
                <a:pathLst>
                  <a:path w="23" h="16">
                    <a:moveTo>
                      <a:pt x="2" y="16"/>
                    </a:moveTo>
                    <a:lnTo>
                      <a:pt x="12" y="12"/>
                    </a:lnTo>
                    <a:lnTo>
                      <a:pt x="23" y="10"/>
                    </a:lnTo>
                    <a:lnTo>
                      <a:pt x="16" y="4"/>
                    </a:lnTo>
                    <a:lnTo>
                      <a:pt x="11" y="0"/>
                    </a:lnTo>
                    <a:lnTo>
                      <a:pt x="4" y="4"/>
                    </a:lnTo>
                    <a:lnTo>
                      <a:pt x="2" y="10"/>
                    </a:lnTo>
                    <a:lnTo>
                      <a:pt x="0" y="12"/>
                    </a:lnTo>
                    <a:lnTo>
                      <a:pt x="2"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3" name="Freeform 360"/>
              <p:cNvSpPr>
                <a:spLocks/>
              </p:cNvSpPr>
              <p:nvPr/>
            </p:nvSpPr>
            <p:spPr bwMode="auto">
              <a:xfrm>
                <a:off x="7527132" y="1885950"/>
                <a:ext cx="76200" cy="30162"/>
              </a:xfrm>
              <a:custGeom>
                <a:avLst/>
                <a:gdLst/>
                <a:ahLst/>
                <a:cxnLst>
                  <a:cxn ang="0">
                    <a:pos x="0" y="14"/>
                  </a:cxn>
                  <a:cxn ang="0">
                    <a:pos x="8" y="4"/>
                  </a:cxn>
                  <a:cxn ang="0">
                    <a:pos x="24" y="0"/>
                  </a:cxn>
                  <a:cxn ang="0">
                    <a:pos x="32" y="0"/>
                  </a:cxn>
                  <a:cxn ang="0">
                    <a:pos x="41" y="6"/>
                  </a:cxn>
                  <a:cxn ang="0">
                    <a:pos x="44" y="11"/>
                  </a:cxn>
                  <a:cxn ang="0">
                    <a:pos x="48" y="19"/>
                  </a:cxn>
                  <a:cxn ang="0">
                    <a:pos x="32" y="19"/>
                  </a:cxn>
                  <a:cxn ang="0">
                    <a:pos x="17" y="14"/>
                  </a:cxn>
                  <a:cxn ang="0">
                    <a:pos x="1" y="12"/>
                  </a:cxn>
                  <a:cxn ang="0">
                    <a:pos x="0" y="14"/>
                  </a:cxn>
                </a:cxnLst>
                <a:rect l="0" t="0" r="r" b="b"/>
                <a:pathLst>
                  <a:path w="48" h="19">
                    <a:moveTo>
                      <a:pt x="0" y="14"/>
                    </a:moveTo>
                    <a:lnTo>
                      <a:pt x="8" y="4"/>
                    </a:lnTo>
                    <a:lnTo>
                      <a:pt x="24" y="0"/>
                    </a:lnTo>
                    <a:lnTo>
                      <a:pt x="32" y="0"/>
                    </a:lnTo>
                    <a:lnTo>
                      <a:pt x="41" y="6"/>
                    </a:lnTo>
                    <a:lnTo>
                      <a:pt x="44" y="11"/>
                    </a:lnTo>
                    <a:lnTo>
                      <a:pt x="48" y="19"/>
                    </a:lnTo>
                    <a:lnTo>
                      <a:pt x="32" y="19"/>
                    </a:lnTo>
                    <a:lnTo>
                      <a:pt x="17" y="14"/>
                    </a:lnTo>
                    <a:lnTo>
                      <a:pt x="1" y="12"/>
                    </a:lnTo>
                    <a:lnTo>
                      <a:pt x="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4" name="Freeform 361"/>
              <p:cNvSpPr>
                <a:spLocks/>
              </p:cNvSpPr>
              <p:nvPr/>
            </p:nvSpPr>
            <p:spPr bwMode="auto">
              <a:xfrm>
                <a:off x="7671594" y="1809750"/>
                <a:ext cx="103188" cy="38100"/>
              </a:xfrm>
              <a:custGeom>
                <a:avLst/>
                <a:gdLst/>
                <a:ahLst/>
                <a:cxnLst>
                  <a:cxn ang="0">
                    <a:pos x="0" y="0"/>
                  </a:cxn>
                  <a:cxn ang="0">
                    <a:pos x="2" y="0"/>
                  </a:cxn>
                  <a:cxn ang="0">
                    <a:pos x="8" y="2"/>
                  </a:cxn>
                  <a:cxn ang="0">
                    <a:pos x="19" y="4"/>
                  </a:cxn>
                  <a:cxn ang="0">
                    <a:pos x="29" y="5"/>
                  </a:cxn>
                  <a:cxn ang="0">
                    <a:pos x="39" y="7"/>
                  </a:cxn>
                  <a:cxn ang="0">
                    <a:pos x="50" y="9"/>
                  </a:cxn>
                  <a:cxn ang="0">
                    <a:pos x="55" y="9"/>
                  </a:cxn>
                  <a:cxn ang="0">
                    <a:pos x="60" y="11"/>
                  </a:cxn>
                  <a:cxn ang="0">
                    <a:pos x="62" y="12"/>
                  </a:cxn>
                  <a:cxn ang="0">
                    <a:pos x="65" y="16"/>
                  </a:cxn>
                  <a:cxn ang="0">
                    <a:pos x="62" y="17"/>
                  </a:cxn>
                  <a:cxn ang="0">
                    <a:pos x="55" y="21"/>
                  </a:cxn>
                  <a:cxn ang="0">
                    <a:pos x="48" y="23"/>
                  </a:cxn>
                  <a:cxn ang="0">
                    <a:pos x="41" y="24"/>
                  </a:cxn>
                  <a:cxn ang="0">
                    <a:pos x="29" y="23"/>
                  </a:cxn>
                  <a:cxn ang="0">
                    <a:pos x="17" y="19"/>
                  </a:cxn>
                  <a:cxn ang="0">
                    <a:pos x="8" y="12"/>
                  </a:cxn>
                  <a:cxn ang="0">
                    <a:pos x="5" y="5"/>
                  </a:cxn>
                  <a:cxn ang="0">
                    <a:pos x="0" y="0"/>
                  </a:cxn>
                </a:cxnLst>
                <a:rect l="0" t="0" r="r" b="b"/>
                <a:pathLst>
                  <a:path w="65" h="24">
                    <a:moveTo>
                      <a:pt x="0" y="0"/>
                    </a:moveTo>
                    <a:lnTo>
                      <a:pt x="2" y="0"/>
                    </a:lnTo>
                    <a:lnTo>
                      <a:pt x="8" y="2"/>
                    </a:lnTo>
                    <a:lnTo>
                      <a:pt x="19" y="4"/>
                    </a:lnTo>
                    <a:lnTo>
                      <a:pt x="29" y="5"/>
                    </a:lnTo>
                    <a:lnTo>
                      <a:pt x="39" y="7"/>
                    </a:lnTo>
                    <a:lnTo>
                      <a:pt x="50" y="9"/>
                    </a:lnTo>
                    <a:lnTo>
                      <a:pt x="55" y="9"/>
                    </a:lnTo>
                    <a:lnTo>
                      <a:pt x="60" y="11"/>
                    </a:lnTo>
                    <a:lnTo>
                      <a:pt x="62" y="12"/>
                    </a:lnTo>
                    <a:lnTo>
                      <a:pt x="65" y="16"/>
                    </a:lnTo>
                    <a:lnTo>
                      <a:pt x="62" y="17"/>
                    </a:lnTo>
                    <a:lnTo>
                      <a:pt x="55" y="21"/>
                    </a:lnTo>
                    <a:lnTo>
                      <a:pt x="48" y="23"/>
                    </a:lnTo>
                    <a:lnTo>
                      <a:pt x="41" y="24"/>
                    </a:lnTo>
                    <a:lnTo>
                      <a:pt x="29" y="23"/>
                    </a:lnTo>
                    <a:lnTo>
                      <a:pt x="17" y="19"/>
                    </a:lnTo>
                    <a:lnTo>
                      <a:pt x="8" y="12"/>
                    </a:lnTo>
                    <a:lnTo>
                      <a:pt x="5" y="5"/>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5" name="Freeform 362"/>
              <p:cNvSpPr>
                <a:spLocks/>
              </p:cNvSpPr>
              <p:nvPr/>
            </p:nvSpPr>
            <p:spPr bwMode="auto">
              <a:xfrm>
                <a:off x="7523957" y="1865313"/>
                <a:ext cx="22225" cy="20637"/>
              </a:xfrm>
              <a:custGeom>
                <a:avLst/>
                <a:gdLst/>
                <a:ahLst/>
                <a:cxnLst>
                  <a:cxn ang="0">
                    <a:pos x="14" y="7"/>
                  </a:cxn>
                  <a:cxn ang="0">
                    <a:pos x="10" y="10"/>
                  </a:cxn>
                  <a:cxn ang="0">
                    <a:pos x="7" y="13"/>
                  </a:cxn>
                  <a:cxn ang="0">
                    <a:pos x="0" y="10"/>
                  </a:cxn>
                  <a:cxn ang="0">
                    <a:pos x="0" y="7"/>
                  </a:cxn>
                  <a:cxn ang="0">
                    <a:pos x="2" y="0"/>
                  </a:cxn>
                  <a:cxn ang="0">
                    <a:pos x="7" y="0"/>
                  </a:cxn>
                  <a:cxn ang="0">
                    <a:pos x="10" y="1"/>
                  </a:cxn>
                  <a:cxn ang="0">
                    <a:pos x="14" y="7"/>
                  </a:cxn>
                </a:cxnLst>
                <a:rect l="0" t="0" r="r" b="b"/>
                <a:pathLst>
                  <a:path w="14" h="13">
                    <a:moveTo>
                      <a:pt x="14" y="7"/>
                    </a:moveTo>
                    <a:lnTo>
                      <a:pt x="10" y="10"/>
                    </a:lnTo>
                    <a:lnTo>
                      <a:pt x="7" y="13"/>
                    </a:lnTo>
                    <a:lnTo>
                      <a:pt x="0" y="10"/>
                    </a:lnTo>
                    <a:lnTo>
                      <a:pt x="0" y="7"/>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6" name="Freeform 363"/>
              <p:cNvSpPr>
                <a:spLocks/>
              </p:cNvSpPr>
              <p:nvPr/>
            </p:nvSpPr>
            <p:spPr bwMode="auto">
              <a:xfrm>
                <a:off x="2840832" y="2768600"/>
                <a:ext cx="57150" cy="26987"/>
              </a:xfrm>
              <a:custGeom>
                <a:avLst/>
                <a:gdLst/>
                <a:ahLst/>
                <a:cxnLst>
                  <a:cxn ang="0">
                    <a:pos x="29" y="17"/>
                  </a:cxn>
                  <a:cxn ang="0">
                    <a:pos x="33" y="15"/>
                  </a:cxn>
                  <a:cxn ang="0">
                    <a:pos x="36" y="14"/>
                  </a:cxn>
                  <a:cxn ang="0">
                    <a:pos x="28" y="8"/>
                  </a:cxn>
                  <a:cxn ang="0">
                    <a:pos x="19" y="3"/>
                  </a:cxn>
                  <a:cxn ang="0">
                    <a:pos x="9" y="0"/>
                  </a:cxn>
                  <a:cxn ang="0">
                    <a:pos x="0" y="2"/>
                  </a:cxn>
                  <a:cxn ang="0">
                    <a:pos x="5" y="5"/>
                  </a:cxn>
                  <a:cxn ang="0">
                    <a:pos x="14" y="10"/>
                  </a:cxn>
                  <a:cxn ang="0">
                    <a:pos x="21" y="14"/>
                  </a:cxn>
                  <a:cxn ang="0">
                    <a:pos x="29" y="17"/>
                  </a:cxn>
                </a:cxnLst>
                <a:rect l="0" t="0" r="r" b="b"/>
                <a:pathLst>
                  <a:path w="36" h="17">
                    <a:moveTo>
                      <a:pt x="29" y="17"/>
                    </a:moveTo>
                    <a:lnTo>
                      <a:pt x="33" y="15"/>
                    </a:lnTo>
                    <a:lnTo>
                      <a:pt x="36" y="14"/>
                    </a:lnTo>
                    <a:lnTo>
                      <a:pt x="28" y="8"/>
                    </a:lnTo>
                    <a:lnTo>
                      <a:pt x="19" y="3"/>
                    </a:lnTo>
                    <a:lnTo>
                      <a:pt x="9" y="0"/>
                    </a:lnTo>
                    <a:lnTo>
                      <a:pt x="0" y="2"/>
                    </a:lnTo>
                    <a:lnTo>
                      <a:pt x="5" y="5"/>
                    </a:lnTo>
                    <a:lnTo>
                      <a:pt x="14" y="10"/>
                    </a:lnTo>
                    <a:lnTo>
                      <a:pt x="21" y="14"/>
                    </a:lnTo>
                    <a:lnTo>
                      <a:pt x="29"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7" name="Freeform 364"/>
              <p:cNvSpPr>
                <a:spLocks/>
              </p:cNvSpPr>
              <p:nvPr/>
            </p:nvSpPr>
            <p:spPr bwMode="auto">
              <a:xfrm>
                <a:off x="2847182" y="2859088"/>
                <a:ext cx="42863" cy="26987"/>
              </a:xfrm>
              <a:custGeom>
                <a:avLst/>
                <a:gdLst/>
                <a:ahLst/>
                <a:cxnLst>
                  <a:cxn ang="0">
                    <a:pos x="1" y="0"/>
                  </a:cxn>
                  <a:cxn ang="0">
                    <a:pos x="5" y="5"/>
                  </a:cxn>
                  <a:cxn ang="0">
                    <a:pos x="12" y="8"/>
                  </a:cxn>
                  <a:cxn ang="0">
                    <a:pos x="27" y="8"/>
                  </a:cxn>
                  <a:cxn ang="0">
                    <a:pos x="27" y="12"/>
                  </a:cxn>
                  <a:cxn ang="0">
                    <a:pos x="24" y="13"/>
                  </a:cxn>
                  <a:cxn ang="0">
                    <a:pos x="20" y="17"/>
                  </a:cxn>
                  <a:cxn ang="0">
                    <a:pos x="15" y="13"/>
                  </a:cxn>
                  <a:cxn ang="0">
                    <a:pos x="8" y="10"/>
                  </a:cxn>
                  <a:cxn ang="0">
                    <a:pos x="1" y="6"/>
                  </a:cxn>
                  <a:cxn ang="0">
                    <a:pos x="0" y="3"/>
                  </a:cxn>
                  <a:cxn ang="0">
                    <a:pos x="0" y="0"/>
                  </a:cxn>
                  <a:cxn ang="0">
                    <a:pos x="1" y="0"/>
                  </a:cxn>
                </a:cxnLst>
                <a:rect l="0" t="0" r="r" b="b"/>
                <a:pathLst>
                  <a:path w="27" h="17">
                    <a:moveTo>
                      <a:pt x="1" y="0"/>
                    </a:moveTo>
                    <a:lnTo>
                      <a:pt x="5" y="5"/>
                    </a:lnTo>
                    <a:lnTo>
                      <a:pt x="12" y="8"/>
                    </a:lnTo>
                    <a:lnTo>
                      <a:pt x="27" y="8"/>
                    </a:lnTo>
                    <a:lnTo>
                      <a:pt x="27" y="12"/>
                    </a:lnTo>
                    <a:lnTo>
                      <a:pt x="24" y="13"/>
                    </a:lnTo>
                    <a:lnTo>
                      <a:pt x="20" y="17"/>
                    </a:lnTo>
                    <a:lnTo>
                      <a:pt x="15" y="13"/>
                    </a:lnTo>
                    <a:lnTo>
                      <a:pt x="8" y="10"/>
                    </a:lnTo>
                    <a:lnTo>
                      <a:pt x="1" y="6"/>
                    </a:lnTo>
                    <a:lnTo>
                      <a:pt x="0" y="3"/>
                    </a:lnTo>
                    <a:lnTo>
                      <a:pt x="0" y="0"/>
                    </a:lnTo>
                    <a:lnTo>
                      <a:pt x="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8" name="Freeform 365"/>
              <p:cNvSpPr>
                <a:spLocks/>
              </p:cNvSpPr>
              <p:nvPr/>
            </p:nvSpPr>
            <p:spPr bwMode="auto">
              <a:xfrm>
                <a:off x="2909094" y="2859088"/>
                <a:ext cx="33338" cy="38100"/>
              </a:xfrm>
              <a:custGeom>
                <a:avLst/>
                <a:gdLst/>
                <a:ahLst/>
                <a:cxnLst>
                  <a:cxn ang="0">
                    <a:pos x="21" y="13"/>
                  </a:cxn>
                  <a:cxn ang="0">
                    <a:pos x="21" y="17"/>
                  </a:cxn>
                  <a:cxn ang="0">
                    <a:pos x="16" y="20"/>
                  </a:cxn>
                  <a:cxn ang="0">
                    <a:pos x="9" y="24"/>
                  </a:cxn>
                  <a:cxn ang="0">
                    <a:pos x="2" y="20"/>
                  </a:cxn>
                  <a:cxn ang="0">
                    <a:pos x="0" y="17"/>
                  </a:cxn>
                  <a:cxn ang="0">
                    <a:pos x="0" y="12"/>
                  </a:cxn>
                  <a:cxn ang="0">
                    <a:pos x="4" y="8"/>
                  </a:cxn>
                  <a:cxn ang="0">
                    <a:pos x="7" y="1"/>
                  </a:cxn>
                  <a:cxn ang="0">
                    <a:pos x="12" y="0"/>
                  </a:cxn>
                  <a:cxn ang="0">
                    <a:pos x="14" y="1"/>
                  </a:cxn>
                  <a:cxn ang="0">
                    <a:pos x="16" y="5"/>
                  </a:cxn>
                  <a:cxn ang="0">
                    <a:pos x="12" y="10"/>
                  </a:cxn>
                  <a:cxn ang="0">
                    <a:pos x="21" y="13"/>
                  </a:cxn>
                </a:cxnLst>
                <a:rect l="0" t="0" r="r" b="b"/>
                <a:pathLst>
                  <a:path w="21" h="24">
                    <a:moveTo>
                      <a:pt x="21" y="13"/>
                    </a:moveTo>
                    <a:lnTo>
                      <a:pt x="21" y="17"/>
                    </a:lnTo>
                    <a:lnTo>
                      <a:pt x="16" y="20"/>
                    </a:lnTo>
                    <a:lnTo>
                      <a:pt x="9" y="24"/>
                    </a:lnTo>
                    <a:lnTo>
                      <a:pt x="2" y="20"/>
                    </a:lnTo>
                    <a:lnTo>
                      <a:pt x="0" y="17"/>
                    </a:lnTo>
                    <a:lnTo>
                      <a:pt x="0" y="12"/>
                    </a:lnTo>
                    <a:lnTo>
                      <a:pt x="4" y="8"/>
                    </a:lnTo>
                    <a:lnTo>
                      <a:pt x="7" y="1"/>
                    </a:lnTo>
                    <a:lnTo>
                      <a:pt x="12" y="0"/>
                    </a:lnTo>
                    <a:lnTo>
                      <a:pt x="14" y="1"/>
                    </a:lnTo>
                    <a:lnTo>
                      <a:pt x="16" y="5"/>
                    </a:lnTo>
                    <a:lnTo>
                      <a:pt x="12" y="10"/>
                    </a:lnTo>
                    <a:lnTo>
                      <a:pt x="21"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29" name="Freeform 366"/>
              <p:cNvSpPr>
                <a:spLocks/>
              </p:cNvSpPr>
              <p:nvPr/>
            </p:nvSpPr>
            <p:spPr bwMode="auto">
              <a:xfrm>
                <a:off x="484982" y="2438400"/>
                <a:ext cx="34925" cy="15875"/>
              </a:xfrm>
              <a:custGeom>
                <a:avLst/>
                <a:gdLst/>
                <a:ahLst/>
                <a:cxnLst>
                  <a:cxn ang="0">
                    <a:pos x="7" y="5"/>
                  </a:cxn>
                  <a:cxn ang="0">
                    <a:pos x="9" y="0"/>
                  </a:cxn>
                  <a:cxn ang="0">
                    <a:pos x="15" y="1"/>
                  </a:cxn>
                  <a:cxn ang="0">
                    <a:pos x="21" y="3"/>
                  </a:cxn>
                  <a:cxn ang="0">
                    <a:pos x="22" y="10"/>
                  </a:cxn>
                  <a:cxn ang="0">
                    <a:pos x="5" y="10"/>
                  </a:cxn>
                  <a:cxn ang="0">
                    <a:pos x="2" y="7"/>
                  </a:cxn>
                  <a:cxn ang="0">
                    <a:pos x="0" y="5"/>
                  </a:cxn>
                  <a:cxn ang="0">
                    <a:pos x="7" y="5"/>
                  </a:cxn>
                </a:cxnLst>
                <a:rect l="0" t="0" r="r" b="b"/>
                <a:pathLst>
                  <a:path w="22" h="10">
                    <a:moveTo>
                      <a:pt x="7" y="5"/>
                    </a:moveTo>
                    <a:lnTo>
                      <a:pt x="9" y="0"/>
                    </a:lnTo>
                    <a:lnTo>
                      <a:pt x="15" y="1"/>
                    </a:lnTo>
                    <a:lnTo>
                      <a:pt x="21" y="3"/>
                    </a:lnTo>
                    <a:lnTo>
                      <a:pt x="22" y="10"/>
                    </a:lnTo>
                    <a:lnTo>
                      <a:pt x="5" y="10"/>
                    </a:lnTo>
                    <a:lnTo>
                      <a:pt x="2" y="7"/>
                    </a:lnTo>
                    <a:lnTo>
                      <a:pt x="0" y="5"/>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0" name="Freeform 367"/>
              <p:cNvSpPr>
                <a:spLocks/>
              </p:cNvSpPr>
              <p:nvPr/>
            </p:nvSpPr>
            <p:spPr bwMode="auto">
              <a:xfrm>
                <a:off x="751682" y="3579813"/>
                <a:ext cx="20638" cy="15875"/>
              </a:xfrm>
              <a:custGeom>
                <a:avLst/>
                <a:gdLst/>
                <a:ahLst/>
                <a:cxnLst>
                  <a:cxn ang="0">
                    <a:pos x="13" y="5"/>
                  </a:cxn>
                  <a:cxn ang="0">
                    <a:pos x="13" y="8"/>
                  </a:cxn>
                  <a:cxn ang="0">
                    <a:pos x="6" y="8"/>
                  </a:cxn>
                  <a:cxn ang="0">
                    <a:pos x="2" y="10"/>
                  </a:cxn>
                  <a:cxn ang="0">
                    <a:pos x="0" y="8"/>
                  </a:cxn>
                  <a:cxn ang="0">
                    <a:pos x="0" y="6"/>
                  </a:cxn>
                  <a:cxn ang="0">
                    <a:pos x="0" y="3"/>
                  </a:cxn>
                  <a:cxn ang="0">
                    <a:pos x="0" y="0"/>
                  </a:cxn>
                  <a:cxn ang="0">
                    <a:pos x="6" y="0"/>
                  </a:cxn>
                  <a:cxn ang="0">
                    <a:pos x="13" y="5"/>
                  </a:cxn>
                </a:cxnLst>
                <a:rect l="0" t="0" r="r" b="b"/>
                <a:pathLst>
                  <a:path w="13" h="10">
                    <a:moveTo>
                      <a:pt x="13" y="5"/>
                    </a:moveTo>
                    <a:lnTo>
                      <a:pt x="13" y="8"/>
                    </a:lnTo>
                    <a:lnTo>
                      <a:pt x="6" y="8"/>
                    </a:lnTo>
                    <a:lnTo>
                      <a:pt x="2" y="10"/>
                    </a:lnTo>
                    <a:lnTo>
                      <a:pt x="0" y="8"/>
                    </a:lnTo>
                    <a:lnTo>
                      <a:pt x="0" y="6"/>
                    </a:lnTo>
                    <a:lnTo>
                      <a:pt x="0" y="3"/>
                    </a:lnTo>
                    <a:lnTo>
                      <a:pt x="0" y="0"/>
                    </a:lnTo>
                    <a:lnTo>
                      <a:pt x="6" y="0"/>
                    </a:lnTo>
                    <a:lnTo>
                      <a:pt x="1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1" name="Freeform 368"/>
              <p:cNvSpPr>
                <a:spLocks/>
              </p:cNvSpPr>
              <p:nvPr/>
            </p:nvSpPr>
            <p:spPr bwMode="auto">
              <a:xfrm>
                <a:off x="735807" y="3551238"/>
                <a:ext cx="11113" cy="7937"/>
              </a:xfrm>
              <a:custGeom>
                <a:avLst/>
                <a:gdLst/>
                <a:ahLst/>
                <a:cxnLst>
                  <a:cxn ang="0">
                    <a:pos x="7" y="5"/>
                  </a:cxn>
                  <a:cxn ang="0">
                    <a:pos x="5" y="5"/>
                  </a:cxn>
                  <a:cxn ang="0">
                    <a:pos x="4" y="5"/>
                  </a:cxn>
                  <a:cxn ang="0">
                    <a:pos x="2" y="2"/>
                  </a:cxn>
                  <a:cxn ang="0">
                    <a:pos x="0" y="0"/>
                  </a:cxn>
                  <a:cxn ang="0">
                    <a:pos x="4" y="0"/>
                  </a:cxn>
                  <a:cxn ang="0">
                    <a:pos x="7" y="5"/>
                  </a:cxn>
                </a:cxnLst>
                <a:rect l="0" t="0" r="r" b="b"/>
                <a:pathLst>
                  <a:path w="7" h="5">
                    <a:moveTo>
                      <a:pt x="7" y="5"/>
                    </a:moveTo>
                    <a:lnTo>
                      <a:pt x="5" y="5"/>
                    </a:lnTo>
                    <a:lnTo>
                      <a:pt x="4" y="5"/>
                    </a:lnTo>
                    <a:lnTo>
                      <a:pt x="2" y="2"/>
                    </a:lnTo>
                    <a:lnTo>
                      <a:pt x="0" y="0"/>
                    </a:lnTo>
                    <a:lnTo>
                      <a:pt x="4" y="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2" name="Freeform 369"/>
              <p:cNvSpPr>
                <a:spLocks/>
              </p:cNvSpPr>
              <p:nvPr/>
            </p:nvSpPr>
            <p:spPr bwMode="auto">
              <a:xfrm>
                <a:off x="713582" y="3543300"/>
                <a:ext cx="17463" cy="7937"/>
              </a:xfrm>
              <a:custGeom>
                <a:avLst/>
                <a:gdLst/>
                <a:ahLst/>
                <a:cxnLst>
                  <a:cxn ang="0">
                    <a:pos x="11" y="0"/>
                  </a:cxn>
                  <a:cxn ang="0">
                    <a:pos x="7" y="4"/>
                  </a:cxn>
                  <a:cxn ang="0">
                    <a:pos x="4" y="5"/>
                  </a:cxn>
                  <a:cxn ang="0">
                    <a:pos x="0" y="2"/>
                  </a:cxn>
                  <a:cxn ang="0">
                    <a:pos x="0" y="0"/>
                  </a:cxn>
                  <a:cxn ang="0">
                    <a:pos x="11" y="0"/>
                  </a:cxn>
                </a:cxnLst>
                <a:rect l="0" t="0" r="r" b="b"/>
                <a:pathLst>
                  <a:path w="11" h="5">
                    <a:moveTo>
                      <a:pt x="11" y="0"/>
                    </a:moveTo>
                    <a:lnTo>
                      <a:pt x="7" y="4"/>
                    </a:lnTo>
                    <a:lnTo>
                      <a:pt x="4" y="5"/>
                    </a:lnTo>
                    <a:lnTo>
                      <a:pt x="0" y="2"/>
                    </a:lnTo>
                    <a:lnTo>
                      <a:pt x="0" y="0"/>
                    </a:lnTo>
                    <a:lnTo>
                      <a:pt x="1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3" name="Freeform 370"/>
              <p:cNvSpPr>
                <a:spLocks/>
              </p:cNvSpPr>
              <p:nvPr/>
            </p:nvSpPr>
            <p:spPr bwMode="auto">
              <a:xfrm>
                <a:off x="694532" y="3535363"/>
                <a:ext cx="14288" cy="7937"/>
              </a:xfrm>
              <a:custGeom>
                <a:avLst/>
                <a:gdLst/>
                <a:ahLst/>
                <a:cxnLst>
                  <a:cxn ang="0">
                    <a:pos x="4" y="0"/>
                  </a:cxn>
                  <a:cxn ang="0">
                    <a:pos x="6" y="0"/>
                  </a:cxn>
                  <a:cxn ang="0">
                    <a:pos x="9" y="0"/>
                  </a:cxn>
                  <a:cxn ang="0">
                    <a:pos x="9" y="2"/>
                  </a:cxn>
                  <a:cxn ang="0">
                    <a:pos x="7" y="3"/>
                  </a:cxn>
                  <a:cxn ang="0">
                    <a:pos x="6" y="5"/>
                  </a:cxn>
                  <a:cxn ang="0">
                    <a:pos x="2" y="3"/>
                  </a:cxn>
                  <a:cxn ang="0">
                    <a:pos x="0" y="2"/>
                  </a:cxn>
                  <a:cxn ang="0">
                    <a:pos x="2" y="0"/>
                  </a:cxn>
                  <a:cxn ang="0">
                    <a:pos x="6" y="0"/>
                  </a:cxn>
                  <a:cxn ang="0">
                    <a:pos x="4" y="0"/>
                  </a:cxn>
                </a:cxnLst>
                <a:rect l="0" t="0" r="r" b="b"/>
                <a:pathLst>
                  <a:path w="9" h="5">
                    <a:moveTo>
                      <a:pt x="4" y="0"/>
                    </a:moveTo>
                    <a:lnTo>
                      <a:pt x="6" y="0"/>
                    </a:lnTo>
                    <a:lnTo>
                      <a:pt x="9" y="0"/>
                    </a:lnTo>
                    <a:lnTo>
                      <a:pt x="9" y="2"/>
                    </a:lnTo>
                    <a:lnTo>
                      <a:pt x="7" y="3"/>
                    </a:lnTo>
                    <a:lnTo>
                      <a:pt x="6" y="5"/>
                    </a:lnTo>
                    <a:lnTo>
                      <a:pt x="2" y="3"/>
                    </a:lnTo>
                    <a:lnTo>
                      <a:pt x="0" y="2"/>
                    </a:lnTo>
                    <a:lnTo>
                      <a:pt x="2" y="0"/>
                    </a:lnTo>
                    <a:lnTo>
                      <a:pt x="6"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634" name="Freeform 371"/>
              <p:cNvSpPr>
                <a:spLocks/>
              </p:cNvSpPr>
              <p:nvPr/>
            </p:nvSpPr>
            <p:spPr bwMode="auto">
              <a:xfrm>
                <a:off x="662782" y="3516313"/>
                <a:ext cx="12700" cy="11112"/>
              </a:xfrm>
              <a:custGeom>
                <a:avLst/>
                <a:gdLst/>
                <a:ahLst/>
                <a:cxnLst>
                  <a:cxn ang="0">
                    <a:pos x="8" y="2"/>
                  </a:cxn>
                  <a:cxn ang="0">
                    <a:pos x="8" y="3"/>
                  </a:cxn>
                  <a:cxn ang="0">
                    <a:pos x="8" y="7"/>
                  </a:cxn>
                  <a:cxn ang="0">
                    <a:pos x="5" y="7"/>
                  </a:cxn>
                  <a:cxn ang="0">
                    <a:pos x="1" y="5"/>
                  </a:cxn>
                  <a:cxn ang="0">
                    <a:pos x="0" y="3"/>
                  </a:cxn>
                  <a:cxn ang="0">
                    <a:pos x="1" y="2"/>
                  </a:cxn>
                  <a:cxn ang="0">
                    <a:pos x="3" y="0"/>
                  </a:cxn>
                  <a:cxn ang="0">
                    <a:pos x="5" y="0"/>
                  </a:cxn>
                  <a:cxn ang="0">
                    <a:pos x="8" y="2"/>
                  </a:cxn>
                </a:cxnLst>
                <a:rect l="0" t="0" r="r" b="b"/>
                <a:pathLst>
                  <a:path w="8" h="7">
                    <a:moveTo>
                      <a:pt x="8" y="2"/>
                    </a:moveTo>
                    <a:lnTo>
                      <a:pt x="8" y="3"/>
                    </a:lnTo>
                    <a:lnTo>
                      <a:pt x="8" y="7"/>
                    </a:lnTo>
                    <a:lnTo>
                      <a:pt x="5" y="7"/>
                    </a:lnTo>
                    <a:lnTo>
                      <a:pt x="1" y="5"/>
                    </a:lnTo>
                    <a:lnTo>
                      <a:pt x="0" y="3"/>
                    </a:lnTo>
                    <a:lnTo>
                      <a:pt x="1" y="2"/>
                    </a:lnTo>
                    <a:lnTo>
                      <a:pt x="3" y="0"/>
                    </a:lnTo>
                    <a:lnTo>
                      <a:pt x="5" y="0"/>
                    </a:lnTo>
                    <a:lnTo>
                      <a:pt x="8"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grpSp>
        <p:cxnSp>
          <p:nvCxnSpPr>
            <p:cNvPr id="437" name="Straight Connector 436"/>
            <p:cNvCxnSpPr>
              <a:stCxn id="434" idx="1"/>
              <a:endCxn id="434" idx="3"/>
            </p:cNvCxnSpPr>
            <p:nvPr/>
          </p:nvCxnSpPr>
          <p:spPr>
            <a:xfrm>
              <a:off x="3542201" y="4851699"/>
              <a:ext cx="3684601"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pSp>
      <p:pic>
        <p:nvPicPr>
          <p:cNvPr id="635" name="Picture 18" descr="Related imag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361920" y="3837379"/>
            <a:ext cx="529148" cy="589460"/>
          </a:xfrm>
          <a:prstGeom prst="rect">
            <a:avLst/>
          </a:prstGeom>
          <a:noFill/>
          <a:extLst>
            <a:ext uri="{909E8E84-426E-40DD-AFC4-6F175D3DCCD1}">
              <a14:hiddenFill xmlns:a14="http://schemas.microsoft.com/office/drawing/2010/main">
                <a:solidFill>
                  <a:srgbClr val="FFFFFF"/>
                </a:solidFill>
              </a14:hiddenFill>
            </a:ext>
          </a:extLst>
        </p:spPr>
      </p:pic>
      <p:pic>
        <p:nvPicPr>
          <p:cNvPr id="636" name="Picture 635"/>
          <p:cNvPicPr>
            <a:picLocks noChangeAspect="1"/>
          </p:cNvPicPr>
          <p:nvPr/>
        </p:nvPicPr>
        <p:blipFill rotWithShape="1">
          <a:blip r:embed="rId11" cstate="print">
            <a:extLst>
              <a:ext uri="{28A0092B-C50C-407E-A947-70E740481C1C}">
                <a14:useLocalDpi xmlns:a14="http://schemas.microsoft.com/office/drawing/2010/main" val="0"/>
              </a:ext>
            </a:extLst>
          </a:blip>
          <a:srcRect r="7198"/>
          <a:stretch/>
        </p:blipFill>
        <p:spPr>
          <a:xfrm>
            <a:off x="5756767" y="4203425"/>
            <a:ext cx="794442" cy="481538"/>
          </a:xfrm>
          <a:prstGeom prst="rect">
            <a:avLst/>
          </a:prstGeom>
        </p:spPr>
      </p:pic>
      <p:pic>
        <p:nvPicPr>
          <p:cNvPr id="637" name="Picture 12" descr="Image result for nova merchant bank"/>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624675" y="4037889"/>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638" name="Picture 2" descr="Image result for axa mansard logo"/>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699849" y="4479486"/>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639" name="Picture 638"/>
          <p:cNvPicPr>
            <a:picLocks noChangeAspect="1"/>
          </p:cNvPicPr>
          <p:nvPr/>
        </p:nvPicPr>
        <p:blipFill>
          <a:blip r:embed="rId14"/>
          <a:stretch>
            <a:fillRect/>
          </a:stretch>
        </p:blipFill>
        <p:spPr>
          <a:xfrm>
            <a:off x="5954025" y="4683338"/>
            <a:ext cx="676995" cy="262022"/>
          </a:xfrm>
          <a:prstGeom prst="rect">
            <a:avLst/>
          </a:prstGeom>
        </p:spPr>
      </p:pic>
      <p:pic>
        <p:nvPicPr>
          <p:cNvPr id="640" name="Picture 4" descr="Image result for jpmorgan logo"/>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35128" b="38205"/>
          <a:stretch/>
        </p:blipFill>
        <p:spPr bwMode="auto">
          <a:xfrm>
            <a:off x="5427012" y="5281754"/>
            <a:ext cx="1011521" cy="273940"/>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641" name="Picture 14" descr="Related image"/>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846165" y="5593846"/>
            <a:ext cx="771356" cy="259066"/>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644" name="Picture 8" descr="Related image"/>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913430" y="5458149"/>
            <a:ext cx="462988" cy="461858"/>
          </a:xfrm>
          <a:prstGeom prst="rect">
            <a:avLst/>
          </a:prstGeom>
          <a:solidFill>
            <a:schemeClr val="bg1"/>
          </a:solidFill>
        </p:spPr>
      </p:pic>
      <p:pic>
        <p:nvPicPr>
          <p:cNvPr id="645" name="Picture 644"/>
          <p:cNvPicPr>
            <a:picLocks noChangeAspect="1"/>
          </p:cNvPicPr>
          <p:nvPr/>
        </p:nvPicPr>
        <p:blipFill rotWithShape="1">
          <a:blip r:embed="rId18">
            <a:extLst>
              <a:ext uri="{28A0092B-C50C-407E-A947-70E740481C1C}">
                <a14:useLocalDpi xmlns:a14="http://schemas.microsoft.com/office/drawing/2010/main" val="0"/>
              </a:ext>
            </a:extLst>
          </a:blip>
          <a:srcRect t="32902" b="25103"/>
          <a:stretch/>
        </p:blipFill>
        <p:spPr>
          <a:xfrm>
            <a:off x="4708298" y="4857464"/>
            <a:ext cx="811971" cy="300464"/>
          </a:xfrm>
          <a:prstGeom prst="rect">
            <a:avLst/>
          </a:prstGeom>
        </p:spPr>
      </p:pic>
      <p:sp>
        <p:nvSpPr>
          <p:cNvPr id="252" name="Title 2"/>
          <p:cNvSpPr txBox="1">
            <a:spLocks/>
          </p:cNvSpPr>
          <p:nvPr/>
        </p:nvSpPr>
        <p:spPr>
          <a:xfrm>
            <a:off x="3379898" y="56206"/>
            <a:ext cx="338328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Key </a:t>
            </a:r>
            <a:r>
              <a:rPr lang="en-US" sz="4400" b="0" kern="1200" dirty="0" smtClean="0">
                <a:latin typeface="KPMG Extralight" panose="020B0303030202040204" pitchFamily="34" charset="0"/>
                <a:cs typeface="+mj-cs"/>
              </a:rPr>
              <a:t>Findings &amp; Initiatives</a:t>
            </a:r>
            <a:endParaRPr lang="en-US" sz="4400" b="0" kern="1200" baseline="30000" dirty="0">
              <a:latin typeface="KPMG Extralight" panose="020B0303030202040204" pitchFamily="34" charset="0"/>
              <a:ea typeface="+mj-ea"/>
              <a:cs typeface="+mj-cs"/>
            </a:endParaRPr>
          </a:p>
        </p:txBody>
      </p:sp>
    </p:spTree>
    <p:extLst>
      <p:ext uri="{BB962C8B-B14F-4D97-AF65-F5344CB8AC3E}">
        <p14:creationId xmlns:p14="http://schemas.microsoft.com/office/powerpoint/2010/main" val="305006083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025"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86" name="TextBox 85"/>
          <p:cNvSpPr txBox="1"/>
          <p:nvPr/>
        </p:nvSpPr>
        <p:spPr>
          <a:xfrm>
            <a:off x="88798" y="211341"/>
            <a:ext cx="3172392" cy="615553"/>
          </a:xfrm>
          <a:prstGeom prst="rect">
            <a:avLst/>
          </a:prstGeom>
          <a:noFill/>
        </p:spPr>
        <p:txBody>
          <a:bodyPr wrap="square" lIns="0" tIns="0" rIns="0" bIns="0" rtlCol="0">
            <a:spAutoFit/>
          </a:bodyPr>
          <a:lstStyle/>
          <a:p>
            <a:r>
              <a:rPr lang="en-US" sz="4000" b="1" dirty="0" smtClean="0">
                <a:solidFill>
                  <a:srgbClr val="FFFFFF"/>
                </a:solidFill>
                <a:latin typeface="KPMG Extralight" panose="020B0303030202040204" pitchFamily="34" charset="0"/>
                <a:cs typeface="Arial" pitchFamily="34" charset="0"/>
              </a:rPr>
              <a:t>Risk Model</a:t>
            </a:r>
            <a:endParaRPr lang="en-GB" sz="4000" b="1" dirty="0" smtClean="0">
              <a:solidFill>
                <a:srgbClr val="FFFFFF"/>
              </a:solidFill>
              <a:latin typeface="KPMG Extralight" panose="020B0303030202040204" pitchFamily="34" charset="0"/>
              <a:cs typeface="Arial" pitchFamily="34" charset="0"/>
            </a:endParaRPr>
          </a:p>
        </p:txBody>
      </p:sp>
      <p:graphicFrame>
        <p:nvGraphicFramePr>
          <p:cNvPr id="31" name="Table 30"/>
          <p:cNvGraphicFramePr>
            <a:graphicFrameLocks noGrp="1"/>
          </p:cNvGraphicFramePr>
          <p:nvPr>
            <p:extLst>
              <p:ext uri="{D42A27DB-BD31-4B8C-83A1-F6EECF244321}">
                <p14:modId xmlns:p14="http://schemas.microsoft.com/office/powerpoint/2010/main" val="3305041421"/>
              </p:ext>
            </p:extLst>
          </p:nvPr>
        </p:nvGraphicFramePr>
        <p:xfrm>
          <a:off x="112335" y="2841952"/>
          <a:ext cx="3053407" cy="320040"/>
        </p:xfrm>
        <a:graphic>
          <a:graphicData uri="http://schemas.openxmlformats.org/drawingml/2006/table">
            <a:tbl>
              <a:tblPr bandRow="1">
                <a:tableStyleId>{5C22544A-7EE6-4342-B048-85BDC9FD1C3A}</a:tableStyleId>
              </a:tblPr>
              <a:tblGrid>
                <a:gridCol w="3053407"/>
              </a:tblGrid>
              <a:tr h="230385">
                <a:tc>
                  <a:txBody>
                    <a:bodyPr/>
                    <a:lstStyle/>
                    <a:p>
                      <a:endParaRPr lang="en-US" sz="1500" b="1" dirty="0"/>
                    </a:p>
                  </a:txBody>
                  <a:tcPr anchor="ctr">
                    <a:solidFill>
                      <a:srgbClr val="DBCDDB"/>
                    </a:solidFill>
                  </a:tcPr>
                </a:tc>
              </a:tr>
            </a:tbl>
          </a:graphicData>
        </a:graphic>
      </p:graphicFrame>
      <p:sp>
        <p:nvSpPr>
          <p:cNvPr id="32" name="TextBox 31"/>
          <p:cNvSpPr txBox="1"/>
          <p:nvPr/>
        </p:nvSpPr>
        <p:spPr>
          <a:xfrm>
            <a:off x="2795989" y="2950601"/>
            <a:ext cx="382639" cy="116869"/>
          </a:xfrm>
          <a:prstGeom prst="rect">
            <a:avLst/>
          </a:prstGeom>
          <a:noFill/>
        </p:spPr>
        <p:txBody>
          <a:bodyPr wrap="none" lIns="21772" tIns="21772" rIns="21772" bIns="21772" rtlCol="0" anchor="ctr" anchorCtr="0">
            <a:noAutofit/>
          </a:bodyPr>
          <a:lstStyle/>
          <a:p>
            <a:pPr algn="r"/>
            <a:r>
              <a:rPr lang="en-AU" sz="800" b="1" dirty="0">
                <a:solidFill>
                  <a:srgbClr val="000000"/>
                </a:solidFill>
                <a:cs typeface="Arial" panose="020B0604020202020204" pitchFamily="34" charset="0"/>
              </a:rPr>
              <a:t>Innovating</a:t>
            </a:r>
          </a:p>
        </p:txBody>
      </p:sp>
      <p:sp>
        <p:nvSpPr>
          <p:cNvPr id="33" name="TextBox 32"/>
          <p:cNvSpPr txBox="1"/>
          <p:nvPr/>
        </p:nvSpPr>
        <p:spPr>
          <a:xfrm>
            <a:off x="711797"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Basic</a:t>
            </a:r>
          </a:p>
        </p:txBody>
      </p:sp>
      <p:sp>
        <p:nvSpPr>
          <p:cNvPr id="34" name="TextBox 33"/>
          <p:cNvSpPr txBox="1"/>
          <p:nvPr/>
        </p:nvSpPr>
        <p:spPr>
          <a:xfrm>
            <a:off x="1970881"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Leading</a:t>
            </a:r>
          </a:p>
        </p:txBody>
      </p:sp>
      <p:sp>
        <p:nvSpPr>
          <p:cNvPr id="35" name="TextBox 34"/>
          <p:cNvSpPr txBox="1"/>
          <p:nvPr/>
        </p:nvSpPr>
        <p:spPr>
          <a:xfrm>
            <a:off x="112641" y="2958916"/>
            <a:ext cx="382639" cy="116869"/>
          </a:xfrm>
          <a:prstGeom prst="rect">
            <a:avLst/>
          </a:prstGeom>
          <a:noFill/>
        </p:spPr>
        <p:txBody>
          <a:bodyPr wrap="none" lIns="21772" tIns="21772" rIns="21772" bIns="21772" rtlCol="0" anchor="ctr" anchorCtr="0">
            <a:noAutofit/>
          </a:bodyPr>
          <a:lstStyle/>
          <a:p>
            <a:r>
              <a:rPr lang="en-AU" sz="800" b="1" dirty="0">
                <a:solidFill>
                  <a:srgbClr val="000000"/>
                </a:solidFill>
                <a:cs typeface="Arial" panose="020B0604020202020204" pitchFamily="34" charset="0"/>
              </a:rPr>
              <a:t>Lagging</a:t>
            </a:r>
          </a:p>
        </p:txBody>
      </p:sp>
      <p:sp>
        <p:nvSpPr>
          <p:cNvPr id="36" name="TextBox 35"/>
          <p:cNvSpPr txBox="1"/>
          <p:nvPr/>
        </p:nvSpPr>
        <p:spPr>
          <a:xfrm>
            <a:off x="1322592" y="2958916"/>
            <a:ext cx="382639" cy="116869"/>
          </a:xfrm>
          <a:prstGeom prst="rect">
            <a:avLst/>
          </a:prstGeom>
          <a:noFill/>
        </p:spPr>
        <p:txBody>
          <a:bodyPr wrap="none" lIns="21772" tIns="21772" rIns="21772" bIns="21772" rtlCol="0" anchor="ctr" anchorCtr="0">
            <a:noAutofit/>
          </a:bodyPr>
          <a:lstStyle/>
          <a:p>
            <a:pPr algn="ctr"/>
            <a:r>
              <a:rPr lang="en-AU" sz="800" b="1" dirty="0">
                <a:solidFill>
                  <a:srgbClr val="000000"/>
                </a:solidFill>
                <a:cs typeface="Arial" panose="020B0604020202020204" pitchFamily="34" charset="0"/>
              </a:rPr>
              <a:t>Progressed</a:t>
            </a:r>
          </a:p>
        </p:txBody>
      </p:sp>
      <p:sp>
        <p:nvSpPr>
          <p:cNvPr id="3" name="Rectangle 2"/>
          <p:cNvSpPr/>
          <p:nvPr/>
        </p:nvSpPr>
        <p:spPr>
          <a:xfrm>
            <a:off x="11798" y="964056"/>
            <a:ext cx="3249392" cy="1092607"/>
          </a:xfrm>
          <a:prstGeom prst="rect">
            <a:avLst/>
          </a:prstGeom>
        </p:spPr>
        <p:txBody>
          <a:bodyPr wrap="square">
            <a:spAutoFit/>
          </a:bodyPr>
          <a:lstStyle/>
          <a:p>
            <a:r>
              <a:rPr lang="en-US" sz="1300" dirty="0" smtClean="0">
                <a:solidFill>
                  <a:srgbClr val="FFFFFF"/>
                </a:solidFill>
              </a:rPr>
              <a:t>The </a:t>
            </a:r>
            <a:r>
              <a:rPr lang="en-US" sz="1300" dirty="0">
                <a:solidFill>
                  <a:srgbClr val="FFFFFF"/>
                </a:solidFill>
              </a:rPr>
              <a:t>extent to which an </a:t>
            </a:r>
            <a:r>
              <a:rPr lang="en-US" sz="1300" dirty="0" err="1" smtClean="0">
                <a:solidFill>
                  <a:srgbClr val="FFFFFF"/>
                </a:solidFill>
              </a:rPr>
              <a:t>organisation</a:t>
            </a:r>
            <a:r>
              <a:rPr lang="en-US" sz="1300" dirty="0" smtClean="0">
                <a:solidFill>
                  <a:srgbClr val="FFFFFF"/>
                </a:solidFill>
              </a:rPr>
              <a:t> </a:t>
            </a:r>
            <a:r>
              <a:rPr lang="en-US" sz="1300" dirty="0">
                <a:solidFill>
                  <a:srgbClr val="FFFFFF"/>
                </a:solidFill>
              </a:rPr>
              <a:t>monitors the inherent risks in its operating environment and the risks that it will be exposed to upon the commencement of the digital </a:t>
            </a:r>
            <a:r>
              <a:rPr lang="en-US" sz="1300" dirty="0" smtClean="0">
                <a:solidFill>
                  <a:srgbClr val="FFFFFF"/>
                </a:solidFill>
              </a:rPr>
              <a:t>journey</a:t>
            </a:r>
            <a:endParaRPr lang="en-US" sz="1300" dirty="0">
              <a:solidFill>
                <a:srgbClr val="FFFFFF"/>
              </a:solidFill>
            </a:endParaRPr>
          </a:p>
        </p:txBody>
      </p:sp>
      <p:sp>
        <p:nvSpPr>
          <p:cNvPr id="100" name="Rectangle 99"/>
          <p:cNvSpPr/>
          <p:nvPr/>
        </p:nvSpPr>
        <p:spPr>
          <a:xfrm>
            <a:off x="102170" y="2525696"/>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cxnSp>
        <p:nvCxnSpPr>
          <p:cNvPr id="102" name="Straight Connector 101"/>
          <p:cNvCxnSpPr/>
          <p:nvPr/>
        </p:nvCxnSpPr>
        <p:spPr>
          <a:xfrm>
            <a:off x="605465" y="2864194"/>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193805" y="2857101"/>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1821118" y="2864194"/>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2483889" y="2857101"/>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5" name="Isosceles Triangle 114"/>
          <p:cNvSpPr/>
          <p:nvPr/>
        </p:nvSpPr>
        <p:spPr>
          <a:xfrm flipV="1">
            <a:off x="1655343" y="2359283"/>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6" name="Isosceles Triangle 115"/>
          <p:cNvSpPr/>
          <p:nvPr/>
        </p:nvSpPr>
        <p:spPr>
          <a:xfrm flipV="1">
            <a:off x="1238095" y="2359283"/>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7" name="Isosceles Triangle 116"/>
          <p:cNvSpPr/>
          <p:nvPr/>
        </p:nvSpPr>
        <p:spPr>
          <a:xfrm flipV="1">
            <a:off x="2801848" y="2359283"/>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118" name="Isosceles Triangle 117"/>
          <p:cNvSpPr/>
          <p:nvPr/>
        </p:nvSpPr>
        <p:spPr>
          <a:xfrm flipV="1">
            <a:off x="2200397" y="2359283"/>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4150109639"/>
              </p:ext>
            </p:extLst>
          </p:nvPr>
        </p:nvGraphicFramePr>
        <p:xfrm>
          <a:off x="3793054" y="995656"/>
          <a:ext cx="8154904" cy="3017520"/>
        </p:xfrm>
        <a:graphic>
          <a:graphicData uri="http://schemas.openxmlformats.org/drawingml/2006/table">
            <a:tbl>
              <a:tblPr firstRow="1" bandRow="1">
                <a:tableStyleId>{00A15C55-8517-42AA-B614-E9B94910E393}</a:tableStyleId>
              </a:tblPr>
              <a:tblGrid>
                <a:gridCol w="1857375"/>
                <a:gridCol w="6297529"/>
              </a:tblGrid>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Digital Risk Strategy and Framework</a:t>
                      </a:r>
                      <a:endParaRPr lang="en-US"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Develop a robust digital risk strategy and framework for adequate management and mitigation of digital risks</a:t>
                      </a:r>
                      <a:endParaRPr lang="en-US" sz="1400" b="0" kern="1200" dirty="0">
                        <a:solidFill>
                          <a:srgbClr val="00338D"/>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Cybersecurity Governance</a:t>
                      </a:r>
                      <a:endParaRPr lang="en-US"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Adequate staffing of cybersecurity function to ensure security activities are carried out by personnel within the dedicated function</a:t>
                      </a:r>
                      <a:endParaRPr lang="en-US" sz="1400" b="0" kern="1200" dirty="0">
                        <a:solidFill>
                          <a:srgbClr val="00338D"/>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Cybersecurity Strategy and Framework</a:t>
                      </a:r>
                      <a:endParaRPr lang="en-US"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Develop a cybersecurity strategy with initiatives that align with business and IT strategy. Develop a framework to guide implementation of cybersecurity initiatives</a:t>
                      </a:r>
                      <a:endParaRPr lang="en-US" sz="1400" b="0" kern="1200" dirty="0">
                        <a:solidFill>
                          <a:srgbClr val="00338D"/>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Vulnerability  Management</a:t>
                      </a:r>
                      <a:endParaRPr lang="en-US"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Perform periodic credentialed scan of IT assets (operating system, web applications, network devices and databases) to ensure completeness of scan scope</a:t>
                      </a:r>
                      <a:endParaRPr lang="en-US" sz="1400" b="0" kern="1200" dirty="0">
                        <a:solidFill>
                          <a:srgbClr val="00338D"/>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r h="370840">
                <a:tc>
                  <a:txBody>
                    <a:bodyPr/>
                    <a:lstStyle/>
                    <a:p>
                      <a:pPr marL="0" marR="0" lvl="0" indent="0" algn="l" defTabSz="890789" rtl="0" eaLnBrk="1" fontAlgn="auto" latinLnBrk="0" hangingPunct="1">
                        <a:lnSpc>
                          <a:spcPct val="100000"/>
                        </a:lnSpc>
                        <a:spcBef>
                          <a:spcPts val="0"/>
                        </a:spcBef>
                        <a:spcAft>
                          <a:spcPts val="0"/>
                        </a:spcAft>
                        <a:buClrTx/>
                        <a:buSzTx/>
                        <a:buFontTx/>
                        <a:buNone/>
                        <a:tabLst/>
                        <a:defRPr/>
                      </a:pPr>
                      <a:r>
                        <a:rPr lang="en-US" sz="1400" b="0" kern="1200" spc="-10" dirty="0" smtClean="0">
                          <a:solidFill>
                            <a:schemeClr val="bg1"/>
                          </a:solidFill>
                          <a:latin typeface="+mn-lt"/>
                          <a:ea typeface="+mn-ea"/>
                          <a:cs typeface="+mn-cs"/>
                        </a:rPr>
                        <a:t>Security Monitoring</a:t>
                      </a:r>
                      <a:endParaRPr lang="en-US" sz="1400" b="0" kern="1200" spc="-10" dirty="0">
                        <a:solidFill>
                          <a:schemeClr val="bg1"/>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5491"/>
                    </a:solidFill>
                  </a:tcPr>
                </a:tc>
                <a:tc>
                  <a:txBody>
                    <a:bodyPr/>
                    <a:lstStyle/>
                    <a:p>
                      <a:pPr marL="171450" marR="0" lvl="0" indent="-171450" algn="l" defTabSz="890789"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400" b="0" kern="1200" dirty="0" smtClean="0">
                          <a:solidFill>
                            <a:srgbClr val="00338D"/>
                          </a:solidFill>
                          <a:latin typeface="+mn-lt"/>
                          <a:ea typeface="+mn-ea"/>
                          <a:cs typeface="+mn-cs"/>
                        </a:rPr>
                        <a:t>Implement adequate monitoring of IT infrastructure for prompt identification and resolution of security events</a:t>
                      </a:r>
                      <a:endParaRPr lang="en-US" sz="1400" b="0" kern="1200" dirty="0">
                        <a:solidFill>
                          <a:srgbClr val="00338D"/>
                        </a:solidFill>
                        <a:latin typeface="+mn-lt"/>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E3F3"/>
                    </a:solidFill>
                  </a:tcPr>
                </a:tc>
              </a:tr>
            </a:tbl>
          </a:graphicData>
        </a:graphic>
      </p:graphicFrame>
      <p:pic>
        <p:nvPicPr>
          <p:cNvPr id="449" name="Picture 44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53162" y="1004736"/>
            <a:ext cx="405670" cy="405670"/>
          </a:xfrm>
          <a:prstGeom prst="rect">
            <a:avLst/>
          </a:prstGeom>
        </p:spPr>
      </p:pic>
      <p:pic>
        <p:nvPicPr>
          <p:cNvPr id="450" name="Picture 44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53162" y="1470471"/>
            <a:ext cx="405670" cy="405670"/>
          </a:xfrm>
          <a:prstGeom prst="rect">
            <a:avLst/>
          </a:prstGeom>
        </p:spPr>
      </p:pic>
      <p:pic>
        <p:nvPicPr>
          <p:cNvPr id="451" name="Picture 45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53162" y="1955458"/>
            <a:ext cx="405670" cy="405670"/>
          </a:xfrm>
          <a:prstGeom prst="rect">
            <a:avLst/>
          </a:prstGeom>
        </p:spPr>
      </p:pic>
      <p:pic>
        <p:nvPicPr>
          <p:cNvPr id="452" name="Picture 45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53162" y="2652196"/>
            <a:ext cx="405670" cy="405670"/>
          </a:xfrm>
          <a:prstGeom prst="rect">
            <a:avLst/>
          </a:prstGeom>
        </p:spPr>
      </p:pic>
      <p:sp>
        <p:nvSpPr>
          <p:cNvPr id="453" name="Rectangle 452"/>
          <p:cNvSpPr/>
          <p:nvPr/>
        </p:nvSpPr>
        <p:spPr>
          <a:xfrm>
            <a:off x="3323435" y="595736"/>
            <a:ext cx="8595360" cy="307777"/>
          </a:xfrm>
          <a:prstGeom prst="rect">
            <a:avLst/>
          </a:prstGeom>
        </p:spPr>
        <p:txBody>
          <a:bodyPr wrap="square">
            <a:spAutoFit/>
          </a:bodyPr>
          <a:lstStyle/>
          <a:p>
            <a:pPr defTabSz="713603">
              <a:defRPr/>
            </a:pPr>
            <a:r>
              <a:rPr lang="en-US" sz="1400" dirty="0" smtClean="0">
                <a:solidFill>
                  <a:srgbClr val="00338D"/>
                </a:solidFill>
              </a:rPr>
              <a:t>The following key initiatives have been identified for </a:t>
            </a:r>
            <a:r>
              <a:rPr lang="en-US" sz="1400" dirty="0" err="1" smtClean="0">
                <a:solidFill>
                  <a:srgbClr val="00338D"/>
                </a:solidFill>
              </a:rPr>
              <a:t>FBNQuest</a:t>
            </a:r>
            <a:r>
              <a:rPr lang="en-US" sz="1400" dirty="0" smtClean="0">
                <a:solidFill>
                  <a:srgbClr val="00338D"/>
                </a:solidFill>
              </a:rPr>
              <a:t> with respect to Risk Model: </a:t>
            </a:r>
            <a:endParaRPr lang="en-US" sz="1400" dirty="0">
              <a:solidFill>
                <a:srgbClr val="00338D"/>
              </a:solidFill>
            </a:endParaRPr>
          </a:p>
        </p:txBody>
      </p:sp>
      <p:grpSp>
        <p:nvGrpSpPr>
          <p:cNvPr id="454" name="Group 453"/>
          <p:cNvGrpSpPr/>
          <p:nvPr/>
        </p:nvGrpSpPr>
        <p:grpSpPr>
          <a:xfrm>
            <a:off x="7347937" y="121697"/>
            <a:ext cx="4568864" cy="274320"/>
            <a:chOff x="7916790" y="356874"/>
            <a:chExt cx="4568864" cy="274320"/>
          </a:xfrm>
        </p:grpSpPr>
        <p:grpSp>
          <p:nvGrpSpPr>
            <p:cNvPr id="455" name="Group 454"/>
            <p:cNvGrpSpPr/>
            <p:nvPr/>
          </p:nvGrpSpPr>
          <p:grpSpPr>
            <a:xfrm>
              <a:off x="7916790" y="356874"/>
              <a:ext cx="2337497" cy="274320"/>
              <a:chOff x="3793151" y="6476333"/>
              <a:chExt cx="2337497" cy="274320"/>
            </a:xfrm>
          </p:grpSpPr>
          <p:sp>
            <p:nvSpPr>
              <p:cNvPr id="460" name="Isosceles Triangle 459"/>
              <p:cNvSpPr/>
              <p:nvPr/>
            </p:nvSpPr>
            <p:spPr>
              <a:xfrm rot="10800000">
                <a:off x="4273393" y="6554522"/>
                <a:ext cx="140400" cy="117943"/>
              </a:xfrm>
              <a:prstGeom prst="triangle">
                <a:avLst/>
              </a:prstGeom>
              <a:solidFill>
                <a:srgbClr val="00338D"/>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61" name="TextBox 460"/>
              <p:cNvSpPr txBox="1"/>
              <p:nvPr/>
            </p:nvSpPr>
            <p:spPr>
              <a:xfrm>
                <a:off x="4380552" y="6525841"/>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Current</a:t>
                </a:r>
              </a:p>
            </p:txBody>
          </p:sp>
          <p:sp>
            <p:nvSpPr>
              <p:cNvPr id="462" name="Text Box 81"/>
              <p:cNvSpPr txBox="1">
                <a:spLocks noChangeArrowheads="1"/>
              </p:cNvSpPr>
              <p:nvPr/>
            </p:nvSpPr>
            <p:spPr bwMode="auto">
              <a:xfrm>
                <a:off x="3793151" y="6476333"/>
                <a:ext cx="476639" cy="274320"/>
              </a:xfrm>
              <a:prstGeom prst="rect">
                <a:avLst/>
              </a:prstGeom>
              <a:noFill/>
              <a:ln w="9525">
                <a:noFill/>
                <a:miter lim="800000"/>
                <a:headEnd type="none" w="sm" len="sm"/>
                <a:tailEnd type="none" w="sm" len="sm"/>
              </a:ln>
              <a:effectLst/>
            </p:spPr>
            <p:txBody>
              <a:bodyPr wrap="square" lIns="45720" rIns="45720" anchor="ctr">
                <a:noAutofit/>
              </a:bodyPr>
              <a:lstStyle/>
              <a:p>
                <a:pPr algn="ctr"/>
                <a:r>
                  <a:rPr lang="en-US" sz="1000" b="1" dirty="0">
                    <a:solidFill>
                      <a:srgbClr val="00338D"/>
                    </a:solidFill>
                  </a:rPr>
                  <a:t>Key:</a:t>
                </a:r>
              </a:p>
            </p:txBody>
          </p:sp>
          <p:sp>
            <p:nvSpPr>
              <p:cNvPr id="463" name="object 140"/>
              <p:cNvSpPr txBox="1"/>
              <p:nvPr/>
            </p:nvSpPr>
            <p:spPr>
              <a:xfrm>
                <a:off x="5247374" y="6551939"/>
                <a:ext cx="883274" cy="123111"/>
              </a:xfrm>
              <a:prstGeom prst="rect">
                <a:avLst/>
              </a:prstGeom>
            </p:spPr>
            <p:txBody>
              <a:bodyPr vert="horz" wrap="square" lIns="0" tIns="0" rIns="0" bIns="0" rtlCol="0">
                <a:spAutoFit/>
              </a:bodyPr>
              <a:lstStyle/>
              <a:p>
                <a:pPr marL="12700"/>
                <a:r>
                  <a:rPr lang="en-GB" sz="800" b="1" spc="-10" dirty="0">
                    <a:solidFill>
                      <a:srgbClr val="00338D"/>
                    </a:solidFill>
                    <a:cs typeface="Century Gothic"/>
                  </a:rPr>
                  <a:t>Peer </a:t>
                </a:r>
                <a:r>
                  <a:rPr lang="en-GB" sz="800" b="1" spc="-10" dirty="0" smtClean="0">
                    <a:solidFill>
                      <a:srgbClr val="00338D"/>
                    </a:solidFill>
                    <a:cs typeface="Century Gothic"/>
                  </a:rPr>
                  <a:t>Group</a:t>
                </a:r>
                <a:endParaRPr sz="800" b="1" dirty="0">
                  <a:solidFill>
                    <a:srgbClr val="00338D"/>
                  </a:solidFill>
                  <a:cs typeface="Century Gothic"/>
                </a:endParaRPr>
              </a:p>
            </p:txBody>
          </p:sp>
          <p:sp>
            <p:nvSpPr>
              <p:cNvPr id="464" name="Isosceles Triangle 463"/>
              <p:cNvSpPr/>
              <p:nvPr/>
            </p:nvSpPr>
            <p:spPr>
              <a:xfrm rot="10800000">
                <a:off x="5097444" y="6554522"/>
                <a:ext cx="140400" cy="117943"/>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grpSp>
        <p:sp>
          <p:nvSpPr>
            <p:cNvPr id="456" name="Isosceles Triangle 455"/>
            <p:cNvSpPr/>
            <p:nvPr/>
          </p:nvSpPr>
          <p:spPr>
            <a:xfrm rot="10800000">
              <a:off x="10162847" y="435063"/>
              <a:ext cx="140400" cy="117943"/>
            </a:xfrm>
            <a:prstGeom prst="triangle">
              <a:avLst/>
            </a:prstGeom>
            <a:solidFill>
              <a:srgbClr val="00B060"/>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57" name="TextBox 456"/>
            <p:cNvSpPr txBox="1"/>
            <p:nvPr/>
          </p:nvSpPr>
          <p:spPr>
            <a:xfrm>
              <a:off x="10753127" y="406382"/>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Global </a:t>
              </a:r>
              <a:r>
                <a:rPr lang="en-AU" sz="800" b="1" dirty="0" smtClean="0">
                  <a:solidFill>
                    <a:srgbClr val="00338D"/>
                  </a:solidFill>
                </a:rPr>
                <a:t>Industry </a:t>
              </a:r>
              <a:r>
                <a:rPr lang="en-AU" sz="800" b="1" dirty="0">
                  <a:solidFill>
                    <a:srgbClr val="00338D"/>
                  </a:solidFill>
                </a:rPr>
                <a:t>B</a:t>
              </a:r>
              <a:r>
                <a:rPr lang="en-AU" sz="800" b="1" dirty="0" smtClean="0">
                  <a:solidFill>
                    <a:srgbClr val="00338D"/>
                  </a:solidFill>
                </a:rPr>
                <a:t>enchmark</a:t>
              </a:r>
              <a:endParaRPr lang="en-AU" sz="800" b="1" dirty="0">
                <a:solidFill>
                  <a:srgbClr val="00338D"/>
                </a:solidFill>
              </a:endParaRPr>
            </a:p>
          </p:txBody>
        </p:sp>
        <p:sp>
          <p:nvSpPr>
            <p:cNvPr id="458" name="Isosceles Triangle 457"/>
            <p:cNvSpPr/>
            <p:nvPr/>
          </p:nvSpPr>
          <p:spPr>
            <a:xfrm rot="10800000">
              <a:off x="11860573" y="436066"/>
              <a:ext cx="140400" cy="117943"/>
            </a:xfrm>
            <a:prstGeom prst="triangle">
              <a:avLst/>
            </a:prstGeom>
            <a:solidFill>
              <a:srgbClr val="8E258D"/>
            </a:solidFill>
            <a:ln>
              <a:no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338D"/>
                </a:solidFill>
                <a:latin typeface="Calibri" panose="020F0502020204030204" pitchFamily="34" charset="0"/>
              </a:endParaRPr>
            </a:p>
          </p:txBody>
        </p:sp>
        <p:sp>
          <p:nvSpPr>
            <p:cNvPr id="459" name="TextBox 458"/>
            <p:cNvSpPr txBox="1"/>
            <p:nvPr/>
          </p:nvSpPr>
          <p:spPr>
            <a:xfrm>
              <a:off x="12016513" y="407385"/>
              <a:ext cx="469141" cy="175304"/>
            </a:xfrm>
            <a:prstGeom prst="rect">
              <a:avLst/>
            </a:prstGeom>
            <a:noFill/>
          </p:spPr>
          <p:txBody>
            <a:bodyPr wrap="none" lIns="21772" tIns="21772" rIns="21772" bIns="21772" rtlCol="0" anchor="ctr" anchorCtr="0">
              <a:noAutofit/>
            </a:bodyPr>
            <a:lstStyle/>
            <a:p>
              <a:pPr algn="ctr"/>
              <a:r>
                <a:rPr lang="en-AU" sz="800" b="1" dirty="0">
                  <a:solidFill>
                    <a:srgbClr val="00338D"/>
                  </a:solidFill>
                </a:rPr>
                <a:t>Aspiration</a:t>
              </a:r>
            </a:p>
          </p:txBody>
        </p:sp>
      </p:grpSp>
      <p:pic>
        <p:nvPicPr>
          <p:cNvPr id="465" name="Picture 46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53248" y="20474"/>
            <a:ext cx="548640" cy="155207"/>
          </a:xfrm>
          <a:prstGeom prst="rect">
            <a:avLst/>
          </a:prstGeom>
          <a:solidFill>
            <a:srgbClr val="BFBFBF"/>
          </a:solidFill>
        </p:spPr>
      </p:pic>
      <p:sp>
        <p:nvSpPr>
          <p:cNvPr id="403" name="TextBox 402"/>
          <p:cNvSpPr txBox="1"/>
          <p:nvPr/>
        </p:nvSpPr>
        <p:spPr>
          <a:xfrm>
            <a:off x="70161" y="3425885"/>
            <a:ext cx="3017520" cy="184666"/>
          </a:xfrm>
          <a:prstGeom prst="rect">
            <a:avLst/>
          </a:prstGeom>
          <a:noFill/>
        </p:spPr>
        <p:txBody>
          <a:bodyPr wrap="square" lIns="0" tIns="0" rIns="0" bIns="0" rtlCol="0">
            <a:spAutoFit/>
          </a:bodyPr>
          <a:lstStyle>
            <a:defPPr>
              <a:defRPr lang="en-US"/>
            </a:defPPr>
            <a:lvl1pPr>
              <a:defRPr sz="1200" b="1">
                <a:solidFill>
                  <a:srgbClr val="FFFFFF"/>
                </a:solidFill>
                <a:cs typeface="Arial" pitchFamily="34" charset="0"/>
              </a:defRPr>
            </a:lvl1pPr>
          </a:lstStyle>
          <a:p>
            <a:r>
              <a:rPr lang="en-US" dirty="0" smtClean="0"/>
              <a:t>Risk Governance</a:t>
            </a:r>
            <a:endParaRPr lang="en-US" dirty="0"/>
          </a:p>
        </p:txBody>
      </p:sp>
      <p:sp>
        <p:nvSpPr>
          <p:cNvPr id="404" name="TextBox 403"/>
          <p:cNvSpPr txBox="1"/>
          <p:nvPr/>
        </p:nvSpPr>
        <p:spPr>
          <a:xfrm>
            <a:off x="88888" y="4117529"/>
            <a:ext cx="3174580" cy="184666"/>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Risk Monitoring</a:t>
            </a:r>
            <a:endParaRPr lang="en-US" sz="1200" b="1" dirty="0">
              <a:solidFill>
                <a:srgbClr val="FFFFFF"/>
              </a:solidFill>
              <a:cs typeface="Arial" pitchFamily="34" charset="0"/>
            </a:endParaRPr>
          </a:p>
        </p:txBody>
      </p:sp>
      <p:sp>
        <p:nvSpPr>
          <p:cNvPr id="405" name="Rectangle 404"/>
          <p:cNvSpPr/>
          <p:nvPr/>
        </p:nvSpPr>
        <p:spPr>
          <a:xfrm>
            <a:off x="101012" y="3650406"/>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06" name="Isosceles Triangle 405"/>
          <p:cNvSpPr/>
          <p:nvPr/>
        </p:nvSpPr>
        <p:spPr>
          <a:xfrm>
            <a:off x="1681359" y="3750707"/>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7" name="Isosceles Triangle 406"/>
          <p:cNvSpPr/>
          <p:nvPr/>
        </p:nvSpPr>
        <p:spPr>
          <a:xfrm>
            <a:off x="1238417" y="3750707"/>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08" name="Rectangle 407"/>
          <p:cNvSpPr/>
          <p:nvPr/>
        </p:nvSpPr>
        <p:spPr>
          <a:xfrm>
            <a:off x="87900" y="4344853"/>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10" name="Isosceles Triangle 409"/>
          <p:cNvSpPr/>
          <p:nvPr/>
        </p:nvSpPr>
        <p:spPr>
          <a:xfrm>
            <a:off x="2767399" y="3750707"/>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1" name="Isosceles Triangle 410"/>
          <p:cNvSpPr/>
          <p:nvPr/>
        </p:nvSpPr>
        <p:spPr>
          <a:xfrm>
            <a:off x="2333734" y="3750707"/>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2" name="Isosceles Triangle 411"/>
          <p:cNvSpPr/>
          <p:nvPr/>
        </p:nvSpPr>
        <p:spPr>
          <a:xfrm>
            <a:off x="1893135" y="4442669"/>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3" name="Isosceles Triangle 412"/>
          <p:cNvSpPr/>
          <p:nvPr/>
        </p:nvSpPr>
        <p:spPr>
          <a:xfrm>
            <a:off x="2827154" y="4442669"/>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4" name="Isosceles Triangle 413"/>
          <p:cNvSpPr/>
          <p:nvPr/>
        </p:nvSpPr>
        <p:spPr>
          <a:xfrm>
            <a:off x="2327038" y="4442669"/>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5" name="Isosceles Triangle 414"/>
          <p:cNvSpPr/>
          <p:nvPr/>
        </p:nvSpPr>
        <p:spPr>
          <a:xfrm>
            <a:off x="1190426" y="4442669"/>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6" name="TextBox 415"/>
          <p:cNvSpPr txBox="1"/>
          <p:nvPr/>
        </p:nvSpPr>
        <p:spPr>
          <a:xfrm>
            <a:off x="78188" y="4914245"/>
            <a:ext cx="3174580" cy="184666"/>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Risk </a:t>
            </a:r>
            <a:r>
              <a:rPr lang="en-US" sz="1200" b="1" dirty="0">
                <a:solidFill>
                  <a:srgbClr val="FFFFFF"/>
                </a:solidFill>
                <a:cs typeface="Arial" pitchFamily="34" charset="0"/>
              </a:rPr>
              <a:t>Definition &amp; </a:t>
            </a:r>
            <a:r>
              <a:rPr lang="en-US" sz="1200" b="1" dirty="0" smtClean="0">
                <a:solidFill>
                  <a:srgbClr val="FFFFFF"/>
                </a:solidFill>
                <a:cs typeface="Arial" pitchFamily="34" charset="0"/>
              </a:rPr>
              <a:t>Ownership</a:t>
            </a:r>
            <a:endParaRPr lang="en-US" sz="1200" b="1" dirty="0">
              <a:solidFill>
                <a:srgbClr val="FFFFFF"/>
              </a:solidFill>
              <a:cs typeface="Arial" pitchFamily="34" charset="0"/>
            </a:endParaRPr>
          </a:p>
        </p:txBody>
      </p:sp>
      <p:sp>
        <p:nvSpPr>
          <p:cNvPr id="417" name="Rectangle 416"/>
          <p:cNvSpPr/>
          <p:nvPr/>
        </p:nvSpPr>
        <p:spPr>
          <a:xfrm>
            <a:off x="77200" y="5141571"/>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18" name="Isosceles Triangle 417"/>
          <p:cNvSpPr/>
          <p:nvPr/>
        </p:nvSpPr>
        <p:spPr>
          <a:xfrm>
            <a:off x="1728414" y="5239387"/>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19" name="Isosceles Triangle 418"/>
          <p:cNvSpPr/>
          <p:nvPr/>
        </p:nvSpPr>
        <p:spPr>
          <a:xfrm>
            <a:off x="2767399" y="5239387"/>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0" name="Isosceles Triangle 419"/>
          <p:cNvSpPr/>
          <p:nvPr/>
        </p:nvSpPr>
        <p:spPr>
          <a:xfrm>
            <a:off x="2653218" y="5239387"/>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1" name="Isosceles Triangle 420"/>
          <p:cNvSpPr/>
          <p:nvPr/>
        </p:nvSpPr>
        <p:spPr>
          <a:xfrm>
            <a:off x="1641730" y="5239387"/>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2" name="TextBox 421"/>
          <p:cNvSpPr txBox="1"/>
          <p:nvPr/>
        </p:nvSpPr>
        <p:spPr>
          <a:xfrm>
            <a:off x="67740" y="5575167"/>
            <a:ext cx="3174580" cy="184666"/>
          </a:xfrm>
          <a:prstGeom prst="rect">
            <a:avLst/>
          </a:prstGeom>
          <a:noFill/>
        </p:spPr>
        <p:txBody>
          <a:bodyPr wrap="square" lIns="0" tIns="0" rIns="0" bIns="0" rtlCol="0">
            <a:spAutoFit/>
          </a:bodyPr>
          <a:lstStyle/>
          <a:p>
            <a:r>
              <a:rPr lang="en-US" sz="1200" b="1" dirty="0" smtClean="0">
                <a:solidFill>
                  <a:srgbClr val="FFFFFF"/>
                </a:solidFill>
                <a:cs typeface="Arial" pitchFamily="34" charset="0"/>
              </a:rPr>
              <a:t>Cybersecurity</a:t>
            </a:r>
            <a:endParaRPr lang="en-US" sz="1200" b="1" dirty="0">
              <a:solidFill>
                <a:srgbClr val="FFFFFF"/>
              </a:solidFill>
              <a:cs typeface="Arial" pitchFamily="34" charset="0"/>
            </a:endParaRPr>
          </a:p>
        </p:txBody>
      </p:sp>
      <p:sp>
        <p:nvSpPr>
          <p:cNvPr id="423" name="Rectangle 422"/>
          <p:cNvSpPr/>
          <p:nvPr/>
        </p:nvSpPr>
        <p:spPr>
          <a:xfrm>
            <a:off x="66752" y="5821740"/>
            <a:ext cx="3053407" cy="79604"/>
          </a:xfrm>
          <a:prstGeom prst="rect">
            <a:avLst/>
          </a:prstGeom>
          <a:gradFill>
            <a:gsLst>
              <a:gs pos="26000">
                <a:srgbClr val="F7941E">
                  <a:lumMod val="60000"/>
                  <a:lumOff val="40000"/>
                </a:srgbClr>
              </a:gs>
              <a:gs pos="0">
                <a:srgbClr val="FF0000"/>
              </a:gs>
              <a:gs pos="51000">
                <a:srgbClr val="9E9FA1">
                  <a:lumMod val="40000"/>
                  <a:lumOff val="60000"/>
                </a:srgbClr>
              </a:gs>
              <a:gs pos="76000">
                <a:srgbClr val="00B050"/>
              </a:gs>
              <a:gs pos="100000">
                <a:srgbClr val="00B0F0"/>
              </a:gs>
            </a:gsLst>
            <a:lin ang="0" scaled="0"/>
          </a:gradFill>
          <a:ln w="25400" cap="flat" cmpd="sng" algn="ctr">
            <a:noFill/>
            <a:prstDash val="solid"/>
          </a:ln>
          <a:effectLst/>
        </p:spPr>
        <p:txBody>
          <a:bodyPr lIns="21772" tIns="21772" rIns="21772" bIns="21772" rtlCol="0" anchor="ctr" anchorCtr="0"/>
          <a:lstStyle/>
          <a:p>
            <a:pPr algn="ctr">
              <a:defRPr/>
            </a:pPr>
            <a:endParaRPr lang="en-AU" sz="800" kern="0" dirty="0" err="1" smtClean="0">
              <a:solidFill>
                <a:srgbClr val="FFFFFF"/>
              </a:solidFill>
              <a:latin typeface="Calibri" panose="020F0502020204030204" pitchFamily="34" charset="0"/>
              <a:cs typeface="Arial" panose="020B0604020202020204" pitchFamily="34" charset="0"/>
            </a:endParaRPr>
          </a:p>
        </p:txBody>
      </p:sp>
      <p:sp>
        <p:nvSpPr>
          <p:cNvPr id="424" name="Isosceles Triangle 423"/>
          <p:cNvSpPr/>
          <p:nvPr/>
        </p:nvSpPr>
        <p:spPr>
          <a:xfrm>
            <a:off x="1681359" y="5919556"/>
            <a:ext cx="140400" cy="117943"/>
          </a:xfrm>
          <a:prstGeom prst="triangl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5" name="Isosceles Triangle 424"/>
          <p:cNvSpPr/>
          <p:nvPr/>
        </p:nvSpPr>
        <p:spPr>
          <a:xfrm>
            <a:off x="2825254" y="5919556"/>
            <a:ext cx="140400" cy="117943"/>
          </a:xfrm>
          <a:prstGeom prst="triangle">
            <a:avLst/>
          </a:prstGeom>
          <a:solidFill>
            <a:srgbClr val="00B06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6" name="Isosceles Triangle 425"/>
          <p:cNvSpPr/>
          <p:nvPr/>
        </p:nvSpPr>
        <p:spPr>
          <a:xfrm>
            <a:off x="2123020" y="5919556"/>
            <a:ext cx="140400" cy="117943"/>
          </a:xfrm>
          <a:prstGeom prst="triangle">
            <a:avLst/>
          </a:prstGeom>
          <a:solidFill>
            <a:srgbClr val="8E25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sp>
        <p:nvSpPr>
          <p:cNvPr id="427" name="Isosceles Triangle 426"/>
          <p:cNvSpPr/>
          <p:nvPr/>
        </p:nvSpPr>
        <p:spPr>
          <a:xfrm>
            <a:off x="1238417" y="5919556"/>
            <a:ext cx="140400" cy="117943"/>
          </a:xfrm>
          <a:prstGeom prst="triangle">
            <a:avLst/>
          </a:prstGeom>
          <a:solidFill>
            <a:srgbClr val="00338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772" tIns="21772" rIns="21772" bIns="21772" rtlCol="0" anchor="ctr" anchorCtr="0"/>
          <a:lstStyle/>
          <a:p>
            <a:pPr algn="ctr"/>
            <a:endParaRPr lang="en-AU" sz="800" dirty="0" err="1">
              <a:solidFill>
                <a:srgbClr val="000000"/>
              </a:solidFill>
              <a:latin typeface="Calibri" panose="020F0502020204030204" pitchFamily="34" charset="0"/>
            </a:endParaRPr>
          </a:p>
        </p:txBody>
      </p:sp>
      <p:pic>
        <p:nvPicPr>
          <p:cNvPr id="428" name="Picture 4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53162" y="3331574"/>
            <a:ext cx="405670" cy="405670"/>
          </a:xfrm>
          <a:prstGeom prst="rect">
            <a:avLst/>
          </a:prstGeom>
        </p:spPr>
      </p:pic>
      <p:sp>
        <p:nvSpPr>
          <p:cNvPr id="834" name="Snip Diagonal Corner Rectangle 833"/>
          <p:cNvSpPr/>
          <p:nvPr/>
        </p:nvSpPr>
        <p:spPr>
          <a:xfrm>
            <a:off x="6810046" y="4016169"/>
            <a:ext cx="5106756" cy="2384631"/>
          </a:xfrm>
          <a:prstGeom prst="snip2Diag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defTabSz="890789">
              <a:spcAft>
                <a:spcPts val="100"/>
              </a:spcAft>
              <a:buFont typeface="Arial" panose="020B0604020202020204" pitchFamily="34" charset="0"/>
              <a:buChar char="•"/>
              <a:defRPr/>
            </a:pPr>
            <a:r>
              <a:rPr lang="en-US" sz="1400" dirty="0">
                <a:solidFill>
                  <a:schemeClr val="bg1"/>
                </a:solidFill>
              </a:rPr>
              <a:t>Risk is managed through a framework designed to balance strong corporate oversight with well-defined independent risk management. This framework includes the definition of cybersecurity risks.</a:t>
            </a:r>
          </a:p>
          <a:p>
            <a:pPr marL="171450" indent="-171450" defTabSz="890789">
              <a:spcAft>
                <a:spcPts val="100"/>
              </a:spcAft>
              <a:buFont typeface="Arial" panose="020B0604020202020204" pitchFamily="34" charset="0"/>
              <a:buChar char="•"/>
              <a:defRPr/>
            </a:pPr>
            <a:r>
              <a:rPr lang="en-US" sz="1400" b="1" dirty="0">
                <a:solidFill>
                  <a:schemeClr val="bg1"/>
                </a:solidFill>
              </a:rPr>
              <a:t>Citi </a:t>
            </a:r>
            <a:r>
              <a:rPr lang="en-US" sz="1400" dirty="0">
                <a:solidFill>
                  <a:schemeClr val="bg1"/>
                </a:solidFill>
              </a:rPr>
              <a:t>have pledged to partner with key financial service players and government agencies to establish a unified response to cybersecurity threats. </a:t>
            </a:r>
          </a:p>
          <a:p>
            <a:pPr marL="171450" indent="-171450" defTabSz="890789">
              <a:spcAft>
                <a:spcPts val="100"/>
              </a:spcAft>
              <a:buFont typeface="Arial" panose="020B0604020202020204" pitchFamily="34" charset="0"/>
              <a:buChar char="•"/>
              <a:defRPr/>
            </a:pPr>
            <a:r>
              <a:rPr lang="en-US" sz="1400" i="1" dirty="0" smtClean="0">
                <a:solidFill>
                  <a:schemeClr val="bg1"/>
                </a:solidFill>
              </a:rPr>
              <a:t>Refer to Detailed Assessment – Risk Model for details.</a:t>
            </a:r>
            <a:endParaRPr lang="en-US" sz="1400" i="1" dirty="0">
              <a:solidFill>
                <a:schemeClr val="bg1"/>
              </a:solidFill>
            </a:endParaRPr>
          </a:p>
        </p:txBody>
      </p:sp>
      <p:grpSp>
        <p:nvGrpSpPr>
          <p:cNvPr id="835" name="Group 834"/>
          <p:cNvGrpSpPr/>
          <p:nvPr/>
        </p:nvGrpSpPr>
        <p:grpSpPr>
          <a:xfrm>
            <a:off x="3814470" y="4026391"/>
            <a:ext cx="2940035" cy="2373244"/>
            <a:chOff x="3542201" y="3302599"/>
            <a:chExt cx="3684601" cy="3098199"/>
          </a:xfrm>
        </p:grpSpPr>
        <p:sp>
          <p:nvSpPr>
            <p:cNvPr id="836" name="Rectangle 835"/>
            <p:cNvSpPr/>
            <p:nvPr/>
          </p:nvSpPr>
          <p:spPr>
            <a:xfrm>
              <a:off x="3542201" y="3302599"/>
              <a:ext cx="3684601" cy="3098199"/>
            </a:xfrm>
            <a:prstGeom prst="rect">
              <a:avLst/>
            </a:prstGeom>
            <a:noFill/>
            <a:ln w="1905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837" name="Freeform 28"/>
            <p:cNvSpPr>
              <a:spLocks/>
            </p:cNvSpPr>
            <p:nvPr/>
          </p:nvSpPr>
          <p:spPr bwMode="auto">
            <a:xfrm>
              <a:off x="3636441" y="3702411"/>
              <a:ext cx="924879" cy="732677"/>
            </a:xfrm>
            <a:custGeom>
              <a:avLst/>
              <a:gdLst>
                <a:gd name="T0" fmla="*/ 27 w 14387"/>
                <a:gd name="T1" fmla="*/ 10280 h 13637"/>
                <a:gd name="T2" fmla="*/ 47 w 14387"/>
                <a:gd name="T3" fmla="*/ 9679 h 13637"/>
                <a:gd name="T4" fmla="*/ 46 w 14387"/>
                <a:gd name="T5" fmla="*/ 9104 h 13637"/>
                <a:gd name="T6" fmla="*/ 85 w 14387"/>
                <a:gd name="T7" fmla="*/ 8599 h 13637"/>
                <a:gd name="T8" fmla="*/ 145 w 14387"/>
                <a:gd name="T9" fmla="*/ 7943 h 13637"/>
                <a:gd name="T10" fmla="*/ 173 w 14387"/>
                <a:gd name="T11" fmla="*/ 7168 h 13637"/>
                <a:gd name="T12" fmla="*/ 735 w 14387"/>
                <a:gd name="T13" fmla="*/ 6372 h 13637"/>
                <a:gd name="T14" fmla="*/ 1085 w 14387"/>
                <a:gd name="T15" fmla="*/ 5576 h 13637"/>
                <a:gd name="T16" fmla="*/ 1306 w 14387"/>
                <a:gd name="T17" fmla="*/ 5168 h 13637"/>
                <a:gd name="T18" fmla="*/ 1420 w 14387"/>
                <a:gd name="T19" fmla="*/ 4292 h 13637"/>
                <a:gd name="T20" fmla="*/ 1138 w 14387"/>
                <a:gd name="T21" fmla="*/ 3442 h 13637"/>
                <a:gd name="T22" fmla="*/ 1262 w 14387"/>
                <a:gd name="T23" fmla="*/ 2953 h 13637"/>
                <a:gd name="T24" fmla="*/ 1245 w 14387"/>
                <a:gd name="T25" fmla="*/ 2311 h 13637"/>
                <a:gd name="T26" fmla="*/ 1486 w 14387"/>
                <a:gd name="T27" fmla="*/ 1710 h 13637"/>
                <a:gd name="T28" fmla="*/ 1959 w 14387"/>
                <a:gd name="T29" fmla="*/ 1064 h 13637"/>
                <a:gd name="T30" fmla="*/ 1975 w 14387"/>
                <a:gd name="T31" fmla="*/ 561 h 13637"/>
                <a:gd name="T32" fmla="*/ 3297 w 14387"/>
                <a:gd name="T33" fmla="*/ 55 h 13637"/>
                <a:gd name="T34" fmla="*/ 4430 w 14387"/>
                <a:gd name="T35" fmla="*/ 360 h 13637"/>
                <a:gd name="T36" fmla="*/ 5116 w 14387"/>
                <a:gd name="T37" fmla="*/ 1009 h 13637"/>
                <a:gd name="T38" fmla="*/ 5881 w 14387"/>
                <a:gd name="T39" fmla="*/ 1050 h 13637"/>
                <a:gd name="T40" fmla="*/ 6805 w 14387"/>
                <a:gd name="T41" fmla="*/ 1048 h 13637"/>
                <a:gd name="T42" fmla="*/ 7701 w 14387"/>
                <a:gd name="T43" fmla="*/ 1563 h 13637"/>
                <a:gd name="T44" fmla="*/ 8779 w 14387"/>
                <a:gd name="T45" fmla="*/ 1265 h 13637"/>
                <a:gd name="T46" fmla="*/ 9583 w 14387"/>
                <a:gd name="T47" fmla="*/ 794 h 13637"/>
                <a:gd name="T48" fmla="*/ 10879 w 14387"/>
                <a:gd name="T49" fmla="*/ 894 h 13637"/>
                <a:gd name="T50" fmla="*/ 11840 w 14387"/>
                <a:gd name="T51" fmla="*/ 1014 h 13637"/>
                <a:gd name="T52" fmla="*/ 12680 w 14387"/>
                <a:gd name="T53" fmla="*/ 357 h 13637"/>
                <a:gd name="T54" fmla="*/ 13485 w 14387"/>
                <a:gd name="T55" fmla="*/ 718 h 13637"/>
                <a:gd name="T56" fmla="*/ 13812 w 14387"/>
                <a:gd name="T57" fmla="*/ 2019 h 13637"/>
                <a:gd name="T58" fmla="*/ 14343 w 14387"/>
                <a:gd name="T59" fmla="*/ 2628 h 13637"/>
                <a:gd name="T60" fmla="*/ 14087 w 14387"/>
                <a:gd name="T61" fmla="*/ 3450 h 13637"/>
                <a:gd name="T62" fmla="*/ 13437 w 14387"/>
                <a:gd name="T63" fmla="*/ 3985 h 13637"/>
                <a:gd name="T64" fmla="*/ 13139 w 14387"/>
                <a:gd name="T65" fmla="*/ 4887 h 13637"/>
                <a:gd name="T66" fmla="*/ 12755 w 14387"/>
                <a:gd name="T67" fmla="*/ 5747 h 13637"/>
                <a:gd name="T68" fmla="*/ 12420 w 14387"/>
                <a:gd name="T69" fmla="*/ 6297 h 13637"/>
                <a:gd name="T70" fmla="*/ 12098 w 14387"/>
                <a:gd name="T71" fmla="*/ 7371 h 13637"/>
                <a:gd name="T72" fmla="*/ 11472 w 14387"/>
                <a:gd name="T73" fmla="*/ 8095 h 13637"/>
                <a:gd name="T74" fmla="*/ 11249 w 14387"/>
                <a:gd name="T75" fmla="*/ 8865 h 13637"/>
                <a:gd name="T76" fmla="*/ 10986 w 14387"/>
                <a:gd name="T77" fmla="*/ 9595 h 13637"/>
                <a:gd name="T78" fmla="*/ 10450 w 14387"/>
                <a:gd name="T79" fmla="*/ 10430 h 13637"/>
                <a:gd name="T80" fmla="*/ 9601 w 14387"/>
                <a:gd name="T81" fmla="*/ 9618 h 13637"/>
                <a:gd name="T82" fmla="*/ 8897 w 14387"/>
                <a:gd name="T83" fmla="*/ 9834 h 13637"/>
                <a:gd name="T84" fmla="*/ 8187 w 14387"/>
                <a:gd name="T85" fmla="*/ 10571 h 13637"/>
                <a:gd name="T86" fmla="*/ 7519 w 14387"/>
                <a:gd name="T87" fmla="*/ 11196 h 13637"/>
                <a:gd name="T88" fmla="*/ 7414 w 14387"/>
                <a:gd name="T89" fmla="*/ 11917 h 13637"/>
                <a:gd name="T90" fmla="*/ 7130 w 14387"/>
                <a:gd name="T91" fmla="*/ 12682 h 13637"/>
                <a:gd name="T92" fmla="*/ 7039 w 14387"/>
                <a:gd name="T93" fmla="*/ 13363 h 13637"/>
                <a:gd name="T94" fmla="*/ 6654 w 14387"/>
                <a:gd name="T95" fmla="*/ 12729 h 13637"/>
                <a:gd name="T96" fmla="*/ 6463 w 14387"/>
                <a:gd name="T97" fmla="*/ 13222 h 13637"/>
                <a:gd name="T98" fmla="*/ 5535 w 14387"/>
                <a:gd name="T99" fmla="*/ 13389 h 13637"/>
                <a:gd name="T100" fmla="*/ 5020 w 14387"/>
                <a:gd name="T101" fmla="*/ 13460 h 13637"/>
                <a:gd name="T102" fmla="*/ 4437 w 14387"/>
                <a:gd name="T103" fmla="*/ 13515 h 13637"/>
                <a:gd name="T104" fmla="*/ 3751 w 14387"/>
                <a:gd name="T105" fmla="*/ 13365 h 13637"/>
                <a:gd name="T106" fmla="*/ 3432 w 14387"/>
                <a:gd name="T107" fmla="*/ 12710 h 13637"/>
                <a:gd name="T108" fmla="*/ 2988 w 14387"/>
                <a:gd name="T109" fmla="*/ 11804 h 13637"/>
                <a:gd name="T110" fmla="*/ 2684 w 14387"/>
                <a:gd name="T111" fmla="*/ 11216 h 13637"/>
                <a:gd name="T112" fmla="*/ 1929 w 14387"/>
                <a:gd name="T113" fmla="*/ 10569 h 13637"/>
                <a:gd name="T114" fmla="*/ 890 w 14387"/>
                <a:gd name="T115" fmla="*/ 10343 h 13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7" h="13637">
                  <a:moveTo>
                    <a:pt x="659" y="10386"/>
                  </a:moveTo>
                  <a:lnTo>
                    <a:pt x="561" y="10435"/>
                  </a:lnTo>
                  <a:lnTo>
                    <a:pt x="294" y="10452"/>
                  </a:lnTo>
                  <a:lnTo>
                    <a:pt x="159" y="10419"/>
                  </a:lnTo>
                  <a:lnTo>
                    <a:pt x="50" y="10435"/>
                  </a:lnTo>
                  <a:lnTo>
                    <a:pt x="0" y="10367"/>
                  </a:lnTo>
                  <a:lnTo>
                    <a:pt x="27" y="10280"/>
                  </a:lnTo>
                  <a:lnTo>
                    <a:pt x="43" y="10181"/>
                  </a:lnTo>
                  <a:lnTo>
                    <a:pt x="43" y="9929"/>
                  </a:lnTo>
                  <a:lnTo>
                    <a:pt x="29" y="9877"/>
                  </a:lnTo>
                  <a:lnTo>
                    <a:pt x="60" y="9839"/>
                  </a:lnTo>
                  <a:lnTo>
                    <a:pt x="40" y="9780"/>
                  </a:lnTo>
                  <a:lnTo>
                    <a:pt x="65" y="9730"/>
                  </a:lnTo>
                  <a:lnTo>
                    <a:pt x="47" y="9679"/>
                  </a:lnTo>
                  <a:lnTo>
                    <a:pt x="32" y="9584"/>
                  </a:lnTo>
                  <a:lnTo>
                    <a:pt x="35" y="9475"/>
                  </a:lnTo>
                  <a:lnTo>
                    <a:pt x="58" y="9374"/>
                  </a:lnTo>
                  <a:lnTo>
                    <a:pt x="62" y="9292"/>
                  </a:lnTo>
                  <a:lnTo>
                    <a:pt x="46" y="9222"/>
                  </a:lnTo>
                  <a:lnTo>
                    <a:pt x="57" y="9146"/>
                  </a:lnTo>
                  <a:lnTo>
                    <a:pt x="46" y="9104"/>
                  </a:lnTo>
                  <a:lnTo>
                    <a:pt x="35" y="9044"/>
                  </a:lnTo>
                  <a:lnTo>
                    <a:pt x="39" y="8985"/>
                  </a:lnTo>
                  <a:lnTo>
                    <a:pt x="50" y="8938"/>
                  </a:lnTo>
                  <a:lnTo>
                    <a:pt x="40" y="8837"/>
                  </a:lnTo>
                  <a:lnTo>
                    <a:pt x="57" y="8745"/>
                  </a:lnTo>
                  <a:lnTo>
                    <a:pt x="85" y="8641"/>
                  </a:lnTo>
                  <a:lnTo>
                    <a:pt x="85" y="8599"/>
                  </a:lnTo>
                  <a:lnTo>
                    <a:pt x="101" y="8492"/>
                  </a:lnTo>
                  <a:lnTo>
                    <a:pt x="104" y="8421"/>
                  </a:lnTo>
                  <a:lnTo>
                    <a:pt x="116" y="8354"/>
                  </a:lnTo>
                  <a:lnTo>
                    <a:pt x="138" y="8302"/>
                  </a:lnTo>
                  <a:lnTo>
                    <a:pt x="148" y="8190"/>
                  </a:lnTo>
                  <a:lnTo>
                    <a:pt x="132" y="8109"/>
                  </a:lnTo>
                  <a:lnTo>
                    <a:pt x="145" y="7943"/>
                  </a:lnTo>
                  <a:lnTo>
                    <a:pt x="140" y="7804"/>
                  </a:lnTo>
                  <a:lnTo>
                    <a:pt x="119" y="7704"/>
                  </a:lnTo>
                  <a:lnTo>
                    <a:pt x="140" y="7603"/>
                  </a:lnTo>
                  <a:lnTo>
                    <a:pt x="141" y="7413"/>
                  </a:lnTo>
                  <a:lnTo>
                    <a:pt x="181" y="7360"/>
                  </a:lnTo>
                  <a:lnTo>
                    <a:pt x="218" y="7214"/>
                  </a:lnTo>
                  <a:lnTo>
                    <a:pt x="173" y="7168"/>
                  </a:lnTo>
                  <a:lnTo>
                    <a:pt x="174" y="7018"/>
                  </a:lnTo>
                  <a:lnTo>
                    <a:pt x="217" y="6870"/>
                  </a:lnTo>
                  <a:lnTo>
                    <a:pt x="267" y="6797"/>
                  </a:lnTo>
                  <a:lnTo>
                    <a:pt x="333" y="6773"/>
                  </a:lnTo>
                  <a:lnTo>
                    <a:pt x="433" y="6772"/>
                  </a:lnTo>
                  <a:lnTo>
                    <a:pt x="688" y="6473"/>
                  </a:lnTo>
                  <a:lnTo>
                    <a:pt x="735" y="6372"/>
                  </a:lnTo>
                  <a:lnTo>
                    <a:pt x="730" y="6175"/>
                  </a:lnTo>
                  <a:lnTo>
                    <a:pt x="777" y="6078"/>
                  </a:lnTo>
                  <a:lnTo>
                    <a:pt x="804" y="5968"/>
                  </a:lnTo>
                  <a:lnTo>
                    <a:pt x="865" y="5927"/>
                  </a:lnTo>
                  <a:lnTo>
                    <a:pt x="912" y="5818"/>
                  </a:lnTo>
                  <a:lnTo>
                    <a:pt x="997" y="5681"/>
                  </a:lnTo>
                  <a:lnTo>
                    <a:pt x="1085" y="5576"/>
                  </a:lnTo>
                  <a:lnTo>
                    <a:pt x="1154" y="5538"/>
                  </a:lnTo>
                  <a:lnTo>
                    <a:pt x="1207" y="5488"/>
                  </a:lnTo>
                  <a:lnTo>
                    <a:pt x="1253" y="5436"/>
                  </a:lnTo>
                  <a:lnTo>
                    <a:pt x="1253" y="5338"/>
                  </a:lnTo>
                  <a:lnTo>
                    <a:pt x="1292" y="5240"/>
                  </a:lnTo>
                  <a:lnTo>
                    <a:pt x="1328" y="5211"/>
                  </a:lnTo>
                  <a:lnTo>
                    <a:pt x="1306" y="5168"/>
                  </a:lnTo>
                  <a:lnTo>
                    <a:pt x="1344" y="5116"/>
                  </a:lnTo>
                  <a:lnTo>
                    <a:pt x="1260" y="5070"/>
                  </a:lnTo>
                  <a:lnTo>
                    <a:pt x="1259" y="4871"/>
                  </a:lnTo>
                  <a:lnTo>
                    <a:pt x="1348" y="4819"/>
                  </a:lnTo>
                  <a:lnTo>
                    <a:pt x="1408" y="4743"/>
                  </a:lnTo>
                  <a:lnTo>
                    <a:pt x="1432" y="4625"/>
                  </a:lnTo>
                  <a:lnTo>
                    <a:pt x="1420" y="4292"/>
                  </a:lnTo>
                  <a:lnTo>
                    <a:pt x="1431" y="4175"/>
                  </a:lnTo>
                  <a:lnTo>
                    <a:pt x="1430" y="4062"/>
                  </a:lnTo>
                  <a:lnTo>
                    <a:pt x="1441" y="3970"/>
                  </a:lnTo>
                  <a:lnTo>
                    <a:pt x="1356" y="3842"/>
                  </a:lnTo>
                  <a:lnTo>
                    <a:pt x="1308" y="3738"/>
                  </a:lnTo>
                  <a:lnTo>
                    <a:pt x="1138" y="3543"/>
                  </a:lnTo>
                  <a:lnTo>
                    <a:pt x="1138" y="3442"/>
                  </a:lnTo>
                  <a:lnTo>
                    <a:pt x="1183" y="3342"/>
                  </a:lnTo>
                  <a:lnTo>
                    <a:pt x="1138" y="3296"/>
                  </a:lnTo>
                  <a:lnTo>
                    <a:pt x="1135" y="3197"/>
                  </a:lnTo>
                  <a:lnTo>
                    <a:pt x="1182" y="3146"/>
                  </a:lnTo>
                  <a:lnTo>
                    <a:pt x="1224" y="3045"/>
                  </a:lnTo>
                  <a:lnTo>
                    <a:pt x="1228" y="2996"/>
                  </a:lnTo>
                  <a:lnTo>
                    <a:pt x="1262" y="2953"/>
                  </a:lnTo>
                  <a:lnTo>
                    <a:pt x="1237" y="2850"/>
                  </a:lnTo>
                  <a:lnTo>
                    <a:pt x="1270" y="2797"/>
                  </a:lnTo>
                  <a:lnTo>
                    <a:pt x="1231" y="2752"/>
                  </a:lnTo>
                  <a:lnTo>
                    <a:pt x="1240" y="2615"/>
                  </a:lnTo>
                  <a:lnTo>
                    <a:pt x="1207" y="2515"/>
                  </a:lnTo>
                  <a:lnTo>
                    <a:pt x="1232" y="2412"/>
                  </a:lnTo>
                  <a:lnTo>
                    <a:pt x="1245" y="2311"/>
                  </a:lnTo>
                  <a:lnTo>
                    <a:pt x="1276" y="2201"/>
                  </a:lnTo>
                  <a:lnTo>
                    <a:pt x="1315" y="2107"/>
                  </a:lnTo>
                  <a:lnTo>
                    <a:pt x="1330" y="2008"/>
                  </a:lnTo>
                  <a:lnTo>
                    <a:pt x="1351" y="1925"/>
                  </a:lnTo>
                  <a:lnTo>
                    <a:pt x="1447" y="1810"/>
                  </a:lnTo>
                  <a:lnTo>
                    <a:pt x="1450" y="1755"/>
                  </a:lnTo>
                  <a:lnTo>
                    <a:pt x="1486" y="1710"/>
                  </a:lnTo>
                  <a:lnTo>
                    <a:pt x="1523" y="1616"/>
                  </a:lnTo>
                  <a:lnTo>
                    <a:pt x="1788" y="1464"/>
                  </a:lnTo>
                  <a:lnTo>
                    <a:pt x="1830" y="1359"/>
                  </a:lnTo>
                  <a:lnTo>
                    <a:pt x="1916" y="1268"/>
                  </a:lnTo>
                  <a:lnTo>
                    <a:pt x="1960" y="1165"/>
                  </a:lnTo>
                  <a:lnTo>
                    <a:pt x="2000" y="1116"/>
                  </a:lnTo>
                  <a:lnTo>
                    <a:pt x="1959" y="1064"/>
                  </a:lnTo>
                  <a:lnTo>
                    <a:pt x="1960" y="868"/>
                  </a:lnTo>
                  <a:lnTo>
                    <a:pt x="1998" y="819"/>
                  </a:lnTo>
                  <a:lnTo>
                    <a:pt x="1934" y="760"/>
                  </a:lnTo>
                  <a:lnTo>
                    <a:pt x="1975" y="708"/>
                  </a:lnTo>
                  <a:lnTo>
                    <a:pt x="1938" y="664"/>
                  </a:lnTo>
                  <a:lnTo>
                    <a:pt x="1975" y="612"/>
                  </a:lnTo>
                  <a:lnTo>
                    <a:pt x="1975" y="561"/>
                  </a:lnTo>
                  <a:lnTo>
                    <a:pt x="2025" y="507"/>
                  </a:lnTo>
                  <a:lnTo>
                    <a:pt x="2189" y="365"/>
                  </a:lnTo>
                  <a:lnTo>
                    <a:pt x="2318" y="316"/>
                  </a:lnTo>
                  <a:lnTo>
                    <a:pt x="2665" y="117"/>
                  </a:lnTo>
                  <a:lnTo>
                    <a:pt x="3101" y="118"/>
                  </a:lnTo>
                  <a:lnTo>
                    <a:pt x="3177" y="63"/>
                  </a:lnTo>
                  <a:lnTo>
                    <a:pt x="3297" y="55"/>
                  </a:lnTo>
                  <a:lnTo>
                    <a:pt x="3406" y="16"/>
                  </a:lnTo>
                  <a:lnTo>
                    <a:pt x="3528" y="15"/>
                  </a:lnTo>
                  <a:lnTo>
                    <a:pt x="3641" y="0"/>
                  </a:lnTo>
                  <a:lnTo>
                    <a:pt x="3748" y="19"/>
                  </a:lnTo>
                  <a:lnTo>
                    <a:pt x="3832" y="118"/>
                  </a:lnTo>
                  <a:lnTo>
                    <a:pt x="3925" y="170"/>
                  </a:lnTo>
                  <a:lnTo>
                    <a:pt x="4430" y="360"/>
                  </a:lnTo>
                  <a:lnTo>
                    <a:pt x="4708" y="474"/>
                  </a:lnTo>
                  <a:lnTo>
                    <a:pt x="4809" y="583"/>
                  </a:lnTo>
                  <a:lnTo>
                    <a:pt x="4813" y="730"/>
                  </a:lnTo>
                  <a:lnTo>
                    <a:pt x="4782" y="835"/>
                  </a:lnTo>
                  <a:lnTo>
                    <a:pt x="4906" y="907"/>
                  </a:lnTo>
                  <a:lnTo>
                    <a:pt x="5041" y="944"/>
                  </a:lnTo>
                  <a:lnTo>
                    <a:pt x="5116" y="1009"/>
                  </a:lnTo>
                  <a:lnTo>
                    <a:pt x="5292" y="1394"/>
                  </a:lnTo>
                  <a:lnTo>
                    <a:pt x="5350" y="1329"/>
                  </a:lnTo>
                  <a:lnTo>
                    <a:pt x="5440" y="1279"/>
                  </a:lnTo>
                  <a:lnTo>
                    <a:pt x="5529" y="1181"/>
                  </a:lnTo>
                  <a:lnTo>
                    <a:pt x="5662" y="1129"/>
                  </a:lnTo>
                  <a:lnTo>
                    <a:pt x="5791" y="1127"/>
                  </a:lnTo>
                  <a:lnTo>
                    <a:pt x="5881" y="1050"/>
                  </a:lnTo>
                  <a:lnTo>
                    <a:pt x="6001" y="933"/>
                  </a:lnTo>
                  <a:lnTo>
                    <a:pt x="6132" y="933"/>
                  </a:lnTo>
                  <a:lnTo>
                    <a:pt x="6394" y="833"/>
                  </a:lnTo>
                  <a:lnTo>
                    <a:pt x="6526" y="833"/>
                  </a:lnTo>
                  <a:lnTo>
                    <a:pt x="6698" y="885"/>
                  </a:lnTo>
                  <a:lnTo>
                    <a:pt x="6740" y="983"/>
                  </a:lnTo>
                  <a:lnTo>
                    <a:pt x="6805" y="1048"/>
                  </a:lnTo>
                  <a:lnTo>
                    <a:pt x="6866" y="1078"/>
                  </a:lnTo>
                  <a:lnTo>
                    <a:pt x="6974" y="1081"/>
                  </a:lnTo>
                  <a:lnTo>
                    <a:pt x="7142" y="1216"/>
                  </a:lnTo>
                  <a:lnTo>
                    <a:pt x="7431" y="1428"/>
                  </a:lnTo>
                  <a:lnTo>
                    <a:pt x="7560" y="1477"/>
                  </a:lnTo>
                  <a:lnTo>
                    <a:pt x="7646" y="1525"/>
                  </a:lnTo>
                  <a:lnTo>
                    <a:pt x="7701" y="1563"/>
                  </a:lnTo>
                  <a:lnTo>
                    <a:pt x="7880" y="1519"/>
                  </a:lnTo>
                  <a:lnTo>
                    <a:pt x="8012" y="1467"/>
                  </a:lnTo>
                  <a:lnTo>
                    <a:pt x="8147" y="1516"/>
                  </a:lnTo>
                  <a:lnTo>
                    <a:pt x="8322" y="1570"/>
                  </a:lnTo>
                  <a:lnTo>
                    <a:pt x="8577" y="1567"/>
                  </a:lnTo>
                  <a:lnTo>
                    <a:pt x="8631" y="1371"/>
                  </a:lnTo>
                  <a:lnTo>
                    <a:pt x="8779" y="1265"/>
                  </a:lnTo>
                  <a:lnTo>
                    <a:pt x="8818" y="1119"/>
                  </a:lnTo>
                  <a:lnTo>
                    <a:pt x="8908" y="1016"/>
                  </a:lnTo>
                  <a:lnTo>
                    <a:pt x="9083" y="915"/>
                  </a:lnTo>
                  <a:lnTo>
                    <a:pt x="9226" y="879"/>
                  </a:lnTo>
                  <a:lnTo>
                    <a:pt x="9346" y="838"/>
                  </a:lnTo>
                  <a:lnTo>
                    <a:pt x="9477" y="853"/>
                  </a:lnTo>
                  <a:lnTo>
                    <a:pt x="9583" y="794"/>
                  </a:lnTo>
                  <a:lnTo>
                    <a:pt x="9677" y="845"/>
                  </a:lnTo>
                  <a:lnTo>
                    <a:pt x="9901" y="791"/>
                  </a:lnTo>
                  <a:lnTo>
                    <a:pt x="10199" y="769"/>
                  </a:lnTo>
                  <a:lnTo>
                    <a:pt x="10370" y="740"/>
                  </a:lnTo>
                  <a:lnTo>
                    <a:pt x="10532" y="778"/>
                  </a:lnTo>
                  <a:lnTo>
                    <a:pt x="10693" y="827"/>
                  </a:lnTo>
                  <a:lnTo>
                    <a:pt x="10879" y="894"/>
                  </a:lnTo>
                  <a:lnTo>
                    <a:pt x="11030" y="996"/>
                  </a:lnTo>
                  <a:lnTo>
                    <a:pt x="11197" y="1065"/>
                  </a:lnTo>
                  <a:lnTo>
                    <a:pt x="11327" y="1165"/>
                  </a:lnTo>
                  <a:lnTo>
                    <a:pt x="11500" y="1117"/>
                  </a:lnTo>
                  <a:lnTo>
                    <a:pt x="11619" y="1092"/>
                  </a:lnTo>
                  <a:lnTo>
                    <a:pt x="11702" y="1108"/>
                  </a:lnTo>
                  <a:lnTo>
                    <a:pt x="11840" y="1014"/>
                  </a:lnTo>
                  <a:lnTo>
                    <a:pt x="11928" y="914"/>
                  </a:lnTo>
                  <a:lnTo>
                    <a:pt x="12061" y="863"/>
                  </a:lnTo>
                  <a:lnTo>
                    <a:pt x="12143" y="762"/>
                  </a:lnTo>
                  <a:lnTo>
                    <a:pt x="12224" y="613"/>
                  </a:lnTo>
                  <a:lnTo>
                    <a:pt x="12378" y="528"/>
                  </a:lnTo>
                  <a:lnTo>
                    <a:pt x="12621" y="473"/>
                  </a:lnTo>
                  <a:lnTo>
                    <a:pt x="12680" y="357"/>
                  </a:lnTo>
                  <a:lnTo>
                    <a:pt x="12755" y="252"/>
                  </a:lnTo>
                  <a:lnTo>
                    <a:pt x="12902" y="225"/>
                  </a:lnTo>
                  <a:lnTo>
                    <a:pt x="13121" y="223"/>
                  </a:lnTo>
                  <a:lnTo>
                    <a:pt x="13227" y="412"/>
                  </a:lnTo>
                  <a:lnTo>
                    <a:pt x="13351" y="568"/>
                  </a:lnTo>
                  <a:lnTo>
                    <a:pt x="13371" y="673"/>
                  </a:lnTo>
                  <a:lnTo>
                    <a:pt x="13485" y="718"/>
                  </a:lnTo>
                  <a:lnTo>
                    <a:pt x="13525" y="865"/>
                  </a:lnTo>
                  <a:lnTo>
                    <a:pt x="13602" y="980"/>
                  </a:lnTo>
                  <a:lnTo>
                    <a:pt x="13646" y="1077"/>
                  </a:lnTo>
                  <a:lnTo>
                    <a:pt x="13736" y="1482"/>
                  </a:lnTo>
                  <a:lnTo>
                    <a:pt x="13781" y="1631"/>
                  </a:lnTo>
                  <a:lnTo>
                    <a:pt x="13817" y="1888"/>
                  </a:lnTo>
                  <a:lnTo>
                    <a:pt x="13812" y="2019"/>
                  </a:lnTo>
                  <a:lnTo>
                    <a:pt x="13871" y="2102"/>
                  </a:lnTo>
                  <a:lnTo>
                    <a:pt x="14089" y="2106"/>
                  </a:lnTo>
                  <a:lnTo>
                    <a:pt x="14209" y="2171"/>
                  </a:lnTo>
                  <a:lnTo>
                    <a:pt x="14326" y="2291"/>
                  </a:lnTo>
                  <a:lnTo>
                    <a:pt x="14359" y="2360"/>
                  </a:lnTo>
                  <a:lnTo>
                    <a:pt x="14387" y="2500"/>
                  </a:lnTo>
                  <a:lnTo>
                    <a:pt x="14343" y="2628"/>
                  </a:lnTo>
                  <a:lnTo>
                    <a:pt x="14343" y="2752"/>
                  </a:lnTo>
                  <a:lnTo>
                    <a:pt x="14290" y="2893"/>
                  </a:lnTo>
                  <a:lnTo>
                    <a:pt x="14313" y="2984"/>
                  </a:lnTo>
                  <a:lnTo>
                    <a:pt x="14370" y="3096"/>
                  </a:lnTo>
                  <a:lnTo>
                    <a:pt x="14343" y="3247"/>
                  </a:lnTo>
                  <a:lnTo>
                    <a:pt x="14189" y="3388"/>
                  </a:lnTo>
                  <a:lnTo>
                    <a:pt x="14087" y="3450"/>
                  </a:lnTo>
                  <a:lnTo>
                    <a:pt x="14012" y="3519"/>
                  </a:lnTo>
                  <a:lnTo>
                    <a:pt x="13856" y="3633"/>
                  </a:lnTo>
                  <a:lnTo>
                    <a:pt x="13735" y="3631"/>
                  </a:lnTo>
                  <a:lnTo>
                    <a:pt x="13623" y="3579"/>
                  </a:lnTo>
                  <a:lnTo>
                    <a:pt x="13510" y="3757"/>
                  </a:lnTo>
                  <a:lnTo>
                    <a:pt x="13452" y="3885"/>
                  </a:lnTo>
                  <a:lnTo>
                    <a:pt x="13437" y="3985"/>
                  </a:lnTo>
                  <a:lnTo>
                    <a:pt x="13287" y="4113"/>
                  </a:lnTo>
                  <a:lnTo>
                    <a:pt x="13362" y="4161"/>
                  </a:lnTo>
                  <a:lnTo>
                    <a:pt x="13317" y="4321"/>
                  </a:lnTo>
                  <a:lnTo>
                    <a:pt x="13308" y="4425"/>
                  </a:lnTo>
                  <a:lnTo>
                    <a:pt x="13146" y="4608"/>
                  </a:lnTo>
                  <a:lnTo>
                    <a:pt x="13104" y="4756"/>
                  </a:lnTo>
                  <a:lnTo>
                    <a:pt x="13139" y="4887"/>
                  </a:lnTo>
                  <a:lnTo>
                    <a:pt x="13146" y="5052"/>
                  </a:lnTo>
                  <a:lnTo>
                    <a:pt x="13076" y="5127"/>
                  </a:lnTo>
                  <a:lnTo>
                    <a:pt x="12999" y="5311"/>
                  </a:lnTo>
                  <a:lnTo>
                    <a:pt x="12885" y="5403"/>
                  </a:lnTo>
                  <a:lnTo>
                    <a:pt x="12810" y="5484"/>
                  </a:lnTo>
                  <a:lnTo>
                    <a:pt x="12797" y="5607"/>
                  </a:lnTo>
                  <a:lnTo>
                    <a:pt x="12755" y="5747"/>
                  </a:lnTo>
                  <a:lnTo>
                    <a:pt x="12807" y="5857"/>
                  </a:lnTo>
                  <a:lnTo>
                    <a:pt x="12807" y="5997"/>
                  </a:lnTo>
                  <a:lnTo>
                    <a:pt x="12819" y="6076"/>
                  </a:lnTo>
                  <a:lnTo>
                    <a:pt x="12756" y="6181"/>
                  </a:lnTo>
                  <a:lnTo>
                    <a:pt x="12627" y="6193"/>
                  </a:lnTo>
                  <a:lnTo>
                    <a:pt x="12507" y="6219"/>
                  </a:lnTo>
                  <a:lnTo>
                    <a:pt x="12420" y="6297"/>
                  </a:lnTo>
                  <a:lnTo>
                    <a:pt x="12363" y="6444"/>
                  </a:lnTo>
                  <a:lnTo>
                    <a:pt x="12365" y="6585"/>
                  </a:lnTo>
                  <a:lnTo>
                    <a:pt x="12323" y="6789"/>
                  </a:lnTo>
                  <a:lnTo>
                    <a:pt x="12323" y="6931"/>
                  </a:lnTo>
                  <a:lnTo>
                    <a:pt x="12299" y="7071"/>
                  </a:lnTo>
                  <a:lnTo>
                    <a:pt x="12153" y="7335"/>
                  </a:lnTo>
                  <a:lnTo>
                    <a:pt x="12098" y="7371"/>
                  </a:lnTo>
                  <a:lnTo>
                    <a:pt x="12018" y="7378"/>
                  </a:lnTo>
                  <a:lnTo>
                    <a:pt x="11879" y="7480"/>
                  </a:lnTo>
                  <a:lnTo>
                    <a:pt x="11750" y="7585"/>
                  </a:lnTo>
                  <a:lnTo>
                    <a:pt x="11630" y="7627"/>
                  </a:lnTo>
                  <a:lnTo>
                    <a:pt x="11541" y="7777"/>
                  </a:lnTo>
                  <a:lnTo>
                    <a:pt x="11529" y="7917"/>
                  </a:lnTo>
                  <a:lnTo>
                    <a:pt x="11472" y="8095"/>
                  </a:lnTo>
                  <a:lnTo>
                    <a:pt x="11429" y="8245"/>
                  </a:lnTo>
                  <a:lnTo>
                    <a:pt x="11414" y="8362"/>
                  </a:lnTo>
                  <a:lnTo>
                    <a:pt x="11411" y="8467"/>
                  </a:lnTo>
                  <a:lnTo>
                    <a:pt x="11357" y="8575"/>
                  </a:lnTo>
                  <a:lnTo>
                    <a:pt x="11363" y="8709"/>
                  </a:lnTo>
                  <a:lnTo>
                    <a:pt x="11357" y="8824"/>
                  </a:lnTo>
                  <a:lnTo>
                    <a:pt x="11249" y="8865"/>
                  </a:lnTo>
                  <a:lnTo>
                    <a:pt x="11155" y="8947"/>
                  </a:lnTo>
                  <a:lnTo>
                    <a:pt x="10984" y="8990"/>
                  </a:lnTo>
                  <a:lnTo>
                    <a:pt x="10984" y="9132"/>
                  </a:lnTo>
                  <a:lnTo>
                    <a:pt x="10974" y="9253"/>
                  </a:lnTo>
                  <a:lnTo>
                    <a:pt x="10944" y="9391"/>
                  </a:lnTo>
                  <a:lnTo>
                    <a:pt x="10989" y="9532"/>
                  </a:lnTo>
                  <a:lnTo>
                    <a:pt x="10986" y="9595"/>
                  </a:lnTo>
                  <a:lnTo>
                    <a:pt x="10896" y="9788"/>
                  </a:lnTo>
                  <a:lnTo>
                    <a:pt x="10725" y="9983"/>
                  </a:lnTo>
                  <a:lnTo>
                    <a:pt x="10680" y="10078"/>
                  </a:lnTo>
                  <a:lnTo>
                    <a:pt x="10681" y="10128"/>
                  </a:lnTo>
                  <a:lnTo>
                    <a:pt x="10593" y="10226"/>
                  </a:lnTo>
                  <a:lnTo>
                    <a:pt x="10555" y="10324"/>
                  </a:lnTo>
                  <a:lnTo>
                    <a:pt x="10450" y="10430"/>
                  </a:lnTo>
                  <a:lnTo>
                    <a:pt x="10340" y="10475"/>
                  </a:lnTo>
                  <a:lnTo>
                    <a:pt x="10259" y="10452"/>
                  </a:lnTo>
                  <a:lnTo>
                    <a:pt x="10201" y="10419"/>
                  </a:lnTo>
                  <a:lnTo>
                    <a:pt x="10119" y="10176"/>
                  </a:lnTo>
                  <a:lnTo>
                    <a:pt x="9987" y="10016"/>
                  </a:lnTo>
                  <a:lnTo>
                    <a:pt x="9819" y="9787"/>
                  </a:lnTo>
                  <a:lnTo>
                    <a:pt x="9601" y="9618"/>
                  </a:lnTo>
                  <a:lnTo>
                    <a:pt x="9502" y="9627"/>
                  </a:lnTo>
                  <a:lnTo>
                    <a:pt x="9357" y="9744"/>
                  </a:lnTo>
                  <a:lnTo>
                    <a:pt x="9305" y="9833"/>
                  </a:lnTo>
                  <a:lnTo>
                    <a:pt x="9211" y="9883"/>
                  </a:lnTo>
                  <a:lnTo>
                    <a:pt x="9043" y="9869"/>
                  </a:lnTo>
                  <a:lnTo>
                    <a:pt x="8982" y="9834"/>
                  </a:lnTo>
                  <a:lnTo>
                    <a:pt x="8897" y="9834"/>
                  </a:lnTo>
                  <a:lnTo>
                    <a:pt x="8796" y="9891"/>
                  </a:lnTo>
                  <a:lnTo>
                    <a:pt x="8740" y="9967"/>
                  </a:lnTo>
                  <a:lnTo>
                    <a:pt x="8653" y="10030"/>
                  </a:lnTo>
                  <a:lnTo>
                    <a:pt x="8569" y="10131"/>
                  </a:lnTo>
                  <a:lnTo>
                    <a:pt x="8429" y="10141"/>
                  </a:lnTo>
                  <a:lnTo>
                    <a:pt x="8325" y="10337"/>
                  </a:lnTo>
                  <a:lnTo>
                    <a:pt x="8187" y="10571"/>
                  </a:lnTo>
                  <a:lnTo>
                    <a:pt x="8117" y="10571"/>
                  </a:lnTo>
                  <a:lnTo>
                    <a:pt x="8004" y="10610"/>
                  </a:lnTo>
                  <a:lnTo>
                    <a:pt x="7929" y="10721"/>
                  </a:lnTo>
                  <a:lnTo>
                    <a:pt x="7908" y="10901"/>
                  </a:lnTo>
                  <a:lnTo>
                    <a:pt x="7720" y="11112"/>
                  </a:lnTo>
                  <a:lnTo>
                    <a:pt x="7624" y="11205"/>
                  </a:lnTo>
                  <a:lnTo>
                    <a:pt x="7519" y="11196"/>
                  </a:lnTo>
                  <a:lnTo>
                    <a:pt x="7439" y="11221"/>
                  </a:lnTo>
                  <a:lnTo>
                    <a:pt x="7434" y="11289"/>
                  </a:lnTo>
                  <a:lnTo>
                    <a:pt x="7389" y="11490"/>
                  </a:lnTo>
                  <a:lnTo>
                    <a:pt x="7334" y="11562"/>
                  </a:lnTo>
                  <a:lnTo>
                    <a:pt x="7304" y="11641"/>
                  </a:lnTo>
                  <a:lnTo>
                    <a:pt x="7473" y="11842"/>
                  </a:lnTo>
                  <a:lnTo>
                    <a:pt x="7414" y="11917"/>
                  </a:lnTo>
                  <a:lnTo>
                    <a:pt x="7345" y="11988"/>
                  </a:lnTo>
                  <a:lnTo>
                    <a:pt x="7334" y="12075"/>
                  </a:lnTo>
                  <a:lnTo>
                    <a:pt x="7387" y="12211"/>
                  </a:lnTo>
                  <a:lnTo>
                    <a:pt x="7384" y="12321"/>
                  </a:lnTo>
                  <a:lnTo>
                    <a:pt x="7318" y="12473"/>
                  </a:lnTo>
                  <a:lnTo>
                    <a:pt x="7261" y="12581"/>
                  </a:lnTo>
                  <a:lnTo>
                    <a:pt x="7130" y="12682"/>
                  </a:lnTo>
                  <a:lnTo>
                    <a:pt x="7136" y="12785"/>
                  </a:lnTo>
                  <a:lnTo>
                    <a:pt x="7087" y="12878"/>
                  </a:lnTo>
                  <a:lnTo>
                    <a:pt x="7043" y="12989"/>
                  </a:lnTo>
                  <a:lnTo>
                    <a:pt x="7086" y="13093"/>
                  </a:lnTo>
                  <a:lnTo>
                    <a:pt x="7130" y="13218"/>
                  </a:lnTo>
                  <a:lnTo>
                    <a:pt x="7131" y="13321"/>
                  </a:lnTo>
                  <a:lnTo>
                    <a:pt x="7039" y="13363"/>
                  </a:lnTo>
                  <a:lnTo>
                    <a:pt x="6911" y="13143"/>
                  </a:lnTo>
                  <a:lnTo>
                    <a:pt x="6880" y="13039"/>
                  </a:lnTo>
                  <a:lnTo>
                    <a:pt x="6842" y="12954"/>
                  </a:lnTo>
                  <a:lnTo>
                    <a:pt x="6797" y="12878"/>
                  </a:lnTo>
                  <a:lnTo>
                    <a:pt x="6740" y="12830"/>
                  </a:lnTo>
                  <a:lnTo>
                    <a:pt x="6712" y="12773"/>
                  </a:lnTo>
                  <a:lnTo>
                    <a:pt x="6654" y="12729"/>
                  </a:lnTo>
                  <a:lnTo>
                    <a:pt x="6599" y="12625"/>
                  </a:lnTo>
                  <a:lnTo>
                    <a:pt x="6483" y="12579"/>
                  </a:lnTo>
                  <a:lnTo>
                    <a:pt x="6507" y="12664"/>
                  </a:lnTo>
                  <a:lnTo>
                    <a:pt x="6577" y="12829"/>
                  </a:lnTo>
                  <a:lnTo>
                    <a:pt x="6646" y="13026"/>
                  </a:lnTo>
                  <a:lnTo>
                    <a:pt x="6615" y="13148"/>
                  </a:lnTo>
                  <a:lnTo>
                    <a:pt x="6463" y="13222"/>
                  </a:lnTo>
                  <a:lnTo>
                    <a:pt x="6243" y="13222"/>
                  </a:lnTo>
                  <a:lnTo>
                    <a:pt x="6154" y="13273"/>
                  </a:lnTo>
                  <a:lnTo>
                    <a:pt x="6072" y="13370"/>
                  </a:lnTo>
                  <a:lnTo>
                    <a:pt x="5852" y="13371"/>
                  </a:lnTo>
                  <a:lnTo>
                    <a:pt x="5716" y="13281"/>
                  </a:lnTo>
                  <a:lnTo>
                    <a:pt x="5629" y="13330"/>
                  </a:lnTo>
                  <a:lnTo>
                    <a:pt x="5535" y="13389"/>
                  </a:lnTo>
                  <a:lnTo>
                    <a:pt x="5480" y="13521"/>
                  </a:lnTo>
                  <a:lnTo>
                    <a:pt x="5422" y="13605"/>
                  </a:lnTo>
                  <a:lnTo>
                    <a:pt x="5317" y="13575"/>
                  </a:lnTo>
                  <a:lnTo>
                    <a:pt x="5253" y="13510"/>
                  </a:lnTo>
                  <a:lnTo>
                    <a:pt x="5163" y="13457"/>
                  </a:lnTo>
                  <a:lnTo>
                    <a:pt x="5079" y="13433"/>
                  </a:lnTo>
                  <a:lnTo>
                    <a:pt x="5020" y="13460"/>
                  </a:lnTo>
                  <a:lnTo>
                    <a:pt x="4918" y="13499"/>
                  </a:lnTo>
                  <a:lnTo>
                    <a:pt x="4834" y="13515"/>
                  </a:lnTo>
                  <a:lnTo>
                    <a:pt x="4771" y="13507"/>
                  </a:lnTo>
                  <a:lnTo>
                    <a:pt x="4647" y="13556"/>
                  </a:lnTo>
                  <a:lnTo>
                    <a:pt x="4609" y="13543"/>
                  </a:lnTo>
                  <a:lnTo>
                    <a:pt x="4536" y="13447"/>
                  </a:lnTo>
                  <a:lnTo>
                    <a:pt x="4437" y="13515"/>
                  </a:lnTo>
                  <a:lnTo>
                    <a:pt x="4281" y="13578"/>
                  </a:lnTo>
                  <a:lnTo>
                    <a:pt x="4211" y="13637"/>
                  </a:lnTo>
                  <a:lnTo>
                    <a:pt x="4107" y="13630"/>
                  </a:lnTo>
                  <a:lnTo>
                    <a:pt x="4004" y="13562"/>
                  </a:lnTo>
                  <a:lnTo>
                    <a:pt x="3880" y="13564"/>
                  </a:lnTo>
                  <a:lnTo>
                    <a:pt x="3806" y="13496"/>
                  </a:lnTo>
                  <a:lnTo>
                    <a:pt x="3751" y="13365"/>
                  </a:lnTo>
                  <a:lnTo>
                    <a:pt x="3665" y="13414"/>
                  </a:lnTo>
                  <a:lnTo>
                    <a:pt x="3577" y="13368"/>
                  </a:lnTo>
                  <a:lnTo>
                    <a:pt x="3548" y="13308"/>
                  </a:lnTo>
                  <a:lnTo>
                    <a:pt x="3542" y="13192"/>
                  </a:lnTo>
                  <a:lnTo>
                    <a:pt x="3505" y="13067"/>
                  </a:lnTo>
                  <a:lnTo>
                    <a:pt x="3506" y="12968"/>
                  </a:lnTo>
                  <a:lnTo>
                    <a:pt x="3432" y="12710"/>
                  </a:lnTo>
                  <a:lnTo>
                    <a:pt x="3300" y="12451"/>
                  </a:lnTo>
                  <a:lnTo>
                    <a:pt x="3250" y="12402"/>
                  </a:lnTo>
                  <a:lnTo>
                    <a:pt x="3155" y="12249"/>
                  </a:lnTo>
                  <a:lnTo>
                    <a:pt x="3115" y="12141"/>
                  </a:lnTo>
                  <a:lnTo>
                    <a:pt x="3051" y="12035"/>
                  </a:lnTo>
                  <a:lnTo>
                    <a:pt x="3045" y="11939"/>
                  </a:lnTo>
                  <a:lnTo>
                    <a:pt x="2988" y="11804"/>
                  </a:lnTo>
                  <a:lnTo>
                    <a:pt x="2922" y="11692"/>
                  </a:lnTo>
                  <a:lnTo>
                    <a:pt x="2883" y="11545"/>
                  </a:lnTo>
                  <a:lnTo>
                    <a:pt x="2824" y="11482"/>
                  </a:lnTo>
                  <a:lnTo>
                    <a:pt x="2778" y="11392"/>
                  </a:lnTo>
                  <a:lnTo>
                    <a:pt x="2780" y="11302"/>
                  </a:lnTo>
                  <a:lnTo>
                    <a:pt x="2735" y="11290"/>
                  </a:lnTo>
                  <a:lnTo>
                    <a:pt x="2684" y="11216"/>
                  </a:lnTo>
                  <a:lnTo>
                    <a:pt x="2630" y="11136"/>
                  </a:lnTo>
                  <a:lnTo>
                    <a:pt x="2594" y="11063"/>
                  </a:lnTo>
                  <a:lnTo>
                    <a:pt x="2403" y="10864"/>
                  </a:lnTo>
                  <a:lnTo>
                    <a:pt x="2337" y="10769"/>
                  </a:lnTo>
                  <a:lnTo>
                    <a:pt x="2226" y="10656"/>
                  </a:lnTo>
                  <a:lnTo>
                    <a:pt x="2088" y="10588"/>
                  </a:lnTo>
                  <a:lnTo>
                    <a:pt x="1929" y="10569"/>
                  </a:lnTo>
                  <a:lnTo>
                    <a:pt x="1808" y="10516"/>
                  </a:lnTo>
                  <a:lnTo>
                    <a:pt x="1767" y="10467"/>
                  </a:lnTo>
                  <a:lnTo>
                    <a:pt x="1579" y="10444"/>
                  </a:lnTo>
                  <a:lnTo>
                    <a:pt x="1322" y="10444"/>
                  </a:lnTo>
                  <a:lnTo>
                    <a:pt x="1246" y="10388"/>
                  </a:lnTo>
                  <a:lnTo>
                    <a:pt x="1152" y="10394"/>
                  </a:lnTo>
                  <a:lnTo>
                    <a:pt x="890" y="10343"/>
                  </a:lnTo>
                  <a:lnTo>
                    <a:pt x="769" y="10395"/>
                  </a:lnTo>
                  <a:lnTo>
                    <a:pt x="659" y="10386"/>
                  </a:lnTo>
                  <a:close/>
                </a:path>
              </a:pathLst>
            </a:custGeom>
            <a:solidFill>
              <a:srgbClr val="B2D4EF"/>
            </a:solidFill>
            <a:ln w="19050" cmpd="sng">
              <a:noFill/>
              <a:prstDash val="solid"/>
              <a:round/>
              <a:headEnd/>
              <a:tailEnd/>
            </a:ln>
            <a:effectLst/>
          </p:spPr>
          <p:txBody>
            <a:bodyPr/>
            <a:lstStyle/>
            <a:p>
              <a:endParaRPr lang="zh-CN" altLang="en-US" kern="0">
                <a:solidFill>
                  <a:sysClr val="windowText" lastClr="000000"/>
                </a:solidFill>
              </a:endParaRPr>
            </a:p>
          </p:txBody>
        </p:sp>
        <p:grpSp>
          <p:nvGrpSpPr>
            <p:cNvPr id="838" name="Group 837"/>
            <p:cNvGrpSpPr/>
            <p:nvPr/>
          </p:nvGrpSpPr>
          <p:grpSpPr>
            <a:xfrm>
              <a:off x="3595082" y="5149682"/>
              <a:ext cx="1220199" cy="995340"/>
              <a:chOff x="473869" y="1392238"/>
              <a:chExt cx="8196263" cy="4073524"/>
            </a:xfrm>
            <a:solidFill>
              <a:srgbClr val="B2D4EF"/>
            </a:solidFill>
          </p:grpSpPr>
          <p:sp>
            <p:nvSpPr>
              <p:cNvPr id="840" name="Freeform 191"/>
              <p:cNvSpPr>
                <a:spLocks/>
              </p:cNvSpPr>
              <p:nvPr/>
            </p:nvSpPr>
            <p:spPr bwMode="auto">
              <a:xfrm>
                <a:off x="5295107" y="4305300"/>
                <a:ext cx="169863" cy="319087"/>
              </a:xfrm>
              <a:custGeom>
                <a:avLst/>
                <a:gdLst/>
                <a:ahLst/>
                <a:cxnLst>
                  <a:cxn ang="0">
                    <a:pos x="11" y="129"/>
                  </a:cxn>
                  <a:cxn ang="0">
                    <a:pos x="11" y="125"/>
                  </a:cxn>
                  <a:cxn ang="0">
                    <a:pos x="16" y="117"/>
                  </a:cxn>
                  <a:cxn ang="0">
                    <a:pos x="18" y="108"/>
                  </a:cxn>
                  <a:cxn ang="0">
                    <a:pos x="21" y="107"/>
                  </a:cxn>
                  <a:cxn ang="0">
                    <a:pos x="19" y="100"/>
                  </a:cxn>
                  <a:cxn ang="0">
                    <a:pos x="18" y="93"/>
                  </a:cxn>
                  <a:cxn ang="0">
                    <a:pos x="14" y="86"/>
                  </a:cxn>
                  <a:cxn ang="0">
                    <a:pos x="14" y="81"/>
                  </a:cxn>
                  <a:cxn ang="0">
                    <a:pos x="14" y="70"/>
                  </a:cxn>
                  <a:cxn ang="0">
                    <a:pos x="16" y="65"/>
                  </a:cxn>
                  <a:cxn ang="0">
                    <a:pos x="19" y="60"/>
                  </a:cxn>
                  <a:cxn ang="0">
                    <a:pos x="25" y="57"/>
                  </a:cxn>
                  <a:cxn ang="0">
                    <a:pos x="33" y="51"/>
                  </a:cxn>
                  <a:cxn ang="0">
                    <a:pos x="47" y="48"/>
                  </a:cxn>
                  <a:cxn ang="0">
                    <a:pos x="55" y="39"/>
                  </a:cxn>
                  <a:cxn ang="0">
                    <a:pos x="66" y="31"/>
                  </a:cxn>
                  <a:cxn ang="0">
                    <a:pos x="74" y="21"/>
                  </a:cxn>
                  <a:cxn ang="0">
                    <a:pos x="83" y="14"/>
                  </a:cxn>
                  <a:cxn ang="0">
                    <a:pos x="83" y="7"/>
                  </a:cxn>
                  <a:cxn ang="0">
                    <a:pos x="85" y="0"/>
                  </a:cxn>
                  <a:cxn ang="0">
                    <a:pos x="93" y="5"/>
                  </a:cxn>
                  <a:cxn ang="0">
                    <a:pos x="100" y="19"/>
                  </a:cxn>
                  <a:cxn ang="0">
                    <a:pos x="102" y="34"/>
                  </a:cxn>
                  <a:cxn ang="0">
                    <a:pos x="107" y="48"/>
                  </a:cxn>
                  <a:cxn ang="0">
                    <a:pos x="107" y="55"/>
                  </a:cxn>
                  <a:cxn ang="0">
                    <a:pos x="100" y="53"/>
                  </a:cxn>
                  <a:cxn ang="0">
                    <a:pos x="98" y="53"/>
                  </a:cxn>
                  <a:cxn ang="0">
                    <a:pos x="97" y="65"/>
                  </a:cxn>
                  <a:cxn ang="0">
                    <a:pos x="95" y="77"/>
                  </a:cxn>
                  <a:cxn ang="0">
                    <a:pos x="92" y="89"/>
                  </a:cxn>
                  <a:cxn ang="0">
                    <a:pos x="90" y="101"/>
                  </a:cxn>
                  <a:cxn ang="0">
                    <a:pos x="85" y="112"/>
                  </a:cxn>
                  <a:cxn ang="0">
                    <a:pos x="81" y="122"/>
                  </a:cxn>
                  <a:cxn ang="0">
                    <a:pos x="78" y="132"/>
                  </a:cxn>
                  <a:cxn ang="0">
                    <a:pos x="74" y="144"/>
                  </a:cxn>
                  <a:cxn ang="0">
                    <a:pos x="69" y="151"/>
                  </a:cxn>
                  <a:cxn ang="0">
                    <a:pos x="66" y="162"/>
                  </a:cxn>
                  <a:cxn ang="0">
                    <a:pos x="62" y="170"/>
                  </a:cxn>
                  <a:cxn ang="0">
                    <a:pos x="59" y="180"/>
                  </a:cxn>
                  <a:cxn ang="0">
                    <a:pos x="52" y="187"/>
                  </a:cxn>
                  <a:cxn ang="0">
                    <a:pos x="47" y="194"/>
                  </a:cxn>
                  <a:cxn ang="0">
                    <a:pos x="38" y="198"/>
                  </a:cxn>
                  <a:cxn ang="0">
                    <a:pos x="30" y="201"/>
                  </a:cxn>
                  <a:cxn ang="0">
                    <a:pos x="19" y="198"/>
                  </a:cxn>
                  <a:cxn ang="0">
                    <a:pos x="12" y="191"/>
                  </a:cxn>
                  <a:cxn ang="0">
                    <a:pos x="6" y="180"/>
                  </a:cxn>
                  <a:cxn ang="0">
                    <a:pos x="6" y="172"/>
                  </a:cxn>
                  <a:cxn ang="0">
                    <a:pos x="6" y="165"/>
                  </a:cxn>
                  <a:cxn ang="0">
                    <a:pos x="7" y="160"/>
                  </a:cxn>
                  <a:cxn ang="0">
                    <a:pos x="0" y="150"/>
                  </a:cxn>
                  <a:cxn ang="0">
                    <a:pos x="0" y="139"/>
                  </a:cxn>
                  <a:cxn ang="0">
                    <a:pos x="6" y="132"/>
                  </a:cxn>
                  <a:cxn ang="0">
                    <a:pos x="11" y="129"/>
                  </a:cxn>
                </a:cxnLst>
                <a:rect l="0" t="0" r="r" b="b"/>
                <a:pathLst>
                  <a:path w="107" h="201">
                    <a:moveTo>
                      <a:pt x="11" y="129"/>
                    </a:moveTo>
                    <a:lnTo>
                      <a:pt x="11" y="125"/>
                    </a:lnTo>
                    <a:lnTo>
                      <a:pt x="16" y="117"/>
                    </a:lnTo>
                    <a:lnTo>
                      <a:pt x="18" y="108"/>
                    </a:lnTo>
                    <a:lnTo>
                      <a:pt x="21" y="107"/>
                    </a:lnTo>
                    <a:lnTo>
                      <a:pt x="19" y="100"/>
                    </a:lnTo>
                    <a:lnTo>
                      <a:pt x="18" y="93"/>
                    </a:lnTo>
                    <a:lnTo>
                      <a:pt x="14" y="86"/>
                    </a:lnTo>
                    <a:lnTo>
                      <a:pt x="14" y="81"/>
                    </a:lnTo>
                    <a:lnTo>
                      <a:pt x="14" y="70"/>
                    </a:lnTo>
                    <a:lnTo>
                      <a:pt x="16" y="65"/>
                    </a:lnTo>
                    <a:lnTo>
                      <a:pt x="19" y="60"/>
                    </a:lnTo>
                    <a:lnTo>
                      <a:pt x="25" y="57"/>
                    </a:lnTo>
                    <a:lnTo>
                      <a:pt x="33" y="51"/>
                    </a:lnTo>
                    <a:lnTo>
                      <a:pt x="47" y="48"/>
                    </a:lnTo>
                    <a:lnTo>
                      <a:pt x="55" y="39"/>
                    </a:lnTo>
                    <a:lnTo>
                      <a:pt x="66" y="31"/>
                    </a:lnTo>
                    <a:lnTo>
                      <a:pt x="74" y="21"/>
                    </a:lnTo>
                    <a:lnTo>
                      <a:pt x="83" y="14"/>
                    </a:lnTo>
                    <a:lnTo>
                      <a:pt x="83" y="7"/>
                    </a:lnTo>
                    <a:lnTo>
                      <a:pt x="85" y="0"/>
                    </a:lnTo>
                    <a:lnTo>
                      <a:pt x="93" y="5"/>
                    </a:lnTo>
                    <a:lnTo>
                      <a:pt x="100" y="19"/>
                    </a:lnTo>
                    <a:lnTo>
                      <a:pt x="102" y="34"/>
                    </a:lnTo>
                    <a:lnTo>
                      <a:pt x="107" y="48"/>
                    </a:lnTo>
                    <a:lnTo>
                      <a:pt x="107" y="55"/>
                    </a:lnTo>
                    <a:lnTo>
                      <a:pt x="100" y="53"/>
                    </a:lnTo>
                    <a:lnTo>
                      <a:pt x="98" y="53"/>
                    </a:lnTo>
                    <a:lnTo>
                      <a:pt x="97" y="65"/>
                    </a:lnTo>
                    <a:lnTo>
                      <a:pt x="95" y="77"/>
                    </a:lnTo>
                    <a:lnTo>
                      <a:pt x="92" y="89"/>
                    </a:lnTo>
                    <a:lnTo>
                      <a:pt x="90" y="101"/>
                    </a:lnTo>
                    <a:lnTo>
                      <a:pt x="85" y="112"/>
                    </a:lnTo>
                    <a:lnTo>
                      <a:pt x="81" y="122"/>
                    </a:lnTo>
                    <a:lnTo>
                      <a:pt x="78" y="132"/>
                    </a:lnTo>
                    <a:lnTo>
                      <a:pt x="74" y="144"/>
                    </a:lnTo>
                    <a:lnTo>
                      <a:pt x="69" y="151"/>
                    </a:lnTo>
                    <a:lnTo>
                      <a:pt x="66" y="162"/>
                    </a:lnTo>
                    <a:lnTo>
                      <a:pt x="62" y="170"/>
                    </a:lnTo>
                    <a:lnTo>
                      <a:pt x="59" y="180"/>
                    </a:lnTo>
                    <a:lnTo>
                      <a:pt x="52" y="187"/>
                    </a:lnTo>
                    <a:lnTo>
                      <a:pt x="47" y="194"/>
                    </a:lnTo>
                    <a:lnTo>
                      <a:pt x="38" y="198"/>
                    </a:lnTo>
                    <a:lnTo>
                      <a:pt x="30" y="201"/>
                    </a:lnTo>
                    <a:lnTo>
                      <a:pt x="19" y="198"/>
                    </a:lnTo>
                    <a:lnTo>
                      <a:pt x="12" y="191"/>
                    </a:lnTo>
                    <a:lnTo>
                      <a:pt x="6" y="180"/>
                    </a:lnTo>
                    <a:lnTo>
                      <a:pt x="6" y="172"/>
                    </a:lnTo>
                    <a:lnTo>
                      <a:pt x="6" y="165"/>
                    </a:lnTo>
                    <a:lnTo>
                      <a:pt x="7" y="160"/>
                    </a:lnTo>
                    <a:lnTo>
                      <a:pt x="0" y="150"/>
                    </a:lnTo>
                    <a:lnTo>
                      <a:pt x="0" y="139"/>
                    </a:lnTo>
                    <a:lnTo>
                      <a:pt x="6" y="132"/>
                    </a:lnTo>
                    <a:lnTo>
                      <a:pt x="11" y="1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41" name="Freeform 192"/>
              <p:cNvSpPr>
                <a:spLocks/>
              </p:cNvSpPr>
              <p:nvPr/>
            </p:nvSpPr>
            <p:spPr bwMode="auto">
              <a:xfrm>
                <a:off x="3920332" y="3114675"/>
                <a:ext cx="1563688" cy="1747837"/>
              </a:xfrm>
              <a:custGeom>
                <a:avLst/>
                <a:gdLst/>
                <a:ahLst/>
                <a:cxnLst>
                  <a:cxn ang="0">
                    <a:pos x="607" y="93"/>
                  </a:cxn>
                  <a:cxn ang="0">
                    <a:pos x="681" y="102"/>
                  </a:cxn>
                  <a:cxn ang="0">
                    <a:pos x="741" y="102"/>
                  </a:cxn>
                  <a:cxn ang="0">
                    <a:pos x="741" y="157"/>
                  </a:cxn>
                  <a:cxn ang="0">
                    <a:pos x="762" y="217"/>
                  </a:cxn>
                  <a:cxn ang="0">
                    <a:pos x="784" y="289"/>
                  </a:cxn>
                  <a:cxn ang="0">
                    <a:pos x="811" y="332"/>
                  </a:cxn>
                  <a:cxn ang="0">
                    <a:pos x="856" y="380"/>
                  </a:cxn>
                  <a:cxn ang="0">
                    <a:pos x="884" y="418"/>
                  </a:cxn>
                  <a:cxn ang="0">
                    <a:pos x="939" y="408"/>
                  </a:cxn>
                  <a:cxn ang="0">
                    <a:pos x="983" y="415"/>
                  </a:cxn>
                  <a:cxn ang="0">
                    <a:pos x="954" y="480"/>
                  </a:cxn>
                  <a:cxn ang="0">
                    <a:pos x="896" y="549"/>
                  </a:cxn>
                  <a:cxn ang="0">
                    <a:pos x="830" y="604"/>
                  </a:cxn>
                  <a:cxn ang="0">
                    <a:pos x="810" y="660"/>
                  </a:cxn>
                  <a:cxn ang="0">
                    <a:pos x="829" y="716"/>
                  </a:cxn>
                  <a:cxn ang="0">
                    <a:pos x="827" y="759"/>
                  </a:cxn>
                  <a:cxn ang="0">
                    <a:pos x="820" y="808"/>
                  </a:cxn>
                  <a:cxn ang="0">
                    <a:pos x="760" y="857"/>
                  </a:cxn>
                  <a:cxn ang="0">
                    <a:pos x="758" y="905"/>
                  </a:cxn>
                  <a:cxn ang="0">
                    <a:pos x="739" y="937"/>
                  </a:cxn>
                  <a:cxn ang="0">
                    <a:pos x="712" y="991"/>
                  </a:cxn>
                  <a:cxn ang="0">
                    <a:pos x="663" y="1058"/>
                  </a:cxn>
                  <a:cxn ang="0">
                    <a:pos x="603" y="1090"/>
                  </a:cxn>
                  <a:cxn ang="0">
                    <a:pos x="536" y="1101"/>
                  </a:cxn>
                  <a:cxn ang="0">
                    <a:pos x="505" y="1066"/>
                  </a:cxn>
                  <a:cxn ang="0">
                    <a:pos x="495" y="1025"/>
                  </a:cxn>
                  <a:cxn ang="0">
                    <a:pos x="457" y="949"/>
                  </a:cxn>
                  <a:cxn ang="0">
                    <a:pos x="443" y="889"/>
                  </a:cxn>
                  <a:cxn ang="0">
                    <a:pos x="414" y="814"/>
                  </a:cxn>
                  <a:cxn ang="0">
                    <a:pos x="447" y="743"/>
                  </a:cxn>
                  <a:cxn ang="0">
                    <a:pos x="433" y="688"/>
                  </a:cxn>
                  <a:cxn ang="0">
                    <a:pos x="392" y="614"/>
                  </a:cxn>
                  <a:cxn ang="0">
                    <a:pos x="388" y="562"/>
                  </a:cxn>
                  <a:cxn ang="0">
                    <a:pos x="393" y="530"/>
                  </a:cxn>
                  <a:cxn ang="0">
                    <a:pos x="340" y="507"/>
                  </a:cxn>
                  <a:cxn ang="0">
                    <a:pos x="282" y="478"/>
                  </a:cxn>
                  <a:cxn ang="0">
                    <a:pos x="218" y="506"/>
                  </a:cxn>
                  <a:cxn ang="0">
                    <a:pos x="141" y="507"/>
                  </a:cxn>
                  <a:cxn ang="0">
                    <a:pos x="70" y="459"/>
                  </a:cxn>
                  <a:cxn ang="0">
                    <a:pos x="29" y="408"/>
                  </a:cxn>
                  <a:cxn ang="0">
                    <a:pos x="8" y="378"/>
                  </a:cxn>
                  <a:cxn ang="0">
                    <a:pos x="17" y="320"/>
                  </a:cxn>
                  <a:cxn ang="0">
                    <a:pos x="17" y="239"/>
                  </a:cxn>
                  <a:cxn ang="0">
                    <a:pos x="72" y="155"/>
                  </a:cxn>
                  <a:cxn ang="0">
                    <a:pos x="113" y="96"/>
                  </a:cxn>
                  <a:cxn ang="0">
                    <a:pos x="161" y="40"/>
                  </a:cxn>
                  <a:cxn ang="0">
                    <a:pos x="215" y="40"/>
                  </a:cxn>
                  <a:cxn ang="0">
                    <a:pos x="273" y="14"/>
                  </a:cxn>
                  <a:cxn ang="0">
                    <a:pos x="332" y="12"/>
                  </a:cxn>
                  <a:cxn ang="0">
                    <a:pos x="388" y="0"/>
                  </a:cxn>
                  <a:cxn ang="0">
                    <a:pos x="404" y="19"/>
                  </a:cxn>
                  <a:cxn ang="0">
                    <a:pos x="411" y="66"/>
                  </a:cxn>
                  <a:cxn ang="0">
                    <a:pos x="462" y="79"/>
                  </a:cxn>
                  <a:cxn ang="0">
                    <a:pos x="522" y="114"/>
                  </a:cxn>
                  <a:cxn ang="0">
                    <a:pos x="540" y="79"/>
                  </a:cxn>
                </a:cxnLst>
                <a:rect l="0" t="0" r="r" b="b"/>
                <a:pathLst>
                  <a:path w="985" h="1101">
                    <a:moveTo>
                      <a:pt x="562" y="76"/>
                    </a:moveTo>
                    <a:lnTo>
                      <a:pt x="574" y="76"/>
                    </a:lnTo>
                    <a:lnTo>
                      <a:pt x="576" y="83"/>
                    </a:lnTo>
                    <a:lnTo>
                      <a:pt x="581" y="88"/>
                    </a:lnTo>
                    <a:lnTo>
                      <a:pt x="591" y="90"/>
                    </a:lnTo>
                    <a:lnTo>
                      <a:pt x="607" y="93"/>
                    </a:lnTo>
                    <a:lnTo>
                      <a:pt x="619" y="96"/>
                    </a:lnTo>
                    <a:lnTo>
                      <a:pt x="633" y="102"/>
                    </a:lnTo>
                    <a:lnTo>
                      <a:pt x="648" y="103"/>
                    </a:lnTo>
                    <a:lnTo>
                      <a:pt x="663" y="107"/>
                    </a:lnTo>
                    <a:lnTo>
                      <a:pt x="672" y="103"/>
                    </a:lnTo>
                    <a:lnTo>
                      <a:pt x="681" y="102"/>
                    </a:lnTo>
                    <a:lnTo>
                      <a:pt x="688" y="98"/>
                    </a:lnTo>
                    <a:lnTo>
                      <a:pt x="700" y="98"/>
                    </a:lnTo>
                    <a:lnTo>
                      <a:pt x="712" y="102"/>
                    </a:lnTo>
                    <a:lnTo>
                      <a:pt x="727" y="105"/>
                    </a:lnTo>
                    <a:lnTo>
                      <a:pt x="734" y="103"/>
                    </a:lnTo>
                    <a:lnTo>
                      <a:pt x="741" y="102"/>
                    </a:lnTo>
                    <a:lnTo>
                      <a:pt x="746" y="114"/>
                    </a:lnTo>
                    <a:lnTo>
                      <a:pt x="751" y="126"/>
                    </a:lnTo>
                    <a:lnTo>
                      <a:pt x="748" y="131"/>
                    </a:lnTo>
                    <a:lnTo>
                      <a:pt x="746" y="139"/>
                    </a:lnTo>
                    <a:lnTo>
                      <a:pt x="743" y="148"/>
                    </a:lnTo>
                    <a:lnTo>
                      <a:pt x="741" y="157"/>
                    </a:lnTo>
                    <a:lnTo>
                      <a:pt x="732" y="152"/>
                    </a:lnTo>
                    <a:lnTo>
                      <a:pt x="725" y="141"/>
                    </a:lnTo>
                    <a:lnTo>
                      <a:pt x="719" y="131"/>
                    </a:lnTo>
                    <a:lnTo>
                      <a:pt x="713" y="122"/>
                    </a:lnTo>
                    <a:lnTo>
                      <a:pt x="713" y="133"/>
                    </a:lnTo>
                    <a:lnTo>
                      <a:pt x="762" y="217"/>
                    </a:lnTo>
                    <a:lnTo>
                      <a:pt x="762" y="225"/>
                    </a:lnTo>
                    <a:lnTo>
                      <a:pt x="767" y="237"/>
                    </a:lnTo>
                    <a:lnTo>
                      <a:pt x="774" y="248"/>
                    </a:lnTo>
                    <a:lnTo>
                      <a:pt x="780" y="256"/>
                    </a:lnTo>
                    <a:lnTo>
                      <a:pt x="780" y="282"/>
                    </a:lnTo>
                    <a:lnTo>
                      <a:pt x="784" y="289"/>
                    </a:lnTo>
                    <a:lnTo>
                      <a:pt x="791" y="294"/>
                    </a:lnTo>
                    <a:lnTo>
                      <a:pt x="796" y="299"/>
                    </a:lnTo>
                    <a:lnTo>
                      <a:pt x="805" y="306"/>
                    </a:lnTo>
                    <a:lnTo>
                      <a:pt x="808" y="315"/>
                    </a:lnTo>
                    <a:lnTo>
                      <a:pt x="810" y="323"/>
                    </a:lnTo>
                    <a:lnTo>
                      <a:pt x="811" y="332"/>
                    </a:lnTo>
                    <a:lnTo>
                      <a:pt x="817" y="341"/>
                    </a:lnTo>
                    <a:lnTo>
                      <a:pt x="827" y="348"/>
                    </a:lnTo>
                    <a:lnTo>
                      <a:pt x="839" y="356"/>
                    </a:lnTo>
                    <a:lnTo>
                      <a:pt x="844" y="363"/>
                    </a:lnTo>
                    <a:lnTo>
                      <a:pt x="851" y="372"/>
                    </a:lnTo>
                    <a:lnTo>
                      <a:pt x="856" y="380"/>
                    </a:lnTo>
                    <a:lnTo>
                      <a:pt x="868" y="384"/>
                    </a:lnTo>
                    <a:lnTo>
                      <a:pt x="870" y="392"/>
                    </a:lnTo>
                    <a:lnTo>
                      <a:pt x="868" y="399"/>
                    </a:lnTo>
                    <a:lnTo>
                      <a:pt x="873" y="403"/>
                    </a:lnTo>
                    <a:lnTo>
                      <a:pt x="878" y="411"/>
                    </a:lnTo>
                    <a:lnTo>
                      <a:pt x="884" y="418"/>
                    </a:lnTo>
                    <a:lnTo>
                      <a:pt x="891" y="421"/>
                    </a:lnTo>
                    <a:lnTo>
                      <a:pt x="897" y="416"/>
                    </a:lnTo>
                    <a:lnTo>
                      <a:pt x="906" y="411"/>
                    </a:lnTo>
                    <a:lnTo>
                      <a:pt x="915" y="411"/>
                    </a:lnTo>
                    <a:lnTo>
                      <a:pt x="925" y="411"/>
                    </a:lnTo>
                    <a:lnTo>
                      <a:pt x="939" y="408"/>
                    </a:lnTo>
                    <a:lnTo>
                      <a:pt x="952" y="404"/>
                    </a:lnTo>
                    <a:lnTo>
                      <a:pt x="966" y="399"/>
                    </a:lnTo>
                    <a:lnTo>
                      <a:pt x="982" y="397"/>
                    </a:lnTo>
                    <a:lnTo>
                      <a:pt x="983" y="401"/>
                    </a:lnTo>
                    <a:lnTo>
                      <a:pt x="985" y="404"/>
                    </a:lnTo>
                    <a:lnTo>
                      <a:pt x="983" y="415"/>
                    </a:lnTo>
                    <a:lnTo>
                      <a:pt x="980" y="427"/>
                    </a:lnTo>
                    <a:lnTo>
                      <a:pt x="975" y="437"/>
                    </a:lnTo>
                    <a:lnTo>
                      <a:pt x="971" y="451"/>
                    </a:lnTo>
                    <a:lnTo>
                      <a:pt x="964" y="461"/>
                    </a:lnTo>
                    <a:lnTo>
                      <a:pt x="959" y="471"/>
                    </a:lnTo>
                    <a:lnTo>
                      <a:pt x="954" y="480"/>
                    </a:lnTo>
                    <a:lnTo>
                      <a:pt x="949" y="489"/>
                    </a:lnTo>
                    <a:lnTo>
                      <a:pt x="937" y="502"/>
                    </a:lnTo>
                    <a:lnTo>
                      <a:pt x="930" y="516"/>
                    </a:lnTo>
                    <a:lnTo>
                      <a:pt x="920" y="528"/>
                    </a:lnTo>
                    <a:lnTo>
                      <a:pt x="909" y="542"/>
                    </a:lnTo>
                    <a:lnTo>
                      <a:pt x="896" y="549"/>
                    </a:lnTo>
                    <a:lnTo>
                      <a:pt x="882" y="557"/>
                    </a:lnTo>
                    <a:lnTo>
                      <a:pt x="870" y="564"/>
                    </a:lnTo>
                    <a:lnTo>
                      <a:pt x="860" y="573"/>
                    </a:lnTo>
                    <a:lnTo>
                      <a:pt x="848" y="581"/>
                    </a:lnTo>
                    <a:lnTo>
                      <a:pt x="839" y="592"/>
                    </a:lnTo>
                    <a:lnTo>
                      <a:pt x="830" y="604"/>
                    </a:lnTo>
                    <a:lnTo>
                      <a:pt x="827" y="621"/>
                    </a:lnTo>
                    <a:lnTo>
                      <a:pt x="822" y="628"/>
                    </a:lnTo>
                    <a:lnTo>
                      <a:pt x="817" y="635"/>
                    </a:lnTo>
                    <a:lnTo>
                      <a:pt x="811" y="640"/>
                    </a:lnTo>
                    <a:lnTo>
                      <a:pt x="810" y="652"/>
                    </a:lnTo>
                    <a:lnTo>
                      <a:pt x="810" y="660"/>
                    </a:lnTo>
                    <a:lnTo>
                      <a:pt x="811" y="671"/>
                    </a:lnTo>
                    <a:lnTo>
                      <a:pt x="811" y="678"/>
                    </a:lnTo>
                    <a:lnTo>
                      <a:pt x="813" y="690"/>
                    </a:lnTo>
                    <a:lnTo>
                      <a:pt x="815" y="700"/>
                    </a:lnTo>
                    <a:lnTo>
                      <a:pt x="822" y="709"/>
                    </a:lnTo>
                    <a:lnTo>
                      <a:pt x="829" y="716"/>
                    </a:lnTo>
                    <a:lnTo>
                      <a:pt x="832" y="724"/>
                    </a:lnTo>
                    <a:lnTo>
                      <a:pt x="830" y="728"/>
                    </a:lnTo>
                    <a:lnTo>
                      <a:pt x="829" y="733"/>
                    </a:lnTo>
                    <a:lnTo>
                      <a:pt x="829" y="745"/>
                    </a:lnTo>
                    <a:lnTo>
                      <a:pt x="827" y="750"/>
                    </a:lnTo>
                    <a:lnTo>
                      <a:pt x="827" y="759"/>
                    </a:lnTo>
                    <a:lnTo>
                      <a:pt x="827" y="767"/>
                    </a:lnTo>
                    <a:lnTo>
                      <a:pt x="827" y="777"/>
                    </a:lnTo>
                    <a:lnTo>
                      <a:pt x="830" y="781"/>
                    </a:lnTo>
                    <a:lnTo>
                      <a:pt x="832" y="788"/>
                    </a:lnTo>
                    <a:lnTo>
                      <a:pt x="829" y="798"/>
                    </a:lnTo>
                    <a:lnTo>
                      <a:pt x="820" y="808"/>
                    </a:lnTo>
                    <a:lnTo>
                      <a:pt x="810" y="815"/>
                    </a:lnTo>
                    <a:lnTo>
                      <a:pt x="798" y="824"/>
                    </a:lnTo>
                    <a:lnTo>
                      <a:pt x="784" y="829"/>
                    </a:lnTo>
                    <a:lnTo>
                      <a:pt x="772" y="836"/>
                    </a:lnTo>
                    <a:lnTo>
                      <a:pt x="763" y="844"/>
                    </a:lnTo>
                    <a:lnTo>
                      <a:pt x="760" y="857"/>
                    </a:lnTo>
                    <a:lnTo>
                      <a:pt x="748" y="860"/>
                    </a:lnTo>
                    <a:lnTo>
                      <a:pt x="744" y="870"/>
                    </a:lnTo>
                    <a:lnTo>
                      <a:pt x="746" y="877"/>
                    </a:lnTo>
                    <a:lnTo>
                      <a:pt x="751" y="886"/>
                    </a:lnTo>
                    <a:lnTo>
                      <a:pt x="755" y="893"/>
                    </a:lnTo>
                    <a:lnTo>
                      <a:pt x="758" y="905"/>
                    </a:lnTo>
                    <a:lnTo>
                      <a:pt x="756" y="912"/>
                    </a:lnTo>
                    <a:lnTo>
                      <a:pt x="756" y="920"/>
                    </a:lnTo>
                    <a:lnTo>
                      <a:pt x="755" y="929"/>
                    </a:lnTo>
                    <a:lnTo>
                      <a:pt x="755" y="934"/>
                    </a:lnTo>
                    <a:lnTo>
                      <a:pt x="746" y="936"/>
                    </a:lnTo>
                    <a:lnTo>
                      <a:pt x="739" y="937"/>
                    </a:lnTo>
                    <a:lnTo>
                      <a:pt x="724" y="946"/>
                    </a:lnTo>
                    <a:lnTo>
                      <a:pt x="713" y="961"/>
                    </a:lnTo>
                    <a:lnTo>
                      <a:pt x="719" y="967"/>
                    </a:lnTo>
                    <a:lnTo>
                      <a:pt x="720" y="972"/>
                    </a:lnTo>
                    <a:lnTo>
                      <a:pt x="717" y="980"/>
                    </a:lnTo>
                    <a:lnTo>
                      <a:pt x="712" y="991"/>
                    </a:lnTo>
                    <a:lnTo>
                      <a:pt x="705" y="998"/>
                    </a:lnTo>
                    <a:lnTo>
                      <a:pt x="701" y="1004"/>
                    </a:lnTo>
                    <a:lnTo>
                      <a:pt x="689" y="1020"/>
                    </a:lnTo>
                    <a:lnTo>
                      <a:pt x="681" y="1037"/>
                    </a:lnTo>
                    <a:lnTo>
                      <a:pt x="670" y="1047"/>
                    </a:lnTo>
                    <a:lnTo>
                      <a:pt x="663" y="1058"/>
                    </a:lnTo>
                    <a:lnTo>
                      <a:pt x="653" y="1066"/>
                    </a:lnTo>
                    <a:lnTo>
                      <a:pt x="641" y="1077"/>
                    </a:lnTo>
                    <a:lnTo>
                      <a:pt x="627" y="1078"/>
                    </a:lnTo>
                    <a:lnTo>
                      <a:pt x="619" y="1087"/>
                    </a:lnTo>
                    <a:lnTo>
                      <a:pt x="610" y="1089"/>
                    </a:lnTo>
                    <a:lnTo>
                      <a:pt x="603" y="1090"/>
                    </a:lnTo>
                    <a:lnTo>
                      <a:pt x="596" y="1087"/>
                    </a:lnTo>
                    <a:lnTo>
                      <a:pt x="590" y="1085"/>
                    </a:lnTo>
                    <a:lnTo>
                      <a:pt x="572" y="1087"/>
                    </a:lnTo>
                    <a:lnTo>
                      <a:pt x="560" y="1092"/>
                    </a:lnTo>
                    <a:lnTo>
                      <a:pt x="548" y="1097"/>
                    </a:lnTo>
                    <a:lnTo>
                      <a:pt x="536" y="1101"/>
                    </a:lnTo>
                    <a:lnTo>
                      <a:pt x="524" y="1097"/>
                    </a:lnTo>
                    <a:lnTo>
                      <a:pt x="519" y="1090"/>
                    </a:lnTo>
                    <a:lnTo>
                      <a:pt x="516" y="1090"/>
                    </a:lnTo>
                    <a:lnTo>
                      <a:pt x="514" y="1092"/>
                    </a:lnTo>
                    <a:lnTo>
                      <a:pt x="510" y="1077"/>
                    </a:lnTo>
                    <a:lnTo>
                      <a:pt x="505" y="1066"/>
                    </a:lnTo>
                    <a:lnTo>
                      <a:pt x="509" y="1059"/>
                    </a:lnTo>
                    <a:lnTo>
                      <a:pt x="512" y="1053"/>
                    </a:lnTo>
                    <a:lnTo>
                      <a:pt x="509" y="1044"/>
                    </a:lnTo>
                    <a:lnTo>
                      <a:pt x="504" y="1037"/>
                    </a:lnTo>
                    <a:lnTo>
                      <a:pt x="498" y="1028"/>
                    </a:lnTo>
                    <a:lnTo>
                      <a:pt x="495" y="1025"/>
                    </a:lnTo>
                    <a:lnTo>
                      <a:pt x="486" y="1013"/>
                    </a:lnTo>
                    <a:lnTo>
                      <a:pt x="481" y="1001"/>
                    </a:lnTo>
                    <a:lnTo>
                      <a:pt x="473" y="989"/>
                    </a:lnTo>
                    <a:lnTo>
                      <a:pt x="467" y="977"/>
                    </a:lnTo>
                    <a:lnTo>
                      <a:pt x="461" y="963"/>
                    </a:lnTo>
                    <a:lnTo>
                      <a:pt x="457" y="949"/>
                    </a:lnTo>
                    <a:lnTo>
                      <a:pt x="454" y="934"/>
                    </a:lnTo>
                    <a:lnTo>
                      <a:pt x="454" y="920"/>
                    </a:lnTo>
                    <a:lnTo>
                      <a:pt x="454" y="910"/>
                    </a:lnTo>
                    <a:lnTo>
                      <a:pt x="454" y="906"/>
                    </a:lnTo>
                    <a:lnTo>
                      <a:pt x="448" y="898"/>
                    </a:lnTo>
                    <a:lnTo>
                      <a:pt x="443" y="889"/>
                    </a:lnTo>
                    <a:lnTo>
                      <a:pt x="431" y="870"/>
                    </a:lnTo>
                    <a:lnTo>
                      <a:pt x="423" y="853"/>
                    </a:lnTo>
                    <a:lnTo>
                      <a:pt x="418" y="843"/>
                    </a:lnTo>
                    <a:lnTo>
                      <a:pt x="416" y="834"/>
                    </a:lnTo>
                    <a:lnTo>
                      <a:pt x="414" y="824"/>
                    </a:lnTo>
                    <a:lnTo>
                      <a:pt x="414" y="814"/>
                    </a:lnTo>
                    <a:lnTo>
                      <a:pt x="414" y="800"/>
                    </a:lnTo>
                    <a:lnTo>
                      <a:pt x="418" y="789"/>
                    </a:lnTo>
                    <a:lnTo>
                      <a:pt x="423" y="781"/>
                    </a:lnTo>
                    <a:lnTo>
                      <a:pt x="430" y="774"/>
                    </a:lnTo>
                    <a:lnTo>
                      <a:pt x="440" y="759"/>
                    </a:lnTo>
                    <a:lnTo>
                      <a:pt x="447" y="743"/>
                    </a:lnTo>
                    <a:lnTo>
                      <a:pt x="445" y="733"/>
                    </a:lnTo>
                    <a:lnTo>
                      <a:pt x="443" y="726"/>
                    </a:lnTo>
                    <a:lnTo>
                      <a:pt x="440" y="719"/>
                    </a:lnTo>
                    <a:lnTo>
                      <a:pt x="440" y="714"/>
                    </a:lnTo>
                    <a:lnTo>
                      <a:pt x="436" y="698"/>
                    </a:lnTo>
                    <a:lnTo>
                      <a:pt x="433" y="688"/>
                    </a:lnTo>
                    <a:lnTo>
                      <a:pt x="430" y="679"/>
                    </a:lnTo>
                    <a:lnTo>
                      <a:pt x="426" y="671"/>
                    </a:lnTo>
                    <a:lnTo>
                      <a:pt x="423" y="655"/>
                    </a:lnTo>
                    <a:lnTo>
                      <a:pt x="418" y="642"/>
                    </a:lnTo>
                    <a:lnTo>
                      <a:pt x="404" y="628"/>
                    </a:lnTo>
                    <a:lnTo>
                      <a:pt x="392" y="614"/>
                    </a:lnTo>
                    <a:lnTo>
                      <a:pt x="380" y="599"/>
                    </a:lnTo>
                    <a:lnTo>
                      <a:pt x="376" y="583"/>
                    </a:lnTo>
                    <a:lnTo>
                      <a:pt x="376" y="576"/>
                    </a:lnTo>
                    <a:lnTo>
                      <a:pt x="380" y="571"/>
                    </a:lnTo>
                    <a:lnTo>
                      <a:pt x="383" y="564"/>
                    </a:lnTo>
                    <a:lnTo>
                      <a:pt x="388" y="562"/>
                    </a:lnTo>
                    <a:lnTo>
                      <a:pt x="387" y="557"/>
                    </a:lnTo>
                    <a:lnTo>
                      <a:pt x="388" y="556"/>
                    </a:lnTo>
                    <a:lnTo>
                      <a:pt x="388" y="547"/>
                    </a:lnTo>
                    <a:lnTo>
                      <a:pt x="388" y="540"/>
                    </a:lnTo>
                    <a:lnTo>
                      <a:pt x="388" y="533"/>
                    </a:lnTo>
                    <a:lnTo>
                      <a:pt x="393" y="530"/>
                    </a:lnTo>
                    <a:lnTo>
                      <a:pt x="387" y="519"/>
                    </a:lnTo>
                    <a:lnTo>
                      <a:pt x="380" y="513"/>
                    </a:lnTo>
                    <a:lnTo>
                      <a:pt x="371" y="507"/>
                    </a:lnTo>
                    <a:lnTo>
                      <a:pt x="361" y="507"/>
                    </a:lnTo>
                    <a:lnTo>
                      <a:pt x="347" y="507"/>
                    </a:lnTo>
                    <a:lnTo>
                      <a:pt x="340" y="507"/>
                    </a:lnTo>
                    <a:lnTo>
                      <a:pt x="328" y="502"/>
                    </a:lnTo>
                    <a:lnTo>
                      <a:pt x="321" y="492"/>
                    </a:lnTo>
                    <a:lnTo>
                      <a:pt x="313" y="482"/>
                    </a:lnTo>
                    <a:lnTo>
                      <a:pt x="301" y="478"/>
                    </a:lnTo>
                    <a:lnTo>
                      <a:pt x="290" y="478"/>
                    </a:lnTo>
                    <a:lnTo>
                      <a:pt x="282" y="478"/>
                    </a:lnTo>
                    <a:lnTo>
                      <a:pt x="273" y="480"/>
                    </a:lnTo>
                    <a:lnTo>
                      <a:pt x="266" y="485"/>
                    </a:lnTo>
                    <a:lnTo>
                      <a:pt x="251" y="490"/>
                    </a:lnTo>
                    <a:lnTo>
                      <a:pt x="237" y="497"/>
                    </a:lnTo>
                    <a:lnTo>
                      <a:pt x="227" y="501"/>
                    </a:lnTo>
                    <a:lnTo>
                      <a:pt x="218" y="506"/>
                    </a:lnTo>
                    <a:lnTo>
                      <a:pt x="204" y="502"/>
                    </a:lnTo>
                    <a:lnTo>
                      <a:pt x="189" y="499"/>
                    </a:lnTo>
                    <a:lnTo>
                      <a:pt x="173" y="499"/>
                    </a:lnTo>
                    <a:lnTo>
                      <a:pt x="163" y="502"/>
                    </a:lnTo>
                    <a:lnTo>
                      <a:pt x="151" y="504"/>
                    </a:lnTo>
                    <a:lnTo>
                      <a:pt x="141" y="507"/>
                    </a:lnTo>
                    <a:lnTo>
                      <a:pt x="130" y="506"/>
                    </a:lnTo>
                    <a:lnTo>
                      <a:pt x="125" y="504"/>
                    </a:lnTo>
                    <a:lnTo>
                      <a:pt x="111" y="494"/>
                    </a:lnTo>
                    <a:lnTo>
                      <a:pt x="96" y="483"/>
                    </a:lnTo>
                    <a:lnTo>
                      <a:pt x="80" y="471"/>
                    </a:lnTo>
                    <a:lnTo>
                      <a:pt x="70" y="459"/>
                    </a:lnTo>
                    <a:lnTo>
                      <a:pt x="63" y="449"/>
                    </a:lnTo>
                    <a:lnTo>
                      <a:pt x="58" y="439"/>
                    </a:lnTo>
                    <a:lnTo>
                      <a:pt x="51" y="430"/>
                    </a:lnTo>
                    <a:lnTo>
                      <a:pt x="46" y="423"/>
                    </a:lnTo>
                    <a:lnTo>
                      <a:pt x="39" y="416"/>
                    </a:lnTo>
                    <a:lnTo>
                      <a:pt x="29" y="408"/>
                    </a:lnTo>
                    <a:lnTo>
                      <a:pt x="19" y="399"/>
                    </a:lnTo>
                    <a:lnTo>
                      <a:pt x="15" y="394"/>
                    </a:lnTo>
                    <a:lnTo>
                      <a:pt x="12" y="391"/>
                    </a:lnTo>
                    <a:lnTo>
                      <a:pt x="8" y="387"/>
                    </a:lnTo>
                    <a:lnTo>
                      <a:pt x="10" y="387"/>
                    </a:lnTo>
                    <a:lnTo>
                      <a:pt x="8" y="378"/>
                    </a:lnTo>
                    <a:lnTo>
                      <a:pt x="6" y="372"/>
                    </a:lnTo>
                    <a:lnTo>
                      <a:pt x="3" y="363"/>
                    </a:lnTo>
                    <a:lnTo>
                      <a:pt x="0" y="354"/>
                    </a:lnTo>
                    <a:lnTo>
                      <a:pt x="6" y="346"/>
                    </a:lnTo>
                    <a:lnTo>
                      <a:pt x="13" y="334"/>
                    </a:lnTo>
                    <a:lnTo>
                      <a:pt x="17" y="320"/>
                    </a:lnTo>
                    <a:lnTo>
                      <a:pt x="20" y="310"/>
                    </a:lnTo>
                    <a:lnTo>
                      <a:pt x="17" y="293"/>
                    </a:lnTo>
                    <a:lnTo>
                      <a:pt x="15" y="280"/>
                    </a:lnTo>
                    <a:lnTo>
                      <a:pt x="12" y="267"/>
                    </a:lnTo>
                    <a:lnTo>
                      <a:pt x="12" y="253"/>
                    </a:lnTo>
                    <a:lnTo>
                      <a:pt x="17" y="239"/>
                    </a:lnTo>
                    <a:lnTo>
                      <a:pt x="25" y="229"/>
                    </a:lnTo>
                    <a:lnTo>
                      <a:pt x="31" y="212"/>
                    </a:lnTo>
                    <a:lnTo>
                      <a:pt x="39" y="195"/>
                    </a:lnTo>
                    <a:lnTo>
                      <a:pt x="49" y="177"/>
                    </a:lnTo>
                    <a:lnTo>
                      <a:pt x="60" y="165"/>
                    </a:lnTo>
                    <a:lnTo>
                      <a:pt x="72" y="155"/>
                    </a:lnTo>
                    <a:lnTo>
                      <a:pt x="89" y="152"/>
                    </a:lnTo>
                    <a:lnTo>
                      <a:pt x="101" y="139"/>
                    </a:lnTo>
                    <a:lnTo>
                      <a:pt x="111" y="127"/>
                    </a:lnTo>
                    <a:lnTo>
                      <a:pt x="111" y="114"/>
                    </a:lnTo>
                    <a:lnTo>
                      <a:pt x="113" y="105"/>
                    </a:lnTo>
                    <a:lnTo>
                      <a:pt x="113" y="96"/>
                    </a:lnTo>
                    <a:lnTo>
                      <a:pt x="120" y="88"/>
                    </a:lnTo>
                    <a:lnTo>
                      <a:pt x="130" y="76"/>
                    </a:lnTo>
                    <a:lnTo>
                      <a:pt x="141" y="64"/>
                    </a:lnTo>
                    <a:lnTo>
                      <a:pt x="151" y="52"/>
                    </a:lnTo>
                    <a:lnTo>
                      <a:pt x="163" y="40"/>
                    </a:lnTo>
                    <a:lnTo>
                      <a:pt x="161" y="40"/>
                    </a:lnTo>
                    <a:lnTo>
                      <a:pt x="166" y="33"/>
                    </a:lnTo>
                    <a:lnTo>
                      <a:pt x="172" y="26"/>
                    </a:lnTo>
                    <a:lnTo>
                      <a:pt x="180" y="31"/>
                    </a:lnTo>
                    <a:lnTo>
                      <a:pt x="191" y="36"/>
                    </a:lnTo>
                    <a:lnTo>
                      <a:pt x="201" y="38"/>
                    </a:lnTo>
                    <a:lnTo>
                      <a:pt x="215" y="40"/>
                    </a:lnTo>
                    <a:lnTo>
                      <a:pt x="227" y="35"/>
                    </a:lnTo>
                    <a:lnTo>
                      <a:pt x="234" y="29"/>
                    </a:lnTo>
                    <a:lnTo>
                      <a:pt x="240" y="24"/>
                    </a:lnTo>
                    <a:lnTo>
                      <a:pt x="251" y="21"/>
                    </a:lnTo>
                    <a:lnTo>
                      <a:pt x="261" y="17"/>
                    </a:lnTo>
                    <a:lnTo>
                      <a:pt x="273" y="14"/>
                    </a:lnTo>
                    <a:lnTo>
                      <a:pt x="283" y="11"/>
                    </a:lnTo>
                    <a:lnTo>
                      <a:pt x="294" y="9"/>
                    </a:lnTo>
                    <a:lnTo>
                      <a:pt x="304" y="7"/>
                    </a:lnTo>
                    <a:lnTo>
                      <a:pt x="314" y="7"/>
                    </a:lnTo>
                    <a:lnTo>
                      <a:pt x="323" y="9"/>
                    </a:lnTo>
                    <a:lnTo>
                      <a:pt x="332" y="12"/>
                    </a:lnTo>
                    <a:lnTo>
                      <a:pt x="340" y="7"/>
                    </a:lnTo>
                    <a:lnTo>
                      <a:pt x="354" y="4"/>
                    </a:lnTo>
                    <a:lnTo>
                      <a:pt x="361" y="5"/>
                    </a:lnTo>
                    <a:lnTo>
                      <a:pt x="368" y="7"/>
                    </a:lnTo>
                    <a:lnTo>
                      <a:pt x="378" y="4"/>
                    </a:lnTo>
                    <a:lnTo>
                      <a:pt x="388" y="0"/>
                    </a:lnTo>
                    <a:lnTo>
                      <a:pt x="395" y="4"/>
                    </a:lnTo>
                    <a:lnTo>
                      <a:pt x="404" y="9"/>
                    </a:lnTo>
                    <a:lnTo>
                      <a:pt x="407" y="7"/>
                    </a:lnTo>
                    <a:lnTo>
                      <a:pt x="412" y="5"/>
                    </a:lnTo>
                    <a:lnTo>
                      <a:pt x="407" y="12"/>
                    </a:lnTo>
                    <a:lnTo>
                      <a:pt x="404" y="19"/>
                    </a:lnTo>
                    <a:lnTo>
                      <a:pt x="407" y="24"/>
                    </a:lnTo>
                    <a:lnTo>
                      <a:pt x="411" y="29"/>
                    </a:lnTo>
                    <a:lnTo>
                      <a:pt x="407" y="40"/>
                    </a:lnTo>
                    <a:lnTo>
                      <a:pt x="404" y="50"/>
                    </a:lnTo>
                    <a:lnTo>
                      <a:pt x="406" y="57"/>
                    </a:lnTo>
                    <a:lnTo>
                      <a:pt x="411" y="66"/>
                    </a:lnTo>
                    <a:lnTo>
                      <a:pt x="418" y="71"/>
                    </a:lnTo>
                    <a:lnTo>
                      <a:pt x="426" y="74"/>
                    </a:lnTo>
                    <a:lnTo>
                      <a:pt x="433" y="74"/>
                    </a:lnTo>
                    <a:lnTo>
                      <a:pt x="442" y="74"/>
                    </a:lnTo>
                    <a:lnTo>
                      <a:pt x="452" y="74"/>
                    </a:lnTo>
                    <a:lnTo>
                      <a:pt x="462" y="79"/>
                    </a:lnTo>
                    <a:lnTo>
                      <a:pt x="471" y="84"/>
                    </a:lnTo>
                    <a:lnTo>
                      <a:pt x="479" y="93"/>
                    </a:lnTo>
                    <a:lnTo>
                      <a:pt x="488" y="100"/>
                    </a:lnTo>
                    <a:lnTo>
                      <a:pt x="498" y="107"/>
                    </a:lnTo>
                    <a:lnTo>
                      <a:pt x="509" y="110"/>
                    </a:lnTo>
                    <a:lnTo>
                      <a:pt x="522" y="114"/>
                    </a:lnTo>
                    <a:lnTo>
                      <a:pt x="529" y="110"/>
                    </a:lnTo>
                    <a:lnTo>
                      <a:pt x="533" y="107"/>
                    </a:lnTo>
                    <a:lnTo>
                      <a:pt x="533" y="102"/>
                    </a:lnTo>
                    <a:lnTo>
                      <a:pt x="533" y="96"/>
                    </a:lnTo>
                    <a:lnTo>
                      <a:pt x="533" y="84"/>
                    </a:lnTo>
                    <a:lnTo>
                      <a:pt x="540" y="79"/>
                    </a:lnTo>
                    <a:lnTo>
                      <a:pt x="548" y="76"/>
                    </a:lnTo>
                    <a:lnTo>
                      <a:pt x="562" y="74"/>
                    </a:lnTo>
                    <a:lnTo>
                      <a:pt x="562" y="7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42" name="Freeform 193"/>
              <p:cNvSpPr>
                <a:spLocks/>
              </p:cNvSpPr>
              <p:nvPr/>
            </p:nvSpPr>
            <p:spPr bwMode="auto">
              <a:xfrm>
                <a:off x="4907757" y="2989263"/>
                <a:ext cx="852488" cy="739775"/>
              </a:xfrm>
              <a:custGeom>
                <a:avLst/>
                <a:gdLst/>
                <a:ahLst/>
                <a:cxnLst>
                  <a:cxn ang="0">
                    <a:pos x="126" y="157"/>
                  </a:cxn>
                  <a:cxn ang="0">
                    <a:pos x="140" y="98"/>
                  </a:cxn>
                  <a:cxn ang="0">
                    <a:pos x="134" y="93"/>
                  </a:cxn>
                  <a:cxn ang="0">
                    <a:pos x="107" y="100"/>
                  </a:cxn>
                  <a:cxn ang="0">
                    <a:pos x="55" y="102"/>
                  </a:cxn>
                  <a:cxn ang="0">
                    <a:pos x="26" y="91"/>
                  </a:cxn>
                  <a:cxn ang="0">
                    <a:pos x="16" y="76"/>
                  </a:cxn>
                  <a:cxn ang="0">
                    <a:pos x="11" y="50"/>
                  </a:cxn>
                  <a:cxn ang="0">
                    <a:pos x="7" y="31"/>
                  </a:cxn>
                  <a:cxn ang="0">
                    <a:pos x="43" y="17"/>
                  </a:cxn>
                  <a:cxn ang="0">
                    <a:pos x="81" y="10"/>
                  </a:cxn>
                  <a:cxn ang="0">
                    <a:pos x="122" y="0"/>
                  </a:cxn>
                  <a:cxn ang="0">
                    <a:pos x="148" y="10"/>
                  </a:cxn>
                  <a:cxn ang="0">
                    <a:pos x="189" y="17"/>
                  </a:cxn>
                  <a:cxn ang="0">
                    <a:pos x="224" y="5"/>
                  </a:cxn>
                  <a:cxn ang="0">
                    <a:pos x="256" y="24"/>
                  </a:cxn>
                  <a:cxn ang="0">
                    <a:pos x="284" y="48"/>
                  </a:cxn>
                  <a:cxn ang="0">
                    <a:pos x="320" y="38"/>
                  </a:cxn>
                  <a:cxn ang="0">
                    <a:pos x="325" y="53"/>
                  </a:cxn>
                  <a:cxn ang="0">
                    <a:pos x="346" y="79"/>
                  </a:cxn>
                  <a:cxn ang="0">
                    <a:pos x="391" y="90"/>
                  </a:cxn>
                  <a:cxn ang="0">
                    <a:pos x="413" y="72"/>
                  </a:cxn>
                  <a:cxn ang="0">
                    <a:pos x="459" y="64"/>
                  </a:cxn>
                  <a:cxn ang="0">
                    <a:pos x="506" y="84"/>
                  </a:cxn>
                  <a:cxn ang="0">
                    <a:pos x="506" y="114"/>
                  </a:cxn>
                  <a:cxn ang="0">
                    <a:pos x="499" y="138"/>
                  </a:cxn>
                  <a:cxn ang="0">
                    <a:pos x="504" y="170"/>
                  </a:cxn>
                  <a:cxn ang="0">
                    <a:pos x="508" y="201"/>
                  </a:cxn>
                  <a:cxn ang="0">
                    <a:pos x="537" y="248"/>
                  </a:cxn>
                  <a:cxn ang="0">
                    <a:pos x="516" y="272"/>
                  </a:cxn>
                  <a:cxn ang="0">
                    <a:pos x="494" y="274"/>
                  </a:cxn>
                  <a:cxn ang="0">
                    <a:pos x="453" y="265"/>
                  </a:cxn>
                  <a:cxn ang="0">
                    <a:pos x="435" y="246"/>
                  </a:cxn>
                  <a:cxn ang="0">
                    <a:pos x="382" y="239"/>
                  </a:cxn>
                  <a:cxn ang="0">
                    <a:pos x="353" y="212"/>
                  </a:cxn>
                  <a:cxn ang="0">
                    <a:pos x="320" y="210"/>
                  </a:cxn>
                  <a:cxn ang="0">
                    <a:pos x="339" y="253"/>
                  </a:cxn>
                  <a:cxn ang="0">
                    <a:pos x="363" y="261"/>
                  </a:cxn>
                  <a:cxn ang="0">
                    <a:pos x="361" y="286"/>
                  </a:cxn>
                  <a:cxn ang="0">
                    <a:pos x="399" y="291"/>
                  </a:cxn>
                  <a:cxn ang="0">
                    <a:pos x="435" y="277"/>
                  </a:cxn>
                  <a:cxn ang="0">
                    <a:pos x="471" y="304"/>
                  </a:cxn>
                  <a:cxn ang="0">
                    <a:pos x="484" y="325"/>
                  </a:cxn>
                  <a:cxn ang="0">
                    <a:pos x="458" y="356"/>
                  </a:cxn>
                  <a:cxn ang="0">
                    <a:pos x="437" y="382"/>
                  </a:cxn>
                  <a:cxn ang="0">
                    <a:pos x="392" y="406"/>
                  </a:cxn>
                  <a:cxn ang="0">
                    <a:pos x="367" y="425"/>
                  </a:cxn>
                  <a:cxn ang="0">
                    <a:pos x="320" y="444"/>
                  </a:cxn>
                  <a:cxn ang="0">
                    <a:pos x="269" y="464"/>
                  </a:cxn>
                  <a:cxn ang="0">
                    <a:pos x="250" y="454"/>
                  </a:cxn>
                  <a:cxn ang="0">
                    <a:pos x="236" y="399"/>
                  </a:cxn>
                  <a:cxn ang="0">
                    <a:pos x="208" y="356"/>
                  </a:cxn>
                  <a:cxn ang="0">
                    <a:pos x="181" y="310"/>
                  </a:cxn>
                  <a:cxn ang="0">
                    <a:pos x="160" y="289"/>
                  </a:cxn>
                  <a:cxn ang="0">
                    <a:pos x="141" y="249"/>
                  </a:cxn>
                  <a:cxn ang="0">
                    <a:pos x="129" y="201"/>
                  </a:cxn>
                </a:cxnLst>
                <a:rect l="0" t="0" r="r" b="b"/>
                <a:pathLst>
                  <a:path w="537" h="466">
                    <a:moveTo>
                      <a:pt x="129" y="205"/>
                    </a:moveTo>
                    <a:lnTo>
                      <a:pt x="117" y="177"/>
                    </a:lnTo>
                    <a:lnTo>
                      <a:pt x="119" y="174"/>
                    </a:lnTo>
                    <a:lnTo>
                      <a:pt x="122" y="172"/>
                    </a:lnTo>
                    <a:lnTo>
                      <a:pt x="126" y="157"/>
                    </a:lnTo>
                    <a:lnTo>
                      <a:pt x="129" y="145"/>
                    </a:lnTo>
                    <a:lnTo>
                      <a:pt x="136" y="133"/>
                    </a:lnTo>
                    <a:lnTo>
                      <a:pt x="143" y="120"/>
                    </a:lnTo>
                    <a:lnTo>
                      <a:pt x="141" y="108"/>
                    </a:lnTo>
                    <a:lnTo>
                      <a:pt x="140" y="98"/>
                    </a:lnTo>
                    <a:lnTo>
                      <a:pt x="141" y="95"/>
                    </a:lnTo>
                    <a:lnTo>
                      <a:pt x="143" y="93"/>
                    </a:lnTo>
                    <a:lnTo>
                      <a:pt x="143" y="88"/>
                    </a:lnTo>
                    <a:lnTo>
                      <a:pt x="138" y="90"/>
                    </a:lnTo>
                    <a:lnTo>
                      <a:pt x="134" y="93"/>
                    </a:lnTo>
                    <a:lnTo>
                      <a:pt x="127" y="91"/>
                    </a:lnTo>
                    <a:lnTo>
                      <a:pt x="124" y="90"/>
                    </a:lnTo>
                    <a:lnTo>
                      <a:pt x="117" y="93"/>
                    </a:lnTo>
                    <a:lnTo>
                      <a:pt x="114" y="96"/>
                    </a:lnTo>
                    <a:lnTo>
                      <a:pt x="107" y="100"/>
                    </a:lnTo>
                    <a:lnTo>
                      <a:pt x="98" y="102"/>
                    </a:lnTo>
                    <a:lnTo>
                      <a:pt x="86" y="95"/>
                    </a:lnTo>
                    <a:lnTo>
                      <a:pt x="74" y="90"/>
                    </a:lnTo>
                    <a:lnTo>
                      <a:pt x="62" y="95"/>
                    </a:lnTo>
                    <a:lnTo>
                      <a:pt x="55" y="102"/>
                    </a:lnTo>
                    <a:lnTo>
                      <a:pt x="48" y="98"/>
                    </a:lnTo>
                    <a:lnTo>
                      <a:pt x="43" y="95"/>
                    </a:lnTo>
                    <a:lnTo>
                      <a:pt x="36" y="90"/>
                    </a:lnTo>
                    <a:lnTo>
                      <a:pt x="31" y="91"/>
                    </a:lnTo>
                    <a:lnTo>
                      <a:pt x="26" y="91"/>
                    </a:lnTo>
                    <a:lnTo>
                      <a:pt x="28" y="90"/>
                    </a:lnTo>
                    <a:lnTo>
                      <a:pt x="29" y="88"/>
                    </a:lnTo>
                    <a:lnTo>
                      <a:pt x="24" y="84"/>
                    </a:lnTo>
                    <a:lnTo>
                      <a:pt x="19" y="81"/>
                    </a:lnTo>
                    <a:lnTo>
                      <a:pt x="16" y="76"/>
                    </a:lnTo>
                    <a:lnTo>
                      <a:pt x="17" y="72"/>
                    </a:lnTo>
                    <a:lnTo>
                      <a:pt x="9" y="65"/>
                    </a:lnTo>
                    <a:lnTo>
                      <a:pt x="0" y="64"/>
                    </a:lnTo>
                    <a:lnTo>
                      <a:pt x="7" y="57"/>
                    </a:lnTo>
                    <a:lnTo>
                      <a:pt x="11" y="50"/>
                    </a:lnTo>
                    <a:lnTo>
                      <a:pt x="9" y="47"/>
                    </a:lnTo>
                    <a:lnTo>
                      <a:pt x="11" y="43"/>
                    </a:lnTo>
                    <a:lnTo>
                      <a:pt x="4" y="41"/>
                    </a:lnTo>
                    <a:lnTo>
                      <a:pt x="2" y="41"/>
                    </a:lnTo>
                    <a:lnTo>
                      <a:pt x="7" y="31"/>
                    </a:lnTo>
                    <a:lnTo>
                      <a:pt x="21" y="28"/>
                    </a:lnTo>
                    <a:lnTo>
                      <a:pt x="35" y="26"/>
                    </a:lnTo>
                    <a:lnTo>
                      <a:pt x="47" y="24"/>
                    </a:lnTo>
                    <a:lnTo>
                      <a:pt x="45" y="19"/>
                    </a:lnTo>
                    <a:lnTo>
                      <a:pt x="43" y="17"/>
                    </a:lnTo>
                    <a:lnTo>
                      <a:pt x="48" y="14"/>
                    </a:lnTo>
                    <a:lnTo>
                      <a:pt x="55" y="16"/>
                    </a:lnTo>
                    <a:lnTo>
                      <a:pt x="66" y="16"/>
                    </a:lnTo>
                    <a:lnTo>
                      <a:pt x="71" y="16"/>
                    </a:lnTo>
                    <a:lnTo>
                      <a:pt x="81" y="10"/>
                    </a:lnTo>
                    <a:lnTo>
                      <a:pt x="91" y="5"/>
                    </a:lnTo>
                    <a:lnTo>
                      <a:pt x="97" y="0"/>
                    </a:lnTo>
                    <a:lnTo>
                      <a:pt x="105" y="0"/>
                    </a:lnTo>
                    <a:lnTo>
                      <a:pt x="114" y="0"/>
                    </a:lnTo>
                    <a:lnTo>
                      <a:pt x="122" y="0"/>
                    </a:lnTo>
                    <a:lnTo>
                      <a:pt x="129" y="0"/>
                    </a:lnTo>
                    <a:lnTo>
                      <a:pt x="134" y="4"/>
                    </a:lnTo>
                    <a:lnTo>
                      <a:pt x="138" y="5"/>
                    </a:lnTo>
                    <a:lnTo>
                      <a:pt x="146" y="9"/>
                    </a:lnTo>
                    <a:lnTo>
                      <a:pt x="148" y="10"/>
                    </a:lnTo>
                    <a:lnTo>
                      <a:pt x="157" y="14"/>
                    </a:lnTo>
                    <a:lnTo>
                      <a:pt x="164" y="16"/>
                    </a:lnTo>
                    <a:lnTo>
                      <a:pt x="172" y="17"/>
                    </a:lnTo>
                    <a:lnTo>
                      <a:pt x="181" y="17"/>
                    </a:lnTo>
                    <a:lnTo>
                      <a:pt x="189" y="17"/>
                    </a:lnTo>
                    <a:lnTo>
                      <a:pt x="195" y="17"/>
                    </a:lnTo>
                    <a:lnTo>
                      <a:pt x="201" y="17"/>
                    </a:lnTo>
                    <a:lnTo>
                      <a:pt x="208" y="14"/>
                    </a:lnTo>
                    <a:lnTo>
                      <a:pt x="217" y="10"/>
                    </a:lnTo>
                    <a:lnTo>
                      <a:pt x="224" y="5"/>
                    </a:lnTo>
                    <a:lnTo>
                      <a:pt x="236" y="4"/>
                    </a:lnTo>
                    <a:lnTo>
                      <a:pt x="244" y="4"/>
                    </a:lnTo>
                    <a:lnTo>
                      <a:pt x="250" y="9"/>
                    </a:lnTo>
                    <a:lnTo>
                      <a:pt x="253" y="16"/>
                    </a:lnTo>
                    <a:lnTo>
                      <a:pt x="256" y="24"/>
                    </a:lnTo>
                    <a:lnTo>
                      <a:pt x="262" y="28"/>
                    </a:lnTo>
                    <a:lnTo>
                      <a:pt x="269" y="33"/>
                    </a:lnTo>
                    <a:lnTo>
                      <a:pt x="274" y="36"/>
                    </a:lnTo>
                    <a:lnTo>
                      <a:pt x="279" y="43"/>
                    </a:lnTo>
                    <a:lnTo>
                      <a:pt x="284" y="48"/>
                    </a:lnTo>
                    <a:lnTo>
                      <a:pt x="294" y="52"/>
                    </a:lnTo>
                    <a:lnTo>
                      <a:pt x="303" y="45"/>
                    </a:lnTo>
                    <a:lnTo>
                      <a:pt x="312" y="40"/>
                    </a:lnTo>
                    <a:lnTo>
                      <a:pt x="315" y="38"/>
                    </a:lnTo>
                    <a:lnTo>
                      <a:pt x="320" y="38"/>
                    </a:lnTo>
                    <a:lnTo>
                      <a:pt x="320" y="41"/>
                    </a:lnTo>
                    <a:lnTo>
                      <a:pt x="324" y="47"/>
                    </a:lnTo>
                    <a:lnTo>
                      <a:pt x="322" y="48"/>
                    </a:lnTo>
                    <a:lnTo>
                      <a:pt x="324" y="50"/>
                    </a:lnTo>
                    <a:lnTo>
                      <a:pt x="325" y="53"/>
                    </a:lnTo>
                    <a:lnTo>
                      <a:pt x="329" y="59"/>
                    </a:lnTo>
                    <a:lnTo>
                      <a:pt x="330" y="65"/>
                    </a:lnTo>
                    <a:lnTo>
                      <a:pt x="332" y="74"/>
                    </a:lnTo>
                    <a:lnTo>
                      <a:pt x="337" y="77"/>
                    </a:lnTo>
                    <a:lnTo>
                      <a:pt x="346" y="79"/>
                    </a:lnTo>
                    <a:lnTo>
                      <a:pt x="351" y="81"/>
                    </a:lnTo>
                    <a:lnTo>
                      <a:pt x="355" y="88"/>
                    </a:lnTo>
                    <a:lnTo>
                      <a:pt x="365" y="90"/>
                    </a:lnTo>
                    <a:lnTo>
                      <a:pt x="379" y="91"/>
                    </a:lnTo>
                    <a:lnTo>
                      <a:pt x="391" y="90"/>
                    </a:lnTo>
                    <a:lnTo>
                      <a:pt x="403" y="88"/>
                    </a:lnTo>
                    <a:lnTo>
                      <a:pt x="403" y="83"/>
                    </a:lnTo>
                    <a:lnTo>
                      <a:pt x="403" y="79"/>
                    </a:lnTo>
                    <a:lnTo>
                      <a:pt x="404" y="74"/>
                    </a:lnTo>
                    <a:lnTo>
                      <a:pt x="413" y="72"/>
                    </a:lnTo>
                    <a:lnTo>
                      <a:pt x="418" y="69"/>
                    </a:lnTo>
                    <a:lnTo>
                      <a:pt x="423" y="65"/>
                    </a:lnTo>
                    <a:lnTo>
                      <a:pt x="434" y="62"/>
                    </a:lnTo>
                    <a:lnTo>
                      <a:pt x="446" y="59"/>
                    </a:lnTo>
                    <a:lnTo>
                      <a:pt x="459" y="64"/>
                    </a:lnTo>
                    <a:lnTo>
                      <a:pt x="475" y="71"/>
                    </a:lnTo>
                    <a:lnTo>
                      <a:pt x="482" y="74"/>
                    </a:lnTo>
                    <a:lnTo>
                      <a:pt x="489" y="77"/>
                    </a:lnTo>
                    <a:lnTo>
                      <a:pt x="494" y="81"/>
                    </a:lnTo>
                    <a:lnTo>
                      <a:pt x="506" y="84"/>
                    </a:lnTo>
                    <a:lnTo>
                      <a:pt x="508" y="88"/>
                    </a:lnTo>
                    <a:lnTo>
                      <a:pt x="509" y="91"/>
                    </a:lnTo>
                    <a:lnTo>
                      <a:pt x="509" y="102"/>
                    </a:lnTo>
                    <a:lnTo>
                      <a:pt x="511" y="110"/>
                    </a:lnTo>
                    <a:lnTo>
                      <a:pt x="506" y="114"/>
                    </a:lnTo>
                    <a:lnTo>
                      <a:pt x="502" y="120"/>
                    </a:lnTo>
                    <a:lnTo>
                      <a:pt x="499" y="127"/>
                    </a:lnTo>
                    <a:lnTo>
                      <a:pt x="499" y="133"/>
                    </a:lnTo>
                    <a:lnTo>
                      <a:pt x="499" y="134"/>
                    </a:lnTo>
                    <a:lnTo>
                      <a:pt x="499" y="138"/>
                    </a:lnTo>
                    <a:lnTo>
                      <a:pt x="501" y="139"/>
                    </a:lnTo>
                    <a:lnTo>
                      <a:pt x="502" y="143"/>
                    </a:lnTo>
                    <a:lnTo>
                      <a:pt x="502" y="158"/>
                    </a:lnTo>
                    <a:lnTo>
                      <a:pt x="502" y="163"/>
                    </a:lnTo>
                    <a:lnTo>
                      <a:pt x="504" y="170"/>
                    </a:lnTo>
                    <a:lnTo>
                      <a:pt x="509" y="172"/>
                    </a:lnTo>
                    <a:lnTo>
                      <a:pt x="516" y="181"/>
                    </a:lnTo>
                    <a:lnTo>
                      <a:pt x="511" y="189"/>
                    </a:lnTo>
                    <a:lnTo>
                      <a:pt x="506" y="198"/>
                    </a:lnTo>
                    <a:lnTo>
                      <a:pt x="508" y="201"/>
                    </a:lnTo>
                    <a:lnTo>
                      <a:pt x="511" y="206"/>
                    </a:lnTo>
                    <a:lnTo>
                      <a:pt x="518" y="215"/>
                    </a:lnTo>
                    <a:lnTo>
                      <a:pt x="527" y="224"/>
                    </a:lnTo>
                    <a:lnTo>
                      <a:pt x="533" y="232"/>
                    </a:lnTo>
                    <a:lnTo>
                      <a:pt x="537" y="248"/>
                    </a:lnTo>
                    <a:lnTo>
                      <a:pt x="527" y="249"/>
                    </a:lnTo>
                    <a:lnTo>
                      <a:pt x="521" y="253"/>
                    </a:lnTo>
                    <a:lnTo>
                      <a:pt x="516" y="256"/>
                    </a:lnTo>
                    <a:lnTo>
                      <a:pt x="516" y="267"/>
                    </a:lnTo>
                    <a:lnTo>
                      <a:pt x="516" y="272"/>
                    </a:lnTo>
                    <a:lnTo>
                      <a:pt x="518" y="277"/>
                    </a:lnTo>
                    <a:lnTo>
                      <a:pt x="516" y="277"/>
                    </a:lnTo>
                    <a:lnTo>
                      <a:pt x="514" y="277"/>
                    </a:lnTo>
                    <a:lnTo>
                      <a:pt x="504" y="275"/>
                    </a:lnTo>
                    <a:lnTo>
                      <a:pt x="494" y="274"/>
                    </a:lnTo>
                    <a:lnTo>
                      <a:pt x="480" y="270"/>
                    </a:lnTo>
                    <a:lnTo>
                      <a:pt x="470" y="270"/>
                    </a:lnTo>
                    <a:lnTo>
                      <a:pt x="465" y="268"/>
                    </a:lnTo>
                    <a:lnTo>
                      <a:pt x="459" y="267"/>
                    </a:lnTo>
                    <a:lnTo>
                      <a:pt x="453" y="265"/>
                    </a:lnTo>
                    <a:lnTo>
                      <a:pt x="451" y="265"/>
                    </a:lnTo>
                    <a:lnTo>
                      <a:pt x="447" y="258"/>
                    </a:lnTo>
                    <a:lnTo>
                      <a:pt x="446" y="253"/>
                    </a:lnTo>
                    <a:lnTo>
                      <a:pt x="441" y="248"/>
                    </a:lnTo>
                    <a:lnTo>
                      <a:pt x="435" y="246"/>
                    </a:lnTo>
                    <a:lnTo>
                      <a:pt x="428" y="248"/>
                    </a:lnTo>
                    <a:lnTo>
                      <a:pt x="425" y="253"/>
                    </a:lnTo>
                    <a:lnTo>
                      <a:pt x="399" y="253"/>
                    </a:lnTo>
                    <a:lnTo>
                      <a:pt x="389" y="246"/>
                    </a:lnTo>
                    <a:lnTo>
                      <a:pt x="382" y="239"/>
                    </a:lnTo>
                    <a:lnTo>
                      <a:pt x="372" y="234"/>
                    </a:lnTo>
                    <a:lnTo>
                      <a:pt x="363" y="231"/>
                    </a:lnTo>
                    <a:lnTo>
                      <a:pt x="360" y="225"/>
                    </a:lnTo>
                    <a:lnTo>
                      <a:pt x="360" y="220"/>
                    </a:lnTo>
                    <a:lnTo>
                      <a:pt x="353" y="212"/>
                    </a:lnTo>
                    <a:lnTo>
                      <a:pt x="348" y="203"/>
                    </a:lnTo>
                    <a:lnTo>
                      <a:pt x="337" y="196"/>
                    </a:lnTo>
                    <a:lnTo>
                      <a:pt x="329" y="194"/>
                    </a:lnTo>
                    <a:lnTo>
                      <a:pt x="322" y="200"/>
                    </a:lnTo>
                    <a:lnTo>
                      <a:pt x="320" y="210"/>
                    </a:lnTo>
                    <a:lnTo>
                      <a:pt x="320" y="215"/>
                    </a:lnTo>
                    <a:lnTo>
                      <a:pt x="320" y="222"/>
                    </a:lnTo>
                    <a:lnTo>
                      <a:pt x="324" y="231"/>
                    </a:lnTo>
                    <a:lnTo>
                      <a:pt x="330" y="243"/>
                    </a:lnTo>
                    <a:lnTo>
                      <a:pt x="339" y="253"/>
                    </a:lnTo>
                    <a:lnTo>
                      <a:pt x="349" y="258"/>
                    </a:lnTo>
                    <a:lnTo>
                      <a:pt x="351" y="263"/>
                    </a:lnTo>
                    <a:lnTo>
                      <a:pt x="353" y="270"/>
                    </a:lnTo>
                    <a:lnTo>
                      <a:pt x="358" y="265"/>
                    </a:lnTo>
                    <a:lnTo>
                      <a:pt x="363" y="261"/>
                    </a:lnTo>
                    <a:lnTo>
                      <a:pt x="363" y="263"/>
                    </a:lnTo>
                    <a:lnTo>
                      <a:pt x="363" y="267"/>
                    </a:lnTo>
                    <a:lnTo>
                      <a:pt x="361" y="274"/>
                    </a:lnTo>
                    <a:lnTo>
                      <a:pt x="360" y="282"/>
                    </a:lnTo>
                    <a:lnTo>
                      <a:pt x="361" y="286"/>
                    </a:lnTo>
                    <a:lnTo>
                      <a:pt x="367" y="291"/>
                    </a:lnTo>
                    <a:lnTo>
                      <a:pt x="373" y="292"/>
                    </a:lnTo>
                    <a:lnTo>
                      <a:pt x="380" y="294"/>
                    </a:lnTo>
                    <a:lnTo>
                      <a:pt x="391" y="292"/>
                    </a:lnTo>
                    <a:lnTo>
                      <a:pt x="399" y="291"/>
                    </a:lnTo>
                    <a:lnTo>
                      <a:pt x="406" y="286"/>
                    </a:lnTo>
                    <a:lnTo>
                      <a:pt x="413" y="282"/>
                    </a:lnTo>
                    <a:lnTo>
                      <a:pt x="422" y="270"/>
                    </a:lnTo>
                    <a:lnTo>
                      <a:pt x="435" y="260"/>
                    </a:lnTo>
                    <a:lnTo>
                      <a:pt x="435" y="277"/>
                    </a:lnTo>
                    <a:lnTo>
                      <a:pt x="441" y="286"/>
                    </a:lnTo>
                    <a:lnTo>
                      <a:pt x="447" y="291"/>
                    </a:lnTo>
                    <a:lnTo>
                      <a:pt x="456" y="294"/>
                    </a:lnTo>
                    <a:lnTo>
                      <a:pt x="466" y="299"/>
                    </a:lnTo>
                    <a:lnTo>
                      <a:pt x="471" y="304"/>
                    </a:lnTo>
                    <a:lnTo>
                      <a:pt x="477" y="311"/>
                    </a:lnTo>
                    <a:lnTo>
                      <a:pt x="477" y="311"/>
                    </a:lnTo>
                    <a:lnTo>
                      <a:pt x="482" y="315"/>
                    </a:lnTo>
                    <a:lnTo>
                      <a:pt x="487" y="320"/>
                    </a:lnTo>
                    <a:lnTo>
                      <a:pt x="484" y="325"/>
                    </a:lnTo>
                    <a:lnTo>
                      <a:pt x="478" y="332"/>
                    </a:lnTo>
                    <a:lnTo>
                      <a:pt x="473" y="339"/>
                    </a:lnTo>
                    <a:lnTo>
                      <a:pt x="471" y="347"/>
                    </a:lnTo>
                    <a:lnTo>
                      <a:pt x="461" y="349"/>
                    </a:lnTo>
                    <a:lnTo>
                      <a:pt x="458" y="356"/>
                    </a:lnTo>
                    <a:lnTo>
                      <a:pt x="454" y="365"/>
                    </a:lnTo>
                    <a:lnTo>
                      <a:pt x="449" y="370"/>
                    </a:lnTo>
                    <a:lnTo>
                      <a:pt x="444" y="372"/>
                    </a:lnTo>
                    <a:lnTo>
                      <a:pt x="441" y="377"/>
                    </a:lnTo>
                    <a:lnTo>
                      <a:pt x="437" y="382"/>
                    </a:lnTo>
                    <a:lnTo>
                      <a:pt x="434" y="385"/>
                    </a:lnTo>
                    <a:lnTo>
                      <a:pt x="425" y="389"/>
                    </a:lnTo>
                    <a:lnTo>
                      <a:pt x="420" y="399"/>
                    </a:lnTo>
                    <a:lnTo>
                      <a:pt x="406" y="401"/>
                    </a:lnTo>
                    <a:lnTo>
                      <a:pt x="392" y="406"/>
                    </a:lnTo>
                    <a:lnTo>
                      <a:pt x="379" y="409"/>
                    </a:lnTo>
                    <a:lnTo>
                      <a:pt x="375" y="418"/>
                    </a:lnTo>
                    <a:lnTo>
                      <a:pt x="375" y="420"/>
                    </a:lnTo>
                    <a:lnTo>
                      <a:pt x="377" y="423"/>
                    </a:lnTo>
                    <a:lnTo>
                      <a:pt x="367" y="425"/>
                    </a:lnTo>
                    <a:lnTo>
                      <a:pt x="358" y="428"/>
                    </a:lnTo>
                    <a:lnTo>
                      <a:pt x="348" y="432"/>
                    </a:lnTo>
                    <a:lnTo>
                      <a:pt x="337" y="435"/>
                    </a:lnTo>
                    <a:lnTo>
                      <a:pt x="329" y="437"/>
                    </a:lnTo>
                    <a:lnTo>
                      <a:pt x="320" y="444"/>
                    </a:lnTo>
                    <a:lnTo>
                      <a:pt x="312" y="449"/>
                    </a:lnTo>
                    <a:lnTo>
                      <a:pt x="305" y="454"/>
                    </a:lnTo>
                    <a:lnTo>
                      <a:pt x="289" y="454"/>
                    </a:lnTo>
                    <a:lnTo>
                      <a:pt x="279" y="461"/>
                    </a:lnTo>
                    <a:lnTo>
                      <a:pt x="269" y="464"/>
                    </a:lnTo>
                    <a:lnTo>
                      <a:pt x="265" y="466"/>
                    </a:lnTo>
                    <a:lnTo>
                      <a:pt x="256" y="463"/>
                    </a:lnTo>
                    <a:lnTo>
                      <a:pt x="250" y="459"/>
                    </a:lnTo>
                    <a:lnTo>
                      <a:pt x="250" y="457"/>
                    </a:lnTo>
                    <a:lnTo>
                      <a:pt x="250" y="454"/>
                    </a:lnTo>
                    <a:lnTo>
                      <a:pt x="241" y="440"/>
                    </a:lnTo>
                    <a:lnTo>
                      <a:pt x="239" y="428"/>
                    </a:lnTo>
                    <a:lnTo>
                      <a:pt x="236" y="421"/>
                    </a:lnTo>
                    <a:lnTo>
                      <a:pt x="239" y="413"/>
                    </a:lnTo>
                    <a:lnTo>
                      <a:pt x="236" y="399"/>
                    </a:lnTo>
                    <a:lnTo>
                      <a:pt x="227" y="392"/>
                    </a:lnTo>
                    <a:lnTo>
                      <a:pt x="220" y="384"/>
                    </a:lnTo>
                    <a:lnTo>
                      <a:pt x="215" y="375"/>
                    </a:lnTo>
                    <a:lnTo>
                      <a:pt x="210" y="365"/>
                    </a:lnTo>
                    <a:lnTo>
                      <a:pt x="208" y="356"/>
                    </a:lnTo>
                    <a:lnTo>
                      <a:pt x="196" y="351"/>
                    </a:lnTo>
                    <a:lnTo>
                      <a:pt x="189" y="344"/>
                    </a:lnTo>
                    <a:lnTo>
                      <a:pt x="186" y="334"/>
                    </a:lnTo>
                    <a:lnTo>
                      <a:pt x="186" y="322"/>
                    </a:lnTo>
                    <a:lnTo>
                      <a:pt x="181" y="310"/>
                    </a:lnTo>
                    <a:lnTo>
                      <a:pt x="177" y="298"/>
                    </a:lnTo>
                    <a:lnTo>
                      <a:pt x="172" y="294"/>
                    </a:lnTo>
                    <a:lnTo>
                      <a:pt x="170" y="292"/>
                    </a:lnTo>
                    <a:lnTo>
                      <a:pt x="165" y="291"/>
                    </a:lnTo>
                    <a:lnTo>
                      <a:pt x="160" y="289"/>
                    </a:lnTo>
                    <a:lnTo>
                      <a:pt x="157" y="282"/>
                    </a:lnTo>
                    <a:lnTo>
                      <a:pt x="157" y="275"/>
                    </a:lnTo>
                    <a:lnTo>
                      <a:pt x="153" y="268"/>
                    </a:lnTo>
                    <a:lnTo>
                      <a:pt x="150" y="263"/>
                    </a:lnTo>
                    <a:lnTo>
                      <a:pt x="141" y="249"/>
                    </a:lnTo>
                    <a:lnTo>
                      <a:pt x="134" y="237"/>
                    </a:lnTo>
                    <a:lnTo>
                      <a:pt x="129" y="231"/>
                    </a:lnTo>
                    <a:lnTo>
                      <a:pt x="126" y="225"/>
                    </a:lnTo>
                    <a:lnTo>
                      <a:pt x="127" y="213"/>
                    </a:lnTo>
                    <a:lnTo>
                      <a:pt x="129" y="201"/>
                    </a:lnTo>
                    <a:lnTo>
                      <a:pt x="129" y="20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43" name="Freeform 194"/>
              <p:cNvSpPr>
                <a:spLocks/>
              </p:cNvSpPr>
              <p:nvPr/>
            </p:nvSpPr>
            <p:spPr bwMode="auto">
              <a:xfrm>
                <a:off x="6136482" y="3794125"/>
                <a:ext cx="44450" cy="87312"/>
              </a:xfrm>
              <a:custGeom>
                <a:avLst/>
                <a:gdLst/>
                <a:ahLst/>
                <a:cxnLst>
                  <a:cxn ang="0">
                    <a:pos x="28" y="35"/>
                  </a:cxn>
                  <a:cxn ang="0">
                    <a:pos x="23" y="47"/>
                  </a:cxn>
                  <a:cxn ang="0">
                    <a:pos x="12" y="55"/>
                  </a:cxn>
                  <a:cxn ang="0">
                    <a:pos x="4" y="50"/>
                  </a:cxn>
                  <a:cxn ang="0">
                    <a:pos x="0" y="42"/>
                  </a:cxn>
                  <a:cxn ang="0">
                    <a:pos x="0" y="30"/>
                  </a:cxn>
                  <a:cxn ang="0">
                    <a:pos x="4" y="19"/>
                  </a:cxn>
                  <a:cxn ang="0">
                    <a:pos x="5" y="9"/>
                  </a:cxn>
                  <a:cxn ang="0">
                    <a:pos x="7" y="0"/>
                  </a:cxn>
                  <a:cxn ang="0">
                    <a:pos x="12" y="7"/>
                  </a:cxn>
                  <a:cxn ang="0">
                    <a:pos x="19" y="14"/>
                  </a:cxn>
                  <a:cxn ang="0">
                    <a:pos x="24" y="23"/>
                  </a:cxn>
                  <a:cxn ang="0">
                    <a:pos x="28" y="35"/>
                  </a:cxn>
                </a:cxnLst>
                <a:rect l="0" t="0" r="r" b="b"/>
                <a:pathLst>
                  <a:path w="28" h="55">
                    <a:moveTo>
                      <a:pt x="28" y="35"/>
                    </a:moveTo>
                    <a:lnTo>
                      <a:pt x="23" y="47"/>
                    </a:lnTo>
                    <a:lnTo>
                      <a:pt x="12" y="55"/>
                    </a:lnTo>
                    <a:lnTo>
                      <a:pt x="4" y="50"/>
                    </a:lnTo>
                    <a:lnTo>
                      <a:pt x="0" y="42"/>
                    </a:lnTo>
                    <a:lnTo>
                      <a:pt x="0" y="30"/>
                    </a:lnTo>
                    <a:lnTo>
                      <a:pt x="4" y="19"/>
                    </a:lnTo>
                    <a:lnTo>
                      <a:pt x="5" y="9"/>
                    </a:lnTo>
                    <a:lnTo>
                      <a:pt x="7" y="0"/>
                    </a:lnTo>
                    <a:lnTo>
                      <a:pt x="12" y="7"/>
                    </a:lnTo>
                    <a:lnTo>
                      <a:pt x="19" y="14"/>
                    </a:lnTo>
                    <a:lnTo>
                      <a:pt x="24" y="23"/>
                    </a:lnTo>
                    <a:lnTo>
                      <a:pt x="28" y="3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44" name="Freeform 195"/>
              <p:cNvSpPr>
                <a:spLocks/>
              </p:cNvSpPr>
              <p:nvPr/>
            </p:nvSpPr>
            <p:spPr bwMode="auto">
              <a:xfrm>
                <a:off x="5699919" y="3082925"/>
                <a:ext cx="930275" cy="747712"/>
              </a:xfrm>
              <a:custGeom>
                <a:avLst/>
                <a:gdLst/>
                <a:ahLst/>
                <a:cxnLst>
                  <a:cxn ang="0">
                    <a:pos x="174" y="325"/>
                  </a:cxn>
                  <a:cxn ang="0">
                    <a:pos x="196" y="374"/>
                  </a:cxn>
                  <a:cxn ang="0">
                    <a:pos x="212" y="417"/>
                  </a:cxn>
                  <a:cxn ang="0">
                    <a:pos x="236" y="466"/>
                  </a:cxn>
                  <a:cxn ang="0">
                    <a:pos x="253" y="457"/>
                  </a:cxn>
                  <a:cxn ang="0">
                    <a:pos x="270" y="438"/>
                  </a:cxn>
                  <a:cxn ang="0">
                    <a:pos x="277" y="407"/>
                  </a:cxn>
                  <a:cxn ang="0">
                    <a:pos x="298" y="354"/>
                  </a:cxn>
                  <a:cxn ang="0">
                    <a:pos x="344" y="306"/>
                  </a:cxn>
                  <a:cxn ang="0">
                    <a:pos x="377" y="276"/>
                  </a:cxn>
                  <a:cxn ang="0">
                    <a:pos x="413" y="266"/>
                  </a:cxn>
                  <a:cxn ang="0">
                    <a:pos x="451" y="263"/>
                  </a:cxn>
                  <a:cxn ang="0">
                    <a:pos x="480" y="309"/>
                  </a:cxn>
                  <a:cxn ang="0">
                    <a:pos x="487" y="347"/>
                  </a:cxn>
                  <a:cxn ang="0">
                    <a:pos x="516" y="342"/>
                  </a:cxn>
                  <a:cxn ang="0">
                    <a:pos x="533" y="347"/>
                  </a:cxn>
                  <a:cxn ang="0">
                    <a:pos x="537" y="380"/>
                  </a:cxn>
                  <a:cxn ang="0">
                    <a:pos x="549" y="441"/>
                  </a:cxn>
                  <a:cxn ang="0">
                    <a:pos x="562" y="404"/>
                  </a:cxn>
                  <a:cxn ang="0">
                    <a:pos x="543" y="368"/>
                  </a:cxn>
                  <a:cxn ang="0">
                    <a:pos x="549" y="354"/>
                  </a:cxn>
                  <a:cxn ang="0">
                    <a:pos x="537" y="304"/>
                  </a:cxn>
                  <a:cxn ang="0">
                    <a:pos x="571" y="280"/>
                  </a:cxn>
                  <a:cxn ang="0">
                    <a:pos x="566" y="257"/>
                  </a:cxn>
                  <a:cxn ang="0">
                    <a:pos x="552" y="230"/>
                  </a:cxn>
                  <a:cxn ang="0">
                    <a:pos x="540" y="213"/>
                  </a:cxn>
                  <a:cxn ang="0">
                    <a:pos x="540" y="165"/>
                  </a:cxn>
                  <a:cxn ang="0">
                    <a:pos x="509" y="144"/>
                  </a:cxn>
                  <a:cxn ang="0">
                    <a:pos x="483" y="156"/>
                  </a:cxn>
                  <a:cxn ang="0">
                    <a:pos x="444" y="168"/>
                  </a:cxn>
                  <a:cxn ang="0">
                    <a:pos x="404" y="166"/>
                  </a:cxn>
                  <a:cxn ang="0">
                    <a:pos x="358" y="165"/>
                  </a:cxn>
                  <a:cxn ang="0">
                    <a:pos x="335" y="146"/>
                  </a:cxn>
                  <a:cxn ang="0">
                    <a:pos x="282" y="127"/>
                  </a:cxn>
                  <a:cxn ang="0">
                    <a:pos x="261" y="103"/>
                  </a:cxn>
                  <a:cxn ang="0">
                    <a:pos x="265" y="79"/>
                  </a:cxn>
                  <a:cxn ang="0">
                    <a:pos x="277" y="44"/>
                  </a:cxn>
                  <a:cxn ang="0">
                    <a:pos x="224" y="39"/>
                  </a:cxn>
                  <a:cxn ang="0">
                    <a:pos x="198" y="17"/>
                  </a:cxn>
                  <a:cxn ang="0">
                    <a:pos x="157" y="12"/>
                  </a:cxn>
                  <a:cxn ang="0">
                    <a:pos x="132" y="12"/>
                  </a:cxn>
                  <a:cxn ang="0">
                    <a:pos x="91" y="20"/>
                  </a:cxn>
                  <a:cxn ang="0">
                    <a:pos x="62" y="22"/>
                  </a:cxn>
                  <a:cxn ang="0">
                    <a:pos x="34" y="49"/>
                  </a:cxn>
                  <a:cxn ang="0">
                    <a:pos x="12" y="51"/>
                  </a:cxn>
                  <a:cxn ang="0">
                    <a:pos x="0" y="75"/>
                  </a:cxn>
                  <a:cxn ang="0">
                    <a:pos x="3" y="104"/>
                  </a:cxn>
                  <a:cxn ang="0">
                    <a:pos x="7" y="139"/>
                  </a:cxn>
                  <a:cxn ang="0">
                    <a:pos x="34" y="173"/>
                  </a:cxn>
                  <a:cxn ang="0">
                    <a:pos x="17" y="208"/>
                  </a:cxn>
                  <a:cxn ang="0">
                    <a:pos x="41" y="213"/>
                  </a:cxn>
                  <a:cxn ang="0">
                    <a:pos x="83" y="213"/>
                  </a:cxn>
                  <a:cxn ang="0">
                    <a:pos x="115" y="247"/>
                  </a:cxn>
                  <a:cxn ang="0">
                    <a:pos x="131" y="259"/>
                  </a:cxn>
                  <a:cxn ang="0">
                    <a:pos x="136" y="282"/>
                  </a:cxn>
                  <a:cxn ang="0">
                    <a:pos x="167" y="261"/>
                  </a:cxn>
                  <a:cxn ang="0">
                    <a:pos x="174" y="288"/>
                  </a:cxn>
                </a:cxnLst>
                <a:rect l="0" t="0" r="r" b="b"/>
                <a:pathLst>
                  <a:path w="586" h="471">
                    <a:moveTo>
                      <a:pt x="174" y="304"/>
                    </a:moveTo>
                    <a:lnTo>
                      <a:pt x="170" y="302"/>
                    </a:lnTo>
                    <a:lnTo>
                      <a:pt x="170" y="306"/>
                    </a:lnTo>
                    <a:lnTo>
                      <a:pt x="172" y="311"/>
                    </a:lnTo>
                    <a:lnTo>
                      <a:pt x="174" y="325"/>
                    </a:lnTo>
                    <a:lnTo>
                      <a:pt x="181" y="338"/>
                    </a:lnTo>
                    <a:lnTo>
                      <a:pt x="182" y="347"/>
                    </a:lnTo>
                    <a:lnTo>
                      <a:pt x="187" y="357"/>
                    </a:lnTo>
                    <a:lnTo>
                      <a:pt x="191" y="366"/>
                    </a:lnTo>
                    <a:lnTo>
                      <a:pt x="196" y="374"/>
                    </a:lnTo>
                    <a:lnTo>
                      <a:pt x="198" y="383"/>
                    </a:lnTo>
                    <a:lnTo>
                      <a:pt x="201" y="392"/>
                    </a:lnTo>
                    <a:lnTo>
                      <a:pt x="203" y="400"/>
                    </a:lnTo>
                    <a:lnTo>
                      <a:pt x="206" y="412"/>
                    </a:lnTo>
                    <a:lnTo>
                      <a:pt x="212" y="417"/>
                    </a:lnTo>
                    <a:lnTo>
                      <a:pt x="218" y="428"/>
                    </a:lnTo>
                    <a:lnTo>
                      <a:pt x="224" y="443"/>
                    </a:lnTo>
                    <a:lnTo>
                      <a:pt x="232" y="460"/>
                    </a:lnTo>
                    <a:lnTo>
                      <a:pt x="232" y="462"/>
                    </a:lnTo>
                    <a:lnTo>
                      <a:pt x="236" y="466"/>
                    </a:lnTo>
                    <a:lnTo>
                      <a:pt x="237" y="469"/>
                    </a:lnTo>
                    <a:lnTo>
                      <a:pt x="244" y="471"/>
                    </a:lnTo>
                    <a:lnTo>
                      <a:pt x="246" y="467"/>
                    </a:lnTo>
                    <a:lnTo>
                      <a:pt x="249" y="460"/>
                    </a:lnTo>
                    <a:lnTo>
                      <a:pt x="253" y="457"/>
                    </a:lnTo>
                    <a:lnTo>
                      <a:pt x="260" y="455"/>
                    </a:lnTo>
                    <a:lnTo>
                      <a:pt x="261" y="450"/>
                    </a:lnTo>
                    <a:lnTo>
                      <a:pt x="263" y="447"/>
                    </a:lnTo>
                    <a:lnTo>
                      <a:pt x="265" y="440"/>
                    </a:lnTo>
                    <a:lnTo>
                      <a:pt x="270" y="438"/>
                    </a:lnTo>
                    <a:lnTo>
                      <a:pt x="272" y="436"/>
                    </a:lnTo>
                    <a:lnTo>
                      <a:pt x="275" y="436"/>
                    </a:lnTo>
                    <a:lnTo>
                      <a:pt x="277" y="435"/>
                    </a:lnTo>
                    <a:lnTo>
                      <a:pt x="275" y="423"/>
                    </a:lnTo>
                    <a:lnTo>
                      <a:pt x="277" y="407"/>
                    </a:lnTo>
                    <a:lnTo>
                      <a:pt x="280" y="392"/>
                    </a:lnTo>
                    <a:lnTo>
                      <a:pt x="279" y="380"/>
                    </a:lnTo>
                    <a:lnTo>
                      <a:pt x="277" y="369"/>
                    </a:lnTo>
                    <a:lnTo>
                      <a:pt x="282" y="359"/>
                    </a:lnTo>
                    <a:lnTo>
                      <a:pt x="298" y="354"/>
                    </a:lnTo>
                    <a:lnTo>
                      <a:pt x="303" y="349"/>
                    </a:lnTo>
                    <a:lnTo>
                      <a:pt x="310" y="343"/>
                    </a:lnTo>
                    <a:lnTo>
                      <a:pt x="323" y="328"/>
                    </a:lnTo>
                    <a:lnTo>
                      <a:pt x="339" y="313"/>
                    </a:lnTo>
                    <a:lnTo>
                      <a:pt x="344" y="306"/>
                    </a:lnTo>
                    <a:lnTo>
                      <a:pt x="354" y="302"/>
                    </a:lnTo>
                    <a:lnTo>
                      <a:pt x="363" y="297"/>
                    </a:lnTo>
                    <a:lnTo>
                      <a:pt x="371" y="294"/>
                    </a:lnTo>
                    <a:lnTo>
                      <a:pt x="373" y="285"/>
                    </a:lnTo>
                    <a:lnTo>
                      <a:pt x="377" y="276"/>
                    </a:lnTo>
                    <a:lnTo>
                      <a:pt x="384" y="270"/>
                    </a:lnTo>
                    <a:lnTo>
                      <a:pt x="392" y="263"/>
                    </a:lnTo>
                    <a:lnTo>
                      <a:pt x="397" y="266"/>
                    </a:lnTo>
                    <a:lnTo>
                      <a:pt x="404" y="268"/>
                    </a:lnTo>
                    <a:lnTo>
                      <a:pt x="413" y="266"/>
                    </a:lnTo>
                    <a:lnTo>
                      <a:pt x="423" y="264"/>
                    </a:lnTo>
                    <a:lnTo>
                      <a:pt x="428" y="259"/>
                    </a:lnTo>
                    <a:lnTo>
                      <a:pt x="432" y="251"/>
                    </a:lnTo>
                    <a:lnTo>
                      <a:pt x="444" y="254"/>
                    </a:lnTo>
                    <a:lnTo>
                      <a:pt x="451" y="263"/>
                    </a:lnTo>
                    <a:lnTo>
                      <a:pt x="452" y="271"/>
                    </a:lnTo>
                    <a:lnTo>
                      <a:pt x="456" y="282"/>
                    </a:lnTo>
                    <a:lnTo>
                      <a:pt x="463" y="290"/>
                    </a:lnTo>
                    <a:lnTo>
                      <a:pt x="473" y="299"/>
                    </a:lnTo>
                    <a:lnTo>
                      <a:pt x="480" y="309"/>
                    </a:lnTo>
                    <a:lnTo>
                      <a:pt x="487" y="325"/>
                    </a:lnTo>
                    <a:lnTo>
                      <a:pt x="488" y="328"/>
                    </a:lnTo>
                    <a:lnTo>
                      <a:pt x="490" y="331"/>
                    </a:lnTo>
                    <a:lnTo>
                      <a:pt x="488" y="338"/>
                    </a:lnTo>
                    <a:lnTo>
                      <a:pt x="487" y="347"/>
                    </a:lnTo>
                    <a:lnTo>
                      <a:pt x="488" y="356"/>
                    </a:lnTo>
                    <a:lnTo>
                      <a:pt x="495" y="359"/>
                    </a:lnTo>
                    <a:lnTo>
                      <a:pt x="502" y="356"/>
                    </a:lnTo>
                    <a:lnTo>
                      <a:pt x="511" y="350"/>
                    </a:lnTo>
                    <a:lnTo>
                      <a:pt x="516" y="342"/>
                    </a:lnTo>
                    <a:lnTo>
                      <a:pt x="521" y="337"/>
                    </a:lnTo>
                    <a:lnTo>
                      <a:pt x="523" y="340"/>
                    </a:lnTo>
                    <a:lnTo>
                      <a:pt x="526" y="345"/>
                    </a:lnTo>
                    <a:lnTo>
                      <a:pt x="530" y="345"/>
                    </a:lnTo>
                    <a:lnTo>
                      <a:pt x="533" y="347"/>
                    </a:lnTo>
                    <a:lnTo>
                      <a:pt x="533" y="352"/>
                    </a:lnTo>
                    <a:lnTo>
                      <a:pt x="533" y="361"/>
                    </a:lnTo>
                    <a:lnTo>
                      <a:pt x="533" y="366"/>
                    </a:lnTo>
                    <a:lnTo>
                      <a:pt x="537" y="369"/>
                    </a:lnTo>
                    <a:lnTo>
                      <a:pt x="537" y="380"/>
                    </a:lnTo>
                    <a:lnTo>
                      <a:pt x="542" y="392"/>
                    </a:lnTo>
                    <a:lnTo>
                      <a:pt x="545" y="404"/>
                    </a:lnTo>
                    <a:lnTo>
                      <a:pt x="549" y="421"/>
                    </a:lnTo>
                    <a:lnTo>
                      <a:pt x="547" y="431"/>
                    </a:lnTo>
                    <a:lnTo>
                      <a:pt x="549" y="441"/>
                    </a:lnTo>
                    <a:lnTo>
                      <a:pt x="554" y="428"/>
                    </a:lnTo>
                    <a:lnTo>
                      <a:pt x="559" y="417"/>
                    </a:lnTo>
                    <a:lnTo>
                      <a:pt x="561" y="414"/>
                    </a:lnTo>
                    <a:lnTo>
                      <a:pt x="564" y="411"/>
                    </a:lnTo>
                    <a:lnTo>
                      <a:pt x="562" y="404"/>
                    </a:lnTo>
                    <a:lnTo>
                      <a:pt x="559" y="395"/>
                    </a:lnTo>
                    <a:lnTo>
                      <a:pt x="556" y="385"/>
                    </a:lnTo>
                    <a:lnTo>
                      <a:pt x="554" y="380"/>
                    </a:lnTo>
                    <a:lnTo>
                      <a:pt x="545" y="374"/>
                    </a:lnTo>
                    <a:lnTo>
                      <a:pt x="543" y="368"/>
                    </a:lnTo>
                    <a:lnTo>
                      <a:pt x="543" y="366"/>
                    </a:lnTo>
                    <a:lnTo>
                      <a:pt x="545" y="364"/>
                    </a:lnTo>
                    <a:lnTo>
                      <a:pt x="545" y="364"/>
                    </a:lnTo>
                    <a:lnTo>
                      <a:pt x="547" y="359"/>
                    </a:lnTo>
                    <a:lnTo>
                      <a:pt x="549" y="354"/>
                    </a:lnTo>
                    <a:lnTo>
                      <a:pt x="547" y="342"/>
                    </a:lnTo>
                    <a:lnTo>
                      <a:pt x="545" y="331"/>
                    </a:lnTo>
                    <a:lnTo>
                      <a:pt x="538" y="325"/>
                    </a:lnTo>
                    <a:lnTo>
                      <a:pt x="535" y="318"/>
                    </a:lnTo>
                    <a:lnTo>
                      <a:pt x="537" y="304"/>
                    </a:lnTo>
                    <a:lnTo>
                      <a:pt x="543" y="297"/>
                    </a:lnTo>
                    <a:lnTo>
                      <a:pt x="549" y="294"/>
                    </a:lnTo>
                    <a:lnTo>
                      <a:pt x="557" y="292"/>
                    </a:lnTo>
                    <a:lnTo>
                      <a:pt x="564" y="285"/>
                    </a:lnTo>
                    <a:lnTo>
                      <a:pt x="571" y="280"/>
                    </a:lnTo>
                    <a:lnTo>
                      <a:pt x="578" y="273"/>
                    </a:lnTo>
                    <a:lnTo>
                      <a:pt x="586" y="264"/>
                    </a:lnTo>
                    <a:lnTo>
                      <a:pt x="581" y="264"/>
                    </a:lnTo>
                    <a:lnTo>
                      <a:pt x="578" y="266"/>
                    </a:lnTo>
                    <a:lnTo>
                      <a:pt x="566" y="257"/>
                    </a:lnTo>
                    <a:lnTo>
                      <a:pt x="562" y="244"/>
                    </a:lnTo>
                    <a:lnTo>
                      <a:pt x="557" y="240"/>
                    </a:lnTo>
                    <a:lnTo>
                      <a:pt x="556" y="237"/>
                    </a:lnTo>
                    <a:lnTo>
                      <a:pt x="554" y="232"/>
                    </a:lnTo>
                    <a:lnTo>
                      <a:pt x="552" y="230"/>
                    </a:lnTo>
                    <a:lnTo>
                      <a:pt x="545" y="230"/>
                    </a:lnTo>
                    <a:lnTo>
                      <a:pt x="540" y="232"/>
                    </a:lnTo>
                    <a:lnTo>
                      <a:pt x="538" y="228"/>
                    </a:lnTo>
                    <a:lnTo>
                      <a:pt x="538" y="227"/>
                    </a:lnTo>
                    <a:lnTo>
                      <a:pt x="540" y="213"/>
                    </a:lnTo>
                    <a:lnTo>
                      <a:pt x="545" y="206"/>
                    </a:lnTo>
                    <a:lnTo>
                      <a:pt x="549" y="199"/>
                    </a:lnTo>
                    <a:lnTo>
                      <a:pt x="552" y="187"/>
                    </a:lnTo>
                    <a:lnTo>
                      <a:pt x="547" y="175"/>
                    </a:lnTo>
                    <a:lnTo>
                      <a:pt x="540" y="165"/>
                    </a:lnTo>
                    <a:lnTo>
                      <a:pt x="530" y="159"/>
                    </a:lnTo>
                    <a:lnTo>
                      <a:pt x="523" y="158"/>
                    </a:lnTo>
                    <a:lnTo>
                      <a:pt x="516" y="151"/>
                    </a:lnTo>
                    <a:lnTo>
                      <a:pt x="513" y="144"/>
                    </a:lnTo>
                    <a:lnTo>
                      <a:pt x="509" y="144"/>
                    </a:lnTo>
                    <a:lnTo>
                      <a:pt x="506" y="149"/>
                    </a:lnTo>
                    <a:lnTo>
                      <a:pt x="495" y="147"/>
                    </a:lnTo>
                    <a:lnTo>
                      <a:pt x="488" y="149"/>
                    </a:lnTo>
                    <a:lnTo>
                      <a:pt x="485" y="151"/>
                    </a:lnTo>
                    <a:lnTo>
                      <a:pt x="483" y="156"/>
                    </a:lnTo>
                    <a:lnTo>
                      <a:pt x="476" y="158"/>
                    </a:lnTo>
                    <a:lnTo>
                      <a:pt x="470" y="163"/>
                    </a:lnTo>
                    <a:lnTo>
                      <a:pt x="461" y="168"/>
                    </a:lnTo>
                    <a:lnTo>
                      <a:pt x="456" y="172"/>
                    </a:lnTo>
                    <a:lnTo>
                      <a:pt x="444" y="168"/>
                    </a:lnTo>
                    <a:lnTo>
                      <a:pt x="430" y="165"/>
                    </a:lnTo>
                    <a:lnTo>
                      <a:pt x="416" y="170"/>
                    </a:lnTo>
                    <a:lnTo>
                      <a:pt x="408" y="178"/>
                    </a:lnTo>
                    <a:lnTo>
                      <a:pt x="406" y="170"/>
                    </a:lnTo>
                    <a:lnTo>
                      <a:pt x="404" y="166"/>
                    </a:lnTo>
                    <a:lnTo>
                      <a:pt x="399" y="168"/>
                    </a:lnTo>
                    <a:lnTo>
                      <a:pt x="394" y="170"/>
                    </a:lnTo>
                    <a:lnTo>
                      <a:pt x="384" y="170"/>
                    </a:lnTo>
                    <a:lnTo>
                      <a:pt x="373" y="170"/>
                    </a:lnTo>
                    <a:lnTo>
                      <a:pt x="358" y="165"/>
                    </a:lnTo>
                    <a:lnTo>
                      <a:pt x="349" y="156"/>
                    </a:lnTo>
                    <a:lnTo>
                      <a:pt x="344" y="156"/>
                    </a:lnTo>
                    <a:lnTo>
                      <a:pt x="341" y="156"/>
                    </a:lnTo>
                    <a:lnTo>
                      <a:pt x="337" y="149"/>
                    </a:lnTo>
                    <a:lnTo>
                      <a:pt x="335" y="146"/>
                    </a:lnTo>
                    <a:lnTo>
                      <a:pt x="323" y="142"/>
                    </a:lnTo>
                    <a:lnTo>
                      <a:pt x="316" y="139"/>
                    </a:lnTo>
                    <a:lnTo>
                      <a:pt x="306" y="134"/>
                    </a:lnTo>
                    <a:lnTo>
                      <a:pt x="294" y="134"/>
                    </a:lnTo>
                    <a:lnTo>
                      <a:pt x="282" y="127"/>
                    </a:lnTo>
                    <a:lnTo>
                      <a:pt x="272" y="122"/>
                    </a:lnTo>
                    <a:lnTo>
                      <a:pt x="267" y="120"/>
                    </a:lnTo>
                    <a:lnTo>
                      <a:pt x="265" y="118"/>
                    </a:lnTo>
                    <a:lnTo>
                      <a:pt x="263" y="110"/>
                    </a:lnTo>
                    <a:lnTo>
                      <a:pt x="261" y="103"/>
                    </a:lnTo>
                    <a:lnTo>
                      <a:pt x="261" y="98"/>
                    </a:lnTo>
                    <a:lnTo>
                      <a:pt x="268" y="96"/>
                    </a:lnTo>
                    <a:lnTo>
                      <a:pt x="273" y="92"/>
                    </a:lnTo>
                    <a:lnTo>
                      <a:pt x="268" y="86"/>
                    </a:lnTo>
                    <a:lnTo>
                      <a:pt x="265" y="79"/>
                    </a:lnTo>
                    <a:lnTo>
                      <a:pt x="267" y="70"/>
                    </a:lnTo>
                    <a:lnTo>
                      <a:pt x="273" y="67"/>
                    </a:lnTo>
                    <a:lnTo>
                      <a:pt x="280" y="61"/>
                    </a:lnTo>
                    <a:lnTo>
                      <a:pt x="284" y="55"/>
                    </a:lnTo>
                    <a:lnTo>
                      <a:pt x="277" y="44"/>
                    </a:lnTo>
                    <a:lnTo>
                      <a:pt x="268" y="41"/>
                    </a:lnTo>
                    <a:lnTo>
                      <a:pt x="258" y="44"/>
                    </a:lnTo>
                    <a:lnTo>
                      <a:pt x="248" y="49"/>
                    </a:lnTo>
                    <a:lnTo>
                      <a:pt x="234" y="44"/>
                    </a:lnTo>
                    <a:lnTo>
                      <a:pt x="224" y="39"/>
                    </a:lnTo>
                    <a:lnTo>
                      <a:pt x="222" y="32"/>
                    </a:lnTo>
                    <a:lnTo>
                      <a:pt x="218" y="27"/>
                    </a:lnTo>
                    <a:lnTo>
                      <a:pt x="208" y="25"/>
                    </a:lnTo>
                    <a:lnTo>
                      <a:pt x="206" y="18"/>
                    </a:lnTo>
                    <a:lnTo>
                      <a:pt x="198" y="17"/>
                    </a:lnTo>
                    <a:lnTo>
                      <a:pt x="189" y="17"/>
                    </a:lnTo>
                    <a:lnTo>
                      <a:pt x="175" y="20"/>
                    </a:lnTo>
                    <a:lnTo>
                      <a:pt x="163" y="25"/>
                    </a:lnTo>
                    <a:lnTo>
                      <a:pt x="157" y="20"/>
                    </a:lnTo>
                    <a:lnTo>
                      <a:pt x="157" y="12"/>
                    </a:lnTo>
                    <a:lnTo>
                      <a:pt x="155" y="3"/>
                    </a:lnTo>
                    <a:lnTo>
                      <a:pt x="151" y="0"/>
                    </a:lnTo>
                    <a:lnTo>
                      <a:pt x="139" y="5"/>
                    </a:lnTo>
                    <a:lnTo>
                      <a:pt x="134" y="12"/>
                    </a:lnTo>
                    <a:lnTo>
                      <a:pt x="132" y="12"/>
                    </a:lnTo>
                    <a:lnTo>
                      <a:pt x="122" y="20"/>
                    </a:lnTo>
                    <a:lnTo>
                      <a:pt x="110" y="24"/>
                    </a:lnTo>
                    <a:lnTo>
                      <a:pt x="105" y="20"/>
                    </a:lnTo>
                    <a:lnTo>
                      <a:pt x="100" y="18"/>
                    </a:lnTo>
                    <a:lnTo>
                      <a:pt x="91" y="20"/>
                    </a:lnTo>
                    <a:lnTo>
                      <a:pt x="84" y="17"/>
                    </a:lnTo>
                    <a:lnTo>
                      <a:pt x="79" y="15"/>
                    </a:lnTo>
                    <a:lnTo>
                      <a:pt x="76" y="15"/>
                    </a:lnTo>
                    <a:lnTo>
                      <a:pt x="67" y="17"/>
                    </a:lnTo>
                    <a:lnTo>
                      <a:pt x="62" y="22"/>
                    </a:lnTo>
                    <a:lnTo>
                      <a:pt x="57" y="29"/>
                    </a:lnTo>
                    <a:lnTo>
                      <a:pt x="53" y="37"/>
                    </a:lnTo>
                    <a:lnTo>
                      <a:pt x="46" y="41"/>
                    </a:lnTo>
                    <a:lnTo>
                      <a:pt x="40" y="44"/>
                    </a:lnTo>
                    <a:lnTo>
                      <a:pt x="34" y="49"/>
                    </a:lnTo>
                    <a:lnTo>
                      <a:pt x="28" y="53"/>
                    </a:lnTo>
                    <a:lnTo>
                      <a:pt x="21" y="51"/>
                    </a:lnTo>
                    <a:lnTo>
                      <a:pt x="15" y="49"/>
                    </a:lnTo>
                    <a:lnTo>
                      <a:pt x="14" y="49"/>
                    </a:lnTo>
                    <a:lnTo>
                      <a:pt x="12" y="51"/>
                    </a:lnTo>
                    <a:lnTo>
                      <a:pt x="7" y="55"/>
                    </a:lnTo>
                    <a:lnTo>
                      <a:pt x="3" y="61"/>
                    </a:lnTo>
                    <a:lnTo>
                      <a:pt x="0" y="68"/>
                    </a:lnTo>
                    <a:lnTo>
                      <a:pt x="0" y="74"/>
                    </a:lnTo>
                    <a:lnTo>
                      <a:pt x="0" y="75"/>
                    </a:lnTo>
                    <a:lnTo>
                      <a:pt x="0" y="79"/>
                    </a:lnTo>
                    <a:lnTo>
                      <a:pt x="2" y="80"/>
                    </a:lnTo>
                    <a:lnTo>
                      <a:pt x="3" y="84"/>
                    </a:lnTo>
                    <a:lnTo>
                      <a:pt x="3" y="99"/>
                    </a:lnTo>
                    <a:lnTo>
                      <a:pt x="3" y="104"/>
                    </a:lnTo>
                    <a:lnTo>
                      <a:pt x="5" y="111"/>
                    </a:lnTo>
                    <a:lnTo>
                      <a:pt x="10" y="113"/>
                    </a:lnTo>
                    <a:lnTo>
                      <a:pt x="17" y="122"/>
                    </a:lnTo>
                    <a:lnTo>
                      <a:pt x="12" y="130"/>
                    </a:lnTo>
                    <a:lnTo>
                      <a:pt x="7" y="139"/>
                    </a:lnTo>
                    <a:lnTo>
                      <a:pt x="9" y="142"/>
                    </a:lnTo>
                    <a:lnTo>
                      <a:pt x="12" y="147"/>
                    </a:lnTo>
                    <a:lnTo>
                      <a:pt x="19" y="156"/>
                    </a:lnTo>
                    <a:lnTo>
                      <a:pt x="28" y="165"/>
                    </a:lnTo>
                    <a:lnTo>
                      <a:pt x="34" y="173"/>
                    </a:lnTo>
                    <a:lnTo>
                      <a:pt x="38" y="189"/>
                    </a:lnTo>
                    <a:lnTo>
                      <a:pt x="28" y="190"/>
                    </a:lnTo>
                    <a:lnTo>
                      <a:pt x="22" y="194"/>
                    </a:lnTo>
                    <a:lnTo>
                      <a:pt x="17" y="197"/>
                    </a:lnTo>
                    <a:lnTo>
                      <a:pt x="17" y="208"/>
                    </a:lnTo>
                    <a:lnTo>
                      <a:pt x="17" y="213"/>
                    </a:lnTo>
                    <a:lnTo>
                      <a:pt x="19" y="218"/>
                    </a:lnTo>
                    <a:lnTo>
                      <a:pt x="36" y="216"/>
                    </a:lnTo>
                    <a:lnTo>
                      <a:pt x="38" y="215"/>
                    </a:lnTo>
                    <a:lnTo>
                      <a:pt x="41" y="213"/>
                    </a:lnTo>
                    <a:lnTo>
                      <a:pt x="55" y="216"/>
                    </a:lnTo>
                    <a:lnTo>
                      <a:pt x="58" y="215"/>
                    </a:lnTo>
                    <a:lnTo>
                      <a:pt x="67" y="213"/>
                    </a:lnTo>
                    <a:lnTo>
                      <a:pt x="74" y="211"/>
                    </a:lnTo>
                    <a:lnTo>
                      <a:pt x="83" y="213"/>
                    </a:lnTo>
                    <a:lnTo>
                      <a:pt x="88" y="220"/>
                    </a:lnTo>
                    <a:lnTo>
                      <a:pt x="95" y="233"/>
                    </a:lnTo>
                    <a:lnTo>
                      <a:pt x="98" y="239"/>
                    </a:lnTo>
                    <a:lnTo>
                      <a:pt x="107" y="244"/>
                    </a:lnTo>
                    <a:lnTo>
                      <a:pt x="115" y="247"/>
                    </a:lnTo>
                    <a:lnTo>
                      <a:pt x="126" y="251"/>
                    </a:lnTo>
                    <a:lnTo>
                      <a:pt x="131" y="251"/>
                    </a:lnTo>
                    <a:lnTo>
                      <a:pt x="138" y="252"/>
                    </a:lnTo>
                    <a:lnTo>
                      <a:pt x="134" y="256"/>
                    </a:lnTo>
                    <a:lnTo>
                      <a:pt x="131" y="259"/>
                    </a:lnTo>
                    <a:lnTo>
                      <a:pt x="124" y="259"/>
                    </a:lnTo>
                    <a:lnTo>
                      <a:pt x="117" y="261"/>
                    </a:lnTo>
                    <a:lnTo>
                      <a:pt x="122" y="268"/>
                    </a:lnTo>
                    <a:lnTo>
                      <a:pt x="129" y="275"/>
                    </a:lnTo>
                    <a:lnTo>
                      <a:pt x="136" y="282"/>
                    </a:lnTo>
                    <a:lnTo>
                      <a:pt x="148" y="285"/>
                    </a:lnTo>
                    <a:lnTo>
                      <a:pt x="153" y="282"/>
                    </a:lnTo>
                    <a:lnTo>
                      <a:pt x="158" y="275"/>
                    </a:lnTo>
                    <a:lnTo>
                      <a:pt x="162" y="266"/>
                    </a:lnTo>
                    <a:lnTo>
                      <a:pt x="167" y="261"/>
                    </a:lnTo>
                    <a:lnTo>
                      <a:pt x="172" y="261"/>
                    </a:lnTo>
                    <a:lnTo>
                      <a:pt x="170" y="264"/>
                    </a:lnTo>
                    <a:lnTo>
                      <a:pt x="169" y="268"/>
                    </a:lnTo>
                    <a:lnTo>
                      <a:pt x="170" y="276"/>
                    </a:lnTo>
                    <a:lnTo>
                      <a:pt x="174" y="288"/>
                    </a:lnTo>
                    <a:lnTo>
                      <a:pt x="172" y="295"/>
                    </a:lnTo>
                    <a:lnTo>
                      <a:pt x="170" y="304"/>
                    </a:lnTo>
                    <a:lnTo>
                      <a:pt x="174" y="3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45" name="Freeform 196"/>
              <p:cNvSpPr>
                <a:spLocks/>
              </p:cNvSpPr>
              <p:nvPr/>
            </p:nvSpPr>
            <p:spPr bwMode="auto">
              <a:xfrm>
                <a:off x="6493669" y="3887788"/>
                <a:ext cx="244475" cy="261937"/>
              </a:xfrm>
              <a:custGeom>
                <a:avLst/>
                <a:gdLst/>
                <a:ahLst/>
                <a:cxnLst>
                  <a:cxn ang="0">
                    <a:pos x="69" y="86"/>
                  </a:cxn>
                  <a:cxn ang="0">
                    <a:pos x="68" y="82"/>
                  </a:cxn>
                  <a:cxn ang="0">
                    <a:pos x="68" y="81"/>
                  </a:cxn>
                  <a:cxn ang="0">
                    <a:pos x="62" y="79"/>
                  </a:cxn>
                  <a:cxn ang="0">
                    <a:pos x="59" y="79"/>
                  </a:cxn>
                  <a:cxn ang="0">
                    <a:pos x="56" y="70"/>
                  </a:cxn>
                  <a:cxn ang="0">
                    <a:pos x="52" y="60"/>
                  </a:cxn>
                  <a:cxn ang="0">
                    <a:pos x="42" y="50"/>
                  </a:cxn>
                  <a:cxn ang="0">
                    <a:pos x="33" y="45"/>
                  </a:cxn>
                  <a:cxn ang="0">
                    <a:pos x="28" y="36"/>
                  </a:cxn>
                  <a:cxn ang="0">
                    <a:pos x="26" y="29"/>
                  </a:cxn>
                  <a:cxn ang="0">
                    <a:pos x="19" y="24"/>
                  </a:cxn>
                  <a:cxn ang="0">
                    <a:pos x="14" y="24"/>
                  </a:cxn>
                  <a:cxn ang="0">
                    <a:pos x="9" y="19"/>
                  </a:cxn>
                  <a:cxn ang="0">
                    <a:pos x="6" y="14"/>
                  </a:cxn>
                  <a:cxn ang="0">
                    <a:pos x="0" y="7"/>
                  </a:cxn>
                  <a:cxn ang="0">
                    <a:pos x="0" y="3"/>
                  </a:cxn>
                  <a:cxn ang="0">
                    <a:pos x="0" y="0"/>
                  </a:cxn>
                  <a:cxn ang="0">
                    <a:pos x="4" y="0"/>
                  </a:cxn>
                  <a:cxn ang="0">
                    <a:pos x="9" y="0"/>
                  </a:cxn>
                  <a:cxn ang="0">
                    <a:pos x="14" y="3"/>
                  </a:cxn>
                  <a:cxn ang="0">
                    <a:pos x="30" y="3"/>
                  </a:cxn>
                  <a:cxn ang="0">
                    <a:pos x="42" y="12"/>
                  </a:cxn>
                  <a:cxn ang="0">
                    <a:pos x="49" y="24"/>
                  </a:cxn>
                  <a:cxn ang="0">
                    <a:pos x="50" y="24"/>
                  </a:cxn>
                  <a:cxn ang="0">
                    <a:pos x="54" y="26"/>
                  </a:cxn>
                  <a:cxn ang="0">
                    <a:pos x="62" y="31"/>
                  </a:cxn>
                  <a:cxn ang="0">
                    <a:pos x="71" y="39"/>
                  </a:cxn>
                  <a:cxn ang="0">
                    <a:pos x="76" y="45"/>
                  </a:cxn>
                  <a:cxn ang="0">
                    <a:pos x="83" y="51"/>
                  </a:cxn>
                  <a:cxn ang="0">
                    <a:pos x="90" y="55"/>
                  </a:cxn>
                  <a:cxn ang="0">
                    <a:pos x="100" y="60"/>
                  </a:cxn>
                  <a:cxn ang="0">
                    <a:pos x="111" y="63"/>
                  </a:cxn>
                  <a:cxn ang="0">
                    <a:pos x="116" y="74"/>
                  </a:cxn>
                  <a:cxn ang="0">
                    <a:pos x="116" y="75"/>
                  </a:cxn>
                  <a:cxn ang="0">
                    <a:pos x="117" y="75"/>
                  </a:cxn>
                  <a:cxn ang="0">
                    <a:pos x="119" y="75"/>
                  </a:cxn>
                  <a:cxn ang="0">
                    <a:pos x="121" y="77"/>
                  </a:cxn>
                  <a:cxn ang="0">
                    <a:pos x="124" y="81"/>
                  </a:cxn>
                  <a:cxn ang="0">
                    <a:pos x="123" y="86"/>
                  </a:cxn>
                  <a:cxn ang="0">
                    <a:pos x="124" y="91"/>
                  </a:cxn>
                  <a:cxn ang="0">
                    <a:pos x="131" y="93"/>
                  </a:cxn>
                  <a:cxn ang="0">
                    <a:pos x="135" y="105"/>
                  </a:cxn>
                  <a:cxn ang="0">
                    <a:pos x="143" y="113"/>
                  </a:cxn>
                  <a:cxn ang="0">
                    <a:pos x="148" y="115"/>
                  </a:cxn>
                  <a:cxn ang="0">
                    <a:pos x="154" y="122"/>
                  </a:cxn>
                  <a:cxn ang="0">
                    <a:pos x="154" y="131"/>
                  </a:cxn>
                  <a:cxn ang="0">
                    <a:pos x="154" y="144"/>
                  </a:cxn>
                  <a:cxn ang="0">
                    <a:pos x="148" y="149"/>
                  </a:cxn>
                  <a:cxn ang="0">
                    <a:pos x="150" y="158"/>
                  </a:cxn>
                  <a:cxn ang="0">
                    <a:pos x="145" y="163"/>
                  </a:cxn>
                  <a:cxn ang="0">
                    <a:pos x="136" y="165"/>
                  </a:cxn>
                  <a:cxn ang="0">
                    <a:pos x="129" y="158"/>
                  </a:cxn>
                  <a:cxn ang="0">
                    <a:pos x="124" y="151"/>
                  </a:cxn>
                  <a:cxn ang="0">
                    <a:pos x="111" y="139"/>
                  </a:cxn>
                  <a:cxn ang="0">
                    <a:pos x="97" y="129"/>
                  </a:cxn>
                  <a:cxn ang="0">
                    <a:pos x="85" y="113"/>
                  </a:cxn>
                  <a:cxn ang="0">
                    <a:pos x="78" y="98"/>
                  </a:cxn>
                  <a:cxn ang="0">
                    <a:pos x="73" y="91"/>
                  </a:cxn>
                  <a:cxn ang="0">
                    <a:pos x="69" y="86"/>
                  </a:cxn>
                </a:cxnLst>
                <a:rect l="0" t="0" r="r" b="b"/>
                <a:pathLst>
                  <a:path w="154" h="165">
                    <a:moveTo>
                      <a:pt x="69" y="86"/>
                    </a:moveTo>
                    <a:lnTo>
                      <a:pt x="68" y="82"/>
                    </a:lnTo>
                    <a:lnTo>
                      <a:pt x="68" y="81"/>
                    </a:lnTo>
                    <a:lnTo>
                      <a:pt x="62" y="79"/>
                    </a:lnTo>
                    <a:lnTo>
                      <a:pt x="59" y="79"/>
                    </a:lnTo>
                    <a:lnTo>
                      <a:pt x="56" y="70"/>
                    </a:lnTo>
                    <a:lnTo>
                      <a:pt x="52" y="60"/>
                    </a:lnTo>
                    <a:lnTo>
                      <a:pt x="42" y="50"/>
                    </a:lnTo>
                    <a:lnTo>
                      <a:pt x="33" y="45"/>
                    </a:lnTo>
                    <a:lnTo>
                      <a:pt x="28" y="36"/>
                    </a:lnTo>
                    <a:lnTo>
                      <a:pt x="26" y="29"/>
                    </a:lnTo>
                    <a:lnTo>
                      <a:pt x="19" y="24"/>
                    </a:lnTo>
                    <a:lnTo>
                      <a:pt x="14" y="24"/>
                    </a:lnTo>
                    <a:lnTo>
                      <a:pt x="9" y="19"/>
                    </a:lnTo>
                    <a:lnTo>
                      <a:pt x="6" y="14"/>
                    </a:lnTo>
                    <a:lnTo>
                      <a:pt x="0" y="7"/>
                    </a:lnTo>
                    <a:lnTo>
                      <a:pt x="0" y="3"/>
                    </a:lnTo>
                    <a:lnTo>
                      <a:pt x="0" y="0"/>
                    </a:lnTo>
                    <a:lnTo>
                      <a:pt x="4" y="0"/>
                    </a:lnTo>
                    <a:lnTo>
                      <a:pt x="9" y="0"/>
                    </a:lnTo>
                    <a:lnTo>
                      <a:pt x="14" y="3"/>
                    </a:lnTo>
                    <a:lnTo>
                      <a:pt x="30" y="3"/>
                    </a:lnTo>
                    <a:lnTo>
                      <a:pt x="42" y="12"/>
                    </a:lnTo>
                    <a:lnTo>
                      <a:pt x="49" y="24"/>
                    </a:lnTo>
                    <a:lnTo>
                      <a:pt x="50" y="24"/>
                    </a:lnTo>
                    <a:lnTo>
                      <a:pt x="54" y="26"/>
                    </a:lnTo>
                    <a:lnTo>
                      <a:pt x="62" y="31"/>
                    </a:lnTo>
                    <a:lnTo>
                      <a:pt x="71" y="39"/>
                    </a:lnTo>
                    <a:lnTo>
                      <a:pt x="76" y="45"/>
                    </a:lnTo>
                    <a:lnTo>
                      <a:pt x="83" y="51"/>
                    </a:lnTo>
                    <a:lnTo>
                      <a:pt x="90" y="55"/>
                    </a:lnTo>
                    <a:lnTo>
                      <a:pt x="100" y="60"/>
                    </a:lnTo>
                    <a:lnTo>
                      <a:pt x="111" y="63"/>
                    </a:lnTo>
                    <a:lnTo>
                      <a:pt x="116" y="74"/>
                    </a:lnTo>
                    <a:lnTo>
                      <a:pt x="116" y="75"/>
                    </a:lnTo>
                    <a:lnTo>
                      <a:pt x="117" y="75"/>
                    </a:lnTo>
                    <a:lnTo>
                      <a:pt x="119" y="75"/>
                    </a:lnTo>
                    <a:lnTo>
                      <a:pt x="121" y="77"/>
                    </a:lnTo>
                    <a:lnTo>
                      <a:pt x="124" y="81"/>
                    </a:lnTo>
                    <a:lnTo>
                      <a:pt x="123" y="86"/>
                    </a:lnTo>
                    <a:lnTo>
                      <a:pt x="124" y="91"/>
                    </a:lnTo>
                    <a:lnTo>
                      <a:pt x="131" y="93"/>
                    </a:lnTo>
                    <a:lnTo>
                      <a:pt x="135" y="105"/>
                    </a:lnTo>
                    <a:lnTo>
                      <a:pt x="143" y="113"/>
                    </a:lnTo>
                    <a:lnTo>
                      <a:pt x="148" y="115"/>
                    </a:lnTo>
                    <a:lnTo>
                      <a:pt x="154" y="122"/>
                    </a:lnTo>
                    <a:lnTo>
                      <a:pt x="154" y="131"/>
                    </a:lnTo>
                    <a:lnTo>
                      <a:pt x="154" y="144"/>
                    </a:lnTo>
                    <a:lnTo>
                      <a:pt x="148" y="149"/>
                    </a:lnTo>
                    <a:lnTo>
                      <a:pt x="150" y="158"/>
                    </a:lnTo>
                    <a:lnTo>
                      <a:pt x="145" y="163"/>
                    </a:lnTo>
                    <a:lnTo>
                      <a:pt x="136" y="165"/>
                    </a:lnTo>
                    <a:lnTo>
                      <a:pt x="129" y="158"/>
                    </a:lnTo>
                    <a:lnTo>
                      <a:pt x="124" y="151"/>
                    </a:lnTo>
                    <a:lnTo>
                      <a:pt x="111" y="139"/>
                    </a:lnTo>
                    <a:lnTo>
                      <a:pt x="97" y="129"/>
                    </a:lnTo>
                    <a:lnTo>
                      <a:pt x="85" y="113"/>
                    </a:lnTo>
                    <a:lnTo>
                      <a:pt x="78" y="98"/>
                    </a:lnTo>
                    <a:lnTo>
                      <a:pt x="73" y="91"/>
                    </a:lnTo>
                    <a:lnTo>
                      <a:pt x="69" y="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46" name="Freeform 197"/>
              <p:cNvSpPr>
                <a:spLocks/>
              </p:cNvSpPr>
              <p:nvPr/>
            </p:nvSpPr>
            <p:spPr bwMode="auto">
              <a:xfrm>
                <a:off x="6807994" y="3854450"/>
                <a:ext cx="231775" cy="257175"/>
              </a:xfrm>
              <a:custGeom>
                <a:avLst/>
                <a:gdLst/>
                <a:ahLst/>
                <a:cxnLst>
                  <a:cxn ang="0">
                    <a:pos x="42" y="146"/>
                  </a:cxn>
                  <a:cxn ang="0">
                    <a:pos x="36" y="143"/>
                  </a:cxn>
                  <a:cxn ang="0">
                    <a:pos x="21" y="141"/>
                  </a:cxn>
                  <a:cxn ang="0">
                    <a:pos x="16" y="126"/>
                  </a:cxn>
                  <a:cxn ang="0">
                    <a:pos x="14" y="115"/>
                  </a:cxn>
                  <a:cxn ang="0">
                    <a:pos x="11" y="112"/>
                  </a:cxn>
                  <a:cxn ang="0">
                    <a:pos x="4" y="107"/>
                  </a:cxn>
                  <a:cxn ang="0">
                    <a:pos x="0" y="93"/>
                  </a:cxn>
                  <a:cxn ang="0">
                    <a:pos x="5" y="83"/>
                  </a:cxn>
                  <a:cxn ang="0">
                    <a:pos x="24" y="81"/>
                  </a:cxn>
                  <a:cxn ang="0">
                    <a:pos x="33" y="67"/>
                  </a:cxn>
                  <a:cxn ang="0">
                    <a:pos x="43" y="59"/>
                  </a:cxn>
                  <a:cxn ang="0">
                    <a:pos x="59" y="52"/>
                  </a:cxn>
                  <a:cxn ang="0">
                    <a:pos x="64" y="43"/>
                  </a:cxn>
                  <a:cxn ang="0">
                    <a:pos x="69" y="38"/>
                  </a:cxn>
                  <a:cxn ang="0">
                    <a:pos x="74" y="35"/>
                  </a:cxn>
                  <a:cxn ang="0">
                    <a:pos x="86" y="29"/>
                  </a:cxn>
                  <a:cxn ang="0">
                    <a:pos x="98" y="19"/>
                  </a:cxn>
                  <a:cxn ang="0">
                    <a:pos x="110" y="2"/>
                  </a:cxn>
                  <a:cxn ang="0">
                    <a:pos x="124" y="4"/>
                  </a:cxn>
                  <a:cxn ang="0">
                    <a:pos x="128" y="16"/>
                  </a:cxn>
                  <a:cxn ang="0">
                    <a:pos x="143" y="21"/>
                  </a:cxn>
                  <a:cxn ang="0">
                    <a:pos x="141" y="29"/>
                  </a:cxn>
                  <a:cxn ang="0">
                    <a:pos x="136" y="35"/>
                  </a:cxn>
                  <a:cxn ang="0">
                    <a:pos x="133" y="36"/>
                  </a:cxn>
                  <a:cxn ang="0">
                    <a:pos x="124" y="41"/>
                  </a:cxn>
                  <a:cxn ang="0">
                    <a:pos x="122" y="45"/>
                  </a:cxn>
                  <a:cxn ang="0">
                    <a:pos x="122" y="48"/>
                  </a:cxn>
                  <a:cxn ang="0">
                    <a:pos x="122" y="59"/>
                  </a:cxn>
                  <a:cxn ang="0">
                    <a:pos x="136" y="79"/>
                  </a:cxn>
                  <a:cxn ang="0">
                    <a:pos x="140" y="90"/>
                  </a:cxn>
                  <a:cxn ang="0">
                    <a:pos x="129" y="90"/>
                  </a:cxn>
                  <a:cxn ang="0">
                    <a:pos x="126" y="95"/>
                  </a:cxn>
                  <a:cxn ang="0">
                    <a:pos x="119" y="117"/>
                  </a:cxn>
                  <a:cxn ang="0">
                    <a:pos x="107" y="129"/>
                  </a:cxn>
                  <a:cxn ang="0">
                    <a:pos x="110" y="136"/>
                  </a:cxn>
                  <a:cxn ang="0">
                    <a:pos x="103" y="153"/>
                  </a:cxn>
                  <a:cxn ang="0">
                    <a:pos x="88" y="162"/>
                  </a:cxn>
                  <a:cxn ang="0">
                    <a:pos x="81" y="155"/>
                  </a:cxn>
                  <a:cxn ang="0">
                    <a:pos x="59" y="146"/>
                  </a:cxn>
                  <a:cxn ang="0">
                    <a:pos x="47" y="152"/>
                  </a:cxn>
                  <a:cxn ang="0">
                    <a:pos x="43" y="150"/>
                  </a:cxn>
                </a:cxnLst>
                <a:rect l="0" t="0" r="r" b="b"/>
                <a:pathLst>
                  <a:path w="146" h="162">
                    <a:moveTo>
                      <a:pt x="43" y="150"/>
                    </a:moveTo>
                    <a:lnTo>
                      <a:pt x="42" y="146"/>
                    </a:lnTo>
                    <a:lnTo>
                      <a:pt x="42" y="143"/>
                    </a:lnTo>
                    <a:lnTo>
                      <a:pt x="36" y="143"/>
                    </a:lnTo>
                    <a:lnTo>
                      <a:pt x="31" y="145"/>
                    </a:lnTo>
                    <a:lnTo>
                      <a:pt x="21" y="141"/>
                    </a:lnTo>
                    <a:lnTo>
                      <a:pt x="17" y="134"/>
                    </a:lnTo>
                    <a:lnTo>
                      <a:pt x="16" y="126"/>
                    </a:lnTo>
                    <a:lnTo>
                      <a:pt x="14" y="117"/>
                    </a:lnTo>
                    <a:lnTo>
                      <a:pt x="14" y="115"/>
                    </a:lnTo>
                    <a:lnTo>
                      <a:pt x="14" y="114"/>
                    </a:lnTo>
                    <a:lnTo>
                      <a:pt x="11" y="112"/>
                    </a:lnTo>
                    <a:lnTo>
                      <a:pt x="7" y="112"/>
                    </a:lnTo>
                    <a:lnTo>
                      <a:pt x="4" y="107"/>
                    </a:lnTo>
                    <a:lnTo>
                      <a:pt x="2" y="100"/>
                    </a:lnTo>
                    <a:lnTo>
                      <a:pt x="0" y="93"/>
                    </a:lnTo>
                    <a:lnTo>
                      <a:pt x="0" y="90"/>
                    </a:lnTo>
                    <a:lnTo>
                      <a:pt x="5" y="83"/>
                    </a:lnTo>
                    <a:lnTo>
                      <a:pt x="17" y="84"/>
                    </a:lnTo>
                    <a:lnTo>
                      <a:pt x="24" y="81"/>
                    </a:lnTo>
                    <a:lnTo>
                      <a:pt x="30" y="76"/>
                    </a:lnTo>
                    <a:lnTo>
                      <a:pt x="33" y="67"/>
                    </a:lnTo>
                    <a:lnTo>
                      <a:pt x="38" y="62"/>
                    </a:lnTo>
                    <a:lnTo>
                      <a:pt x="43" y="59"/>
                    </a:lnTo>
                    <a:lnTo>
                      <a:pt x="52" y="57"/>
                    </a:lnTo>
                    <a:lnTo>
                      <a:pt x="59" y="52"/>
                    </a:lnTo>
                    <a:lnTo>
                      <a:pt x="64" y="47"/>
                    </a:lnTo>
                    <a:lnTo>
                      <a:pt x="64" y="43"/>
                    </a:lnTo>
                    <a:lnTo>
                      <a:pt x="67" y="41"/>
                    </a:lnTo>
                    <a:lnTo>
                      <a:pt x="69" y="38"/>
                    </a:lnTo>
                    <a:lnTo>
                      <a:pt x="73" y="38"/>
                    </a:lnTo>
                    <a:lnTo>
                      <a:pt x="74" y="35"/>
                    </a:lnTo>
                    <a:lnTo>
                      <a:pt x="76" y="33"/>
                    </a:lnTo>
                    <a:lnTo>
                      <a:pt x="86" y="29"/>
                    </a:lnTo>
                    <a:lnTo>
                      <a:pt x="95" y="28"/>
                    </a:lnTo>
                    <a:lnTo>
                      <a:pt x="98" y="19"/>
                    </a:lnTo>
                    <a:lnTo>
                      <a:pt x="103" y="11"/>
                    </a:lnTo>
                    <a:lnTo>
                      <a:pt x="110" y="2"/>
                    </a:lnTo>
                    <a:lnTo>
                      <a:pt x="117" y="0"/>
                    </a:lnTo>
                    <a:lnTo>
                      <a:pt x="124" y="4"/>
                    </a:lnTo>
                    <a:lnTo>
                      <a:pt x="126" y="12"/>
                    </a:lnTo>
                    <a:lnTo>
                      <a:pt x="128" y="16"/>
                    </a:lnTo>
                    <a:lnTo>
                      <a:pt x="136" y="19"/>
                    </a:lnTo>
                    <a:lnTo>
                      <a:pt x="143" y="21"/>
                    </a:lnTo>
                    <a:lnTo>
                      <a:pt x="146" y="28"/>
                    </a:lnTo>
                    <a:lnTo>
                      <a:pt x="141" y="29"/>
                    </a:lnTo>
                    <a:lnTo>
                      <a:pt x="136" y="33"/>
                    </a:lnTo>
                    <a:lnTo>
                      <a:pt x="136" y="35"/>
                    </a:lnTo>
                    <a:lnTo>
                      <a:pt x="138" y="36"/>
                    </a:lnTo>
                    <a:lnTo>
                      <a:pt x="133" y="36"/>
                    </a:lnTo>
                    <a:lnTo>
                      <a:pt x="129" y="40"/>
                    </a:lnTo>
                    <a:lnTo>
                      <a:pt x="124" y="41"/>
                    </a:lnTo>
                    <a:lnTo>
                      <a:pt x="122" y="43"/>
                    </a:lnTo>
                    <a:lnTo>
                      <a:pt x="122" y="45"/>
                    </a:lnTo>
                    <a:lnTo>
                      <a:pt x="124" y="48"/>
                    </a:lnTo>
                    <a:lnTo>
                      <a:pt x="122" y="48"/>
                    </a:lnTo>
                    <a:lnTo>
                      <a:pt x="121" y="52"/>
                    </a:lnTo>
                    <a:lnTo>
                      <a:pt x="122" y="59"/>
                    </a:lnTo>
                    <a:lnTo>
                      <a:pt x="128" y="71"/>
                    </a:lnTo>
                    <a:lnTo>
                      <a:pt x="136" y="79"/>
                    </a:lnTo>
                    <a:lnTo>
                      <a:pt x="145" y="84"/>
                    </a:lnTo>
                    <a:lnTo>
                      <a:pt x="140" y="90"/>
                    </a:lnTo>
                    <a:lnTo>
                      <a:pt x="133" y="90"/>
                    </a:lnTo>
                    <a:lnTo>
                      <a:pt x="129" y="90"/>
                    </a:lnTo>
                    <a:lnTo>
                      <a:pt x="128" y="90"/>
                    </a:lnTo>
                    <a:lnTo>
                      <a:pt x="126" y="95"/>
                    </a:lnTo>
                    <a:lnTo>
                      <a:pt x="121" y="107"/>
                    </a:lnTo>
                    <a:lnTo>
                      <a:pt x="119" y="117"/>
                    </a:lnTo>
                    <a:lnTo>
                      <a:pt x="110" y="122"/>
                    </a:lnTo>
                    <a:lnTo>
                      <a:pt x="107" y="129"/>
                    </a:lnTo>
                    <a:lnTo>
                      <a:pt x="109" y="133"/>
                    </a:lnTo>
                    <a:lnTo>
                      <a:pt x="110" y="136"/>
                    </a:lnTo>
                    <a:lnTo>
                      <a:pt x="107" y="145"/>
                    </a:lnTo>
                    <a:lnTo>
                      <a:pt x="103" y="153"/>
                    </a:lnTo>
                    <a:lnTo>
                      <a:pt x="95" y="158"/>
                    </a:lnTo>
                    <a:lnTo>
                      <a:pt x="88" y="162"/>
                    </a:lnTo>
                    <a:lnTo>
                      <a:pt x="81" y="158"/>
                    </a:lnTo>
                    <a:lnTo>
                      <a:pt x="81" y="155"/>
                    </a:lnTo>
                    <a:lnTo>
                      <a:pt x="69" y="150"/>
                    </a:lnTo>
                    <a:lnTo>
                      <a:pt x="59" y="146"/>
                    </a:lnTo>
                    <a:lnTo>
                      <a:pt x="52" y="148"/>
                    </a:lnTo>
                    <a:lnTo>
                      <a:pt x="47" y="152"/>
                    </a:lnTo>
                    <a:lnTo>
                      <a:pt x="45" y="150"/>
                    </a:lnTo>
                    <a:lnTo>
                      <a:pt x="43" y="15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47" name="Freeform 198"/>
              <p:cNvSpPr>
                <a:spLocks/>
              </p:cNvSpPr>
              <p:nvPr/>
            </p:nvSpPr>
            <p:spPr bwMode="auto">
              <a:xfrm>
                <a:off x="7031832" y="3978275"/>
                <a:ext cx="147638" cy="168275"/>
              </a:xfrm>
              <a:custGeom>
                <a:avLst/>
                <a:gdLst/>
                <a:ahLst/>
                <a:cxnLst>
                  <a:cxn ang="0">
                    <a:pos x="33" y="41"/>
                  </a:cxn>
                  <a:cxn ang="0">
                    <a:pos x="23" y="36"/>
                  </a:cxn>
                  <a:cxn ang="0">
                    <a:pos x="26" y="18"/>
                  </a:cxn>
                  <a:cxn ang="0">
                    <a:pos x="47" y="17"/>
                  </a:cxn>
                  <a:cxn ang="0">
                    <a:pos x="66" y="18"/>
                  </a:cxn>
                  <a:cxn ang="0">
                    <a:pos x="85" y="13"/>
                  </a:cxn>
                  <a:cxn ang="0">
                    <a:pos x="91" y="1"/>
                  </a:cxn>
                  <a:cxn ang="0">
                    <a:pos x="90" y="0"/>
                  </a:cxn>
                  <a:cxn ang="0">
                    <a:pos x="73" y="12"/>
                  </a:cxn>
                  <a:cxn ang="0">
                    <a:pos x="33" y="5"/>
                  </a:cxn>
                  <a:cxn ang="0">
                    <a:pos x="18" y="13"/>
                  </a:cxn>
                  <a:cxn ang="0">
                    <a:pos x="14" y="34"/>
                  </a:cxn>
                  <a:cxn ang="0">
                    <a:pos x="11" y="41"/>
                  </a:cxn>
                  <a:cxn ang="0">
                    <a:pos x="0" y="68"/>
                  </a:cxn>
                  <a:cxn ang="0">
                    <a:pos x="11" y="75"/>
                  </a:cxn>
                  <a:cxn ang="0">
                    <a:pos x="11" y="99"/>
                  </a:cxn>
                  <a:cxn ang="0">
                    <a:pos x="19" y="106"/>
                  </a:cxn>
                  <a:cxn ang="0">
                    <a:pos x="24" y="96"/>
                  </a:cxn>
                  <a:cxn ang="0">
                    <a:pos x="26" y="86"/>
                  </a:cxn>
                  <a:cxn ang="0">
                    <a:pos x="23" y="70"/>
                  </a:cxn>
                  <a:cxn ang="0">
                    <a:pos x="30" y="63"/>
                  </a:cxn>
                  <a:cxn ang="0">
                    <a:pos x="33" y="63"/>
                  </a:cxn>
                  <a:cxn ang="0">
                    <a:pos x="35" y="80"/>
                  </a:cxn>
                  <a:cxn ang="0">
                    <a:pos x="40" y="91"/>
                  </a:cxn>
                  <a:cxn ang="0">
                    <a:pos x="47" y="94"/>
                  </a:cxn>
                  <a:cxn ang="0">
                    <a:pos x="57" y="84"/>
                  </a:cxn>
                  <a:cxn ang="0">
                    <a:pos x="50" y="74"/>
                  </a:cxn>
                  <a:cxn ang="0">
                    <a:pos x="52" y="72"/>
                  </a:cxn>
                  <a:cxn ang="0">
                    <a:pos x="43" y="60"/>
                  </a:cxn>
                  <a:cxn ang="0">
                    <a:pos x="40" y="49"/>
                  </a:cxn>
                  <a:cxn ang="0">
                    <a:pos x="54" y="43"/>
                  </a:cxn>
                  <a:cxn ang="0">
                    <a:pos x="67" y="36"/>
                  </a:cxn>
                  <a:cxn ang="0">
                    <a:pos x="61" y="31"/>
                  </a:cxn>
                  <a:cxn ang="0">
                    <a:pos x="40" y="37"/>
                  </a:cxn>
                  <a:cxn ang="0">
                    <a:pos x="36" y="39"/>
                  </a:cxn>
                </a:cxnLst>
                <a:rect l="0" t="0" r="r" b="b"/>
                <a:pathLst>
                  <a:path w="93" h="106">
                    <a:moveTo>
                      <a:pt x="36" y="39"/>
                    </a:moveTo>
                    <a:lnTo>
                      <a:pt x="33" y="41"/>
                    </a:lnTo>
                    <a:lnTo>
                      <a:pt x="31" y="43"/>
                    </a:lnTo>
                    <a:lnTo>
                      <a:pt x="23" y="36"/>
                    </a:lnTo>
                    <a:lnTo>
                      <a:pt x="21" y="25"/>
                    </a:lnTo>
                    <a:lnTo>
                      <a:pt x="26" y="18"/>
                    </a:lnTo>
                    <a:lnTo>
                      <a:pt x="38" y="18"/>
                    </a:lnTo>
                    <a:lnTo>
                      <a:pt x="47" y="17"/>
                    </a:lnTo>
                    <a:lnTo>
                      <a:pt x="57" y="17"/>
                    </a:lnTo>
                    <a:lnTo>
                      <a:pt x="66" y="18"/>
                    </a:lnTo>
                    <a:lnTo>
                      <a:pt x="74" y="20"/>
                    </a:lnTo>
                    <a:lnTo>
                      <a:pt x="85" y="13"/>
                    </a:lnTo>
                    <a:lnTo>
                      <a:pt x="90" y="3"/>
                    </a:lnTo>
                    <a:lnTo>
                      <a:pt x="91" y="1"/>
                    </a:lnTo>
                    <a:lnTo>
                      <a:pt x="93" y="0"/>
                    </a:lnTo>
                    <a:lnTo>
                      <a:pt x="90" y="0"/>
                    </a:lnTo>
                    <a:lnTo>
                      <a:pt x="79" y="5"/>
                    </a:lnTo>
                    <a:lnTo>
                      <a:pt x="73" y="12"/>
                    </a:lnTo>
                    <a:lnTo>
                      <a:pt x="69" y="12"/>
                    </a:lnTo>
                    <a:lnTo>
                      <a:pt x="33" y="5"/>
                    </a:lnTo>
                    <a:lnTo>
                      <a:pt x="23" y="6"/>
                    </a:lnTo>
                    <a:lnTo>
                      <a:pt x="18" y="13"/>
                    </a:lnTo>
                    <a:lnTo>
                      <a:pt x="14" y="24"/>
                    </a:lnTo>
                    <a:lnTo>
                      <a:pt x="14" y="34"/>
                    </a:lnTo>
                    <a:lnTo>
                      <a:pt x="12" y="37"/>
                    </a:lnTo>
                    <a:lnTo>
                      <a:pt x="11" y="41"/>
                    </a:lnTo>
                    <a:lnTo>
                      <a:pt x="2" y="55"/>
                    </a:lnTo>
                    <a:lnTo>
                      <a:pt x="0" y="68"/>
                    </a:lnTo>
                    <a:lnTo>
                      <a:pt x="4" y="74"/>
                    </a:lnTo>
                    <a:lnTo>
                      <a:pt x="11" y="75"/>
                    </a:lnTo>
                    <a:lnTo>
                      <a:pt x="11" y="87"/>
                    </a:lnTo>
                    <a:lnTo>
                      <a:pt x="11" y="99"/>
                    </a:lnTo>
                    <a:lnTo>
                      <a:pt x="12" y="103"/>
                    </a:lnTo>
                    <a:lnTo>
                      <a:pt x="19" y="106"/>
                    </a:lnTo>
                    <a:lnTo>
                      <a:pt x="21" y="103"/>
                    </a:lnTo>
                    <a:lnTo>
                      <a:pt x="24" y="96"/>
                    </a:lnTo>
                    <a:lnTo>
                      <a:pt x="24" y="89"/>
                    </a:lnTo>
                    <a:lnTo>
                      <a:pt x="26" y="86"/>
                    </a:lnTo>
                    <a:lnTo>
                      <a:pt x="24" y="77"/>
                    </a:lnTo>
                    <a:lnTo>
                      <a:pt x="23" y="70"/>
                    </a:lnTo>
                    <a:lnTo>
                      <a:pt x="24" y="65"/>
                    </a:lnTo>
                    <a:lnTo>
                      <a:pt x="30" y="63"/>
                    </a:lnTo>
                    <a:lnTo>
                      <a:pt x="31" y="63"/>
                    </a:lnTo>
                    <a:lnTo>
                      <a:pt x="33" y="63"/>
                    </a:lnTo>
                    <a:lnTo>
                      <a:pt x="31" y="74"/>
                    </a:lnTo>
                    <a:lnTo>
                      <a:pt x="35" y="80"/>
                    </a:lnTo>
                    <a:lnTo>
                      <a:pt x="40" y="89"/>
                    </a:lnTo>
                    <a:lnTo>
                      <a:pt x="40" y="91"/>
                    </a:lnTo>
                    <a:lnTo>
                      <a:pt x="40" y="94"/>
                    </a:lnTo>
                    <a:lnTo>
                      <a:pt x="47" y="94"/>
                    </a:lnTo>
                    <a:lnTo>
                      <a:pt x="52" y="89"/>
                    </a:lnTo>
                    <a:lnTo>
                      <a:pt x="57" y="84"/>
                    </a:lnTo>
                    <a:lnTo>
                      <a:pt x="52" y="79"/>
                    </a:lnTo>
                    <a:lnTo>
                      <a:pt x="50" y="74"/>
                    </a:lnTo>
                    <a:lnTo>
                      <a:pt x="50" y="72"/>
                    </a:lnTo>
                    <a:lnTo>
                      <a:pt x="52" y="72"/>
                    </a:lnTo>
                    <a:lnTo>
                      <a:pt x="47" y="67"/>
                    </a:lnTo>
                    <a:lnTo>
                      <a:pt x="43" y="60"/>
                    </a:lnTo>
                    <a:lnTo>
                      <a:pt x="40" y="51"/>
                    </a:lnTo>
                    <a:lnTo>
                      <a:pt x="40" y="49"/>
                    </a:lnTo>
                    <a:lnTo>
                      <a:pt x="47" y="46"/>
                    </a:lnTo>
                    <a:lnTo>
                      <a:pt x="54" y="43"/>
                    </a:lnTo>
                    <a:lnTo>
                      <a:pt x="59" y="39"/>
                    </a:lnTo>
                    <a:lnTo>
                      <a:pt x="67" y="36"/>
                    </a:lnTo>
                    <a:lnTo>
                      <a:pt x="67" y="31"/>
                    </a:lnTo>
                    <a:lnTo>
                      <a:pt x="61" y="31"/>
                    </a:lnTo>
                    <a:lnTo>
                      <a:pt x="50" y="34"/>
                    </a:lnTo>
                    <a:lnTo>
                      <a:pt x="40" y="37"/>
                    </a:lnTo>
                    <a:lnTo>
                      <a:pt x="36" y="41"/>
                    </a:lnTo>
                    <a:lnTo>
                      <a:pt x="36" y="3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48" name="Freeform 199"/>
              <p:cNvSpPr>
                <a:spLocks/>
              </p:cNvSpPr>
              <p:nvPr/>
            </p:nvSpPr>
            <p:spPr bwMode="auto">
              <a:xfrm>
                <a:off x="6728619" y="4149725"/>
                <a:ext cx="233363" cy="68262"/>
              </a:xfrm>
              <a:custGeom>
                <a:avLst/>
                <a:gdLst/>
                <a:ahLst/>
                <a:cxnLst>
                  <a:cxn ang="0">
                    <a:pos x="141" y="41"/>
                  </a:cxn>
                  <a:cxn ang="0">
                    <a:pos x="136" y="39"/>
                  </a:cxn>
                  <a:cxn ang="0">
                    <a:pos x="131" y="38"/>
                  </a:cxn>
                  <a:cxn ang="0">
                    <a:pos x="129" y="39"/>
                  </a:cxn>
                  <a:cxn ang="0">
                    <a:pos x="131" y="43"/>
                  </a:cxn>
                  <a:cxn ang="0">
                    <a:pos x="117" y="38"/>
                  </a:cxn>
                  <a:cxn ang="0">
                    <a:pos x="104" y="36"/>
                  </a:cxn>
                  <a:cxn ang="0">
                    <a:pos x="90" y="36"/>
                  </a:cxn>
                  <a:cxn ang="0">
                    <a:pos x="78" y="36"/>
                  </a:cxn>
                  <a:cxn ang="0">
                    <a:pos x="69" y="33"/>
                  </a:cxn>
                  <a:cxn ang="0">
                    <a:pos x="64" y="29"/>
                  </a:cxn>
                  <a:cxn ang="0">
                    <a:pos x="50" y="27"/>
                  </a:cxn>
                  <a:cxn ang="0">
                    <a:pos x="37" y="26"/>
                  </a:cxn>
                  <a:cxn ang="0">
                    <a:pos x="24" y="24"/>
                  </a:cxn>
                  <a:cxn ang="0">
                    <a:pos x="16" y="24"/>
                  </a:cxn>
                  <a:cxn ang="0">
                    <a:pos x="7" y="15"/>
                  </a:cxn>
                  <a:cxn ang="0">
                    <a:pos x="0" y="12"/>
                  </a:cxn>
                  <a:cxn ang="0">
                    <a:pos x="4" y="5"/>
                  </a:cxn>
                  <a:cxn ang="0">
                    <a:pos x="12" y="2"/>
                  </a:cxn>
                  <a:cxn ang="0">
                    <a:pos x="14" y="2"/>
                  </a:cxn>
                  <a:cxn ang="0">
                    <a:pos x="16" y="3"/>
                  </a:cxn>
                  <a:cxn ang="0">
                    <a:pos x="19" y="2"/>
                  </a:cxn>
                  <a:cxn ang="0">
                    <a:pos x="24" y="0"/>
                  </a:cxn>
                  <a:cxn ang="0">
                    <a:pos x="33" y="2"/>
                  </a:cxn>
                  <a:cxn ang="0">
                    <a:pos x="43" y="8"/>
                  </a:cxn>
                  <a:cxn ang="0">
                    <a:pos x="52" y="14"/>
                  </a:cxn>
                  <a:cxn ang="0">
                    <a:pos x="64" y="17"/>
                  </a:cxn>
                  <a:cxn ang="0">
                    <a:pos x="71" y="12"/>
                  </a:cxn>
                  <a:cxn ang="0">
                    <a:pos x="78" y="8"/>
                  </a:cxn>
                  <a:cxn ang="0">
                    <a:pos x="90" y="14"/>
                  </a:cxn>
                  <a:cxn ang="0">
                    <a:pos x="102" y="19"/>
                  </a:cxn>
                  <a:cxn ang="0">
                    <a:pos x="116" y="15"/>
                  </a:cxn>
                  <a:cxn ang="0">
                    <a:pos x="121" y="15"/>
                  </a:cxn>
                  <a:cxn ang="0">
                    <a:pos x="117" y="17"/>
                  </a:cxn>
                  <a:cxn ang="0">
                    <a:pos x="110" y="19"/>
                  </a:cxn>
                  <a:cxn ang="0">
                    <a:pos x="104" y="19"/>
                  </a:cxn>
                  <a:cxn ang="0">
                    <a:pos x="102" y="19"/>
                  </a:cxn>
                  <a:cxn ang="0">
                    <a:pos x="110" y="24"/>
                  </a:cxn>
                  <a:cxn ang="0">
                    <a:pos x="123" y="26"/>
                  </a:cxn>
                  <a:cxn ang="0">
                    <a:pos x="124" y="27"/>
                  </a:cxn>
                  <a:cxn ang="0">
                    <a:pos x="128" y="31"/>
                  </a:cxn>
                  <a:cxn ang="0">
                    <a:pos x="133" y="31"/>
                  </a:cxn>
                  <a:cxn ang="0">
                    <a:pos x="140" y="33"/>
                  </a:cxn>
                  <a:cxn ang="0">
                    <a:pos x="143" y="33"/>
                  </a:cxn>
                  <a:cxn ang="0">
                    <a:pos x="147" y="36"/>
                  </a:cxn>
                  <a:cxn ang="0">
                    <a:pos x="143" y="38"/>
                  </a:cxn>
                  <a:cxn ang="0">
                    <a:pos x="141" y="41"/>
                  </a:cxn>
                </a:cxnLst>
                <a:rect l="0" t="0" r="r" b="b"/>
                <a:pathLst>
                  <a:path w="147" h="43">
                    <a:moveTo>
                      <a:pt x="141" y="41"/>
                    </a:moveTo>
                    <a:lnTo>
                      <a:pt x="136" y="39"/>
                    </a:lnTo>
                    <a:lnTo>
                      <a:pt x="131" y="38"/>
                    </a:lnTo>
                    <a:lnTo>
                      <a:pt x="129" y="39"/>
                    </a:lnTo>
                    <a:lnTo>
                      <a:pt x="131" y="43"/>
                    </a:lnTo>
                    <a:lnTo>
                      <a:pt x="117" y="38"/>
                    </a:lnTo>
                    <a:lnTo>
                      <a:pt x="104" y="36"/>
                    </a:lnTo>
                    <a:lnTo>
                      <a:pt x="90" y="36"/>
                    </a:lnTo>
                    <a:lnTo>
                      <a:pt x="78" y="36"/>
                    </a:lnTo>
                    <a:lnTo>
                      <a:pt x="69" y="33"/>
                    </a:lnTo>
                    <a:lnTo>
                      <a:pt x="64" y="29"/>
                    </a:lnTo>
                    <a:lnTo>
                      <a:pt x="50" y="27"/>
                    </a:lnTo>
                    <a:lnTo>
                      <a:pt x="37" y="26"/>
                    </a:lnTo>
                    <a:lnTo>
                      <a:pt x="24" y="24"/>
                    </a:lnTo>
                    <a:lnTo>
                      <a:pt x="16" y="24"/>
                    </a:lnTo>
                    <a:lnTo>
                      <a:pt x="7" y="15"/>
                    </a:lnTo>
                    <a:lnTo>
                      <a:pt x="0" y="12"/>
                    </a:lnTo>
                    <a:lnTo>
                      <a:pt x="4" y="5"/>
                    </a:lnTo>
                    <a:lnTo>
                      <a:pt x="12" y="2"/>
                    </a:lnTo>
                    <a:lnTo>
                      <a:pt x="14" y="2"/>
                    </a:lnTo>
                    <a:lnTo>
                      <a:pt x="16" y="3"/>
                    </a:lnTo>
                    <a:lnTo>
                      <a:pt x="19" y="2"/>
                    </a:lnTo>
                    <a:lnTo>
                      <a:pt x="24" y="0"/>
                    </a:lnTo>
                    <a:lnTo>
                      <a:pt x="33" y="2"/>
                    </a:lnTo>
                    <a:lnTo>
                      <a:pt x="43" y="8"/>
                    </a:lnTo>
                    <a:lnTo>
                      <a:pt x="52" y="14"/>
                    </a:lnTo>
                    <a:lnTo>
                      <a:pt x="64" y="17"/>
                    </a:lnTo>
                    <a:lnTo>
                      <a:pt x="71" y="12"/>
                    </a:lnTo>
                    <a:lnTo>
                      <a:pt x="78" y="8"/>
                    </a:lnTo>
                    <a:lnTo>
                      <a:pt x="90" y="14"/>
                    </a:lnTo>
                    <a:lnTo>
                      <a:pt x="102" y="19"/>
                    </a:lnTo>
                    <a:lnTo>
                      <a:pt x="116" y="15"/>
                    </a:lnTo>
                    <a:lnTo>
                      <a:pt x="121" y="15"/>
                    </a:lnTo>
                    <a:lnTo>
                      <a:pt x="117" y="17"/>
                    </a:lnTo>
                    <a:lnTo>
                      <a:pt x="110" y="19"/>
                    </a:lnTo>
                    <a:lnTo>
                      <a:pt x="104" y="19"/>
                    </a:lnTo>
                    <a:lnTo>
                      <a:pt x="102" y="19"/>
                    </a:lnTo>
                    <a:lnTo>
                      <a:pt x="110" y="24"/>
                    </a:lnTo>
                    <a:lnTo>
                      <a:pt x="123" y="26"/>
                    </a:lnTo>
                    <a:lnTo>
                      <a:pt x="124" y="27"/>
                    </a:lnTo>
                    <a:lnTo>
                      <a:pt x="128" y="31"/>
                    </a:lnTo>
                    <a:lnTo>
                      <a:pt x="133" y="31"/>
                    </a:lnTo>
                    <a:lnTo>
                      <a:pt x="140" y="33"/>
                    </a:lnTo>
                    <a:lnTo>
                      <a:pt x="143" y="33"/>
                    </a:lnTo>
                    <a:lnTo>
                      <a:pt x="147" y="36"/>
                    </a:lnTo>
                    <a:lnTo>
                      <a:pt x="143" y="38"/>
                    </a:lnTo>
                    <a:lnTo>
                      <a:pt x="141"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49" name="Freeform 200"/>
              <p:cNvSpPr>
                <a:spLocks/>
              </p:cNvSpPr>
              <p:nvPr/>
            </p:nvSpPr>
            <p:spPr bwMode="auto">
              <a:xfrm>
                <a:off x="7060407" y="4203700"/>
                <a:ext cx="69850" cy="17462"/>
              </a:xfrm>
              <a:custGeom>
                <a:avLst/>
                <a:gdLst/>
                <a:ahLst/>
                <a:cxnLst>
                  <a:cxn ang="0">
                    <a:pos x="29" y="11"/>
                  </a:cxn>
                  <a:cxn ang="0">
                    <a:pos x="18" y="11"/>
                  </a:cxn>
                  <a:cxn ang="0">
                    <a:pos x="10" y="11"/>
                  </a:cxn>
                  <a:cxn ang="0">
                    <a:pos x="3" y="9"/>
                  </a:cxn>
                  <a:cxn ang="0">
                    <a:pos x="0" y="5"/>
                  </a:cxn>
                  <a:cxn ang="0">
                    <a:pos x="1" y="2"/>
                  </a:cxn>
                  <a:cxn ang="0">
                    <a:pos x="8" y="2"/>
                  </a:cxn>
                  <a:cxn ang="0">
                    <a:pos x="18" y="4"/>
                  </a:cxn>
                  <a:cxn ang="0">
                    <a:pos x="29" y="5"/>
                  </a:cxn>
                  <a:cxn ang="0">
                    <a:pos x="36" y="4"/>
                  </a:cxn>
                  <a:cxn ang="0">
                    <a:pos x="44" y="0"/>
                  </a:cxn>
                  <a:cxn ang="0">
                    <a:pos x="37" y="7"/>
                  </a:cxn>
                  <a:cxn ang="0">
                    <a:pos x="29" y="11"/>
                  </a:cxn>
                </a:cxnLst>
                <a:rect l="0" t="0" r="r" b="b"/>
                <a:pathLst>
                  <a:path w="44" h="11">
                    <a:moveTo>
                      <a:pt x="29" y="11"/>
                    </a:moveTo>
                    <a:lnTo>
                      <a:pt x="18" y="11"/>
                    </a:lnTo>
                    <a:lnTo>
                      <a:pt x="10" y="11"/>
                    </a:lnTo>
                    <a:lnTo>
                      <a:pt x="3" y="9"/>
                    </a:lnTo>
                    <a:lnTo>
                      <a:pt x="0" y="5"/>
                    </a:lnTo>
                    <a:lnTo>
                      <a:pt x="1" y="2"/>
                    </a:lnTo>
                    <a:lnTo>
                      <a:pt x="8" y="2"/>
                    </a:lnTo>
                    <a:lnTo>
                      <a:pt x="18" y="4"/>
                    </a:lnTo>
                    <a:lnTo>
                      <a:pt x="29" y="5"/>
                    </a:lnTo>
                    <a:lnTo>
                      <a:pt x="36" y="4"/>
                    </a:lnTo>
                    <a:lnTo>
                      <a:pt x="44" y="0"/>
                    </a:lnTo>
                    <a:lnTo>
                      <a:pt x="37" y="7"/>
                    </a:lnTo>
                    <a:lnTo>
                      <a:pt x="29"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50" name="Freeform 201"/>
              <p:cNvSpPr>
                <a:spLocks/>
              </p:cNvSpPr>
              <p:nvPr/>
            </p:nvSpPr>
            <p:spPr bwMode="auto">
              <a:xfrm>
                <a:off x="6988969" y="4210050"/>
                <a:ext cx="49213" cy="15875"/>
              </a:xfrm>
              <a:custGeom>
                <a:avLst/>
                <a:gdLst/>
                <a:ahLst/>
                <a:cxnLst>
                  <a:cxn ang="0">
                    <a:pos x="31" y="7"/>
                  </a:cxn>
                  <a:cxn ang="0">
                    <a:pos x="27" y="7"/>
                  </a:cxn>
                  <a:cxn ang="0">
                    <a:pos x="22" y="5"/>
                  </a:cxn>
                  <a:cxn ang="0">
                    <a:pos x="15" y="7"/>
                  </a:cxn>
                  <a:cxn ang="0">
                    <a:pos x="10" y="10"/>
                  </a:cxn>
                  <a:cxn ang="0">
                    <a:pos x="3" y="8"/>
                  </a:cxn>
                  <a:cxn ang="0">
                    <a:pos x="0" y="7"/>
                  </a:cxn>
                  <a:cxn ang="0">
                    <a:pos x="2" y="1"/>
                  </a:cxn>
                  <a:cxn ang="0">
                    <a:pos x="8" y="1"/>
                  </a:cxn>
                  <a:cxn ang="0">
                    <a:pos x="14" y="1"/>
                  </a:cxn>
                  <a:cxn ang="0">
                    <a:pos x="19" y="3"/>
                  </a:cxn>
                  <a:cxn ang="0">
                    <a:pos x="19" y="0"/>
                  </a:cxn>
                  <a:cxn ang="0">
                    <a:pos x="31" y="0"/>
                  </a:cxn>
                  <a:cxn ang="0">
                    <a:pos x="31" y="3"/>
                  </a:cxn>
                  <a:cxn ang="0">
                    <a:pos x="31" y="7"/>
                  </a:cxn>
                </a:cxnLst>
                <a:rect l="0" t="0" r="r" b="b"/>
                <a:pathLst>
                  <a:path w="31" h="10">
                    <a:moveTo>
                      <a:pt x="31" y="7"/>
                    </a:moveTo>
                    <a:lnTo>
                      <a:pt x="27" y="7"/>
                    </a:lnTo>
                    <a:lnTo>
                      <a:pt x="22" y="5"/>
                    </a:lnTo>
                    <a:lnTo>
                      <a:pt x="15" y="7"/>
                    </a:lnTo>
                    <a:lnTo>
                      <a:pt x="10" y="10"/>
                    </a:lnTo>
                    <a:lnTo>
                      <a:pt x="3" y="8"/>
                    </a:lnTo>
                    <a:lnTo>
                      <a:pt x="0" y="7"/>
                    </a:lnTo>
                    <a:lnTo>
                      <a:pt x="2" y="1"/>
                    </a:lnTo>
                    <a:lnTo>
                      <a:pt x="8" y="1"/>
                    </a:lnTo>
                    <a:lnTo>
                      <a:pt x="14" y="1"/>
                    </a:lnTo>
                    <a:lnTo>
                      <a:pt x="19" y="3"/>
                    </a:lnTo>
                    <a:lnTo>
                      <a:pt x="19" y="0"/>
                    </a:lnTo>
                    <a:lnTo>
                      <a:pt x="31" y="0"/>
                    </a:lnTo>
                    <a:lnTo>
                      <a:pt x="31" y="3"/>
                    </a:lnTo>
                    <a:lnTo>
                      <a:pt x="31"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51" name="Freeform 202"/>
              <p:cNvSpPr>
                <a:spLocks/>
              </p:cNvSpPr>
              <p:nvPr/>
            </p:nvSpPr>
            <p:spPr bwMode="auto">
              <a:xfrm>
                <a:off x="7039769" y="4229100"/>
                <a:ext cx="36513" cy="26987"/>
              </a:xfrm>
              <a:custGeom>
                <a:avLst/>
                <a:gdLst/>
                <a:ahLst/>
                <a:cxnLst>
                  <a:cxn ang="0">
                    <a:pos x="18" y="17"/>
                  </a:cxn>
                  <a:cxn ang="0">
                    <a:pos x="14" y="14"/>
                  </a:cxn>
                  <a:cxn ang="0">
                    <a:pos x="14" y="10"/>
                  </a:cxn>
                  <a:cxn ang="0">
                    <a:pos x="4" y="8"/>
                  </a:cxn>
                  <a:cxn ang="0">
                    <a:pos x="0" y="5"/>
                  </a:cxn>
                  <a:cxn ang="0">
                    <a:pos x="4" y="0"/>
                  </a:cxn>
                  <a:cxn ang="0">
                    <a:pos x="11" y="1"/>
                  </a:cxn>
                  <a:cxn ang="0">
                    <a:pos x="13" y="1"/>
                  </a:cxn>
                  <a:cxn ang="0">
                    <a:pos x="16" y="1"/>
                  </a:cxn>
                  <a:cxn ang="0">
                    <a:pos x="19" y="7"/>
                  </a:cxn>
                  <a:cxn ang="0">
                    <a:pos x="23" y="14"/>
                  </a:cxn>
                  <a:cxn ang="0">
                    <a:pos x="21" y="15"/>
                  </a:cxn>
                  <a:cxn ang="0">
                    <a:pos x="19" y="17"/>
                  </a:cxn>
                  <a:cxn ang="0">
                    <a:pos x="18" y="17"/>
                  </a:cxn>
                </a:cxnLst>
                <a:rect l="0" t="0" r="r" b="b"/>
                <a:pathLst>
                  <a:path w="23" h="17">
                    <a:moveTo>
                      <a:pt x="18" y="17"/>
                    </a:moveTo>
                    <a:lnTo>
                      <a:pt x="14" y="14"/>
                    </a:lnTo>
                    <a:lnTo>
                      <a:pt x="14" y="10"/>
                    </a:lnTo>
                    <a:lnTo>
                      <a:pt x="4" y="8"/>
                    </a:lnTo>
                    <a:lnTo>
                      <a:pt x="0" y="5"/>
                    </a:lnTo>
                    <a:lnTo>
                      <a:pt x="4" y="0"/>
                    </a:lnTo>
                    <a:lnTo>
                      <a:pt x="11" y="1"/>
                    </a:lnTo>
                    <a:lnTo>
                      <a:pt x="13" y="1"/>
                    </a:lnTo>
                    <a:lnTo>
                      <a:pt x="16" y="1"/>
                    </a:lnTo>
                    <a:lnTo>
                      <a:pt x="19" y="7"/>
                    </a:lnTo>
                    <a:lnTo>
                      <a:pt x="23" y="14"/>
                    </a:lnTo>
                    <a:lnTo>
                      <a:pt x="21" y="15"/>
                    </a:lnTo>
                    <a:lnTo>
                      <a:pt x="19" y="17"/>
                    </a:lnTo>
                    <a:lnTo>
                      <a:pt x="18"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52" name="Freeform 203"/>
              <p:cNvSpPr>
                <a:spLocks/>
              </p:cNvSpPr>
              <p:nvPr/>
            </p:nvSpPr>
            <p:spPr bwMode="auto">
              <a:xfrm>
                <a:off x="6971507" y="4206875"/>
                <a:ext cx="14288" cy="14287"/>
              </a:xfrm>
              <a:custGeom>
                <a:avLst/>
                <a:gdLst/>
                <a:ahLst/>
                <a:cxnLst>
                  <a:cxn ang="0">
                    <a:pos x="0" y="0"/>
                  </a:cxn>
                  <a:cxn ang="0">
                    <a:pos x="4" y="0"/>
                  </a:cxn>
                  <a:cxn ang="0">
                    <a:pos x="6" y="2"/>
                  </a:cxn>
                  <a:cxn ang="0">
                    <a:pos x="9" y="3"/>
                  </a:cxn>
                  <a:cxn ang="0">
                    <a:pos x="6" y="7"/>
                  </a:cxn>
                  <a:cxn ang="0">
                    <a:pos x="4" y="9"/>
                  </a:cxn>
                  <a:cxn ang="0">
                    <a:pos x="0" y="7"/>
                  </a:cxn>
                  <a:cxn ang="0">
                    <a:pos x="0" y="5"/>
                  </a:cxn>
                  <a:cxn ang="0">
                    <a:pos x="0" y="2"/>
                  </a:cxn>
                  <a:cxn ang="0">
                    <a:pos x="0" y="0"/>
                  </a:cxn>
                </a:cxnLst>
                <a:rect l="0" t="0" r="r" b="b"/>
                <a:pathLst>
                  <a:path w="9" h="9">
                    <a:moveTo>
                      <a:pt x="0" y="0"/>
                    </a:moveTo>
                    <a:lnTo>
                      <a:pt x="4" y="0"/>
                    </a:lnTo>
                    <a:lnTo>
                      <a:pt x="6" y="2"/>
                    </a:lnTo>
                    <a:lnTo>
                      <a:pt x="9" y="3"/>
                    </a:lnTo>
                    <a:lnTo>
                      <a:pt x="6" y="7"/>
                    </a:lnTo>
                    <a:lnTo>
                      <a:pt x="4" y="9"/>
                    </a:lnTo>
                    <a:lnTo>
                      <a:pt x="0" y="7"/>
                    </a:lnTo>
                    <a:lnTo>
                      <a:pt x="0" y="5"/>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53" name="Freeform 204"/>
              <p:cNvSpPr>
                <a:spLocks/>
              </p:cNvSpPr>
              <p:nvPr/>
            </p:nvSpPr>
            <p:spPr bwMode="auto">
              <a:xfrm>
                <a:off x="7141369" y="4210050"/>
                <a:ext cx="82550" cy="46037"/>
              </a:xfrm>
              <a:custGeom>
                <a:avLst/>
                <a:gdLst/>
                <a:ahLst/>
                <a:cxnLst>
                  <a:cxn ang="0">
                    <a:pos x="22" y="13"/>
                  </a:cxn>
                  <a:cxn ang="0">
                    <a:pos x="21" y="15"/>
                  </a:cxn>
                  <a:cxn ang="0">
                    <a:pos x="21" y="20"/>
                  </a:cxn>
                  <a:cxn ang="0">
                    <a:pos x="14" y="26"/>
                  </a:cxn>
                  <a:cxn ang="0">
                    <a:pos x="4" y="29"/>
                  </a:cxn>
                  <a:cxn ang="0">
                    <a:pos x="0" y="27"/>
                  </a:cxn>
                  <a:cxn ang="0">
                    <a:pos x="0" y="26"/>
                  </a:cxn>
                  <a:cxn ang="0">
                    <a:pos x="5" y="13"/>
                  </a:cxn>
                  <a:cxn ang="0">
                    <a:pos x="17" y="12"/>
                  </a:cxn>
                  <a:cxn ang="0">
                    <a:pos x="19" y="8"/>
                  </a:cxn>
                  <a:cxn ang="0">
                    <a:pos x="21" y="7"/>
                  </a:cxn>
                  <a:cxn ang="0">
                    <a:pos x="26" y="1"/>
                  </a:cxn>
                  <a:cxn ang="0">
                    <a:pos x="36" y="1"/>
                  </a:cxn>
                  <a:cxn ang="0">
                    <a:pos x="45" y="0"/>
                  </a:cxn>
                  <a:cxn ang="0">
                    <a:pos x="52" y="3"/>
                  </a:cxn>
                  <a:cxn ang="0">
                    <a:pos x="45" y="7"/>
                  </a:cxn>
                  <a:cxn ang="0">
                    <a:pos x="38" y="10"/>
                  </a:cxn>
                  <a:cxn ang="0">
                    <a:pos x="29" y="12"/>
                  </a:cxn>
                  <a:cxn ang="0">
                    <a:pos x="22" y="13"/>
                  </a:cxn>
                </a:cxnLst>
                <a:rect l="0" t="0" r="r" b="b"/>
                <a:pathLst>
                  <a:path w="52" h="29">
                    <a:moveTo>
                      <a:pt x="22" y="13"/>
                    </a:moveTo>
                    <a:lnTo>
                      <a:pt x="21" y="15"/>
                    </a:lnTo>
                    <a:lnTo>
                      <a:pt x="21" y="20"/>
                    </a:lnTo>
                    <a:lnTo>
                      <a:pt x="14" y="26"/>
                    </a:lnTo>
                    <a:lnTo>
                      <a:pt x="4" y="29"/>
                    </a:lnTo>
                    <a:lnTo>
                      <a:pt x="0" y="27"/>
                    </a:lnTo>
                    <a:lnTo>
                      <a:pt x="0" y="26"/>
                    </a:lnTo>
                    <a:lnTo>
                      <a:pt x="5" y="13"/>
                    </a:lnTo>
                    <a:lnTo>
                      <a:pt x="17" y="12"/>
                    </a:lnTo>
                    <a:lnTo>
                      <a:pt x="19" y="8"/>
                    </a:lnTo>
                    <a:lnTo>
                      <a:pt x="21" y="7"/>
                    </a:lnTo>
                    <a:lnTo>
                      <a:pt x="26" y="1"/>
                    </a:lnTo>
                    <a:lnTo>
                      <a:pt x="36" y="1"/>
                    </a:lnTo>
                    <a:lnTo>
                      <a:pt x="45" y="0"/>
                    </a:lnTo>
                    <a:lnTo>
                      <a:pt x="52" y="3"/>
                    </a:lnTo>
                    <a:lnTo>
                      <a:pt x="45" y="7"/>
                    </a:lnTo>
                    <a:lnTo>
                      <a:pt x="38" y="10"/>
                    </a:lnTo>
                    <a:lnTo>
                      <a:pt x="29" y="12"/>
                    </a:lnTo>
                    <a:lnTo>
                      <a:pt x="22"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54" name="Freeform 205"/>
              <p:cNvSpPr>
                <a:spLocks/>
              </p:cNvSpPr>
              <p:nvPr/>
            </p:nvSpPr>
            <p:spPr bwMode="auto">
              <a:xfrm>
                <a:off x="7384257" y="4143375"/>
                <a:ext cx="14288" cy="33337"/>
              </a:xfrm>
              <a:custGeom>
                <a:avLst/>
                <a:gdLst/>
                <a:ahLst/>
                <a:cxnLst>
                  <a:cxn ang="0">
                    <a:pos x="7" y="0"/>
                  </a:cxn>
                  <a:cxn ang="0">
                    <a:pos x="7" y="2"/>
                  </a:cxn>
                  <a:cxn ang="0">
                    <a:pos x="9" y="6"/>
                  </a:cxn>
                  <a:cxn ang="0">
                    <a:pos x="7" y="9"/>
                  </a:cxn>
                  <a:cxn ang="0">
                    <a:pos x="5" y="11"/>
                  </a:cxn>
                  <a:cxn ang="0">
                    <a:pos x="5" y="18"/>
                  </a:cxn>
                  <a:cxn ang="0">
                    <a:pos x="2" y="21"/>
                  </a:cxn>
                  <a:cxn ang="0">
                    <a:pos x="0" y="19"/>
                  </a:cxn>
                  <a:cxn ang="0">
                    <a:pos x="0" y="18"/>
                  </a:cxn>
                  <a:cxn ang="0">
                    <a:pos x="2" y="11"/>
                  </a:cxn>
                  <a:cxn ang="0">
                    <a:pos x="4" y="9"/>
                  </a:cxn>
                  <a:cxn ang="0">
                    <a:pos x="4" y="2"/>
                  </a:cxn>
                  <a:cxn ang="0">
                    <a:pos x="7" y="0"/>
                  </a:cxn>
                </a:cxnLst>
                <a:rect l="0" t="0" r="r" b="b"/>
                <a:pathLst>
                  <a:path w="9" h="21">
                    <a:moveTo>
                      <a:pt x="7" y="0"/>
                    </a:moveTo>
                    <a:lnTo>
                      <a:pt x="7" y="2"/>
                    </a:lnTo>
                    <a:lnTo>
                      <a:pt x="9" y="6"/>
                    </a:lnTo>
                    <a:lnTo>
                      <a:pt x="7" y="9"/>
                    </a:lnTo>
                    <a:lnTo>
                      <a:pt x="5" y="11"/>
                    </a:lnTo>
                    <a:lnTo>
                      <a:pt x="5" y="18"/>
                    </a:lnTo>
                    <a:lnTo>
                      <a:pt x="2" y="21"/>
                    </a:lnTo>
                    <a:lnTo>
                      <a:pt x="0" y="19"/>
                    </a:lnTo>
                    <a:lnTo>
                      <a:pt x="0" y="18"/>
                    </a:lnTo>
                    <a:lnTo>
                      <a:pt x="2" y="11"/>
                    </a:lnTo>
                    <a:lnTo>
                      <a:pt x="4" y="9"/>
                    </a:lnTo>
                    <a:lnTo>
                      <a:pt x="4" y="2"/>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55" name="Freeform 206"/>
              <p:cNvSpPr>
                <a:spLocks/>
              </p:cNvSpPr>
              <p:nvPr/>
            </p:nvSpPr>
            <p:spPr bwMode="auto">
              <a:xfrm>
                <a:off x="7201694" y="4084638"/>
                <a:ext cx="22225" cy="20637"/>
              </a:xfrm>
              <a:custGeom>
                <a:avLst/>
                <a:gdLst/>
                <a:ahLst/>
                <a:cxnLst>
                  <a:cxn ang="0">
                    <a:pos x="14" y="7"/>
                  </a:cxn>
                  <a:cxn ang="0">
                    <a:pos x="10" y="10"/>
                  </a:cxn>
                  <a:cxn ang="0">
                    <a:pos x="9" y="13"/>
                  </a:cxn>
                  <a:cxn ang="0">
                    <a:pos x="2" y="10"/>
                  </a:cxn>
                  <a:cxn ang="0">
                    <a:pos x="0" y="3"/>
                  </a:cxn>
                  <a:cxn ang="0">
                    <a:pos x="2" y="0"/>
                  </a:cxn>
                  <a:cxn ang="0">
                    <a:pos x="7" y="0"/>
                  </a:cxn>
                  <a:cxn ang="0">
                    <a:pos x="10" y="1"/>
                  </a:cxn>
                  <a:cxn ang="0">
                    <a:pos x="14" y="7"/>
                  </a:cxn>
                </a:cxnLst>
                <a:rect l="0" t="0" r="r" b="b"/>
                <a:pathLst>
                  <a:path w="14" h="13">
                    <a:moveTo>
                      <a:pt x="14" y="7"/>
                    </a:moveTo>
                    <a:lnTo>
                      <a:pt x="10" y="10"/>
                    </a:lnTo>
                    <a:lnTo>
                      <a:pt x="9" y="13"/>
                    </a:lnTo>
                    <a:lnTo>
                      <a:pt x="2" y="10"/>
                    </a:lnTo>
                    <a:lnTo>
                      <a:pt x="0" y="3"/>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56" name="Freeform 207"/>
              <p:cNvSpPr>
                <a:spLocks/>
              </p:cNvSpPr>
              <p:nvPr/>
            </p:nvSpPr>
            <p:spPr bwMode="auto">
              <a:xfrm>
                <a:off x="7242969" y="4084638"/>
                <a:ext cx="65088" cy="19050"/>
              </a:xfrm>
              <a:custGeom>
                <a:avLst/>
                <a:gdLst/>
                <a:ahLst/>
                <a:cxnLst>
                  <a:cxn ang="0">
                    <a:pos x="36" y="1"/>
                  </a:cxn>
                  <a:cxn ang="0">
                    <a:pos x="38" y="5"/>
                  </a:cxn>
                  <a:cxn ang="0">
                    <a:pos x="41" y="10"/>
                  </a:cxn>
                  <a:cxn ang="0">
                    <a:pos x="39" y="10"/>
                  </a:cxn>
                  <a:cxn ang="0">
                    <a:pos x="38" y="12"/>
                  </a:cxn>
                  <a:cxn ang="0">
                    <a:pos x="29" y="8"/>
                  </a:cxn>
                  <a:cxn ang="0">
                    <a:pos x="20" y="7"/>
                  </a:cxn>
                  <a:cxn ang="0">
                    <a:pos x="14" y="7"/>
                  </a:cxn>
                  <a:cxn ang="0">
                    <a:pos x="8" y="7"/>
                  </a:cxn>
                  <a:cxn ang="0">
                    <a:pos x="3" y="5"/>
                  </a:cxn>
                  <a:cxn ang="0">
                    <a:pos x="0" y="3"/>
                  </a:cxn>
                  <a:cxn ang="0">
                    <a:pos x="0" y="0"/>
                  </a:cxn>
                  <a:cxn ang="0">
                    <a:pos x="3" y="0"/>
                  </a:cxn>
                  <a:cxn ang="0">
                    <a:pos x="26" y="0"/>
                  </a:cxn>
                  <a:cxn ang="0">
                    <a:pos x="29" y="1"/>
                  </a:cxn>
                  <a:cxn ang="0">
                    <a:pos x="34" y="1"/>
                  </a:cxn>
                  <a:cxn ang="0">
                    <a:pos x="36" y="1"/>
                  </a:cxn>
                </a:cxnLst>
                <a:rect l="0" t="0" r="r" b="b"/>
                <a:pathLst>
                  <a:path w="41" h="12">
                    <a:moveTo>
                      <a:pt x="36" y="1"/>
                    </a:moveTo>
                    <a:lnTo>
                      <a:pt x="38" y="5"/>
                    </a:lnTo>
                    <a:lnTo>
                      <a:pt x="41" y="10"/>
                    </a:lnTo>
                    <a:lnTo>
                      <a:pt x="39" y="10"/>
                    </a:lnTo>
                    <a:lnTo>
                      <a:pt x="38" y="12"/>
                    </a:lnTo>
                    <a:lnTo>
                      <a:pt x="29" y="8"/>
                    </a:lnTo>
                    <a:lnTo>
                      <a:pt x="20" y="7"/>
                    </a:lnTo>
                    <a:lnTo>
                      <a:pt x="14" y="7"/>
                    </a:lnTo>
                    <a:lnTo>
                      <a:pt x="8" y="7"/>
                    </a:lnTo>
                    <a:lnTo>
                      <a:pt x="3" y="5"/>
                    </a:lnTo>
                    <a:lnTo>
                      <a:pt x="0" y="3"/>
                    </a:lnTo>
                    <a:lnTo>
                      <a:pt x="0" y="0"/>
                    </a:lnTo>
                    <a:lnTo>
                      <a:pt x="3" y="0"/>
                    </a:lnTo>
                    <a:lnTo>
                      <a:pt x="26" y="0"/>
                    </a:lnTo>
                    <a:lnTo>
                      <a:pt x="29" y="1"/>
                    </a:lnTo>
                    <a:lnTo>
                      <a:pt x="34" y="1"/>
                    </a:lnTo>
                    <a:lnTo>
                      <a:pt x="36"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57" name="Freeform 208"/>
              <p:cNvSpPr>
                <a:spLocks/>
              </p:cNvSpPr>
              <p:nvPr/>
            </p:nvSpPr>
            <p:spPr bwMode="auto">
              <a:xfrm>
                <a:off x="7231857" y="3963988"/>
                <a:ext cx="26988" cy="63500"/>
              </a:xfrm>
              <a:custGeom>
                <a:avLst/>
                <a:gdLst/>
                <a:ahLst/>
                <a:cxnLst>
                  <a:cxn ang="0">
                    <a:pos x="5" y="31"/>
                  </a:cxn>
                  <a:cxn ang="0">
                    <a:pos x="5" y="27"/>
                  </a:cxn>
                  <a:cxn ang="0">
                    <a:pos x="10" y="27"/>
                  </a:cxn>
                  <a:cxn ang="0">
                    <a:pos x="17" y="27"/>
                  </a:cxn>
                  <a:cxn ang="0">
                    <a:pos x="14" y="22"/>
                  </a:cxn>
                  <a:cxn ang="0">
                    <a:pos x="12" y="19"/>
                  </a:cxn>
                  <a:cxn ang="0">
                    <a:pos x="14" y="15"/>
                  </a:cxn>
                  <a:cxn ang="0">
                    <a:pos x="17" y="12"/>
                  </a:cxn>
                  <a:cxn ang="0">
                    <a:pos x="7" y="7"/>
                  </a:cxn>
                  <a:cxn ang="0">
                    <a:pos x="5" y="0"/>
                  </a:cxn>
                  <a:cxn ang="0">
                    <a:pos x="0" y="3"/>
                  </a:cxn>
                  <a:cxn ang="0">
                    <a:pos x="0" y="10"/>
                  </a:cxn>
                  <a:cxn ang="0">
                    <a:pos x="2" y="15"/>
                  </a:cxn>
                  <a:cxn ang="0">
                    <a:pos x="3" y="24"/>
                  </a:cxn>
                  <a:cxn ang="0">
                    <a:pos x="3" y="27"/>
                  </a:cxn>
                  <a:cxn ang="0">
                    <a:pos x="3" y="31"/>
                  </a:cxn>
                  <a:cxn ang="0">
                    <a:pos x="3" y="34"/>
                  </a:cxn>
                  <a:cxn ang="0">
                    <a:pos x="10" y="40"/>
                  </a:cxn>
                  <a:cxn ang="0">
                    <a:pos x="7" y="34"/>
                  </a:cxn>
                  <a:cxn ang="0">
                    <a:pos x="5" y="31"/>
                  </a:cxn>
                </a:cxnLst>
                <a:rect l="0" t="0" r="r" b="b"/>
                <a:pathLst>
                  <a:path w="17" h="40">
                    <a:moveTo>
                      <a:pt x="5" y="31"/>
                    </a:moveTo>
                    <a:lnTo>
                      <a:pt x="5" y="27"/>
                    </a:lnTo>
                    <a:lnTo>
                      <a:pt x="10" y="27"/>
                    </a:lnTo>
                    <a:lnTo>
                      <a:pt x="17" y="27"/>
                    </a:lnTo>
                    <a:lnTo>
                      <a:pt x="14" y="22"/>
                    </a:lnTo>
                    <a:lnTo>
                      <a:pt x="12" y="19"/>
                    </a:lnTo>
                    <a:lnTo>
                      <a:pt x="14" y="15"/>
                    </a:lnTo>
                    <a:lnTo>
                      <a:pt x="17" y="12"/>
                    </a:lnTo>
                    <a:lnTo>
                      <a:pt x="7" y="7"/>
                    </a:lnTo>
                    <a:lnTo>
                      <a:pt x="5" y="0"/>
                    </a:lnTo>
                    <a:lnTo>
                      <a:pt x="0" y="3"/>
                    </a:lnTo>
                    <a:lnTo>
                      <a:pt x="0" y="10"/>
                    </a:lnTo>
                    <a:lnTo>
                      <a:pt x="2" y="15"/>
                    </a:lnTo>
                    <a:lnTo>
                      <a:pt x="3" y="24"/>
                    </a:lnTo>
                    <a:lnTo>
                      <a:pt x="3" y="27"/>
                    </a:lnTo>
                    <a:lnTo>
                      <a:pt x="3" y="31"/>
                    </a:lnTo>
                    <a:lnTo>
                      <a:pt x="3" y="34"/>
                    </a:lnTo>
                    <a:lnTo>
                      <a:pt x="10" y="40"/>
                    </a:lnTo>
                    <a:lnTo>
                      <a:pt x="7" y="34"/>
                    </a:lnTo>
                    <a:lnTo>
                      <a:pt x="5"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58" name="Freeform 209"/>
              <p:cNvSpPr>
                <a:spLocks/>
              </p:cNvSpPr>
              <p:nvPr/>
            </p:nvSpPr>
            <p:spPr bwMode="auto">
              <a:xfrm>
                <a:off x="7717632" y="4111625"/>
                <a:ext cx="90488" cy="50800"/>
              </a:xfrm>
              <a:custGeom>
                <a:avLst/>
                <a:gdLst/>
                <a:ahLst/>
                <a:cxnLst>
                  <a:cxn ang="0">
                    <a:pos x="16" y="31"/>
                  </a:cxn>
                  <a:cxn ang="0">
                    <a:pos x="5" y="26"/>
                  </a:cxn>
                  <a:cxn ang="0">
                    <a:pos x="0" y="20"/>
                  </a:cxn>
                  <a:cxn ang="0">
                    <a:pos x="16" y="20"/>
                  </a:cxn>
                  <a:cxn ang="0">
                    <a:pos x="17" y="19"/>
                  </a:cxn>
                  <a:cxn ang="0">
                    <a:pos x="21" y="19"/>
                  </a:cxn>
                  <a:cxn ang="0">
                    <a:pos x="31" y="15"/>
                  </a:cxn>
                  <a:cxn ang="0">
                    <a:pos x="41" y="14"/>
                  </a:cxn>
                  <a:cxn ang="0">
                    <a:pos x="46" y="5"/>
                  </a:cxn>
                  <a:cxn ang="0">
                    <a:pos x="52" y="0"/>
                  </a:cxn>
                  <a:cxn ang="0">
                    <a:pos x="55" y="2"/>
                  </a:cxn>
                  <a:cxn ang="0">
                    <a:pos x="57" y="7"/>
                  </a:cxn>
                  <a:cxn ang="0">
                    <a:pos x="52" y="15"/>
                  </a:cxn>
                  <a:cxn ang="0">
                    <a:pos x="46" y="26"/>
                  </a:cxn>
                  <a:cxn ang="0">
                    <a:pos x="34" y="29"/>
                  </a:cxn>
                  <a:cxn ang="0">
                    <a:pos x="22" y="32"/>
                  </a:cxn>
                  <a:cxn ang="0">
                    <a:pos x="16" y="29"/>
                  </a:cxn>
                  <a:cxn ang="0">
                    <a:pos x="12" y="27"/>
                  </a:cxn>
                  <a:cxn ang="0">
                    <a:pos x="16" y="31"/>
                  </a:cxn>
                </a:cxnLst>
                <a:rect l="0" t="0" r="r" b="b"/>
                <a:pathLst>
                  <a:path w="57" h="32">
                    <a:moveTo>
                      <a:pt x="16" y="31"/>
                    </a:moveTo>
                    <a:lnTo>
                      <a:pt x="5" y="26"/>
                    </a:lnTo>
                    <a:lnTo>
                      <a:pt x="0" y="20"/>
                    </a:lnTo>
                    <a:lnTo>
                      <a:pt x="16" y="20"/>
                    </a:lnTo>
                    <a:lnTo>
                      <a:pt x="17" y="19"/>
                    </a:lnTo>
                    <a:lnTo>
                      <a:pt x="21" y="19"/>
                    </a:lnTo>
                    <a:lnTo>
                      <a:pt x="31" y="15"/>
                    </a:lnTo>
                    <a:lnTo>
                      <a:pt x="41" y="14"/>
                    </a:lnTo>
                    <a:lnTo>
                      <a:pt x="46" y="5"/>
                    </a:lnTo>
                    <a:lnTo>
                      <a:pt x="52" y="0"/>
                    </a:lnTo>
                    <a:lnTo>
                      <a:pt x="55" y="2"/>
                    </a:lnTo>
                    <a:lnTo>
                      <a:pt x="57" y="7"/>
                    </a:lnTo>
                    <a:lnTo>
                      <a:pt x="52" y="15"/>
                    </a:lnTo>
                    <a:lnTo>
                      <a:pt x="46" y="26"/>
                    </a:lnTo>
                    <a:lnTo>
                      <a:pt x="34" y="29"/>
                    </a:lnTo>
                    <a:lnTo>
                      <a:pt x="22" y="32"/>
                    </a:lnTo>
                    <a:lnTo>
                      <a:pt x="16" y="29"/>
                    </a:lnTo>
                    <a:lnTo>
                      <a:pt x="12" y="27"/>
                    </a:lnTo>
                    <a:lnTo>
                      <a:pt x="1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59" name="Freeform 210"/>
              <p:cNvSpPr>
                <a:spLocks/>
              </p:cNvSpPr>
              <p:nvPr/>
            </p:nvSpPr>
            <p:spPr bwMode="auto">
              <a:xfrm>
                <a:off x="7308057" y="4021138"/>
                <a:ext cx="466725" cy="242887"/>
              </a:xfrm>
              <a:custGeom>
                <a:avLst/>
                <a:gdLst/>
                <a:ahLst/>
                <a:cxnLst>
                  <a:cxn ang="0">
                    <a:pos x="162" y="40"/>
                  </a:cxn>
                  <a:cxn ang="0">
                    <a:pos x="191" y="48"/>
                  </a:cxn>
                  <a:cxn ang="0">
                    <a:pos x="205" y="57"/>
                  </a:cxn>
                  <a:cxn ang="0">
                    <a:pos x="225" y="74"/>
                  </a:cxn>
                  <a:cxn ang="0">
                    <a:pos x="249" y="89"/>
                  </a:cxn>
                  <a:cxn ang="0">
                    <a:pos x="243" y="103"/>
                  </a:cxn>
                  <a:cxn ang="0">
                    <a:pos x="256" y="124"/>
                  </a:cxn>
                  <a:cxn ang="0">
                    <a:pos x="270" y="131"/>
                  </a:cxn>
                  <a:cxn ang="0">
                    <a:pos x="279" y="136"/>
                  </a:cxn>
                  <a:cxn ang="0">
                    <a:pos x="287" y="143"/>
                  </a:cxn>
                  <a:cxn ang="0">
                    <a:pos x="287" y="153"/>
                  </a:cxn>
                  <a:cxn ang="0">
                    <a:pos x="279" y="150"/>
                  </a:cxn>
                  <a:cxn ang="0">
                    <a:pos x="248" y="141"/>
                  </a:cxn>
                  <a:cxn ang="0">
                    <a:pos x="237" y="129"/>
                  </a:cxn>
                  <a:cxn ang="0">
                    <a:pos x="210" y="107"/>
                  </a:cxn>
                  <a:cxn ang="0">
                    <a:pos x="189" y="108"/>
                  </a:cxn>
                  <a:cxn ang="0">
                    <a:pos x="181" y="124"/>
                  </a:cxn>
                  <a:cxn ang="0">
                    <a:pos x="160" y="131"/>
                  </a:cxn>
                  <a:cxn ang="0">
                    <a:pos x="138" y="115"/>
                  </a:cxn>
                  <a:cxn ang="0">
                    <a:pos x="122" y="117"/>
                  </a:cxn>
                  <a:cxn ang="0">
                    <a:pos x="103" y="114"/>
                  </a:cxn>
                  <a:cxn ang="0">
                    <a:pos x="110" y="91"/>
                  </a:cxn>
                  <a:cxn ang="0">
                    <a:pos x="100" y="72"/>
                  </a:cxn>
                  <a:cxn ang="0">
                    <a:pos x="81" y="64"/>
                  </a:cxn>
                  <a:cxn ang="0">
                    <a:pos x="62" y="62"/>
                  </a:cxn>
                  <a:cxn ang="0">
                    <a:pos x="46" y="50"/>
                  </a:cxn>
                  <a:cxn ang="0">
                    <a:pos x="38" y="53"/>
                  </a:cxn>
                  <a:cxn ang="0">
                    <a:pos x="29" y="55"/>
                  </a:cxn>
                  <a:cxn ang="0">
                    <a:pos x="21" y="40"/>
                  </a:cxn>
                  <a:cxn ang="0">
                    <a:pos x="31" y="33"/>
                  </a:cxn>
                  <a:cxn ang="0">
                    <a:pos x="40" y="29"/>
                  </a:cxn>
                  <a:cxn ang="0">
                    <a:pos x="21" y="29"/>
                  </a:cxn>
                  <a:cxn ang="0">
                    <a:pos x="16" y="24"/>
                  </a:cxn>
                  <a:cxn ang="0">
                    <a:pos x="2" y="9"/>
                  </a:cxn>
                  <a:cxn ang="0">
                    <a:pos x="26" y="0"/>
                  </a:cxn>
                  <a:cxn ang="0">
                    <a:pos x="50" y="19"/>
                  </a:cxn>
                  <a:cxn ang="0">
                    <a:pos x="57" y="33"/>
                  </a:cxn>
                  <a:cxn ang="0">
                    <a:pos x="72" y="38"/>
                  </a:cxn>
                  <a:cxn ang="0">
                    <a:pos x="89" y="28"/>
                  </a:cxn>
                  <a:cxn ang="0">
                    <a:pos x="108" y="17"/>
                  </a:cxn>
                  <a:cxn ang="0">
                    <a:pos x="126" y="29"/>
                  </a:cxn>
                  <a:cxn ang="0">
                    <a:pos x="148" y="33"/>
                  </a:cxn>
                </a:cxnLst>
                <a:rect l="0" t="0" r="r" b="b"/>
                <a:pathLst>
                  <a:path w="294" h="153">
                    <a:moveTo>
                      <a:pt x="146" y="31"/>
                    </a:moveTo>
                    <a:lnTo>
                      <a:pt x="151" y="34"/>
                    </a:lnTo>
                    <a:lnTo>
                      <a:pt x="162" y="40"/>
                    </a:lnTo>
                    <a:lnTo>
                      <a:pt x="172" y="43"/>
                    </a:lnTo>
                    <a:lnTo>
                      <a:pt x="184" y="45"/>
                    </a:lnTo>
                    <a:lnTo>
                      <a:pt x="191" y="48"/>
                    </a:lnTo>
                    <a:lnTo>
                      <a:pt x="198" y="52"/>
                    </a:lnTo>
                    <a:lnTo>
                      <a:pt x="200" y="55"/>
                    </a:lnTo>
                    <a:lnTo>
                      <a:pt x="205" y="57"/>
                    </a:lnTo>
                    <a:lnTo>
                      <a:pt x="213" y="60"/>
                    </a:lnTo>
                    <a:lnTo>
                      <a:pt x="220" y="69"/>
                    </a:lnTo>
                    <a:lnTo>
                      <a:pt x="225" y="74"/>
                    </a:lnTo>
                    <a:lnTo>
                      <a:pt x="234" y="81"/>
                    </a:lnTo>
                    <a:lnTo>
                      <a:pt x="243" y="81"/>
                    </a:lnTo>
                    <a:lnTo>
                      <a:pt x="249" y="89"/>
                    </a:lnTo>
                    <a:lnTo>
                      <a:pt x="244" y="93"/>
                    </a:lnTo>
                    <a:lnTo>
                      <a:pt x="239" y="98"/>
                    </a:lnTo>
                    <a:lnTo>
                      <a:pt x="243" y="103"/>
                    </a:lnTo>
                    <a:lnTo>
                      <a:pt x="249" y="110"/>
                    </a:lnTo>
                    <a:lnTo>
                      <a:pt x="253" y="117"/>
                    </a:lnTo>
                    <a:lnTo>
                      <a:pt x="256" y="124"/>
                    </a:lnTo>
                    <a:lnTo>
                      <a:pt x="261" y="127"/>
                    </a:lnTo>
                    <a:lnTo>
                      <a:pt x="268" y="129"/>
                    </a:lnTo>
                    <a:lnTo>
                      <a:pt x="270" y="131"/>
                    </a:lnTo>
                    <a:lnTo>
                      <a:pt x="272" y="136"/>
                    </a:lnTo>
                    <a:lnTo>
                      <a:pt x="275" y="136"/>
                    </a:lnTo>
                    <a:lnTo>
                      <a:pt x="279" y="136"/>
                    </a:lnTo>
                    <a:lnTo>
                      <a:pt x="280" y="138"/>
                    </a:lnTo>
                    <a:lnTo>
                      <a:pt x="284" y="143"/>
                    </a:lnTo>
                    <a:lnTo>
                      <a:pt x="287" y="143"/>
                    </a:lnTo>
                    <a:lnTo>
                      <a:pt x="294" y="145"/>
                    </a:lnTo>
                    <a:lnTo>
                      <a:pt x="289" y="146"/>
                    </a:lnTo>
                    <a:lnTo>
                      <a:pt x="287" y="153"/>
                    </a:lnTo>
                    <a:lnTo>
                      <a:pt x="286" y="153"/>
                    </a:lnTo>
                    <a:lnTo>
                      <a:pt x="284" y="153"/>
                    </a:lnTo>
                    <a:lnTo>
                      <a:pt x="279" y="150"/>
                    </a:lnTo>
                    <a:lnTo>
                      <a:pt x="274" y="146"/>
                    </a:lnTo>
                    <a:lnTo>
                      <a:pt x="261" y="146"/>
                    </a:lnTo>
                    <a:lnTo>
                      <a:pt x="248" y="141"/>
                    </a:lnTo>
                    <a:lnTo>
                      <a:pt x="241" y="134"/>
                    </a:lnTo>
                    <a:lnTo>
                      <a:pt x="239" y="131"/>
                    </a:lnTo>
                    <a:lnTo>
                      <a:pt x="237" y="129"/>
                    </a:lnTo>
                    <a:lnTo>
                      <a:pt x="229" y="120"/>
                    </a:lnTo>
                    <a:lnTo>
                      <a:pt x="220" y="112"/>
                    </a:lnTo>
                    <a:lnTo>
                      <a:pt x="210" y="107"/>
                    </a:lnTo>
                    <a:lnTo>
                      <a:pt x="201" y="105"/>
                    </a:lnTo>
                    <a:lnTo>
                      <a:pt x="193" y="105"/>
                    </a:lnTo>
                    <a:lnTo>
                      <a:pt x="189" y="108"/>
                    </a:lnTo>
                    <a:lnTo>
                      <a:pt x="186" y="114"/>
                    </a:lnTo>
                    <a:lnTo>
                      <a:pt x="182" y="119"/>
                    </a:lnTo>
                    <a:lnTo>
                      <a:pt x="181" y="124"/>
                    </a:lnTo>
                    <a:lnTo>
                      <a:pt x="179" y="131"/>
                    </a:lnTo>
                    <a:lnTo>
                      <a:pt x="167" y="131"/>
                    </a:lnTo>
                    <a:lnTo>
                      <a:pt x="160" y="131"/>
                    </a:lnTo>
                    <a:lnTo>
                      <a:pt x="150" y="127"/>
                    </a:lnTo>
                    <a:lnTo>
                      <a:pt x="145" y="122"/>
                    </a:lnTo>
                    <a:lnTo>
                      <a:pt x="138" y="115"/>
                    </a:lnTo>
                    <a:lnTo>
                      <a:pt x="131" y="114"/>
                    </a:lnTo>
                    <a:lnTo>
                      <a:pt x="124" y="114"/>
                    </a:lnTo>
                    <a:lnTo>
                      <a:pt x="122" y="117"/>
                    </a:lnTo>
                    <a:lnTo>
                      <a:pt x="112" y="117"/>
                    </a:lnTo>
                    <a:lnTo>
                      <a:pt x="105" y="115"/>
                    </a:lnTo>
                    <a:lnTo>
                      <a:pt x="103" y="114"/>
                    </a:lnTo>
                    <a:lnTo>
                      <a:pt x="108" y="105"/>
                    </a:lnTo>
                    <a:lnTo>
                      <a:pt x="117" y="103"/>
                    </a:lnTo>
                    <a:lnTo>
                      <a:pt x="110" y="91"/>
                    </a:lnTo>
                    <a:lnTo>
                      <a:pt x="110" y="81"/>
                    </a:lnTo>
                    <a:lnTo>
                      <a:pt x="105" y="76"/>
                    </a:lnTo>
                    <a:lnTo>
                      <a:pt x="100" y="72"/>
                    </a:lnTo>
                    <a:lnTo>
                      <a:pt x="91" y="69"/>
                    </a:lnTo>
                    <a:lnTo>
                      <a:pt x="88" y="67"/>
                    </a:lnTo>
                    <a:lnTo>
                      <a:pt x="81" y="64"/>
                    </a:lnTo>
                    <a:lnTo>
                      <a:pt x="74" y="64"/>
                    </a:lnTo>
                    <a:lnTo>
                      <a:pt x="67" y="62"/>
                    </a:lnTo>
                    <a:lnTo>
                      <a:pt x="62" y="62"/>
                    </a:lnTo>
                    <a:lnTo>
                      <a:pt x="55" y="59"/>
                    </a:lnTo>
                    <a:lnTo>
                      <a:pt x="52" y="55"/>
                    </a:lnTo>
                    <a:lnTo>
                      <a:pt x="46" y="50"/>
                    </a:lnTo>
                    <a:lnTo>
                      <a:pt x="43" y="52"/>
                    </a:lnTo>
                    <a:lnTo>
                      <a:pt x="43" y="47"/>
                    </a:lnTo>
                    <a:lnTo>
                      <a:pt x="38" y="53"/>
                    </a:lnTo>
                    <a:lnTo>
                      <a:pt x="34" y="57"/>
                    </a:lnTo>
                    <a:lnTo>
                      <a:pt x="31" y="55"/>
                    </a:lnTo>
                    <a:lnTo>
                      <a:pt x="29" y="55"/>
                    </a:lnTo>
                    <a:lnTo>
                      <a:pt x="28" y="48"/>
                    </a:lnTo>
                    <a:lnTo>
                      <a:pt x="28" y="43"/>
                    </a:lnTo>
                    <a:lnTo>
                      <a:pt x="21" y="40"/>
                    </a:lnTo>
                    <a:lnTo>
                      <a:pt x="17" y="38"/>
                    </a:lnTo>
                    <a:lnTo>
                      <a:pt x="22" y="34"/>
                    </a:lnTo>
                    <a:lnTo>
                      <a:pt x="31" y="33"/>
                    </a:lnTo>
                    <a:lnTo>
                      <a:pt x="38" y="31"/>
                    </a:lnTo>
                    <a:lnTo>
                      <a:pt x="43" y="29"/>
                    </a:lnTo>
                    <a:lnTo>
                      <a:pt x="40" y="29"/>
                    </a:lnTo>
                    <a:lnTo>
                      <a:pt x="33" y="29"/>
                    </a:lnTo>
                    <a:lnTo>
                      <a:pt x="26" y="31"/>
                    </a:lnTo>
                    <a:lnTo>
                      <a:pt x="21" y="29"/>
                    </a:lnTo>
                    <a:lnTo>
                      <a:pt x="19" y="29"/>
                    </a:lnTo>
                    <a:lnTo>
                      <a:pt x="16" y="26"/>
                    </a:lnTo>
                    <a:lnTo>
                      <a:pt x="16" y="24"/>
                    </a:lnTo>
                    <a:lnTo>
                      <a:pt x="5" y="19"/>
                    </a:lnTo>
                    <a:lnTo>
                      <a:pt x="0" y="14"/>
                    </a:lnTo>
                    <a:lnTo>
                      <a:pt x="2" y="9"/>
                    </a:lnTo>
                    <a:lnTo>
                      <a:pt x="7" y="9"/>
                    </a:lnTo>
                    <a:lnTo>
                      <a:pt x="14" y="4"/>
                    </a:lnTo>
                    <a:lnTo>
                      <a:pt x="26" y="0"/>
                    </a:lnTo>
                    <a:lnTo>
                      <a:pt x="38" y="4"/>
                    </a:lnTo>
                    <a:lnTo>
                      <a:pt x="50" y="10"/>
                    </a:lnTo>
                    <a:lnTo>
                      <a:pt x="50" y="19"/>
                    </a:lnTo>
                    <a:lnTo>
                      <a:pt x="50" y="29"/>
                    </a:lnTo>
                    <a:lnTo>
                      <a:pt x="52" y="31"/>
                    </a:lnTo>
                    <a:lnTo>
                      <a:pt x="57" y="33"/>
                    </a:lnTo>
                    <a:lnTo>
                      <a:pt x="60" y="38"/>
                    </a:lnTo>
                    <a:lnTo>
                      <a:pt x="67" y="43"/>
                    </a:lnTo>
                    <a:lnTo>
                      <a:pt x="72" y="38"/>
                    </a:lnTo>
                    <a:lnTo>
                      <a:pt x="77" y="34"/>
                    </a:lnTo>
                    <a:lnTo>
                      <a:pt x="81" y="29"/>
                    </a:lnTo>
                    <a:lnTo>
                      <a:pt x="89" y="28"/>
                    </a:lnTo>
                    <a:lnTo>
                      <a:pt x="96" y="21"/>
                    </a:lnTo>
                    <a:lnTo>
                      <a:pt x="105" y="16"/>
                    </a:lnTo>
                    <a:lnTo>
                      <a:pt x="108" y="17"/>
                    </a:lnTo>
                    <a:lnTo>
                      <a:pt x="112" y="19"/>
                    </a:lnTo>
                    <a:lnTo>
                      <a:pt x="119" y="24"/>
                    </a:lnTo>
                    <a:lnTo>
                      <a:pt x="126" y="29"/>
                    </a:lnTo>
                    <a:lnTo>
                      <a:pt x="139" y="29"/>
                    </a:lnTo>
                    <a:lnTo>
                      <a:pt x="143" y="31"/>
                    </a:lnTo>
                    <a:lnTo>
                      <a:pt x="148" y="33"/>
                    </a:lnTo>
                    <a:lnTo>
                      <a:pt x="148" y="34"/>
                    </a:lnTo>
                    <a:lnTo>
                      <a:pt x="14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60" name="Freeform 211"/>
              <p:cNvSpPr>
                <a:spLocks/>
              </p:cNvSpPr>
              <p:nvPr/>
            </p:nvSpPr>
            <p:spPr bwMode="auto">
              <a:xfrm>
                <a:off x="7781132" y="4075113"/>
                <a:ext cx="46038" cy="44450"/>
              </a:xfrm>
              <a:custGeom>
                <a:avLst/>
                <a:gdLst/>
                <a:ahLst/>
                <a:cxnLst>
                  <a:cxn ang="0">
                    <a:pos x="27" y="28"/>
                  </a:cxn>
                  <a:cxn ang="0">
                    <a:pos x="20" y="23"/>
                  </a:cxn>
                  <a:cxn ang="0">
                    <a:pos x="22" y="18"/>
                  </a:cxn>
                  <a:cxn ang="0">
                    <a:pos x="15" y="11"/>
                  </a:cxn>
                  <a:cxn ang="0">
                    <a:pos x="10" y="6"/>
                  </a:cxn>
                  <a:cxn ang="0">
                    <a:pos x="3" y="2"/>
                  </a:cxn>
                  <a:cxn ang="0">
                    <a:pos x="0" y="0"/>
                  </a:cxn>
                  <a:cxn ang="0">
                    <a:pos x="12" y="6"/>
                  </a:cxn>
                  <a:cxn ang="0">
                    <a:pos x="20" y="14"/>
                  </a:cxn>
                  <a:cxn ang="0">
                    <a:pos x="25" y="18"/>
                  </a:cxn>
                  <a:cxn ang="0">
                    <a:pos x="29" y="25"/>
                  </a:cxn>
                  <a:cxn ang="0">
                    <a:pos x="29" y="26"/>
                  </a:cxn>
                  <a:cxn ang="0">
                    <a:pos x="29" y="28"/>
                  </a:cxn>
                  <a:cxn ang="0">
                    <a:pos x="27" y="28"/>
                  </a:cxn>
                </a:cxnLst>
                <a:rect l="0" t="0" r="r" b="b"/>
                <a:pathLst>
                  <a:path w="29" h="28">
                    <a:moveTo>
                      <a:pt x="27" y="28"/>
                    </a:moveTo>
                    <a:lnTo>
                      <a:pt x="20" y="23"/>
                    </a:lnTo>
                    <a:lnTo>
                      <a:pt x="22" y="18"/>
                    </a:lnTo>
                    <a:lnTo>
                      <a:pt x="15" y="11"/>
                    </a:lnTo>
                    <a:lnTo>
                      <a:pt x="10" y="6"/>
                    </a:lnTo>
                    <a:lnTo>
                      <a:pt x="3" y="2"/>
                    </a:lnTo>
                    <a:lnTo>
                      <a:pt x="0" y="0"/>
                    </a:lnTo>
                    <a:lnTo>
                      <a:pt x="12" y="6"/>
                    </a:lnTo>
                    <a:lnTo>
                      <a:pt x="20" y="14"/>
                    </a:lnTo>
                    <a:lnTo>
                      <a:pt x="25" y="18"/>
                    </a:lnTo>
                    <a:lnTo>
                      <a:pt x="29" y="25"/>
                    </a:lnTo>
                    <a:lnTo>
                      <a:pt x="29" y="26"/>
                    </a:lnTo>
                    <a:lnTo>
                      <a:pt x="29" y="28"/>
                    </a:lnTo>
                    <a:lnTo>
                      <a:pt x="27"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61" name="Freeform 212"/>
              <p:cNvSpPr>
                <a:spLocks/>
              </p:cNvSpPr>
              <p:nvPr/>
            </p:nvSpPr>
            <p:spPr bwMode="auto">
              <a:xfrm>
                <a:off x="7865269" y="4141788"/>
                <a:ext cx="22225" cy="30162"/>
              </a:xfrm>
              <a:custGeom>
                <a:avLst/>
                <a:gdLst/>
                <a:ahLst/>
                <a:cxnLst>
                  <a:cxn ang="0">
                    <a:pos x="7" y="10"/>
                  </a:cxn>
                  <a:cxn ang="0">
                    <a:pos x="0" y="7"/>
                  </a:cxn>
                  <a:cxn ang="0">
                    <a:pos x="0" y="0"/>
                  </a:cxn>
                  <a:cxn ang="0">
                    <a:pos x="7" y="7"/>
                  </a:cxn>
                  <a:cxn ang="0">
                    <a:pos x="14" y="13"/>
                  </a:cxn>
                  <a:cxn ang="0">
                    <a:pos x="12" y="15"/>
                  </a:cxn>
                  <a:cxn ang="0">
                    <a:pos x="10" y="19"/>
                  </a:cxn>
                  <a:cxn ang="0">
                    <a:pos x="7" y="17"/>
                  </a:cxn>
                  <a:cxn ang="0">
                    <a:pos x="7" y="15"/>
                  </a:cxn>
                  <a:cxn ang="0">
                    <a:pos x="7" y="12"/>
                  </a:cxn>
                  <a:cxn ang="0">
                    <a:pos x="7" y="10"/>
                  </a:cxn>
                </a:cxnLst>
                <a:rect l="0" t="0" r="r" b="b"/>
                <a:pathLst>
                  <a:path w="14" h="19">
                    <a:moveTo>
                      <a:pt x="7" y="10"/>
                    </a:moveTo>
                    <a:lnTo>
                      <a:pt x="0" y="7"/>
                    </a:lnTo>
                    <a:lnTo>
                      <a:pt x="0" y="0"/>
                    </a:lnTo>
                    <a:lnTo>
                      <a:pt x="7" y="7"/>
                    </a:lnTo>
                    <a:lnTo>
                      <a:pt x="14" y="13"/>
                    </a:lnTo>
                    <a:lnTo>
                      <a:pt x="12" y="15"/>
                    </a:lnTo>
                    <a:lnTo>
                      <a:pt x="10" y="19"/>
                    </a:lnTo>
                    <a:lnTo>
                      <a:pt x="7" y="17"/>
                    </a:lnTo>
                    <a:lnTo>
                      <a:pt x="7" y="15"/>
                    </a:lnTo>
                    <a:lnTo>
                      <a:pt x="7" y="12"/>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62" name="Freeform 213"/>
              <p:cNvSpPr>
                <a:spLocks/>
              </p:cNvSpPr>
              <p:nvPr/>
            </p:nvSpPr>
            <p:spPr bwMode="auto">
              <a:xfrm>
                <a:off x="8020844" y="4248150"/>
                <a:ext cx="14288" cy="15875"/>
              </a:xfrm>
              <a:custGeom>
                <a:avLst/>
                <a:gdLst/>
                <a:ahLst/>
                <a:cxnLst>
                  <a:cxn ang="0">
                    <a:pos x="9" y="8"/>
                  </a:cxn>
                  <a:cxn ang="0">
                    <a:pos x="7" y="8"/>
                  </a:cxn>
                  <a:cxn ang="0">
                    <a:pos x="9" y="10"/>
                  </a:cxn>
                  <a:cxn ang="0">
                    <a:pos x="2" y="5"/>
                  </a:cxn>
                  <a:cxn ang="0">
                    <a:pos x="0" y="0"/>
                  </a:cxn>
                  <a:cxn ang="0">
                    <a:pos x="5" y="3"/>
                  </a:cxn>
                  <a:cxn ang="0">
                    <a:pos x="9" y="8"/>
                  </a:cxn>
                </a:cxnLst>
                <a:rect l="0" t="0" r="r" b="b"/>
                <a:pathLst>
                  <a:path w="9" h="10">
                    <a:moveTo>
                      <a:pt x="9" y="8"/>
                    </a:moveTo>
                    <a:lnTo>
                      <a:pt x="7" y="8"/>
                    </a:lnTo>
                    <a:lnTo>
                      <a:pt x="9" y="10"/>
                    </a:lnTo>
                    <a:lnTo>
                      <a:pt x="2" y="5"/>
                    </a:lnTo>
                    <a:lnTo>
                      <a:pt x="0" y="0"/>
                    </a:lnTo>
                    <a:lnTo>
                      <a:pt x="5" y="3"/>
                    </a:lnTo>
                    <a:lnTo>
                      <a:pt x="9" y="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63" name="Freeform 214"/>
              <p:cNvSpPr>
                <a:spLocks/>
              </p:cNvSpPr>
              <p:nvPr/>
            </p:nvSpPr>
            <p:spPr bwMode="auto">
              <a:xfrm>
                <a:off x="7985919" y="4237038"/>
                <a:ext cx="26988" cy="11112"/>
              </a:xfrm>
              <a:custGeom>
                <a:avLst/>
                <a:gdLst/>
                <a:ahLst/>
                <a:cxnLst>
                  <a:cxn ang="0">
                    <a:pos x="17" y="7"/>
                  </a:cxn>
                  <a:cxn ang="0">
                    <a:pos x="13" y="7"/>
                  </a:cxn>
                  <a:cxn ang="0">
                    <a:pos x="3" y="5"/>
                  </a:cxn>
                  <a:cxn ang="0">
                    <a:pos x="0" y="0"/>
                  </a:cxn>
                  <a:cxn ang="0">
                    <a:pos x="10" y="0"/>
                  </a:cxn>
                  <a:cxn ang="0">
                    <a:pos x="17" y="7"/>
                  </a:cxn>
                </a:cxnLst>
                <a:rect l="0" t="0" r="r" b="b"/>
                <a:pathLst>
                  <a:path w="17" h="7">
                    <a:moveTo>
                      <a:pt x="17" y="7"/>
                    </a:moveTo>
                    <a:lnTo>
                      <a:pt x="13" y="7"/>
                    </a:lnTo>
                    <a:lnTo>
                      <a:pt x="3" y="5"/>
                    </a:lnTo>
                    <a:lnTo>
                      <a:pt x="0" y="0"/>
                    </a:lnTo>
                    <a:lnTo>
                      <a:pt x="10" y="0"/>
                    </a:lnTo>
                    <a:lnTo>
                      <a:pt x="1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64" name="Freeform 215"/>
              <p:cNvSpPr>
                <a:spLocks/>
              </p:cNvSpPr>
              <p:nvPr/>
            </p:nvSpPr>
            <p:spPr bwMode="auto">
              <a:xfrm>
                <a:off x="7987507" y="4203700"/>
                <a:ext cx="25400" cy="25400"/>
              </a:xfrm>
              <a:custGeom>
                <a:avLst/>
                <a:gdLst/>
                <a:ahLst/>
                <a:cxnLst>
                  <a:cxn ang="0">
                    <a:pos x="16" y="16"/>
                  </a:cxn>
                  <a:cxn ang="0">
                    <a:pos x="5" y="9"/>
                  </a:cxn>
                  <a:cxn ang="0">
                    <a:pos x="0" y="0"/>
                  </a:cxn>
                  <a:cxn ang="0">
                    <a:pos x="9" y="5"/>
                  </a:cxn>
                  <a:cxn ang="0">
                    <a:pos x="16" y="16"/>
                  </a:cxn>
                </a:cxnLst>
                <a:rect l="0" t="0" r="r" b="b"/>
                <a:pathLst>
                  <a:path w="16" h="16">
                    <a:moveTo>
                      <a:pt x="16" y="16"/>
                    </a:moveTo>
                    <a:lnTo>
                      <a:pt x="5" y="9"/>
                    </a:lnTo>
                    <a:lnTo>
                      <a:pt x="0" y="0"/>
                    </a:lnTo>
                    <a:lnTo>
                      <a:pt x="9" y="5"/>
                    </a:lnTo>
                    <a:lnTo>
                      <a:pt x="16"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65" name="Freeform 216"/>
              <p:cNvSpPr>
                <a:spLocks/>
              </p:cNvSpPr>
              <p:nvPr/>
            </p:nvSpPr>
            <p:spPr bwMode="auto">
              <a:xfrm>
                <a:off x="7938294" y="4184650"/>
                <a:ext cx="33338" cy="17462"/>
              </a:xfrm>
              <a:custGeom>
                <a:avLst/>
                <a:gdLst/>
                <a:ahLst/>
                <a:cxnLst>
                  <a:cxn ang="0">
                    <a:pos x="4" y="0"/>
                  </a:cxn>
                  <a:cxn ang="0">
                    <a:pos x="12" y="4"/>
                  </a:cxn>
                  <a:cxn ang="0">
                    <a:pos x="21" y="11"/>
                  </a:cxn>
                  <a:cxn ang="0">
                    <a:pos x="18" y="11"/>
                  </a:cxn>
                  <a:cxn ang="0">
                    <a:pos x="5" y="7"/>
                  </a:cxn>
                  <a:cxn ang="0">
                    <a:pos x="0" y="2"/>
                  </a:cxn>
                  <a:cxn ang="0">
                    <a:pos x="2" y="2"/>
                  </a:cxn>
                  <a:cxn ang="0">
                    <a:pos x="4" y="0"/>
                  </a:cxn>
                </a:cxnLst>
                <a:rect l="0" t="0" r="r" b="b"/>
                <a:pathLst>
                  <a:path w="21" h="11">
                    <a:moveTo>
                      <a:pt x="4" y="0"/>
                    </a:moveTo>
                    <a:lnTo>
                      <a:pt x="12" y="4"/>
                    </a:lnTo>
                    <a:lnTo>
                      <a:pt x="21" y="11"/>
                    </a:lnTo>
                    <a:lnTo>
                      <a:pt x="18" y="11"/>
                    </a:lnTo>
                    <a:lnTo>
                      <a:pt x="5" y="7"/>
                    </a:lnTo>
                    <a:lnTo>
                      <a:pt x="0" y="2"/>
                    </a:lnTo>
                    <a:lnTo>
                      <a:pt x="2"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66" name="Freeform 217"/>
              <p:cNvSpPr>
                <a:spLocks/>
              </p:cNvSpPr>
              <p:nvPr/>
            </p:nvSpPr>
            <p:spPr bwMode="auto">
              <a:xfrm>
                <a:off x="7903369" y="4165600"/>
                <a:ext cx="19050" cy="11112"/>
              </a:xfrm>
              <a:custGeom>
                <a:avLst/>
                <a:gdLst/>
                <a:ahLst/>
                <a:cxnLst>
                  <a:cxn ang="0">
                    <a:pos x="0" y="0"/>
                  </a:cxn>
                  <a:cxn ang="0">
                    <a:pos x="5" y="2"/>
                  </a:cxn>
                  <a:cxn ang="0">
                    <a:pos x="12" y="7"/>
                  </a:cxn>
                  <a:cxn ang="0">
                    <a:pos x="9" y="7"/>
                  </a:cxn>
                  <a:cxn ang="0">
                    <a:pos x="0" y="2"/>
                  </a:cxn>
                  <a:cxn ang="0">
                    <a:pos x="2" y="0"/>
                  </a:cxn>
                  <a:cxn ang="0">
                    <a:pos x="3" y="0"/>
                  </a:cxn>
                  <a:cxn ang="0">
                    <a:pos x="0" y="0"/>
                  </a:cxn>
                </a:cxnLst>
                <a:rect l="0" t="0" r="r" b="b"/>
                <a:pathLst>
                  <a:path w="12" h="7">
                    <a:moveTo>
                      <a:pt x="0" y="0"/>
                    </a:moveTo>
                    <a:lnTo>
                      <a:pt x="5" y="2"/>
                    </a:lnTo>
                    <a:lnTo>
                      <a:pt x="12" y="7"/>
                    </a:lnTo>
                    <a:lnTo>
                      <a:pt x="9" y="7"/>
                    </a:lnTo>
                    <a:lnTo>
                      <a:pt x="0" y="2"/>
                    </a:lnTo>
                    <a:lnTo>
                      <a:pt x="2" y="0"/>
                    </a:lnTo>
                    <a:lnTo>
                      <a:pt x="3"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67" name="Freeform 218"/>
              <p:cNvSpPr>
                <a:spLocks/>
              </p:cNvSpPr>
              <p:nvPr/>
            </p:nvSpPr>
            <p:spPr bwMode="auto">
              <a:xfrm>
                <a:off x="7627144" y="5006975"/>
                <a:ext cx="87313" cy="84137"/>
              </a:xfrm>
              <a:custGeom>
                <a:avLst/>
                <a:gdLst/>
                <a:ahLst/>
                <a:cxnLst>
                  <a:cxn ang="0">
                    <a:pos x="28" y="5"/>
                  </a:cxn>
                  <a:cxn ang="0">
                    <a:pos x="38" y="2"/>
                  </a:cxn>
                  <a:cxn ang="0">
                    <a:pos x="50" y="0"/>
                  </a:cxn>
                  <a:cxn ang="0">
                    <a:pos x="52" y="7"/>
                  </a:cxn>
                  <a:cxn ang="0">
                    <a:pos x="55" y="15"/>
                  </a:cxn>
                  <a:cxn ang="0">
                    <a:pos x="52" y="24"/>
                  </a:cxn>
                  <a:cxn ang="0">
                    <a:pos x="47" y="38"/>
                  </a:cxn>
                  <a:cxn ang="0">
                    <a:pos x="38" y="48"/>
                  </a:cxn>
                  <a:cxn ang="0">
                    <a:pos x="31" y="53"/>
                  </a:cxn>
                  <a:cxn ang="0">
                    <a:pos x="19" y="46"/>
                  </a:cxn>
                  <a:cxn ang="0">
                    <a:pos x="9" y="32"/>
                  </a:cxn>
                  <a:cxn ang="0">
                    <a:pos x="2" y="15"/>
                  </a:cxn>
                  <a:cxn ang="0">
                    <a:pos x="0" y="5"/>
                  </a:cxn>
                  <a:cxn ang="0">
                    <a:pos x="4" y="0"/>
                  </a:cxn>
                  <a:cxn ang="0">
                    <a:pos x="12" y="2"/>
                  </a:cxn>
                  <a:cxn ang="0">
                    <a:pos x="21" y="3"/>
                  </a:cxn>
                  <a:cxn ang="0">
                    <a:pos x="28" y="5"/>
                  </a:cxn>
                </a:cxnLst>
                <a:rect l="0" t="0" r="r" b="b"/>
                <a:pathLst>
                  <a:path w="55" h="53">
                    <a:moveTo>
                      <a:pt x="28" y="5"/>
                    </a:moveTo>
                    <a:lnTo>
                      <a:pt x="38" y="2"/>
                    </a:lnTo>
                    <a:lnTo>
                      <a:pt x="50" y="0"/>
                    </a:lnTo>
                    <a:lnTo>
                      <a:pt x="52" y="7"/>
                    </a:lnTo>
                    <a:lnTo>
                      <a:pt x="55" y="15"/>
                    </a:lnTo>
                    <a:lnTo>
                      <a:pt x="52" y="24"/>
                    </a:lnTo>
                    <a:lnTo>
                      <a:pt x="47" y="38"/>
                    </a:lnTo>
                    <a:lnTo>
                      <a:pt x="38" y="48"/>
                    </a:lnTo>
                    <a:lnTo>
                      <a:pt x="31" y="53"/>
                    </a:lnTo>
                    <a:lnTo>
                      <a:pt x="19" y="46"/>
                    </a:lnTo>
                    <a:lnTo>
                      <a:pt x="9" y="32"/>
                    </a:lnTo>
                    <a:lnTo>
                      <a:pt x="2" y="15"/>
                    </a:lnTo>
                    <a:lnTo>
                      <a:pt x="0" y="5"/>
                    </a:lnTo>
                    <a:lnTo>
                      <a:pt x="4" y="0"/>
                    </a:lnTo>
                    <a:lnTo>
                      <a:pt x="12" y="2"/>
                    </a:lnTo>
                    <a:lnTo>
                      <a:pt x="21" y="3"/>
                    </a:lnTo>
                    <a:lnTo>
                      <a:pt x="2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68" name="Freeform 219"/>
              <p:cNvSpPr>
                <a:spLocks/>
              </p:cNvSpPr>
              <p:nvPr/>
            </p:nvSpPr>
            <p:spPr bwMode="auto">
              <a:xfrm>
                <a:off x="7703344" y="4984750"/>
                <a:ext cx="9525" cy="14287"/>
              </a:xfrm>
              <a:custGeom>
                <a:avLst/>
                <a:gdLst/>
                <a:ahLst/>
                <a:cxnLst>
                  <a:cxn ang="0">
                    <a:pos x="6" y="0"/>
                  </a:cxn>
                  <a:cxn ang="0">
                    <a:pos x="6" y="4"/>
                  </a:cxn>
                  <a:cxn ang="0">
                    <a:pos x="6" y="9"/>
                  </a:cxn>
                  <a:cxn ang="0">
                    <a:pos x="0" y="4"/>
                  </a:cxn>
                  <a:cxn ang="0">
                    <a:pos x="0" y="0"/>
                  </a:cxn>
                  <a:cxn ang="0">
                    <a:pos x="2" y="0"/>
                  </a:cxn>
                  <a:cxn ang="0">
                    <a:pos x="6" y="0"/>
                  </a:cxn>
                </a:cxnLst>
                <a:rect l="0" t="0" r="r" b="b"/>
                <a:pathLst>
                  <a:path w="6" h="9">
                    <a:moveTo>
                      <a:pt x="6" y="0"/>
                    </a:moveTo>
                    <a:lnTo>
                      <a:pt x="6" y="4"/>
                    </a:lnTo>
                    <a:lnTo>
                      <a:pt x="6" y="9"/>
                    </a:lnTo>
                    <a:lnTo>
                      <a:pt x="0" y="4"/>
                    </a:lnTo>
                    <a:lnTo>
                      <a:pt x="0" y="0"/>
                    </a:lnTo>
                    <a:lnTo>
                      <a:pt x="2" y="0"/>
                    </a:lnTo>
                    <a:lnTo>
                      <a:pt x="6"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69" name="Freeform 220"/>
              <p:cNvSpPr>
                <a:spLocks/>
              </p:cNvSpPr>
              <p:nvPr/>
            </p:nvSpPr>
            <p:spPr bwMode="auto">
              <a:xfrm>
                <a:off x="7441407" y="4873625"/>
                <a:ext cx="28575" cy="7937"/>
              </a:xfrm>
              <a:custGeom>
                <a:avLst/>
                <a:gdLst/>
                <a:ahLst/>
                <a:cxnLst>
                  <a:cxn ang="0">
                    <a:pos x="18" y="3"/>
                  </a:cxn>
                  <a:cxn ang="0">
                    <a:pos x="7" y="5"/>
                  </a:cxn>
                  <a:cxn ang="0">
                    <a:pos x="0" y="3"/>
                  </a:cxn>
                  <a:cxn ang="0">
                    <a:pos x="9" y="0"/>
                  </a:cxn>
                  <a:cxn ang="0">
                    <a:pos x="18" y="3"/>
                  </a:cxn>
                </a:cxnLst>
                <a:rect l="0" t="0" r="r" b="b"/>
                <a:pathLst>
                  <a:path w="18" h="5">
                    <a:moveTo>
                      <a:pt x="18" y="3"/>
                    </a:moveTo>
                    <a:lnTo>
                      <a:pt x="7" y="5"/>
                    </a:lnTo>
                    <a:lnTo>
                      <a:pt x="0" y="3"/>
                    </a:lnTo>
                    <a:lnTo>
                      <a:pt x="9" y="0"/>
                    </a:lnTo>
                    <a:lnTo>
                      <a:pt x="18"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70" name="Freeform 221"/>
              <p:cNvSpPr>
                <a:spLocks/>
              </p:cNvSpPr>
              <p:nvPr/>
            </p:nvSpPr>
            <p:spPr bwMode="auto">
              <a:xfrm>
                <a:off x="7292182" y="4278313"/>
                <a:ext cx="30163" cy="11112"/>
              </a:xfrm>
              <a:custGeom>
                <a:avLst/>
                <a:gdLst/>
                <a:ahLst/>
                <a:cxnLst>
                  <a:cxn ang="0">
                    <a:pos x="19" y="0"/>
                  </a:cxn>
                  <a:cxn ang="0">
                    <a:pos x="19" y="7"/>
                  </a:cxn>
                  <a:cxn ang="0">
                    <a:pos x="15" y="7"/>
                  </a:cxn>
                  <a:cxn ang="0">
                    <a:pos x="13" y="7"/>
                  </a:cxn>
                  <a:cxn ang="0">
                    <a:pos x="5" y="5"/>
                  </a:cxn>
                  <a:cxn ang="0">
                    <a:pos x="0" y="1"/>
                  </a:cxn>
                  <a:cxn ang="0">
                    <a:pos x="8" y="0"/>
                  </a:cxn>
                  <a:cxn ang="0">
                    <a:pos x="19" y="0"/>
                  </a:cxn>
                </a:cxnLst>
                <a:rect l="0" t="0" r="r" b="b"/>
                <a:pathLst>
                  <a:path w="19" h="7">
                    <a:moveTo>
                      <a:pt x="19" y="0"/>
                    </a:moveTo>
                    <a:lnTo>
                      <a:pt x="19" y="7"/>
                    </a:lnTo>
                    <a:lnTo>
                      <a:pt x="15" y="7"/>
                    </a:lnTo>
                    <a:lnTo>
                      <a:pt x="13" y="7"/>
                    </a:lnTo>
                    <a:lnTo>
                      <a:pt x="5" y="5"/>
                    </a:lnTo>
                    <a:lnTo>
                      <a:pt x="0" y="1"/>
                    </a:lnTo>
                    <a:lnTo>
                      <a:pt x="8"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71" name="Freeform 222"/>
              <p:cNvSpPr>
                <a:spLocks/>
              </p:cNvSpPr>
              <p:nvPr/>
            </p:nvSpPr>
            <p:spPr bwMode="auto">
              <a:xfrm>
                <a:off x="6909594" y="4264025"/>
                <a:ext cx="922338" cy="698500"/>
              </a:xfrm>
              <a:custGeom>
                <a:avLst/>
                <a:gdLst/>
                <a:ahLst/>
                <a:cxnLst>
                  <a:cxn ang="0">
                    <a:pos x="580" y="253"/>
                  </a:cxn>
                  <a:cxn ang="0">
                    <a:pos x="576" y="292"/>
                  </a:cxn>
                  <a:cxn ang="0">
                    <a:pos x="571" y="323"/>
                  </a:cxn>
                  <a:cxn ang="0">
                    <a:pos x="547" y="359"/>
                  </a:cxn>
                  <a:cxn ang="0">
                    <a:pos x="533" y="404"/>
                  </a:cxn>
                  <a:cxn ang="0">
                    <a:pos x="488" y="427"/>
                  </a:cxn>
                  <a:cxn ang="0">
                    <a:pos x="457" y="428"/>
                  </a:cxn>
                  <a:cxn ang="0">
                    <a:pos x="418" y="433"/>
                  </a:cxn>
                  <a:cxn ang="0">
                    <a:pos x="380" y="392"/>
                  </a:cxn>
                  <a:cxn ang="0">
                    <a:pos x="365" y="384"/>
                  </a:cxn>
                  <a:cxn ang="0">
                    <a:pos x="359" y="365"/>
                  </a:cxn>
                  <a:cxn ang="0">
                    <a:pos x="351" y="373"/>
                  </a:cxn>
                  <a:cxn ang="0">
                    <a:pos x="344" y="366"/>
                  </a:cxn>
                  <a:cxn ang="0">
                    <a:pos x="346" y="344"/>
                  </a:cxn>
                  <a:cxn ang="0">
                    <a:pos x="316" y="368"/>
                  </a:cxn>
                  <a:cxn ang="0">
                    <a:pos x="303" y="339"/>
                  </a:cxn>
                  <a:cxn ang="0">
                    <a:pos x="256" y="318"/>
                  </a:cxn>
                  <a:cxn ang="0">
                    <a:pos x="217" y="325"/>
                  </a:cxn>
                  <a:cxn ang="0">
                    <a:pos x="179" y="334"/>
                  </a:cxn>
                  <a:cxn ang="0">
                    <a:pos x="151" y="344"/>
                  </a:cxn>
                  <a:cxn ang="0">
                    <a:pos x="110" y="356"/>
                  </a:cxn>
                  <a:cxn ang="0">
                    <a:pos x="69" y="372"/>
                  </a:cxn>
                  <a:cxn ang="0">
                    <a:pos x="26" y="363"/>
                  </a:cxn>
                  <a:cxn ang="0">
                    <a:pos x="33" y="323"/>
                  </a:cxn>
                  <a:cxn ang="0">
                    <a:pos x="19" y="287"/>
                  </a:cxn>
                  <a:cxn ang="0">
                    <a:pos x="3" y="244"/>
                  </a:cxn>
                  <a:cxn ang="0">
                    <a:pos x="5" y="232"/>
                  </a:cxn>
                  <a:cxn ang="0">
                    <a:pos x="5" y="217"/>
                  </a:cxn>
                  <a:cxn ang="0">
                    <a:pos x="2" y="179"/>
                  </a:cxn>
                  <a:cxn ang="0">
                    <a:pos x="7" y="169"/>
                  </a:cxn>
                  <a:cxn ang="0">
                    <a:pos x="39" y="148"/>
                  </a:cxn>
                  <a:cxn ang="0">
                    <a:pos x="76" y="141"/>
                  </a:cxn>
                  <a:cxn ang="0">
                    <a:pos x="113" y="126"/>
                  </a:cxn>
                  <a:cxn ang="0">
                    <a:pos x="129" y="105"/>
                  </a:cxn>
                  <a:cxn ang="0">
                    <a:pos x="139" y="93"/>
                  </a:cxn>
                  <a:cxn ang="0">
                    <a:pos x="153" y="84"/>
                  </a:cxn>
                  <a:cxn ang="0">
                    <a:pos x="167" y="64"/>
                  </a:cxn>
                  <a:cxn ang="0">
                    <a:pos x="189" y="48"/>
                  </a:cxn>
                  <a:cxn ang="0">
                    <a:pos x="217" y="62"/>
                  </a:cxn>
                  <a:cxn ang="0">
                    <a:pos x="232" y="59"/>
                  </a:cxn>
                  <a:cxn ang="0">
                    <a:pos x="242" y="29"/>
                  </a:cxn>
                  <a:cxn ang="0">
                    <a:pos x="273" y="22"/>
                  </a:cxn>
                  <a:cxn ang="0">
                    <a:pos x="279" y="12"/>
                  </a:cxn>
                  <a:cxn ang="0">
                    <a:pos x="322" y="21"/>
                  </a:cxn>
                  <a:cxn ang="0">
                    <a:pos x="334" y="33"/>
                  </a:cxn>
                  <a:cxn ang="0">
                    <a:pos x="332" y="69"/>
                  </a:cxn>
                  <a:cxn ang="0">
                    <a:pos x="353" y="84"/>
                  </a:cxn>
                  <a:cxn ang="0">
                    <a:pos x="390" y="105"/>
                  </a:cxn>
                  <a:cxn ang="0">
                    <a:pos x="411" y="64"/>
                  </a:cxn>
                  <a:cxn ang="0">
                    <a:pos x="425" y="9"/>
                  </a:cxn>
                  <a:cxn ang="0">
                    <a:pos x="437" y="43"/>
                  </a:cxn>
                  <a:cxn ang="0">
                    <a:pos x="461" y="62"/>
                  </a:cxn>
                  <a:cxn ang="0">
                    <a:pos x="468" y="95"/>
                  </a:cxn>
                  <a:cxn ang="0">
                    <a:pos x="483" y="126"/>
                  </a:cxn>
                  <a:cxn ang="0">
                    <a:pos x="519" y="157"/>
                  </a:cxn>
                  <a:cxn ang="0">
                    <a:pos x="542" y="186"/>
                  </a:cxn>
                  <a:cxn ang="0">
                    <a:pos x="568" y="215"/>
                  </a:cxn>
                </a:cxnLst>
                <a:rect l="0" t="0" r="r" b="b"/>
                <a:pathLst>
                  <a:path w="581" h="440">
                    <a:moveTo>
                      <a:pt x="568" y="215"/>
                    </a:moveTo>
                    <a:lnTo>
                      <a:pt x="571" y="224"/>
                    </a:lnTo>
                    <a:lnTo>
                      <a:pt x="576" y="239"/>
                    </a:lnTo>
                    <a:lnTo>
                      <a:pt x="580" y="253"/>
                    </a:lnTo>
                    <a:lnTo>
                      <a:pt x="581" y="268"/>
                    </a:lnTo>
                    <a:lnTo>
                      <a:pt x="580" y="275"/>
                    </a:lnTo>
                    <a:lnTo>
                      <a:pt x="578" y="286"/>
                    </a:lnTo>
                    <a:lnTo>
                      <a:pt x="576" y="292"/>
                    </a:lnTo>
                    <a:lnTo>
                      <a:pt x="574" y="299"/>
                    </a:lnTo>
                    <a:lnTo>
                      <a:pt x="574" y="313"/>
                    </a:lnTo>
                    <a:lnTo>
                      <a:pt x="571" y="318"/>
                    </a:lnTo>
                    <a:lnTo>
                      <a:pt x="571" y="323"/>
                    </a:lnTo>
                    <a:lnTo>
                      <a:pt x="562" y="332"/>
                    </a:lnTo>
                    <a:lnTo>
                      <a:pt x="555" y="341"/>
                    </a:lnTo>
                    <a:lnTo>
                      <a:pt x="550" y="347"/>
                    </a:lnTo>
                    <a:lnTo>
                      <a:pt x="547" y="359"/>
                    </a:lnTo>
                    <a:lnTo>
                      <a:pt x="542" y="368"/>
                    </a:lnTo>
                    <a:lnTo>
                      <a:pt x="538" y="378"/>
                    </a:lnTo>
                    <a:lnTo>
                      <a:pt x="533" y="390"/>
                    </a:lnTo>
                    <a:lnTo>
                      <a:pt x="533" y="404"/>
                    </a:lnTo>
                    <a:lnTo>
                      <a:pt x="533" y="404"/>
                    </a:lnTo>
                    <a:lnTo>
                      <a:pt x="521" y="415"/>
                    </a:lnTo>
                    <a:lnTo>
                      <a:pt x="506" y="421"/>
                    </a:lnTo>
                    <a:lnTo>
                      <a:pt x="488" y="427"/>
                    </a:lnTo>
                    <a:lnTo>
                      <a:pt x="482" y="440"/>
                    </a:lnTo>
                    <a:lnTo>
                      <a:pt x="473" y="437"/>
                    </a:lnTo>
                    <a:lnTo>
                      <a:pt x="466" y="433"/>
                    </a:lnTo>
                    <a:lnTo>
                      <a:pt x="457" y="428"/>
                    </a:lnTo>
                    <a:lnTo>
                      <a:pt x="456" y="425"/>
                    </a:lnTo>
                    <a:lnTo>
                      <a:pt x="445" y="430"/>
                    </a:lnTo>
                    <a:lnTo>
                      <a:pt x="435" y="437"/>
                    </a:lnTo>
                    <a:lnTo>
                      <a:pt x="418" y="433"/>
                    </a:lnTo>
                    <a:lnTo>
                      <a:pt x="401" y="427"/>
                    </a:lnTo>
                    <a:lnTo>
                      <a:pt x="387" y="416"/>
                    </a:lnTo>
                    <a:lnTo>
                      <a:pt x="383" y="402"/>
                    </a:lnTo>
                    <a:lnTo>
                      <a:pt x="380" y="392"/>
                    </a:lnTo>
                    <a:lnTo>
                      <a:pt x="377" y="382"/>
                    </a:lnTo>
                    <a:lnTo>
                      <a:pt x="375" y="380"/>
                    </a:lnTo>
                    <a:lnTo>
                      <a:pt x="370" y="382"/>
                    </a:lnTo>
                    <a:lnTo>
                      <a:pt x="365" y="384"/>
                    </a:lnTo>
                    <a:lnTo>
                      <a:pt x="359" y="384"/>
                    </a:lnTo>
                    <a:lnTo>
                      <a:pt x="361" y="378"/>
                    </a:lnTo>
                    <a:lnTo>
                      <a:pt x="363" y="373"/>
                    </a:lnTo>
                    <a:lnTo>
                      <a:pt x="359" y="365"/>
                    </a:lnTo>
                    <a:lnTo>
                      <a:pt x="358" y="363"/>
                    </a:lnTo>
                    <a:lnTo>
                      <a:pt x="356" y="365"/>
                    </a:lnTo>
                    <a:lnTo>
                      <a:pt x="356" y="368"/>
                    </a:lnTo>
                    <a:lnTo>
                      <a:pt x="351" y="373"/>
                    </a:lnTo>
                    <a:lnTo>
                      <a:pt x="344" y="378"/>
                    </a:lnTo>
                    <a:lnTo>
                      <a:pt x="340" y="377"/>
                    </a:lnTo>
                    <a:lnTo>
                      <a:pt x="339" y="373"/>
                    </a:lnTo>
                    <a:lnTo>
                      <a:pt x="344" y="366"/>
                    </a:lnTo>
                    <a:lnTo>
                      <a:pt x="351" y="356"/>
                    </a:lnTo>
                    <a:lnTo>
                      <a:pt x="353" y="344"/>
                    </a:lnTo>
                    <a:lnTo>
                      <a:pt x="354" y="337"/>
                    </a:lnTo>
                    <a:lnTo>
                      <a:pt x="346" y="344"/>
                    </a:lnTo>
                    <a:lnTo>
                      <a:pt x="337" y="358"/>
                    </a:lnTo>
                    <a:lnTo>
                      <a:pt x="328" y="368"/>
                    </a:lnTo>
                    <a:lnTo>
                      <a:pt x="322" y="373"/>
                    </a:lnTo>
                    <a:lnTo>
                      <a:pt x="316" y="368"/>
                    </a:lnTo>
                    <a:lnTo>
                      <a:pt x="316" y="363"/>
                    </a:lnTo>
                    <a:lnTo>
                      <a:pt x="311" y="358"/>
                    </a:lnTo>
                    <a:lnTo>
                      <a:pt x="308" y="349"/>
                    </a:lnTo>
                    <a:lnTo>
                      <a:pt x="303" y="339"/>
                    </a:lnTo>
                    <a:lnTo>
                      <a:pt x="299" y="334"/>
                    </a:lnTo>
                    <a:lnTo>
                      <a:pt x="287" y="325"/>
                    </a:lnTo>
                    <a:lnTo>
                      <a:pt x="273" y="322"/>
                    </a:lnTo>
                    <a:lnTo>
                      <a:pt x="256" y="318"/>
                    </a:lnTo>
                    <a:lnTo>
                      <a:pt x="244" y="318"/>
                    </a:lnTo>
                    <a:lnTo>
                      <a:pt x="230" y="318"/>
                    </a:lnTo>
                    <a:lnTo>
                      <a:pt x="224" y="322"/>
                    </a:lnTo>
                    <a:lnTo>
                      <a:pt x="217" y="325"/>
                    </a:lnTo>
                    <a:lnTo>
                      <a:pt x="210" y="329"/>
                    </a:lnTo>
                    <a:lnTo>
                      <a:pt x="199" y="330"/>
                    </a:lnTo>
                    <a:lnTo>
                      <a:pt x="189" y="332"/>
                    </a:lnTo>
                    <a:lnTo>
                      <a:pt x="179" y="334"/>
                    </a:lnTo>
                    <a:lnTo>
                      <a:pt x="170" y="335"/>
                    </a:lnTo>
                    <a:lnTo>
                      <a:pt x="162" y="335"/>
                    </a:lnTo>
                    <a:lnTo>
                      <a:pt x="156" y="339"/>
                    </a:lnTo>
                    <a:lnTo>
                      <a:pt x="151" y="344"/>
                    </a:lnTo>
                    <a:lnTo>
                      <a:pt x="150" y="354"/>
                    </a:lnTo>
                    <a:lnTo>
                      <a:pt x="132" y="356"/>
                    </a:lnTo>
                    <a:lnTo>
                      <a:pt x="119" y="358"/>
                    </a:lnTo>
                    <a:lnTo>
                      <a:pt x="110" y="356"/>
                    </a:lnTo>
                    <a:lnTo>
                      <a:pt x="105" y="358"/>
                    </a:lnTo>
                    <a:lnTo>
                      <a:pt x="91" y="359"/>
                    </a:lnTo>
                    <a:lnTo>
                      <a:pt x="81" y="366"/>
                    </a:lnTo>
                    <a:lnTo>
                      <a:pt x="69" y="372"/>
                    </a:lnTo>
                    <a:lnTo>
                      <a:pt x="57" y="375"/>
                    </a:lnTo>
                    <a:lnTo>
                      <a:pt x="46" y="372"/>
                    </a:lnTo>
                    <a:lnTo>
                      <a:pt x="34" y="368"/>
                    </a:lnTo>
                    <a:lnTo>
                      <a:pt x="26" y="363"/>
                    </a:lnTo>
                    <a:lnTo>
                      <a:pt x="22" y="358"/>
                    </a:lnTo>
                    <a:lnTo>
                      <a:pt x="27" y="346"/>
                    </a:lnTo>
                    <a:lnTo>
                      <a:pt x="34" y="334"/>
                    </a:lnTo>
                    <a:lnTo>
                      <a:pt x="33" y="323"/>
                    </a:lnTo>
                    <a:lnTo>
                      <a:pt x="29" y="315"/>
                    </a:lnTo>
                    <a:lnTo>
                      <a:pt x="26" y="308"/>
                    </a:lnTo>
                    <a:lnTo>
                      <a:pt x="24" y="303"/>
                    </a:lnTo>
                    <a:lnTo>
                      <a:pt x="19" y="287"/>
                    </a:lnTo>
                    <a:lnTo>
                      <a:pt x="17" y="277"/>
                    </a:lnTo>
                    <a:lnTo>
                      <a:pt x="14" y="265"/>
                    </a:lnTo>
                    <a:lnTo>
                      <a:pt x="10" y="253"/>
                    </a:lnTo>
                    <a:lnTo>
                      <a:pt x="3" y="244"/>
                    </a:lnTo>
                    <a:lnTo>
                      <a:pt x="0" y="236"/>
                    </a:lnTo>
                    <a:lnTo>
                      <a:pt x="2" y="232"/>
                    </a:lnTo>
                    <a:lnTo>
                      <a:pt x="3" y="229"/>
                    </a:lnTo>
                    <a:lnTo>
                      <a:pt x="5" y="232"/>
                    </a:lnTo>
                    <a:lnTo>
                      <a:pt x="9" y="236"/>
                    </a:lnTo>
                    <a:lnTo>
                      <a:pt x="9" y="232"/>
                    </a:lnTo>
                    <a:lnTo>
                      <a:pt x="9" y="229"/>
                    </a:lnTo>
                    <a:lnTo>
                      <a:pt x="5" y="217"/>
                    </a:lnTo>
                    <a:lnTo>
                      <a:pt x="2" y="203"/>
                    </a:lnTo>
                    <a:lnTo>
                      <a:pt x="2" y="193"/>
                    </a:lnTo>
                    <a:lnTo>
                      <a:pt x="2" y="186"/>
                    </a:lnTo>
                    <a:lnTo>
                      <a:pt x="2" y="179"/>
                    </a:lnTo>
                    <a:lnTo>
                      <a:pt x="2" y="174"/>
                    </a:lnTo>
                    <a:lnTo>
                      <a:pt x="3" y="169"/>
                    </a:lnTo>
                    <a:lnTo>
                      <a:pt x="7" y="167"/>
                    </a:lnTo>
                    <a:lnTo>
                      <a:pt x="7" y="169"/>
                    </a:lnTo>
                    <a:lnTo>
                      <a:pt x="9" y="172"/>
                    </a:lnTo>
                    <a:lnTo>
                      <a:pt x="22" y="163"/>
                    </a:lnTo>
                    <a:lnTo>
                      <a:pt x="34" y="153"/>
                    </a:lnTo>
                    <a:lnTo>
                      <a:pt x="39" y="148"/>
                    </a:lnTo>
                    <a:lnTo>
                      <a:pt x="50" y="146"/>
                    </a:lnTo>
                    <a:lnTo>
                      <a:pt x="58" y="145"/>
                    </a:lnTo>
                    <a:lnTo>
                      <a:pt x="69" y="145"/>
                    </a:lnTo>
                    <a:lnTo>
                      <a:pt x="76" y="141"/>
                    </a:lnTo>
                    <a:lnTo>
                      <a:pt x="84" y="139"/>
                    </a:lnTo>
                    <a:lnTo>
                      <a:pt x="95" y="136"/>
                    </a:lnTo>
                    <a:lnTo>
                      <a:pt x="105" y="133"/>
                    </a:lnTo>
                    <a:lnTo>
                      <a:pt x="113" y="126"/>
                    </a:lnTo>
                    <a:lnTo>
                      <a:pt x="122" y="120"/>
                    </a:lnTo>
                    <a:lnTo>
                      <a:pt x="125" y="115"/>
                    </a:lnTo>
                    <a:lnTo>
                      <a:pt x="129" y="110"/>
                    </a:lnTo>
                    <a:lnTo>
                      <a:pt x="129" y="105"/>
                    </a:lnTo>
                    <a:lnTo>
                      <a:pt x="129" y="102"/>
                    </a:lnTo>
                    <a:lnTo>
                      <a:pt x="129" y="93"/>
                    </a:lnTo>
                    <a:lnTo>
                      <a:pt x="136" y="88"/>
                    </a:lnTo>
                    <a:lnTo>
                      <a:pt x="139" y="93"/>
                    </a:lnTo>
                    <a:lnTo>
                      <a:pt x="143" y="98"/>
                    </a:lnTo>
                    <a:lnTo>
                      <a:pt x="146" y="90"/>
                    </a:lnTo>
                    <a:lnTo>
                      <a:pt x="148" y="83"/>
                    </a:lnTo>
                    <a:lnTo>
                      <a:pt x="153" y="84"/>
                    </a:lnTo>
                    <a:lnTo>
                      <a:pt x="158" y="86"/>
                    </a:lnTo>
                    <a:lnTo>
                      <a:pt x="158" y="76"/>
                    </a:lnTo>
                    <a:lnTo>
                      <a:pt x="163" y="71"/>
                    </a:lnTo>
                    <a:lnTo>
                      <a:pt x="167" y="64"/>
                    </a:lnTo>
                    <a:lnTo>
                      <a:pt x="170" y="59"/>
                    </a:lnTo>
                    <a:lnTo>
                      <a:pt x="177" y="55"/>
                    </a:lnTo>
                    <a:lnTo>
                      <a:pt x="184" y="53"/>
                    </a:lnTo>
                    <a:lnTo>
                      <a:pt x="189" y="48"/>
                    </a:lnTo>
                    <a:lnTo>
                      <a:pt x="198" y="48"/>
                    </a:lnTo>
                    <a:lnTo>
                      <a:pt x="206" y="53"/>
                    </a:lnTo>
                    <a:lnTo>
                      <a:pt x="211" y="67"/>
                    </a:lnTo>
                    <a:lnTo>
                      <a:pt x="217" y="62"/>
                    </a:lnTo>
                    <a:lnTo>
                      <a:pt x="224" y="62"/>
                    </a:lnTo>
                    <a:lnTo>
                      <a:pt x="227" y="64"/>
                    </a:lnTo>
                    <a:lnTo>
                      <a:pt x="230" y="65"/>
                    </a:lnTo>
                    <a:lnTo>
                      <a:pt x="232" y="59"/>
                    </a:lnTo>
                    <a:lnTo>
                      <a:pt x="232" y="53"/>
                    </a:lnTo>
                    <a:lnTo>
                      <a:pt x="236" y="43"/>
                    </a:lnTo>
                    <a:lnTo>
                      <a:pt x="241" y="35"/>
                    </a:lnTo>
                    <a:lnTo>
                      <a:pt x="242" y="29"/>
                    </a:lnTo>
                    <a:lnTo>
                      <a:pt x="251" y="26"/>
                    </a:lnTo>
                    <a:lnTo>
                      <a:pt x="260" y="24"/>
                    </a:lnTo>
                    <a:lnTo>
                      <a:pt x="268" y="24"/>
                    </a:lnTo>
                    <a:lnTo>
                      <a:pt x="273" y="22"/>
                    </a:lnTo>
                    <a:lnTo>
                      <a:pt x="279" y="21"/>
                    </a:lnTo>
                    <a:lnTo>
                      <a:pt x="272" y="14"/>
                    </a:lnTo>
                    <a:lnTo>
                      <a:pt x="268" y="9"/>
                    </a:lnTo>
                    <a:lnTo>
                      <a:pt x="279" y="12"/>
                    </a:lnTo>
                    <a:lnTo>
                      <a:pt x="291" y="17"/>
                    </a:lnTo>
                    <a:lnTo>
                      <a:pt x="301" y="21"/>
                    </a:lnTo>
                    <a:lnTo>
                      <a:pt x="315" y="22"/>
                    </a:lnTo>
                    <a:lnTo>
                      <a:pt x="322" y="21"/>
                    </a:lnTo>
                    <a:lnTo>
                      <a:pt x="328" y="19"/>
                    </a:lnTo>
                    <a:lnTo>
                      <a:pt x="334" y="21"/>
                    </a:lnTo>
                    <a:lnTo>
                      <a:pt x="339" y="28"/>
                    </a:lnTo>
                    <a:lnTo>
                      <a:pt x="334" y="33"/>
                    </a:lnTo>
                    <a:lnTo>
                      <a:pt x="327" y="38"/>
                    </a:lnTo>
                    <a:lnTo>
                      <a:pt x="322" y="64"/>
                    </a:lnTo>
                    <a:lnTo>
                      <a:pt x="325" y="65"/>
                    </a:lnTo>
                    <a:lnTo>
                      <a:pt x="332" y="69"/>
                    </a:lnTo>
                    <a:lnTo>
                      <a:pt x="334" y="74"/>
                    </a:lnTo>
                    <a:lnTo>
                      <a:pt x="337" y="79"/>
                    </a:lnTo>
                    <a:lnTo>
                      <a:pt x="346" y="81"/>
                    </a:lnTo>
                    <a:lnTo>
                      <a:pt x="353" y="84"/>
                    </a:lnTo>
                    <a:lnTo>
                      <a:pt x="359" y="86"/>
                    </a:lnTo>
                    <a:lnTo>
                      <a:pt x="370" y="91"/>
                    </a:lnTo>
                    <a:lnTo>
                      <a:pt x="378" y="98"/>
                    </a:lnTo>
                    <a:lnTo>
                      <a:pt x="390" y="105"/>
                    </a:lnTo>
                    <a:lnTo>
                      <a:pt x="399" y="98"/>
                    </a:lnTo>
                    <a:lnTo>
                      <a:pt x="406" y="88"/>
                    </a:lnTo>
                    <a:lnTo>
                      <a:pt x="408" y="74"/>
                    </a:lnTo>
                    <a:lnTo>
                      <a:pt x="411" y="64"/>
                    </a:lnTo>
                    <a:lnTo>
                      <a:pt x="411" y="17"/>
                    </a:lnTo>
                    <a:lnTo>
                      <a:pt x="418" y="9"/>
                    </a:lnTo>
                    <a:lnTo>
                      <a:pt x="425" y="0"/>
                    </a:lnTo>
                    <a:lnTo>
                      <a:pt x="425" y="9"/>
                    </a:lnTo>
                    <a:lnTo>
                      <a:pt x="430" y="17"/>
                    </a:lnTo>
                    <a:lnTo>
                      <a:pt x="433" y="24"/>
                    </a:lnTo>
                    <a:lnTo>
                      <a:pt x="437" y="33"/>
                    </a:lnTo>
                    <a:lnTo>
                      <a:pt x="437" y="43"/>
                    </a:lnTo>
                    <a:lnTo>
                      <a:pt x="442" y="53"/>
                    </a:lnTo>
                    <a:lnTo>
                      <a:pt x="451" y="55"/>
                    </a:lnTo>
                    <a:lnTo>
                      <a:pt x="457" y="59"/>
                    </a:lnTo>
                    <a:lnTo>
                      <a:pt x="461" y="62"/>
                    </a:lnTo>
                    <a:lnTo>
                      <a:pt x="463" y="71"/>
                    </a:lnTo>
                    <a:lnTo>
                      <a:pt x="464" y="79"/>
                    </a:lnTo>
                    <a:lnTo>
                      <a:pt x="466" y="88"/>
                    </a:lnTo>
                    <a:lnTo>
                      <a:pt x="468" y="95"/>
                    </a:lnTo>
                    <a:lnTo>
                      <a:pt x="473" y="103"/>
                    </a:lnTo>
                    <a:lnTo>
                      <a:pt x="475" y="110"/>
                    </a:lnTo>
                    <a:lnTo>
                      <a:pt x="480" y="120"/>
                    </a:lnTo>
                    <a:lnTo>
                      <a:pt x="483" y="126"/>
                    </a:lnTo>
                    <a:lnTo>
                      <a:pt x="494" y="133"/>
                    </a:lnTo>
                    <a:lnTo>
                      <a:pt x="504" y="138"/>
                    </a:lnTo>
                    <a:lnTo>
                      <a:pt x="514" y="145"/>
                    </a:lnTo>
                    <a:lnTo>
                      <a:pt x="519" y="157"/>
                    </a:lnTo>
                    <a:lnTo>
                      <a:pt x="523" y="169"/>
                    </a:lnTo>
                    <a:lnTo>
                      <a:pt x="528" y="174"/>
                    </a:lnTo>
                    <a:lnTo>
                      <a:pt x="540" y="176"/>
                    </a:lnTo>
                    <a:lnTo>
                      <a:pt x="542" y="186"/>
                    </a:lnTo>
                    <a:lnTo>
                      <a:pt x="550" y="196"/>
                    </a:lnTo>
                    <a:lnTo>
                      <a:pt x="559" y="205"/>
                    </a:lnTo>
                    <a:lnTo>
                      <a:pt x="569" y="213"/>
                    </a:lnTo>
                    <a:lnTo>
                      <a:pt x="568" y="2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72" name="Freeform 223"/>
              <p:cNvSpPr>
                <a:spLocks/>
              </p:cNvSpPr>
              <p:nvPr/>
            </p:nvSpPr>
            <p:spPr bwMode="auto">
              <a:xfrm>
                <a:off x="8149432" y="5181600"/>
                <a:ext cx="15875" cy="12700"/>
              </a:xfrm>
              <a:custGeom>
                <a:avLst/>
                <a:gdLst/>
                <a:ahLst/>
                <a:cxnLst>
                  <a:cxn ang="0">
                    <a:pos x="10" y="0"/>
                  </a:cxn>
                  <a:cxn ang="0">
                    <a:pos x="5" y="5"/>
                  </a:cxn>
                  <a:cxn ang="0">
                    <a:pos x="0" y="8"/>
                  </a:cxn>
                  <a:cxn ang="0">
                    <a:pos x="0" y="3"/>
                  </a:cxn>
                  <a:cxn ang="0">
                    <a:pos x="0" y="0"/>
                  </a:cxn>
                  <a:cxn ang="0">
                    <a:pos x="10" y="0"/>
                  </a:cxn>
                </a:cxnLst>
                <a:rect l="0" t="0" r="r" b="b"/>
                <a:pathLst>
                  <a:path w="10" h="8">
                    <a:moveTo>
                      <a:pt x="10" y="0"/>
                    </a:moveTo>
                    <a:lnTo>
                      <a:pt x="5" y="5"/>
                    </a:lnTo>
                    <a:lnTo>
                      <a:pt x="0" y="8"/>
                    </a:lnTo>
                    <a:lnTo>
                      <a:pt x="0" y="3"/>
                    </a:lnTo>
                    <a:lnTo>
                      <a:pt x="0"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73" name="Freeform 224"/>
              <p:cNvSpPr>
                <a:spLocks/>
              </p:cNvSpPr>
              <p:nvPr/>
            </p:nvSpPr>
            <p:spPr bwMode="auto">
              <a:xfrm>
                <a:off x="8127207" y="5006975"/>
                <a:ext cx="174625" cy="171450"/>
              </a:xfrm>
              <a:custGeom>
                <a:avLst/>
                <a:gdLst/>
                <a:ahLst/>
                <a:cxnLst>
                  <a:cxn ang="0">
                    <a:pos x="67" y="29"/>
                  </a:cxn>
                  <a:cxn ang="0">
                    <a:pos x="67" y="26"/>
                  </a:cxn>
                  <a:cxn ang="0">
                    <a:pos x="67" y="24"/>
                  </a:cxn>
                  <a:cxn ang="0">
                    <a:pos x="71" y="19"/>
                  </a:cxn>
                  <a:cxn ang="0">
                    <a:pos x="77" y="19"/>
                  </a:cxn>
                  <a:cxn ang="0">
                    <a:pos x="77" y="17"/>
                  </a:cxn>
                  <a:cxn ang="0">
                    <a:pos x="77" y="15"/>
                  </a:cxn>
                  <a:cxn ang="0">
                    <a:pos x="81" y="5"/>
                  </a:cxn>
                  <a:cxn ang="0">
                    <a:pos x="89" y="0"/>
                  </a:cxn>
                  <a:cxn ang="0">
                    <a:pos x="89" y="3"/>
                  </a:cxn>
                  <a:cxn ang="0">
                    <a:pos x="93" y="5"/>
                  </a:cxn>
                  <a:cxn ang="0">
                    <a:pos x="93" y="8"/>
                  </a:cxn>
                  <a:cxn ang="0">
                    <a:pos x="96" y="12"/>
                  </a:cxn>
                  <a:cxn ang="0">
                    <a:pos x="100" y="8"/>
                  </a:cxn>
                  <a:cxn ang="0">
                    <a:pos x="105" y="7"/>
                  </a:cxn>
                  <a:cxn ang="0">
                    <a:pos x="108" y="8"/>
                  </a:cxn>
                  <a:cxn ang="0">
                    <a:pos x="108" y="14"/>
                  </a:cxn>
                  <a:cxn ang="0">
                    <a:pos x="110" y="17"/>
                  </a:cxn>
                  <a:cxn ang="0">
                    <a:pos x="107" y="22"/>
                  </a:cxn>
                  <a:cxn ang="0">
                    <a:pos x="103" y="31"/>
                  </a:cxn>
                  <a:cxn ang="0">
                    <a:pos x="96" y="39"/>
                  </a:cxn>
                  <a:cxn ang="0">
                    <a:pos x="91" y="43"/>
                  </a:cxn>
                  <a:cxn ang="0">
                    <a:pos x="89" y="50"/>
                  </a:cxn>
                  <a:cxn ang="0">
                    <a:pos x="91" y="58"/>
                  </a:cxn>
                  <a:cxn ang="0">
                    <a:pos x="81" y="58"/>
                  </a:cxn>
                  <a:cxn ang="0">
                    <a:pos x="72" y="60"/>
                  </a:cxn>
                  <a:cxn ang="0">
                    <a:pos x="67" y="67"/>
                  </a:cxn>
                  <a:cxn ang="0">
                    <a:pos x="64" y="81"/>
                  </a:cxn>
                  <a:cxn ang="0">
                    <a:pos x="58" y="91"/>
                  </a:cxn>
                  <a:cxn ang="0">
                    <a:pos x="57" y="96"/>
                  </a:cxn>
                  <a:cxn ang="0">
                    <a:pos x="46" y="103"/>
                  </a:cxn>
                  <a:cxn ang="0">
                    <a:pos x="38" y="108"/>
                  </a:cxn>
                  <a:cxn ang="0">
                    <a:pos x="31" y="106"/>
                  </a:cxn>
                  <a:cxn ang="0">
                    <a:pos x="26" y="105"/>
                  </a:cxn>
                  <a:cxn ang="0">
                    <a:pos x="19" y="103"/>
                  </a:cxn>
                  <a:cxn ang="0">
                    <a:pos x="12" y="100"/>
                  </a:cxn>
                  <a:cxn ang="0">
                    <a:pos x="5" y="96"/>
                  </a:cxn>
                  <a:cxn ang="0">
                    <a:pos x="3" y="94"/>
                  </a:cxn>
                  <a:cxn ang="0">
                    <a:pos x="0" y="93"/>
                  </a:cxn>
                  <a:cxn ang="0">
                    <a:pos x="2" y="82"/>
                  </a:cxn>
                  <a:cxn ang="0">
                    <a:pos x="7" y="75"/>
                  </a:cxn>
                  <a:cxn ang="0">
                    <a:pos x="14" y="70"/>
                  </a:cxn>
                  <a:cxn ang="0">
                    <a:pos x="21" y="65"/>
                  </a:cxn>
                  <a:cxn ang="0">
                    <a:pos x="24" y="60"/>
                  </a:cxn>
                  <a:cxn ang="0">
                    <a:pos x="29" y="58"/>
                  </a:cxn>
                  <a:cxn ang="0">
                    <a:pos x="43" y="51"/>
                  </a:cxn>
                  <a:cxn ang="0">
                    <a:pos x="57" y="43"/>
                  </a:cxn>
                  <a:cxn ang="0">
                    <a:pos x="62" y="34"/>
                  </a:cxn>
                  <a:cxn ang="0">
                    <a:pos x="67" y="29"/>
                  </a:cxn>
                </a:cxnLst>
                <a:rect l="0" t="0" r="r" b="b"/>
                <a:pathLst>
                  <a:path w="110" h="108">
                    <a:moveTo>
                      <a:pt x="67" y="29"/>
                    </a:moveTo>
                    <a:lnTo>
                      <a:pt x="67" y="26"/>
                    </a:lnTo>
                    <a:lnTo>
                      <a:pt x="67" y="24"/>
                    </a:lnTo>
                    <a:lnTo>
                      <a:pt x="71" y="19"/>
                    </a:lnTo>
                    <a:lnTo>
                      <a:pt x="77" y="19"/>
                    </a:lnTo>
                    <a:lnTo>
                      <a:pt x="77" y="17"/>
                    </a:lnTo>
                    <a:lnTo>
                      <a:pt x="77" y="15"/>
                    </a:lnTo>
                    <a:lnTo>
                      <a:pt x="81" y="5"/>
                    </a:lnTo>
                    <a:lnTo>
                      <a:pt x="89" y="0"/>
                    </a:lnTo>
                    <a:lnTo>
                      <a:pt x="89" y="3"/>
                    </a:lnTo>
                    <a:lnTo>
                      <a:pt x="93" y="5"/>
                    </a:lnTo>
                    <a:lnTo>
                      <a:pt x="93" y="8"/>
                    </a:lnTo>
                    <a:lnTo>
                      <a:pt x="96" y="12"/>
                    </a:lnTo>
                    <a:lnTo>
                      <a:pt x="100" y="8"/>
                    </a:lnTo>
                    <a:lnTo>
                      <a:pt x="105" y="7"/>
                    </a:lnTo>
                    <a:lnTo>
                      <a:pt x="108" y="8"/>
                    </a:lnTo>
                    <a:lnTo>
                      <a:pt x="108" y="14"/>
                    </a:lnTo>
                    <a:lnTo>
                      <a:pt x="110" y="17"/>
                    </a:lnTo>
                    <a:lnTo>
                      <a:pt x="107" y="22"/>
                    </a:lnTo>
                    <a:lnTo>
                      <a:pt x="103" y="31"/>
                    </a:lnTo>
                    <a:lnTo>
                      <a:pt x="96" y="39"/>
                    </a:lnTo>
                    <a:lnTo>
                      <a:pt x="91" y="43"/>
                    </a:lnTo>
                    <a:lnTo>
                      <a:pt x="89" y="50"/>
                    </a:lnTo>
                    <a:lnTo>
                      <a:pt x="91" y="58"/>
                    </a:lnTo>
                    <a:lnTo>
                      <a:pt x="81" y="58"/>
                    </a:lnTo>
                    <a:lnTo>
                      <a:pt x="72" y="60"/>
                    </a:lnTo>
                    <a:lnTo>
                      <a:pt x="67" y="67"/>
                    </a:lnTo>
                    <a:lnTo>
                      <a:pt x="64" y="81"/>
                    </a:lnTo>
                    <a:lnTo>
                      <a:pt x="58" y="91"/>
                    </a:lnTo>
                    <a:lnTo>
                      <a:pt x="57" y="96"/>
                    </a:lnTo>
                    <a:lnTo>
                      <a:pt x="46" y="103"/>
                    </a:lnTo>
                    <a:lnTo>
                      <a:pt x="38" y="108"/>
                    </a:lnTo>
                    <a:lnTo>
                      <a:pt x="31" y="106"/>
                    </a:lnTo>
                    <a:lnTo>
                      <a:pt x="26" y="105"/>
                    </a:lnTo>
                    <a:lnTo>
                      <a:pt x="19" y="103"/>
                    </a:lnTo>
                    <a:lnTo>
                      <a:pt x="12" y="100"/>
                    </a:lnTo>
                    <a:lnTo>
                      <a:pt x="5" y="96"/>
                    </a:lnTo>
                    <a:lnTo>
                      <a:pt x="3" y="94"/>
                    </a:lnTo>
                    <a:lnTo>
                      <a:pt x="0" y="93"/>
                    </a:lnTo>
                    <a:lnTo>
                      <a:pt x="2" y="82"/>
                    </a:lnTo>
                    <a:lnTo>
                      <a:pt x="7" y="75"/>
                    </a:lnTo>
                    <a:lnTo>
                      <a:pt x="14" y="70"/>
                    </a:lnTo>
                    <a:lnTo>
                      <a:pt x="21" y="65"/>
                    </a:lnTo>
                    <a:lnTo>
                      <a:pt x="24" y="60"/>
                    </a:lnTo>
                    <a:lnTo>
                      <a:pt x="29" y="58"/>
                    </a:lnTo>
                    <a:lnTo>
                      <a:pt x="43" y="51"/>
                    </a:lnTo>
                    <a:lnTo>
                      <a:pt x="57" y="43"/>
                    </a:lnTo>
                    <a:lnTo>
                      <a:pt x="62" y="34"/>
                    </a:lnTo>
                    <a:lnTo>
                      <a:pt x="67"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74" name="Freeform 225"/>
              <p:cNvSpPr>
                <a:spLocks/>
              </p:cNvSpPr>
              <p:nvPr/>
            </p:nvSpPr>
            <p:spPr bwMode="auto">
              <a:xfrm>
                <a:off x="8271669" y="4840288"/>
                <a:ext cx="131763" cy="190500"/>
              </a:xfrm>
              <a:custGeom>
                <a:avLst/>
                <a:gdLst/>
                <a:ahLst/>
                <a:cxnLst>
                  <a:cxn ang="0">
                    <a:pos x="26" y="45"/>
                  </a:cxn>
                  <a:cxn ang="0">
                    <a:pos x="21" y="39"/>
                  </a:cxn>
                  <a:cxn ang="0">
                    <a:pos x="19" y="36"/>
                  </a:cxn>
                  <a:cxn ang="0">
                    <a:pos x="19" y="33"/>
                  </a:cxn>
                  <a:cxn ang="0">
                    <a:pos x="21" y="31"/>
                  </a:cxn>
                  <a:cxn ang="0">
                    <a:pos x="12" y="26"/>
                  </a:cxn>
                  <a:cxn ang="0">
                    <a:pos x="7" y="19"/>
                  </a:cxn>
                  <a:cxn ang="0">
                    <a:pos x="2" y="9"/>
                  </a:cxn>
                  <a:cxn ang="0">
                    <a:pos x="0" y="0"/>
                  </a:cxn>
                  <a:cxn ang="0">
                    <a:pos x="9" y="7"/>
                  </a:cxn>
                  <a:cxn ang="0">
                    <a:pos x="19" y="14"/>
                  </a:cxn>
                  <a:cxn ang="0">
                    <a:pos x="21" y="17"/>
                  </a:cxn>
                  <a:cxn ang="0">
                    <a:pos x="24" y="22"/>
                  </a:cxn>
                  <a:cxn ang="0">
                    <a:pos x="23" y="24"/>
                  </a:cxn>
                  <a:cxn ang="0">
                    <a:pos x="23" y="26"/>
                  </a:cxn>
                  <a:cxn ang="0">
                    <a:pos x="26" y="33"/>
                  </a:cxn>
                  <a:cxn ang="0">
                    <a:pos x="31" y="41"/>
                  </a:cxn>
                  <a:cxn ang="0">
                    <a:pos x="35" y="41"/>
                  </a:cxn>
                  <a:cxn ang="0">
                    <a:pos x="35" y="38"/>
                  </a:cxn>
                  <a:cxn ang="0">
                    <a:pos x="40" y="38"/>
                  </a:cxn>
                  <a:cxn ang="0">
                    <a:pos x="41" y="38"/>
                  </a:cxn>
                  <a:cxn ang="0">
                    <a:pos x="45" y="52"/>
                  </a:cxn>
                  <a:cxn ang="0">
                    <a:pos x="60" y="58"/>
                  </a:cxn>
                  <a:cxn ang="0">
                    <a:pos x="69" y="55"/>
                  </a:cxn>
                  <a:cxn ang="0">
                    <a:pos x="78" y="53"/>
                  </a:cxn>
                  <a:cxn ang="0">
                    <a:pos x="79" y="53"/>
                  </a:cxn>
                  <a:cxn ang="0">
                    <a:pos x="83" y="55"/>
                  </a:cxn>
                  <a:cxn ang="0">
                    <a:pos x="76" y="67"/>
                  </a:cxn>
                  <a:cxn ang="0">
                    <a:pos x="72" y="81"/>
                  </a:cxn>
                  <a:cxn ang="0">
                    <a:pos x="71" y="79"/>
                  </a:cxn>
                  <a:cxn ang="0">
                    <a:pos x="69" y="79"/>
                  </a:cxn>
                  <a:cxn ang="0">
                    <a:pos x="60" y="81"/>
                  </a:cxn>
                  <a:cxn ang="0">
                    <a:pos x="59" y="86"/>
                  </a:cxn>
                  <a:cxn ang="0">
                    <a:pos x="59" y="88"/>
                  </a:cxn>
                  <a:cxn ang="0">
                    <a:pos x="60" y="91"/>
                  </a:cxn>
                  <a:cxn ang="0">
                    <a:pos x="57" y="96"/>
                  </a:cxn>
                  <a:cxn ang="0">
                    <a:pos x="53" y="101"/>
                  </a:cxn>
                  <a:cxn ang="0">
                    <a:pos x="45" y="113"/>
                  </a:cxn>
                  <a:cxn ang="0">
                    <a:pos x="35" y="120"/>
                  </a:cxn>
                  <a:cxn ang="0">
                    <a:pos x="28" y="117"/>
                  </a:cxn>
                  <a:cxn ang="0">
                    <a:pos x="28" y="113"/>
                  </a:cxn>
                  <a:cxn ang="0">
                    <a:pos x="29" y="105"/>
                  </a:cxn>
                  <a:cxn ang="0">
                    <a:pos x="33" y="98"/>
                  </a:cxn>
                  <a:cxn ang="0">
                    <a:pos x="29" y="91"/>
                  </a:cxn>
                  <a:cxn ang="0">
                    <a:pos x="23" y="89"/>
                  </a:cxn>
                  <a:cxn ang="0">
                    <a:pos x="16" y="86"/>
                  </a:cxn>
                  <a:cxn ang="0">
                    <a:pos x="14" y="82"/>
                  </a:cxn>
                  <a:cxn ang="0">
                    <a:pos x="16" y="77"/>
                  </a:cxn>
                  <a:cxn ang="0">
                    <a:pos x="21" y="76"/>
                  </a:cxn>
                  <a:cxn ang="0">
                    <a:pos x="26" y="65"/>
                  </a:cxn>
                  <a:cxn ang="0">
                    <a:pos x="28" y="55"/>
                  </a:cxn>
                  <a:cxn ang="0">
                    <a:pos x="26" y="48"/>
                  </a:cxn>
                  <a:cxn ang="0">
                    <a:pos x="24" y="43"/>
                  </a:cxn>
                  <a:cxn ang="0">
                    <a:pos x="26" y="43"/>
                  </a:cxn>
                  <a:cxn ang="0">
                    <a:pos x="26" y="45"/>
                  </a:cxn>
                </a:cxnLst>
                <a:rect l="0" t="0" r="r" b="b"/>
                <a:pathLst>
                  <a:path w="83" h="120">
                    <a:moveTo>
                      <a:pt x="26" y="45"/>
                    </a:moveTo>
                    <a:lnTo>
                      <a:pt x="21" y="39"/>
                    </a:lnTo>
                    <a:lnTo>
                      <a:pt x="19" y="36"/>
                    </a:lnTo>
                    <a:lnTo>
                      <a:pt x="19" y="33"/>
                    </a:lnTo>
                    <a:lnTo>
                      <a:pt x="21" y="31"/>
                    </a:lnTo>
                    <a:lnTo>
                      <a:pt x="12" y="26"/>
                    </a:lnTo>
                    <a:lnTo>
                      <a:pt x="7" y="19"/>
                    </a:lnTo>
                    <a:lnTo>
                      <a:pt x="2" y="9"/>
                    </a:lnTo>
                    <a:lnTo>
                      <a:pt x="0" y="0"/>
                    </a:lnTo>
                    <a:lnTo>
                      <a:pt x="9" y="7"/>
                    </a:lnTo>
                    <a:lnTo>
                      <a:pt x="19" y="14"/>
                    </a:lnTo>
                    <a:lnTo>
                      <a:pt x="21" y="17"/>
                    </a:lnTo>
                    <a:lnTo>
                      <a:pt x="24" y="22"/>
                    </a:lnTo>
                    <a:lnTo>
                      <a:pt x="23" y="24"/>
                    </a:lnTo>
                    <a:lnTo>
                      <a:pt x="23" y="26"/>
                    </a:lnTo>
                    <a:lnTo>
                      <a:pt x="26" y="33"/>
                    </a:lnTo>
                    <a:lnTo>
                      <a:pt x="31" y="41"/>
                    </a:lnTo>
                    <a:lnTo>
                      <a:pt x="35" y="41"/>
                    </a:lnTo>
                    <a:lnTo>
                      <a:pt x="35" y="38"/>
                    </a:lnTo>
                    <a:lnTo>
                      <a:pt x="40" y="38"/>
                    </a:lnTo>
                    <a:lnTo>
                      <a:pt x="41" y="38"/>
                    </a:lnTo>
                    <a:lnTo>
                      <a:pt x="45" y="52"/>
                    </a:lnTo>
                    <a:lnTo>
                      <a:pt x="60" y="58"/>
                    </a:lnTo>
                    <a:lnTo>
                      <a:pt x="69" y="55"/>
                    </a:lnTo>
                    <a:lnTo>
                      <a:pt x="78" y="53"/>
                    </a:lnTo>
                    <a:lnTo>
                      <a:pt x="79" y="53"/>
                    </a:lnTo>
                    <a:lnTo>
                      <a:pt x="83" y="55"/>
                    </a:lnTo>
                    <a:lnTo>
                      <a:pt x="76" y="67"/>
                    </a:lnTo>
                    <a:lnTo>
                      <a:pt x="72" y="81"/>
                    </a:lnTo>
                    <a:lnTo>
                      <a:pt x="71" y="79"/>
                    </a:lnTo>
                    <a:lnTo>
                      <a:pt x="69" y="79"/>
                    </a:lnTo>
                    <a:lnTo>
                      <a:pt x="60" y="81"/>
                    </a:lnTo>
                    <a:lnTo>
                      <a:pt x="59" y="86"/>
                    </a:lnTo>
                    <a:lnTo>
                      <a:pt x="59" y="88"/>
                    </a:lnTo>
                    <a:lnTo>
                      <a:pt x="60" y="91"/>
                    </a:lnTo>
                    <a:lnTo>
                      <a:pt x="57" y="96"/>
                    </a:lnTo>
                    <a:lnTo>
                      <a:pt x="53" y="101"/>
                    </a:lnTo>
                    <a:lnTo>
                      <a:pt x="45" y="113"/>
                    </a:lnTo>
                    <a:lnTo>
                      <a:pt x="35" y="120"/>
                    </a:lnTo>
                    <a:lnTo>
                      <a:pt x="28" y="117"/>
                    </a:lnTo>
                    <a:lnTo>
                      <a:pt x="28" y="113"/>
                    </a:lnTo>
                    <a:lnTo>
                      <a:pt x="29" y="105"/>
                    </a:lnTo>
                    <a:lnTo>
                      <a:pt x="33" y="98"/>
                    </a:lnTo>
                    <a:lnTo>
                      <a:pt x="29" y="91"/>
                    </a:lnTo>
                    <a:lnTo>
                      <a:pt x="23" y="89"/>
                    </a:lnTo>
                    <a:lnTo>
                      <a:pt x="16" y="86"/>
                    </a:lnTo>
                    <a:lnTo>
                      <a:pt x="14" y="82"/>
                    </a:lnTo>
                    <a:lnTo>
                      <a:pt x="16" y="77"/>
                    </a:lnTo>
                    <a:lnTo>
                      <a:pt x="21" y="76"/>
                    </a:lnTo>
                    <a:lnTo>
                      <a:pt x="26" y="65"/>
                    </a:lnTo>
                    <a:lnTo>
                      <a:pt x="28" y="55"/>
                    </a:lnTo>
                    <a:lnTo>
                      <a:pt x="26" y="48"/>
                    </a:lnTo>
                    <a:lnTo>
                      <a:pt x="24" y="43"/>
                    </a:lnTo>
                    <a:lnTo>
                      <a:pt x="26" y="43"/>
                    </a:lnTo>
                    <a:lnTo>
                      <a:pt x="2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75" name="Freeform 226"/>
              <p:cNvSpPr>
                <a:spLocks/>
              </p:cNvSpPr>
              <p:nvPr/>
            </p:nvSpPr>
            <p:spPr bwMode="auto">
              <a:xfrm>
                <a:off x="8370094" y="4416425"/>
                <a:ext cx="26988" cy="22225"/>
              </a:xfrm>
              <a:custGeom>
                <a:avLst/>
                <a:gdLst/>
                <a:ahLst/>
                <a:cxnLst>
                  <a:cxn ang="0">
                    <a:pos x="12" y="0"/>
                  </a:cxn>
                  <a:cxn ang="0">
                    <a:pos x="14" y="4"/>
                  </a:cxn>
                  <a:cxn ang="0">
                    <a:pos x="17" y="6"/>
                  </a:cxn>
                  <a:cxn ang="0">
                    <a:pos x="17" y="11"/>
                  </a:cxn>
                  <a:cxn ang="0">
                    <a:pos x="14" y="12"/>
                  </a:cxn>
                  <a:cxn ang="0">
                    <a:pos x="10" y="14"/>
                  </a:cxn>
                  <a:cxn ang="0">
                    <a:pos x="4" y="12"/>
                  </a:cxn>
                  <a:cxn ang="0">
                    <a:pos x="0" y="11"/>
                  </a:cxn>
                  <a:cxn ang="0">
                    <a:pos x="4" y="2"/>
                  </a:cxn>
                  <a:cxn ang="0">
                    <a:pos x="12" y="0"/>
                  </a:cxn>
                </a:cxnLst>
                <a:rect l="0" t="0" r="r" b="b"/>
                <a:pathLst>
                  <a:path w="17" h="14">
                    <a:moveTo>
                      <a:pt x="12" y="0"/>
                    </a:moveTo>
                    <a:lnTo>
                      <a:pt x="14" y="4"/>
                    </a:lnTo>
                    <a:lnTo>
                      <a:pt x="17" y="6"/>
                    </a:lnTo>
                    <a:lnTo>
                      <a:pt x="17" y="11"/>
                    </a:lnTo>
                    <a:lnTo>
                      <a:pt x="14" y="12"/>
                    </a:lnTo>
                    <a:lnTo>
                      <a:pt x="10" y="14"/>
                    </a:lnTo>
                    <a:lnTo>
                      <a:pt x="4" y="12"/>
                    </a:lnTo>
                    <a:lnTo>
                      <a:pt x="0" y="11"/>
                    </a:lnTo>
                    <a:lnTo>
                      <a:pt x="4" y="2"/>
                    </a:lnTo>
                    <a:lnTo>
                      <a:pt x="1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76" name="Freeform 227"/>
              <p:cNvSpPr>
                <a:spLocks/>
              </p:cNvSpPr>
              <p:nvPr/>
            </p:nvSpPr>
            <p:spPr bwMode="auto">
              <a:xfrm>
                <a:off x="8403432" y="4395788"/>
                <a:ext cx="23813" cy="15875"/>
              </a:xfrm>
              <a:custGeom>
                <a:avLst/>
                <a:gdLst/>
                <a:ahLst/>
                <a:cxnLst>
                  <a:cxn ang="0">
                    <a:pos x="15" y="0"/>
                  </a:cxn>
                  <a:cxn ang="0">
                    <a:pos x="15" y="3"/>
                  </a:cxn>
                  <a:cxn ang="0">
                    <a:pos x="7" y="7"/>
                  </a:cxn>
                  <a:cxn ang="0">
                    <a:pos x="1" y="10"/>
                  </a:cxn>
                  <a:cxn ang="0">
                    <a:pos x="0" y="7"/>
                  </a:cxn>
                  <a:cxn ang="0">
                    <a:pos x="0" y="5"/>
                  </a:cxn>
                  <a:cxn ang="0">
                    <a:pos x="5" y="0"/>
                  </a:cxn>
                  <a:cxn ang="0">
                    <a:pos x="15" y="0"/>
                  </a:cxn>
                </a:cxnLst>
                <a:rect l="0" t="0" r="r" b="b"/>
                <a:pathLst>
                  <a:path w="15" h="10">
                    <a:moveTo>
                      <a:pt x="15" y="0"/>
                    </a:moveTo>
                    <a:lnTo>
                      <a:pt x="15" y="3"/>
                    </a:lnTo>
                    <a:lnTo>
                      <a:pt x="7" y="7"/>
                    </a:lnTo>
                    <a:lnTo>
                      <a:pt x="1" y="10"/>
                    </a:lnTo>
                    <a:lnTo>
                      <a:pt x="0" y="7"/>
                    </a:lnTo>
                    <a:lnTo>
                      <a:pt x="0" y="5"/>
                    </a:lnTo>
                    <a:lnTo>
                      <a:pt x="5"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77" name="Freeform 228"/>
              <p:cNvSpPr>
                <a:spLocks/>
              </p:cNvSpPr>
              <p:nvPr/>
            </p:nvSpPr>
            <p:spPr bwMode="auto">
              <a:xfrm>
                <a:off x="7114382" y="3789363"/>
                <a:ext cx="101600" cy="98425"/>
              </a:xfrm>
              <a:custGeom>
                <a:avLst/>
                <a:gdLst/>
                <a:ahLst/>
                <a:cxnLst>
                  <a:cxn ang="0">
                    <a:pos x="53" y="43"/>
                  </a:cxn>
                  <a:cxn ang="0">
                    <a:pos x="52" y="41"/>
                  </a:cxn>
                  <a:cxn ang="0">
                    <a:pos x="50" y="39"/>
                  </a:cxn>
                  <a:cxn ang="0">
                    <a:pos x="46" y="43"/>
                  </a:cxn>
                  <a:cxn ang="0">
                    <a:pos x="46" y="46"/>
                  </a:cxn>
                  <a:cxn ang="0">
                    <a:pos x="48" y="48"/>
                  </a:cxn>
                  <a:cxn ang="0">
                    <a:pos x="52" y="55"/>
                  </a:cxn>
                  <a:cxn ang="0">
                    <a:pos x="50" y="58"/>
                  </a:cxn>
                  <a:cxn ang="0">
                    <a:pos x="46" y="62"/>
                  </a:cxn>
                  <a:cxn ang="0">
                    <a:pos x="43" y="60"/>
                  </a:cxn>
                  <a:cxn ang="0">
                    <a:pos x="43" y="58"/>
                  </a:cxn>
                  <a:cxn ang="0">
                    <a:pos x="41" y="58"/>
                  </a:cxn>
                  <a:cxn ang="0">
                    <a:pos x="39" y="58"/>
                  </a:cxn>
                  <a:cxn ang="0">
                    <a:pos x="31" y="53"/>
                  </a:cxn>
                  <a:cxn ang="0">
                    <a:pos x="27" y="43"/>
                  </a:cxn>
                  <a:cxn ang="0">
                    <a:pos x="27" y="38"/>
                  </a:cxn>
                  <a:cxn ang="0">
                    <a:pos x="29" y="38"/>
                  </a:cxn>
                  <a:cxn ang="0">
                    <a:pos x="27" y="34"/>
                  </a:cxn>
                  <a:cxn ang="0">
                    <a:pos x="27" y="33"/>
                  </a:cxn>
                  <a:cxn ang="0">
                    <a:pos x="21" y="33"/>
                  </a:cxn>
                  <a:cxn ang="0">
                    <a:pos x="21" y="34"/>
                  </a:cxn>
                  <a:cxn ang="0">
                    <a:pos x="21" y="36"/>
                  </a:cxn>
                  <a:cxn ang="0">
                    <a:pos x="17" y="34"/>
                  </a:cxn>
                  <a:cxn ang="0">
                    <a:pos x="15" y="34"/>
                  </a:cxn>
                  <a:cxn ang="0">
                    <a:pos x="15" y="36"/>
                  </a:cxn>
                  <a:cxn ang="0">
                    <a:pos x="12" y="34"/>
                  </a:cxn>
                  <a:cxn ang="0">
                    <a:pos x="10" y="33"/>
                  </a:cxn>
                  <a:cxn ang="0">
                    <a:pos x="7" y="36"/>
                  </a:cxn>
                  <a:cxn ang="0">
                    <a:pos x="5" y="43"/>
                  </a:cxn>
                  <a:cxn ang="0">
                    <a:pos x="3" y="48"/>
                  </a:cxn>
                  <a:cxn ang="0">
                    <a:pos x="2" y="52"/>
                  </a:cxn>
                  <a:cxn ang="0">
                    <a:pos x="0" y="46"/>
                  </a:cxn>
                  <a:cxn ang="0">
                    <a:pos x="2" y="41"/>
                  </a:cxn>
                  <a:cxn ang="0">
                    <a:pos x="0" y="38"/>
                  </a:cxn>
                  <a:cxn ang="0">
                    <a:pos x="0" y="36"/>
                  </a:cxn>
                  <a:cxn ang="0">
                    <a:pos x="0" y="31"/>
                  </a:cxn>
                  <a:cxn ang="0">
                    <a:pos x="3" y="26"/>
                  </a:cxn>
                  <a:cxn ang="0">
                    <a:pos x="10" y="21"/>
                  </a:cxn>
                  <a:cxn ang="0">
                    <a:pos x="19" y="15"/>
                  </a:cxn>
                  <a:cxn ang="0">
                    <a:pos x="24" y="19"/>
                  </a:cxn>
                  <a:cxn ang="0">
                    <a:pos x="27" y="22"/>
                  </a:cxn>
                  <a:cxn ang="0">
                    <a:pos x="31" y="22"/>
                  </a:cxn>
                  <a:cxn ang="0">
                    <a:pos x="31" y="19"/>
                  </a:cxn>
                  <a:cxn ang="0">
                    <a:pos x="34" y="17"/>
                  </a:cxn>
                  <a:cxn ang="0">
                    <a:pos x="38" y="12"/>
                  </a:cxn>
                  <a:cxn ang="0">
                    <a:pos x="45" y="10"/>
                  </a:cxn>
                  <a:cxn ang="0">
                    <a:pos x="45" y="3"/>
                  </a:cxn>
                  <a:cxn ang="0">
                    <a:pos x="46" y="0"/>
                  </a:cxn>
                  <a:cxn ang="0">
                    <a:pos x="50" y="0"/>
                  </a:cxn>
                  <a:cxn ang="0">
                    <a:pos x="53" y="3"/>
                  </a:cxn>
                  <a:cxn ang="0">
                    <a:pos x="55" y="9"/>
                  </a:cxn>
                  <a:cxn ang="0">
                    <a:pos x="58" y="21"/>
                  </a:cxn>
                  <a:cxn ang="0">
                    <a:pos x="62" y="31"/>
                  </a:cxn>
                  <a:cxn ang="0">
                    <a:pos x="64" y="38"/>
                  </a:cxn>
                  <a:cxn ang="0">
                    <a:pos x="60" y="43"/>
                  </a:cxn>
                  <a:cxn ang="0">
                    <a:pos x="58" y="53"/>
                  </a:cxn>
                  <a:cxn ang="0">
                    <a:pos x="53" y="46"/>
                  </a:cxn>
                  <a:cxn ang="0">
                    <a:pos x="52" y="41"/>
                  </a:cxn>
                  <a:cxn ang="0">
                    <a:pos x="53" y="43"/>
                  </a:cxn>
                </a:cxnLst>
                <a:rect l="0" t="0" r="r" b="b"/>
                <a:pathLst>
                  <a:path w="64" h="62">
                    <a:moveTo>
                      <a:pt x="53" y="43"/>
                    </a:moveTo>
                    <a:lnTo>
                      <a:pt x="52" y="41"/>
                    </a:lnTo>
                    <a:lnTo>
                      <a:pt x="50" y="39"/>
                    </a:lnTo>
                    <a:lnTo>
                      <a:pt x="46" y="43"/>
                    </a:lnTo>
                    <a:lnTo>
                      <a:pt x="46" y="46"/>
                    </a:lnTo>
                    <a:lnTo>
                      <a:pt x="48" y="48"/>
                    </a:lnTo>
                    <a:lnTo>
                      <a:pt x="52" y="55"/>
                    </a:lnTo>
                    <a:lnTo>
                      <a:pt x="50" y="58"/>
                    </a:lnTo>
                    <a:lnTo>
                      <a:pt x="46" y="62"/>
                    </a:lnTo>
                    <a:lnTo>
                      <a:pt x="43" y="60"/>
                    </a:lnTo>
                    <a:lnTo>
                      <a:pt x="43" y="58"/>
                    </a:lnTo>
                    <a:lnTo>
                      <a:pt x="41" y="58"/>
                    </a:lnTo>
                    <a:lnTo>
                      <a:pt x="39" y="58"/>
                    </a:lnTo>
                    <a:lnTo>
                      <a:pt x="31" y="53"/>
                    </a:lnTo>
                    <a:lnTo>
                      <a:pt x="27" y="43"/>
                    </a:lnTo>
                    <a:lnTo>
                      <a:pt x="27" y="38"/>
                    </a:lnTo>
                    <a:lnTo>
                      <a:pt x="29" y="38"/>
                    </a:lnTo>
                    <a:lnTo>
                      <a:pt x="27" y="34"/>
                    </a:lnTo>
                    <a:lnTo>
                      <a:pt x="27" y="33"/>
                    </a:lnTo>
                    <a:lnTo>
                      <a:pt x="21" y="33"/>
                    </a:lnTo>
                    <a:lnTo>
                      <a:pt x="21" y="34"/>
                    </a:lnTo>
                    <a:lnTo>
                      <a:pt x="21" y="36"/>
                    </a:lnTo>
                    <a:lnTo>
                      <a:pt x="17" y="34"/>
                    </a:lnTo>
                    <a:lnTo>
                      <a:pt x="15" y="34"/>
                    </a:lnTo>
                    <a:lnTo>
                      <a:pt x="15" y="36"/>
                    </a:lnTo>
                    <a:lnTo>
                      <a:pt x="12" y="34"/>
                    </a:lnTo>
                    <a:lnTo>
                      <a:pt x="10" y="33"/>
                    </a:lnTo>
                    <a:lnTo>
                      <a:pt x="7" y="36"/>
                    </a:lnTo>
                    <a:lnTo>
                      <a:pt x="5" y="43"/>
                    </a:lnTo>
                    <a:lnTo>
                      <a:pt x="3" y="48"/>
                    </a:lnTo>
                    <a:lnTo>
                      <a:pt x="2" y="52"/>
                    </a:lnTo>
                    <a:lnTo>
                      <a:pt x="0" y="46"/>
                    </a:lnTo>
                    <a:lnTo>
                      <a:pt x="2" y="41"/>
                    </a:lnTo>
                    <a:lnTo>
                      <a:pt x="0" y="38"/>
                    </a:lnTo>
                    <a:lnTo>
                      <a:pt x="0" y="36"/>
                    </a:lnTo>
                    <a:lnTo>
                      <a:pt x="0" y="31"/>
                    </a:lnTo>
                    <a:lnTo>
                      <a:pt x="3" y="26"/>
                    </a:lnTo>
                    <a:lnTo>
                      <a:pt x="10" y="21"/>
                    </a:lnTo>
                    <a:lnTo>
                      <a:pt x="19" y="15"/>
                    </a:lnTo>
                    <a:lnTo>
                      <a:pt x="24" y="19"/>
                    </a:lnTo>
                    <a:lnTo>
                      <a:pt x="27" y="22"/>
                    </a:lnTo>
                    <a:lnTo>
                      <a:pt x="31" y="22"/>
                    </a:lnTo>
                    <a:lnTo>
                      <a:pt x="31" y="19"/>
                    </a:lnTo>
                    <a:lnTo>
                      <a:pt x="34" y="17"/>
                    </a:lnTo>
                    <a:lnTo>
                      <a:pt x="38" y="12"/>
                    </a:lnTo>
                    <a:lnTo>
                      <a:pt x="45" y="10"/>
                    </a:lnTo>
                    <a:lnTo>
                      <a:pt x="45" y="3"/>
                    </a:lnTo>
                    <a:lnTo>
                      <a:pt x="46" y="0"/>
                    </a:lnTo>
                    <a:lnTo>
                      <a:pt x="50" y="0"/>
                    </a:lnTo>
                    <a:lnTo>
                      <a:pt x="53" y="3"/>
                    </a:lnTo>
                    <a:lnTo>
                      <a:pt x="55" y="9"/>
                    </a:lnTo>
                    <a:lnTo>
                      <a:pt x="58" y="21"/>
                    </a:lnTo>
                    <a:lnTo>
                      <a:pt x="62" y="31"/>
                    </a:lnTo>
                    <a:lnTo>
                      <a:pt x="64" y="38"/>
                    </a:lnTo>
                    <a:lnTo>
                      <a:pt x="60" y="43"/>
                    </a:lnTo>
                    <a:lnTo>
                      <a:pt x="58" y="53"/>
                    </a:lnTo>
                    <a:lnTo>
                      <a:pt x="53" y="46"/>
                    </a:lnTo>
                    <a:lnTo>
                      <a:pt x="52" y="41"/>
                    </a:lnTo>
                    <a:lnTo>
                      <a:pt x="53"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78" name="Freeform 229"/>
              <p:cNvSpPr>
                <a:spLocks/>
              </p:cNvSpPr>
              <p:nvPr/>
            </p:nvSpPr>
            <p:spPr bwMode="auto">
              <a:xfrm>
                <a:off x="7015957" y="3763963"/>
                <a:ext cx="52388" cy="52387"/>
              </a:xfrm>
              <a:custGeom>
                <a:avLst/>
                <a:gdLst/>
                <a:ahLst/>
                <a:cxnLst>
                  <a:cxn ang="0">
                    <a:pos x="3" y="33"/>
                  </a:cxn>
                  <a:cxn ang="0">
                    <a:pos x="0" y="33"/>
                  </a:cxn>
                  <a:cxn ang="0">
                    <a:pos x="3" y="23"/>
                  </a:cxn>
                  <a:cxn ang="0">
                    <a:pos x="12" y="18"/>
                  </a:cxn>
                  <a:cxn ang="0">
                    <a:pos x="19" y="11"/>
                  </a:cxn>
                  <a:cxn ang="0">
                    <a:pos x="26" y="6"/>
                  </a:cxn>
                  <a:cxn ang="0">
                    <a:pos x="26" y="2"/>
                  </a:cxn>
                  <a:cxn ang="0">
                    <a:pos x="28" y="0"/>
                  </a:cxn>
                  <a:cxn ang="0">
                    <a:pos x="29" y="4"/>
                  </a:cxn>
                  <a:cxn ang="0">
                    <a:pos x="33" y="7"/>
                  </a:cxn>
                  <a:cxn ang="0">
                    <a:pos x="29" y="7"/>
                  </a:cxn>
                  <a:cxn ang="0">
                    <a:pos x="28" y="9"/>
                  </a:cxn>
                  <a:cxn ang="0">
                    <a:pos x="22" y="12"/>
                  </a:cxn>
                  <a:cxn ang="0">
                    <a:pos x="19" y="14"/>
                  </a:cxn>
                  <a:cxn ang="0">
                    <a:pos x="12" y="26"/>
                  </a:cxn>
                  <a:cxn ang="0">
                    <a:pos x="3" y="33"/>
                  </a:cxn>
                </a:cxnLst>
                <a:rect l="0" t="0" r="r" b="b"/>
                <a:pathLst>
                  <a:path w="33" h="33">
                    <a:moveTo>
                      <a:pt x="3" y="33"/>
                    </a:moveTo>
                    <a:lnTo>
                      <a:pt x="0" y="33"/>
                    </a:lnTo>
                    <a:lnTo>
                      <a:pt x="3" y="23"/>
                    </a:lnTo>
                    <a:lnTo>
                      <a:pt x="12" y="18"/>
                    </a:lnTo>
                    <a:lnTo>
                      <a:pt x="19" y="11"/>
                    </a:lnTo>
                    <a:lnTo>
                      <a:pt x="26" y="6"/>
                    </a:lnTo>
                    <a:lnTo>
                      <a:pt x="26" y="2"/>
                    </a:lnTo>
                    <a:lnTo>
                      <a:pt x="28" y="0"/>
                    </a:lnTo>
                    <a:lnTo>
                      <a:pt x="29" y="4"/>
                    </a:lnTo>
                    <a:lnTo>
                      <a:pt x="33" y="7"/>
                    </a:lnTo>
                    <a:lnTo>
                      <a:pt x="29" y="7"/>
                    </a:lnTo>
                    <a:lnTo>
                      <a:pt x="28" y="9"/>
                    </a:lnTo>
                    <a:lnTo>
                      <a:pt x="22" y="12"/>
                    </a:lnTo>
                    <a:lnTo>
                      <a:pt x="19" y="14"/>
                    </a:lnTo>
                    <a:lnTo>
                      <a:pt x="12" y="26"/>
                    </a:lnTo>
                    <a:lnTo>
                      <a:pt x="3"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79" name="Freeform 230"/>
              <p:cNvSpPr>
                <a:spLocks/>
              </p:cNvSpPr>
              <p:nvPr/>
            </p:nvSpPr>
            <p:spPr bwMode="auto">
              <a:xfrm>
                <a:off x="7054057" y="3587750"/>
                <a:ext cx="98425" cy="138112"/>
              </a:xfrm>
              <a:custGeom>
                <a:avLst/>
                <a:gdLst/>
                <a:ahLst/>
                <a:cxnLst>
                  <a:cxn ang="0">
                    <a:pos x="4" y="36"/>
                  </a:cxn>
                  <a:cxn ang="0">
                    <a:pos x="5" y="29"/>
                  </a:cxn>
                  <a:cxn ang="0">
                    <a:pos x="7" y="24"/>
                  </a:cxn>
                  <a:cxn ang="0">
                    <a:pos x="5" y="15"/>
                  </a:cxn>
                  <a:cxn ang="0">
                    <a:pos x="5" y="8"/>
                  </a:cxn>
                  <a:cxn ang="0">
                    <a:pos x="5" y="1"/>
                  </a:cxn>
                  <a:cxn ang="0">
                    <a:pos x="10" y="0"/>
                  </a:cxn>
                  <a:cxn ang="0">
                    <a:pos x="14" y="3"/>
                  </a:cxn>
                  <a:cxn ang="0">
                    <a:pos x="17" y="8"/>
                  </a:cxn>
                  <a:cxn ang="0">
                    <a:pos x="21" y="5"/>
                  </a:cxn>
                  <a:cxn ang="0">
                    <a:pos x="24" y="3"/>
                  </a:cxn>
                  <a:cxn ang="0">
                    <a:pos x="24" y="5"/>
                  </a:cxn>
                  <a:cxn ang="0">
                    <a:pos x="26" y="7"/>
                  </a:cxn>
                  <a:cxn ang="0">
                    <a:pos x="26" y="8"/>
                  </a:cxn>
                  <a:cxn ang="0">
                    <a:pos x="28" y="19"/>
                  </a:cxn>
                  <a:cxn ang="0">
                    <a:pos x="31" y="29"/>
                  </a:cxn>
                  <a:cxn ang="0">
                    <a:pos x="26" y="38"/>
                  </a:cxn>
                  <a:cxn ang="0">
                    <a:pos x="22" y="48"/>
                  </a:cxn>
                  <a:cxn ang="0">
                    <a:pos x="26" y="60"/>
                  </a:cxn>
                  <a:cxn ang="0">
                    <a:pos x="34" y="68"/>
                  </a:cxn>
                  <a:cxn ang="0">
                    <a:pos x="34" y="67"/>
                  </a:cxn>
                  <a:cxn ang="0">
                    <a:pos x="34" y="63"/>
                  </a:cxn>
                  <a:cxn ang="0">
                    <a:pos x="40" y="63"/>
                  </a:cxn>
                  <a:cxn ang="0">
                    <a:pos x="45" y="68"/>
                  </a:cxn>
                  <a:cxn ang="0">
                    <a:pos x="48" y="74"/>
                  </a:cxn>
                  <a:cxn ang="0">
                    <a:pos x="50" y="72"/>
                  </a:cxn>
                  <a:cxn ang="0">
                    <a:pos x="53" y="70"/>
                  </a:cxn>
                  <a:cxn ang="0">
                    <a:pos x="55" y="72"/>
                  </a:cxn>
                  <a:cxn ang="0">
                    <a:pos x="53" y="74"/>
                  </a:cxn>
                  <a:cxn ang="0">
                    <a:pos x="53" y="77"/>
                  </a:cxn>
                  <a:cxn ang="0">
                    <a:pos x="57" y="77"/>
                  </a:cxn>
                  <a:cxn ang="0">
                    <a:pos x="57" y="80"/>
                  </a:cxn>
                  <a:cxn ang="0">
                    <a:pos x="62" y="82"/>
                  </a:cxn>
                  <a:cxn ang="0">
                    <a:pos x="62" y="84"/>
                  </a:cxn>
                  <a:cxn ang="0">
                    <a:pos x="62" y="86"/>
                  </a:cxn>
                  <a:cxn ang="0">
                    <a:pos x="60" y="86"/>
                  </a:cxn>
                  <a:cxn ang="0">
                    <a:pos x="60" y="87"/>
                  </a:cxn>
                  <a:cxn ang="0">
                    <a:pos x="59" y="86"/>
                  </a:cxn>
                  <a:cxn ang="0">
                    <a:pos x="59" y="84"/>
                  </a:cxn>
                  <a:cxn ang="0">
                    <a:pos x="50" y="77"/>
                  </a:cxn>
                  <a:cxn ang="0">
                    <a:pos x="41" y="72"/>
                  </a:cxn>
                  <a:cxn ang="0">
                    <a:pos x="40" y="74"/>
                  </a:cxn>
                  <a:cxn ang="0">
                    <a:pos x="41" y="79"/>
                  </a:cxn>
                  <a:cxn ang="0">
                    <a:pos x="34" y="74"/>
                  </a:cxn>
                  <a:cxn ang="0">
                    <a:pos x="29" y="70"/>
                  </a:cxn>
                  <a:cxn ang="0">
                    <a:pos x="24" y="70"/>
                  </a:cxn>
                  <a:cxn ang="0">
                    <a:pos x="21" y="72"/>
                  </a:cxn>
                  <a:cxn ang="0">
                    <a:pos x="16" y="68"/>
                  </a:cxn>
                  <a:cxn ang="0">
                    <a:pos x="14" y="65"/>
                  </a:cxn>
                  <a:cxn ang="0">
                    <a:pos x="14" y="62"/>
                  </a:cxn>
                  <a:cxn ang="0">
                    <a:pos x="17" y="62"/>
                  </a:cxn>
                  <a:cxn ang="0">
                    <a:pos x="17" y="56"/>
                  </a:cxn>
                  <a:cxn ang="0">
                    <a:pos x="14" y="56"/>
                  </a:cxn>
                  <a:cxn ang="0">
                    <a:pos x="12" y="58"/>
                  </a:cxn>
                  <a:cxn ang="0">
                    <a:pos x="10" y="60"/>
                  </a:cxn>
                  <a:cxn ang="0">
                    <a:pos x="5" y="56"/>
                  </a:cxn>
                  <a:cxn ang="0">
                    <a:pos x="2" y="51"/>
                  </a:cxn>
                  <a:cxn ang="0">
                    <a:pos x="0" y="41"/>
                  </a:cxn>
                  <a:cxn ang="0">
                    <a:pos x="4" y="36"/>
                  </a:cxn>
                </a:cxnLst>
                <a:rect l="0" t="0" r="r" b="b"/>
                <a:pathLst>
                  <a:path w="62" h="87">
                    <a:moveTo>
                      <a:pt x="4" y="36"/>
                    </a:moveTo>
                    <a:lnTo>
                      <a:pt x="5" y="29"/>
                    </a:lnTo>
                    <a:lnTo>
                      <a:pt x="7" y="24"/>
                    </a:lnTo>
                    <a:lnTo>
                      <a:pt x="5" y="15"/>
                    </a:lnTo>
                    <a:lnTo>
                      <a:pt x="5" y="8"/>
                    </a:lnTo>
                    <a:lnTo>
                      <a:pt x="5" y="1"/>
                    </a:lnTo>
                    <a:lnTo>
                      <a:pt x="10" y="0"/>
                    </a:lnTo>
                    <a:lnTo>
                      <a:pt x="14" y="3"/>
                    </a:lnTo>
                    <a:lnTo>
                      <a:pt x="17" y="8"/>
                    </a:lnTo>
                    <a:lnTo>
                      <a:pt x="21" y="5"/>
                    </a:lnTo>
                    <a:lnTo>
                      <a:pt x="24" y="3"/>
                    </a:lnTo>
                    <a:lnTo>
                      <a:pt x="24" y="5"/>
                    </a:lnTo>
                    <a:lnTo>
                      <a:pt x="26" y="7"/>
                    </a:lnTo>
                    <a:lnTo>
                      <a:pt x="26" y="8"/>
                    </a:lnTo>
                    <a:lnTo>
                      <a:pt x="28" y="19"/>
                    </a:lnTo>
                    <a:lnTo>
                      <a:pt x="31" y="29"/>
                    </a:lnTo>
                    <a:lnTo>
                      <a:pt x="26" y="38"/>
                    </a:lnTo>
                    <a:lnTo>
                      <a:pt x="22" y="48"/>
                    </a:lnTo>
                    <a:lnTo>
                      <a:pt x="26" y="60"/>
                    </a:lnTo>
                    <a:lnTo>
                      <a:pt x="34" y="68"/>
                    </a:lnTo>
                    <a:lnTo>
                      <a:pt x="34" y="67"/>
                    </a:lnTo>
                    <a:lnTo>
                      <a:pt x="34" y="63"/>
                    </a:lnTo>
                    <a:lnTo>
                      <a:pt x="40" y="63"/>
                    </a:lnTo>
                    <a:lnTo>
                      <a:pt x="45" y="68"/>
                    </a:lnTo>
                    <a:lnTo>
                      <a:pt x="48" y="74"/>
                    </a:lnTo>
                    <a:lnTo>
                      <a:pt x="50" y="72"/>
                    </a:lnTo>
                    <a:lnTo>
                      <a:pt x="53" y="70"/>
                    </a:lnTo>
                    <a:lnTo>
                      <a:pt x="55" y="72"/>
                    </a:lnTo>
                    <a:lnTo>
                      <a:pt x="53" y="74"/>
                    </a:lnTo>
                    <a:lnTo>
                      <a:pt x="53" y="77"/>
                    </a:lnTo>
                    <a:lnTo>
                      <a:pt x="57" y="77"/>
                    </a:lnTo>
                    <a:lnTo>
                      <a:pt x="57" y="80"/>
                    </a:lnTo>
                    <a:lnTo>
                      <a:pt x="62" y="82"/>
                    </a:lnTo>
                    <a:lnTo>
                      <a:pt x="62" y="84"/>
                    </a:lnTo>
                    <a:lnTo>
                      <a:pt x="62" y="86"/>
                    </a:lnTo>
                    <a:lnTo>
                      <a:pt x="60" y="86"/>
                    </a:lnTo>
                    <a:lnTo>
                      <a:pt x="60" y="87"/>
                    </a:lnTo>
                    <a:lnTo>
                      <a:pt x="59" y="86"/>
                    </a:lnTo>
                    <a:lnTo>
                      <a:pt x="59" y="84"/>
                    </a:lnTo>
                    <a:lnTo>
                      <a:pt x="50" y="77"/>
                    </a:lnTo>
                    <a:lnTo>
                      <a:pt x="41" y="72"/>
                    </a:lnTo>
                    <a:lnTo>
                      <a:pt x="40" y="74"/>
                    </a:lnTo>
                    <a:lnTo>
                      <a:pt x="41" y="79"/>
                    </a:lnTo>
                    <a:lnTo>
                      <a:pt x="34" y="74"/>
                    </a:lnTo>
                    <a:lnTo>
                      <a:pt x="29" y="70"/>
                    </a:lnTo>
                    <a:lnTo>
                      <a:pt x="24" y="70"/>
                    </a:lnTo>
                    <a:lnTo>
                      <a:pt x="21" y="72"/>
                    </a:lnTo>
                    <a:lnTo>
                      <a:pt x="16" y="68"/>
                    </a:lnTo>
                    <a:lnTo>
                      <a:pt x="14" y="65"/>
                    </a:lnTo>
                    <a:lnTo>
                      <a:pt x="14" y="62"/>
                    </a:lnTo>
                    <a:lnTo>
                      <a:pt x="17" y="62"/>
                    </a:lnTo>
                    <a:lnTo>
                      <a:pt x="17" y="56"/>
                    </a:lnTo>
                    <a:lnTo>
                      <a:pt x="14" y="56"/>
                    </a:lnTo>
                    <a:lnTo>
                      <a:pt x="12" y="58"/>
                    </a:lnTo>
                    <a:lnTo>
                      <a:pt x="10" y="60"/>
                    </a:lnTo>
                    <a:lnTo>
                      <a:pt x="5" y="56"/>
                    </a:lnTo>
                    <a:lnTo>
                      <a:pt x="2" y="51"/>
                    </a:lnTo>
                    <a:lnTo>
                      <a:pt x="0" y="41"/>
                    </a:lnTo>
                    <a:lnTo>
                      <a:pt x="4"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80" name="Freeform 231"/>
              <p:cNvSpPr>
                <a:spLocks/>
              </p:cNvSpPr>
              <p:nvPr/>
            </p:nvSpPr>
            <p:spPr bwMode="auto">
              <a:xfrm>
                <a:off x="7155657" y="3729038"/>
                <a:ext cx="31750" cy="53975"/>
              </a:xfrm>
              <a:custGeom>
                <a:avLst/>
                <a:gdLst/>
                <a:ahLst/>
                <a:cxnLst>
                  <a:cxn ang="0">
                    <a:pos x="19" y="22"/>
                  </a:cxn>
                  <a:cxn ang="0">
                    <a:pos x="12" y="22"/>
                  </a:cxn>
                  <a:cxn ang="0">
                    <a:pos x="12" y="28"/>
                  </a:cxn>
                  <a:cxn ang="0">
                    <a:pos x="15" y="33"/>
                  </a:cxn>
                  <a:cxn ang="0">
                    <a:pos x="15" y="34"/>
                  </a:cxn>
                  <a:cxn ang="0">
                    <a:pos x="13" y="34"/>
                  </a:cxn>
                  <a:cxn ang="0">
                    <a:pos x="12" y="34"/>
                  </a:cxn>
                  <a:cxn ang="0">
                    <a:pos x="8" y="31"/>
                  </a:cxn>
                  <a:cxn ang="0">
                    <a:pos x="10" y="29"/>
                  </a:cxn>
                  <a:cxn ang="0">
                    <a:pos x="10" y="26"/>
                  </a:cxn>
                  <a:cxn ang="0">
                    <a:pos x="5" y="22"/>
                  </a:cxn>
                  <a:cxn ang="0">
                    <a:pos x="3" y="21"/>
                  </a:cxn>
                  <a:cxn ang="0">
                    <a:pos x="3" y="17"/>
                  </a:cxn>
                  <a:cxn ang="0">
                    <a:pos x="5" y="17"/>
                  </a:cxn>
                  <a:cxn ang="0">
                    <a:pos x="8" y="17"/>
                  </a:cxn>
                  <a:cxn ang="0">
                    <a:pos x="10" y="16"/>
                  </a:cxn>
                  <a:cxn ang="0">
                    <a:pos x="12" y="16"/>
                  </a:cxn>
                  <a:cxn ang="0">
                    <a:pos x="5" y="7"/>
                  </a:cxn>
                  <a:cxn ang="0">
                    <a:pos x="0" y="2"/>
                  </a:cxn>
                  <a:cxn ang="0">
                    <a:pos x="1" y="0"/>
                  </a:cxn>
                  <a:cxn ang="0">
                    <a:pos x="5" y="0"/>
                  </a:cxn>
                  <a:cxn ang="0">
                    <a:pos x="10" y="0"/>
                  </a:cxn>
                  <a:cxn ang="0">
                    <a:pos x="15" y="2"/>
                  </a:cxn>
                  <a:cxn ang="0">
                    <a:pos x="15" y="4"/>
                  </a:cxn>
                  <a:cxn ang="0">
                    <a:pos x="15" y="7"/>
                  </a:cxn>
                  <a:cxn ang="0">
                    <a:pos x="17" y="7"/>
                  </a:cxn>
                  <a:cxn ang="0">
                    <a:pos x="17" y="10"/>
                  </a:cxn>
                  <a:cxn ang="0">
                    <a:pos x="17" y="14"/>
                  </a:cxn>
                  <a:cxn ang="0">
                    <a:pos x="19" y="16"/>
                  </a:cxn>
                  <a:cxn ang="0">
                    <a:pos x="20" y="17"/>
                  </a:cxn>
                  <a:cxn ang="0">
                    <a:pos x="19" y="19"/>
                  </a:cxn>
                  <a:cxn ang="0">
                    <a:pos x="19" y="22"/>
                  </a:cxn>
                </a:cxnLst>
                <a:rect l="0" t="0" r="r" b="b"/>
                <a:pathLst>
                  <a:path w="20" h="34">
                    <a:moveTo>
                      <a:pt x="19" y="22"/>
                    </a:moveTo>
                    <a:lnTo>
                      <a:pt x="12" y="22"/>
                    </a:lnTo>
                    <a:lnTo>
                      <a:pt x="12" y="28"/>
                    </a:lnTo>
                    <a:lnTo>
                      <a:pt x="15" y="33"/>
                    </a:lnTo>
                    <a:lnTo>
                      <a:pt x="15" y="34"/>
                    </a:lnTo>
                    <a:lnTo>
                      <a:pt x="13" y="34"/>
                    </a:lnTo>
                    <a:lnTo>
                      <a:pt x="12" y="34"/>
                    </a:lnTo>
                    <a:lnTo>
                      <a:pt x="8" y="31"/>
                    </a:lnTo>
                    <a:lnTo>
                      <a:pt x="10" y="29"/>
                    </a:lnTo>
                    <a:lnTo>
                      <a:pt x="10" y="26"/>
                    </a:lnTo>
                    <a:lnTo>
                      <a:pt x="5" y="22"/>
                    </a:lnTo>
                    <a:lnTo>
                      <a:pt x="3" y="21"/>
                    </a:lnTo>
                    <a:lnTo>
                      <a:pt x="3" y="17"/>
                    </a:lnTo>
                    <a:lnTo>
                      <a:pt x="5" y="17"/>
                    </a:lnTo>
                    <a:lnTo>
                      <a:pt x="8" y="17"/>
                    </a:lnTo>
                    <a:lnTo>
                      <a:pt x="10" y="16"/>
                    </a:lnTo>
                    <a:lnTo>
                      <a:pt x="12" y="16"/>
                    </a:lnTo>
                    <a:lnTo>
                      <a:pt x="5" y="7"/>
                    </a:lnTo>
                    <a:lnTo>
                      <a:pt x="0" y="2"/>
                    </a:lnTo>
                    <a:lnTo>
                      <a:pt x="1" y="0"/>
                    </a:lnTo>
                    <a:lnTo>
                      <a:pt x="5" y="0"/>
                    </a:lnTo>
                    <a:lnTo>
                      <a:pt x="10" y="0"/>
                    </a:lnTo>
                    <a:lnTo>
                      <a:pt x="15" y="2"/>
                    </a:lnTo>
                    <a:lnTo>
                      <a:pt x="15" y="4"/>
                    </a:lnTo>
                    <a:lnTo>
                      <a:pt x="15" y="7"/>
                    </a:lnTo>
                    <a:lnTo>
                      <a:pt x="17" y="7"/>
                    </a:lnTo>
                    <a:lnTo>
                      <a:pt x="17" y="10"/>
                    </a:lnTo>
                    <a:lnTo>
                      <a:pt x="17" y="14"/>
                    </a:lnTo>
                    <a:lnTo>
                      <a:pt x="19" y="16"/>
                    </a:lnTo>
                    <a:lnTo>
                      <a:pt x="20" y="17"/>
                    </a:lnTo>
                    <a:lnTo>
                      <a:pt x="19" y="19"/>
                    </a:lnTo>
                    <a:lnTo>
                      <a:pt x="19"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81" name="Freeform 232"/>
              <p:cNvSpPr>
                <a:spLocks/>
              </p:cNvSpPr>
              <p:nvPr/>
            </p:nvSpPr>
            <p:spPr bwMode="auto">
              <a:xfrm>
                <a:off x="7108032" y="3743325"/>
                <a:ext cx="25400" cy="34925"/>
              </a:xfrm>
              <a:custGeom>
                <a:avLst/>
                <a:gdLst/>
                <a:ahLst/>
                <a:cxnLst>
                  <a:cxn ang="0">
                    <a:pos x="4" y="1"/>
                  </a:cxn>
                  <a:cxn ang="0">
                    <a:pos x="9" y="3"/>
                  </a:cxn>
                  <a:cxn ang="0">
                    <a:pos x="16" y="8"/>
                  </a:cxn>
                  <a:cxn ang="0">
                    <a:pos x="9" y="17"/>
                  </a:cxn>
                  <a:cxn ang="0">
                    <a:pos x="2" y="22"/>
                  </a:cxn>
                  <a:cxn ang="0">
                    <a:pos x="0" y="10"/>
                  </a:cxn>
                  <a:cxn ang="0">
                    <a:pos x="0" y="3"/>
                  </a:cxn>
                  <a:cxn ang="0">
                    <a:pos x="0" y="0"/>
                  </a:cxn>
                  <a:cxn ang="0">
                    <a:pos x="2" y="0"/>
                  </a:cxn>
                  <a:cxn ang="0">
                    <a:pos x="4" y="0"/>
                  </a:cxn>
                  <a:cxn ang="0">
                    <a:pos x="6" y="3"/>
                  </a:cxn>
                  <a:cxn ang="0">
                    <a:pos x="4" y="1"/>
                  </a:cxn>
                </a:cxnLst>
                <a:rect l="0" t="0" r="r" b="b"/>
                <a:pathLst>
                  <a:path w="16" h="22">
                    <a:moveTo>
                      <a:pt x="4" y="1"/>
                    </a:moveTo>
                    <a:lnTo>
                      <a:pt x="9" y="3"/>
                    </a:lnTo>
                    <a:lnTo>
                      <a:pt x="16" y="8"/>
                    </a:lnTo>
                    <a:lnTo>
                      <a:pt x="9" y="17"/>
                    </a:lnTo>
                    <a:lnTo>
                      <a:pt x="2" y="22"/>
                    </a:lnTo>
                    <a:lnTo>
                      <a:pt x="0" y="10"/>
                    </a:lnTo>
                    <a:lnTo>
                      <a:pt x="0" y="3"/>
                    </a:lnTo>
                    <a:lnTo>
                      <a:pt x="0" y="0"/>
                    </a:lnTo>
                    <a:lnTo>
                      <a:pt x="2" y="0"/>
                    </a:lnTo>
                    <a:lnTo>
                      <a:pt x="4" y="0"/>
                    </a:lnTo>
                    <a:lnTo>
                      <a:pt x="6" y="3"/>
                    </a:lnTo>
                    <a:lnTo>
                      <a:pt x="4"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82" name="Freeform 233"/>
              <p:cNvSpPr>
                <a:spLocks/>
              </p:cNvSpPr>
              <p:nvPr/>
            </p:nvSpPr>
            <p:spPr bwMode="auto">
              <a:xfrm>
                <a:off x="7122319" y="3767138"/>
                <a:ext cx="26988" cy="41275"/>
              </a:xfrm>
              <a:custGeom>
                <a:avLst/>
                <a:gdLst/>
                <a:ahLst/>
                <a:cxnLst>
                  <a:cxn ang="0">
                    <a:pos x="17" y="5"/>
                  </a:cxn>
                  <a:cxn ang="0">
                    <a:pos x="14" y="12"/>
                  </a:cxn>
                  <a:cxn ang="0">
                    <a:pos x="12" y="19"/>
                  </a:cxn>
                  <a:cxn ang="0">
                    <a:pos x="12" y="21"/>
                  </a:cxn>
                  <a:cxn ang="0">
                    <a:pos x="14" y="24"/>
                  </a:cxn>
                  <a:cxn ang="0">
                    <a:pos x="12" y="24"/>
                  </a:cxn>
                  <a:cxn ang="0">
                    <a:pos x="10" y="26"/>
                  </a:cxn>
                  <a:cxn ang="0">
                    <a:pos x="4" y="21"/>
                  </a:cxn>
                  <a:cxn ang="0">
                    <a:pos x="0" y="16"/>
                  </a:cxn>
                  <a:cxn ang="0">
                    <a:pos x="2" y="12"/>
                  </a:cxn>
                  <a:cxn ang="0">
                    <a:pos x="5" y="12"/>
                  </a:cxn>
                  <a:cxn ang="0">
                    <a:pos x="5" y="5"/>
                  </a:cxn>
                  <a:cxn ang="0">
                    <a:pos x="10" y="0"/>
                  </a:cxn>
                  <a:cxn ang="0">
                    <a:pos x="14" y="0"/>
                  </a:cxn>
                  <a:cxn ang="0">
                    <a:pos x="17" y="5"/>
                  </a:cxn>
                </a:cxnLst>
                <a:rect l="0" t="0" r="r" b="b"/>
                <a:pathLst>
                  <a:path w="17" h="26">
                    <a:moveTo>
                      <a:pt x="17" y="5"/>
                    </a:moveTo>
                    <a:lnTo>
                      <a:pt x="14" y="12"/>
                    </a:lnTo>
                    <a:lnTo>
                      <a:pt x="12" y="19"/>
                    </a:lnTo>
                    <a:lnTo>
                      <a:pt x="12" y="21"/>
                    </a:lnTo>
                    <a:lnTo>
                      <a:pt x="14" y="24"/>
                    </a:lnTo>
                    <a:lnTo>
                      <a:pt x="12" y="24"/>
                    </a:lnTo>
                    <a:lnTo>
                      <a:pt x="10" y="26"/>
                    </a:lnTo>
                    <a:lnTo>
                      <a:pt x="4" y="21"/>
                    </a:lnTo>
                    <a:lnTo>
                      <a:pt x="0" y="16"/>
                    </a:lnTo>
                    <a:lnTo>
                      <a:pt x="2" y="12"/>
                    </a:lnTo>
                    <a:lnTo>
                      <a:pt x="5" y="12"/>
                    </a:lnTo>
                    <a:lnTo>
                      <a:pt x="5" y="5"/>
                    </a:lnTo>
                    <a:lnTo>
                      <a:pt x="10" y="0"/>
                    </a:lnTo>
                    <a:lnTo>
                      <a:pt x="14" y="0"/>
                    </a:lnTo>
                    <a:lnTo>
                      <a:pt x="1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83" name="Freeform 234"/>
              <p:cNvSpPr>
                <a:spLocks/>
              </p:cNvSpPr>
              <p:nvPr/>
            </p:nvSpPr>
            <p:spPr bwMode="auto">
              <a:xfrm>
                <a:off x="7144544" y="3767138"/>
                <a:ext cx="12700" cy="26987"/>
              </a:xfrm>
              <a:custGeom>
                <a:avLst/>
                <a:gdLst/>
                <a:ahLst/>
                <a:cxnLst>
                  <a:cxn ang="0">
                    <a:pos x="8" y="0"/>
                  </a:cxn>
                  <a:cxn ang="0">
                    <a:pos x="5" y="9"/>
                  </a:cxn>
                  <a:cxn ang="0">
                    <a:pos x="3" y="17"/>
                  </a:cxn>
                  <a:cxn ang="0">
                    <a:pos x="0" y="17"/>
                  </a:cxn>
                  <a:cxn ang="0">
                    <a:pos x="2" y="9"/>
                  </a:cxn>
                  <a:cxn ang="0">
                    <a:pos x="5" y="0"/>
                  </a:cxn>
                  <a:cxn ang="0">
                    <a:pos x="7" y="0"/>
                  </a:cxn>
                  <a:cxn ang="0">
                    <a:pos x="8" y="0"/>
                  </a:cxn>
                </a:cxnLst>
                <a:rect l="0" t="0" r="r" b="b"/>
                <a:pathLst>
                  <a:path w="8" h="17">
                    <a:moveTo>
                      <a:pt x="8" y="0"/>
                    </a:moveTo>
                    <a:lnTo>
                      <a:pt x="5" y="9"/>
                    </a:lnTo>
                    <a:lnTo>
                      <a:pt x="3" y="17"/>
                    </a:lnTo>
                    <a:lnTo>
                      <a:pt x="0" y="17"/>
                    </a:lnTo>
                    <a:lnTo>
                      <a:pt x="2" y="9"/>
                    </a:lnTo>
                    <a:lnTo>
                      <a:pt x="5" y="0"/>
                    </a:lnTo>
                    <a:lnTo>
                      <a:pt x="7" y="0"/>
                    </a:lnTo>
                    <a:lnTo>
                      <a:pt x="8"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84" name="Freeform 235"/>
              <p:cNvSpPr>
                <a:spLocks/>
              </p:cNvSpPr>
              <p:nvPr/>
            </p:nvSpPr>
            <p:spPr bwMode="auto">
              <a:xfrm>
                <a:off x="7152482" y="3786188"/>
                <a:ext cx="15875" cy="14287"/>
              </a:xfrm>
              <a:custGeom>
                <a:avLst/>
                <a:gdLst/>
                <a:ahLst/>
                <a:cxnLst>
                  <a:cxn ang="0">
                    <a:pos x="10" y="0"/>
                  </a:cxn>
                  <a:cxn ang="0">
                    <a:pos x="7" y="5"/>
                  </a:cxn>
                  <a:cxn ang="0">
                    <a:pos x="2" y="9"/>
                  </a:cxn>
                  <a:cxn ang="0">
                    <a:pos x="0" y="7"/>
                  </a:cxn>
                  <a:cxn ang="0">
                    <a:pos x="0" y="5"/>
                  </a:cxn>
                  <a:cxn ang="0">
                    <a:pos x="0" y="2"/>
                  </a:cxn>
                  <a:cxn ang="0">
                    <a:pos x="3" y="0"/>
                  </a:cxn>
                  <a:cxn ang="0">
                    <a:pos x="7" y="0"/>
                  </a:cxn>
                  <a:cxn ang="0">
                    <a:pos x="10" y="0"/>
                  </a:cxn>
                </a:cxnLst>
                <a:rect l="0" t="0" r="r" b="b"/>
                <a:pathLst>
                  <a:path w="10" h="9">
                    <a:moveTo>
                      <a:pt x="10" y="0"/>
                    </a:moveTo>
                    <a:lnTo>
                      <a:pt x="7" y="5"/>
                    </a:lnTo>
                    <a:lnTo>
                      <a:pt x="2" y="9"/>
                    </a:lnTo>
                    <a:lnTo>
                      <a:pt x="0" y="7"/>
                    </a:lnTo>
                    <a:lnTo>
                      <a:pt x="0" y="5"/>
                    </a:lnTo>
                    <a:lnTo>
                      <a:pt x="0" y="2"/>
                    </a:lnTo>
                    <a:lnTo>
                      <a:pt x="3" y="0"/>
                    </a:lnTo>
                    <a:lnTo>
                      <a:pt x="7"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85" name="Freeform 236"/>
              <p:cNvSpPr>
                <a:spLocks/>
              </p:cNvSpPr>
              <p:nvPr/>
            </p:nvSpPr>
            <p:spPr bwMode="auto">
              <a:xfrm>
                <a:off x="7133432" y="3729038"/>
                <a:ext cx="19050" cy="15875"/>
              </a:xfrm>
              <a:custGeom>
                <a:avLst/>
                <a:gdLst/>
                <a:ahLst/>
                <a:cxnLst>
                  <a:cxn ang="0">
                    <a:pos x="0" y="7"/>
                  </a:cxn>
                  <a:cxn ang="0">
                    <a:pos x="0" y="2"/>
                  </a:cxn>
                  <a:cxn ang="0">
                    <a:pos x="0" y="0"/>
                  </a:cxn>
                  <a:cxn ang="0">
                    <a:pos x="5" y="0"/>
                  </a:cxn>
                  <a:cxn ang="0">
                    <a:pos x="9" y="4"/>
                  </a:cxn>
                  <a:cxn ang="0">
                    <a:pos x="12" y="10"/>
                  </a:cxn>
                  <a:cxn ang="0">
                    <a:pos x="9" y="10"/>
                  </a:cxn>
                  <a:cxn ang="0">
                    <a:pos x="7" y="7"/>
                  </a:cxn>
                  <a:cxn ang="0">
                    <a:pos x="3" y="5"/>
                  </a:cxn>
                  <a:cxn ang="0">
                    <a:pos x="0" y="7"/>
                  </a:cxn>
                </a:cxnLst>
                <a:rect l="0" t="0" r="r" b="b"/>
                <a:pathLst>
                  <a:path w="12" h="10">
                    <a:moveTo>
                      <a:pt x="0" y="7"/>
                    </a:moveTo>
                    <a:lnTo>
                      <a:pt x="0" y="2"/>
                    </a:lnTo>
                    <a:lnTo>
                      <a:pt x="0" y="0"/>
                    </a:lnTo>
                    <a:lnTo>
                      <a:pt x="5" y="0"/>
                    </a:lnTo>
                    <a:lnTo>
                      <a:pt x="9" y="4"/>
                    </a:lnTo>
                    <a:lnTo>
                      <a:pt x="12" y="10"/>
                    </a:lnTo>
                    <a:lnTo>
                      <a:pt x="9" y="10"/>
                    </a:lnTo>
                    <a:lnTo>
                      <a:pt x="7" y="7"/>
                    </a:lnTo>
                    <a:lnTo>
                      <a:pt x="3" y="5"/>
                    </a:lnTo>
                    <a:lnTo>
                      <a:pt x="0"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86" name="Freeform 237"/>
              <p:cNvSpPr>
                <a:spLocks/>
              </p:cNvSpPr>
              <p:nvPr/>
            </p:nvSpPr>
            <p:spPr bwMode="auto">
              <a:xfrm>
                <a:off x="7073107" y="3706813"/>
                <a:ext cx="25400" cy="28575"/>
              </a:xfrm>
              <a:custGeom>
                <a:avLst/>
                <a:gdLst/>
                <a:ahLst/>
                <a:cxnLst>
                  <a:cxn ang="0">
                    <a:pos x="12" y="18"/>
                  </a:cxn>
                  <a:cxn ang="0">
                    <a:pos x="9" y="14"/>
                  </a:cxn>
                  <a:cxn ang="0">
                    <a:pos x="5" y="9"/>
                  </a:cxn>
                  <a:cxn ang="0">
                    <a:pos x="0" y="2"/>
                  </a:cxn>
                  <a:cxn ang="0">
                    <a:pos x="0" y="0"/>
                  </a:cxn>
                  <a:cxn ang="0">
                    <a:pos x="4" y="0"/>
                  </a:cxn>
                  <a:cxn ang="0">
                    <a:pos x="12" y="2"/>
                  </a:cxn>
                  <a:cxn ang="0">
                    <a:pos x="16" y="9"/>
                  </a:cxn>
                  <a:cxn ang="0">
                    <a:pos x="16" y="14"/>
                  </a:cxn>
                  <a:cxn ang="0">
                    <a:pos x="12" y="18"/>
                  </a:cxn>
                </a:cxnLst>
                <a:rect l="0" t="0" r="r" b="b"/>
                <a:pathLst>
                  <a:path w="16" h="18">
                    <a:moveTo>
                      <a:pt x="12" y="18"/>
                    </a:moveTo>
                    <a:lnTo>
                      <a:pt x="9" y="14"/>
                    </a:lnTo>
                    <a:lnTo>
                      <a:pt x="5" y="9"/>
                    </a:lnTo>
                    <a:lnTo>
                      <a:pt x="0" y="2"/>
                    </a:lnTo>
                    <a:lnTo>
                      <a:pt x="0" y="0"/>
                    </a:lnTo>
                    <a:lnTo>
                      <a:pt x="4" y="0"/>
                    </a:lnTo>
                    <a:lnTo>
                      <a:pt x="12" y="2"/>
                    </a:lnTo>
                    <a:lnTo>
                      <a:pt x="16" y="9"/>
                    </a:lnTo>
                    <a:lnTo>
                      <a:pt x="16" y="14"/>
                    </a:lnTo>
                    <a:lnTo>
                      <a:pt x="12" y="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87" name="Freeform 238"/>
              <p:cNvSpPr>
                <a:spLocks/>
              </p:cNvSpPr>
              <p:nvPr/>
            </p:nvSpPr>
            <p:spPr bwMode="auto">
              <a:xfrm>
                <a:off x="7100094" y="3709988"/>
                <a:ext cx="7938" cy="3175"/>
              </a:xfrm>
              <a:custGeom>
                <a:avLst/>
                <a:gdLst/>
                <a:ahLst/>
                <a:cxnLst>
                  <a:cxn ang="0">
                    <a:pos x="0" y="0"/>
                  </a:cxn>
                  <a:cxn ang="0">
                    <a:pos x="2" y="0"/>
                  </a:cxn>
                  <a:cxn ang="0">
                    <a:pos x="5" y="2"/>
                  </a:cxn>
                  <a:cxn ang="0">
                    <a:pos x="2" y="0"/>
                  </a:cxn>
                  <a:cxn ang="0">
                    <a:pos x="0" y="0"/>
                  </a:cxn>
                </a:cxnLst>
                <a:rect l="0" t="0" r="r" b="b"/>
                <a:pathLst>
                  <a:path w="5" h="2">
                    <a:moveTo>
                      <a:pt x="0" y="0"/>
                    </a:moveTo>
                    <a:lnTo>
                      <a:pt x="2" y="0"/>
                    </a:lnTo>
                    <a:lnTo>
                      <a:pt x="5" y="2"/>
                    </a:lnTo>
                    <a:lnTo>
                      <a:pt x="2"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88" name="Freeform 239"/>
              <p:cNvSpPr>
                <a:spLocks/>
              </p:cNvSpPr>
              <p:nvPr/>
            </p:nvSpPr>
            <p:spPr bwMode="auto">
              <a:xfrm>
                <a:off x="7061994" y="3421063"/>
                <a:ext cx="36513" cy="69850"/>
              </a:xfrm>
              <a:custGeom>
                <a:avLst/>
                <a:gdLst/>
                <a:ahLst/>
                <a:cxnLst>
                  <a:cxn ang="0">
                    <a:pos x="9" y="44"/>
                  </a:cxn>
                  <a:cxn ang="0">
                    <a:pos x="0" y="39"/>
                  </a:cxn>
                  <a:cxn ang="0">
                    <a:pos x="0" y="29"/>
                  </a:cxn>
                  <a:cxn ang="0">
                    <a:pos x="0" y="19"/>
                  </a:cxn>
                  <a:cxn ang="0">
                    <a:pos x="5" y="10"/>
                  </a:cxn>
                  <a:cxn ang="0">
                    <a:pos x="11" y="2"/>
                  </a:cxn>
                  <a:cxn ang="0">
                    <a:pos x="17" y="0"/>
                  </a:cxn>
                  <a:cxn ang="0">
                    <a:pos x="23" y="5"/>
                  </a:cxn>
                  <a:cxn ang="0">
                    <a:pos x="21" y="22"/>
                  </a:cxn>
                  <a:cxn ang="0">
                    <a:pos x="16" y="36"/>
                  </a:cxn>
                  <a:cxn ang="0">
                    <a:pos x="9" y="44"/>
                  </a:cxn>
                </a:cxnLst>
                <a:rect l="0" t="0" r="r" b="b"/>
                <a:pathLst>
                  <a:path w="23" h="44">
                    <a:moveTo>
                      <a:pt x="9" y="44"/>
                    </a:moveTo>
                    <a:lnTo>
                      <a:pt x="0" y="39"/>
                    </a:lnTo>
                    <a:lnTo>
                      <a:pt x="0" y="29"/>
                    </a:lnTo>
                    <a:lnTo>
                      <a:pt x="0" y="19"/>
                    </a:lnTo>
                    <a:lnTo>
                      <a:pt x="5" y="10"/>
                    </a:lnTo>
                    <a:lnTo>
                      <a:pt x="11" y="2"/>
                    </a:lnTo>
                    <a:lnTo>
                      <a:pt x="17" y="0"/>
                    </a:lnTo>
                    <a:lnTo>
                      <a:pt x="23" y="5"/>
                    </a:lnTo>
                    <a:lnTo>
                      <a:pt x="21" y="22"/>
                    </a:lnTo>
                    <a:lnTo>
                      <a:pt x="16" y="36"/>
                    </a:lnTo>
                    <a:lnTo>
                      <a:pt x="9" y="4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89" name="Freeform 240"/>
              <p:cNvSpPr>
                <a:spLocks/>
              </p:cNvSpPr>
              <p:nvPr/>
            </p:nvSpPr>
            <p:spPr bwMode="auto">
              <a:xfrm>
                <a:off x="6796882" y="3543300"/>
                <a:ext cx="55563" cy="49212"/>
              </a:xfrm>
              <a:custGeom>
                <a:avLst/>
                <a:gdLst/>
                <a:ahLst/>
                <a:cxnLst>
                  <a:cxn ang="0">
                    <a:pos x="2" y="14"/>
                  </a:cxn>
                  <a:cxn ang="0">
                    <a:pos x="6" y="10"/>
                  </a:cxn>
                  <a:cxn ang="0">
                    <a:pos x="14" y="7"/>
                  </a:cxn>
                  <a:cxn ang="0">
                    <a:pos x="21" y="2"/>
                  </a:cxn>
                  <a:cxn ang="0">
                    <a:pos x="30" y="0"/>
                  </a:cxn>
                  <a:cxn ang="0">
                    <a:pos x="31" y="2"/>
                  </a:cxn>
                  <a:cxn ang="0">
                    <a:pos x="35" y="9"/>
                  </a:cxn>
                  <a:cxn ang="0">
                    <a:pos x="31" y="14"/>
                  </a:cxn>
                  <a:cxn ang="0">
                    <a:pos x="26" y="23"/>
                  </a:cxn>
                  <a:cxn ang="0">
                    <a:pos x="18" y="28"/>
                  </a:cxn>
                  <a:cxn ang="0">
                    <a:pos x="12" y="31"/>
                  </a:cxn>
                  <a:cxn ang="0">
                    <a:pos x="4" y="28"/>
                  </a:cxn>
                  <a:cxn ang="0">
                    <a:pos x="2" y="21"/>
                  </a:cxn>
                  <a:cxn ang="0">
                    <a:pos x="0" y="16"/>
                  </a:cxn>
                  <a:cxn ang="0">
                    <a:pos x="2" y="14"/>
                  </a:cxn>
                </a:cxnLst>
                <a:rect l="0" t="0" r="r" b="b"/>
                <a:pathLst>
                  <a:path w="35" h="31">
                    <a:moveTo>
                      <a:pt x="2" y="14"/>
                    </a:moveTo>
                    <a:lnTo>
                      <a:pt x="6" y="10"/>
                    </a:lnTo>
                    <a:lnTo>
                      <a:pt x="14" y="7"/>
                    </a:lnTo>
                    <a:lnTo>
                      <a:pt x="21" y="2"/>
                    </a:lnTo>
                    <a:lnTo>
                      <a:pt x="30" y="0"/>
                    </a:lnTo>
                    <a:lnTo>
                      <a:pt x="31" y="2"/>
                    </a:lnTo>
                    <a:lnTo>
                      <a:pt x="35" y="9"/>
                    </a:lnTo>
                    <a:lnTo>
                      <a:pt x="31" y="14"/>
                    </a:lnTo>
                    <a:lnTo>
                      <a:pt x="26" y="23"/>
                    </a:lnTo>
                    <a:lnTo>
                      <a:pt x="18" y="28"/>
                    </a:lnTo>
                    <a:lnTo>
                      <a:pt x="12" y="31"/>
                    </a:lnTo>
                    <a:lnTo>
                      <a:pt x="4" y="28"/>
                    </a:lnTo>
                    <a:lnTo>
                      <a:pt x="2" y="21"/>
                    </a:lnTo>
                    <a:lnTo>
                      <a:pt x="0" y="16"/>
                    </a:lnTo>
                    <a:lnTo>
                      <a:pt x="2"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90" name="Freeform 241"/>
              <p:cNvSpPr>
                <a:spLocks/>
              </p:cNvSpPr>
              <p:nvPr/>
            </p:nvSpPr>
            <p:spPr bwMode="auto">
              <a:xfrm>
                <a:off x="6549232" y="3467100"/>
                <a:ext cx="266700" cy="515937"/>
              </a:xfrm>
              <a:custGeom>
                <a:avLst/>
                <a:gdLst/>
                <a:ahLst/>
                <a:cxnLst>
                  <a:cxn ang="0">
                    <a:pos x="24" y="175"/>
                  </a:cxn>
                  <a:cxn ang="0">
                    <a:pos x="27" y="162"/>
                  </a:cxn>
                  <a:cxn ang="0">
                    <a:pos x="19" y="138"/>
                  </a:cxn>
                  <a:cxn ang="0">
                    <a:pos x="8" y="124"/>
                  </a:cxn>
                  <a:cxn ang="0">
                    <a:pos x="12" y="117"/>
                  </a:cxn>
                  <a:cxn ang="0">
                    <a:pos x="10" y="89"/>
                  </a:cxn>
                  <a:cxn ang="0">
                    <a:pos x="2" y="62"/>
                  </a:cxn>
                  <a:cxn ang="0">
                    <a:pos x="22" y="50"/>
                  </a:cxn>
                  <a:cxn ang="0">
                    <a:pos x="43" y="31"/>
                  </a:cxn>
                  <a:cxn ang="0">
                    <a:pos x="55" y="26"/>
                  </a:cxn>
                  <a:cxn ang="0">
                    <a:pos x="60" y="24"/>
                  </a:cxn>
                  <a:cxn ang="0">
                    <a:pos x="65" y="9"/>
                  </a:cxn>
                  <a:cxn ang="0">
                    <a:pos x="100" y="3"/>
                  </a:cxn>
                  <a:cxn ang="0">
                    <a:pos x="132" y="7"/>
                  </a:cxn>
                  <a:cxn ang="0">
                    <a:pos x="139" y="34"/>
                  </a:cxn>
                  <a:cxn ang="0">
                    <a:pos x="115" y="67"/>
                  </a:cxn>
                  <a:cxn ang="0">
                    <a:pos x="125" y="83"/>
                  </a:cxn>
                  <a:cxn ang="0">
                    <a:pos x="150" y="107"/>
                  </a:cxn>
                  <a:cxn ang="0">
                    <a:pos x="167" y="141"/>
                  </a:cxn>
                  <a:cxn ang="0">
                    <a:pos x="163" y="181"/>
                  </a:cxn>
                  <a:cxn ang="0">
                    <a:pos x="139" y="191"/>
                  </a:cxn>
                  <a:cxn ang="0">
                    <a:pos x="120" y="206"/>
                  </a:cxn>
                  <a:cxn ang="0">
                    <a:pos x="119" y="206"/>
                  </a:cxn>
                  <a:cxn ang="0">
                    <a:pos x="107" y="220"/>
                  </a:cxn>
                  <a:cxn ang="0">
                    <a:pos x="103" y="205"/>
                  </a:cxn>
                  <a:cxn ang="0">
                    <a:pos x="101" y="196"/>
                  </a:cxn>
                  <a:cxn ang="0">
                    <a:pos x="76" y="181"/>
                  </a:cxn>
                  <a:cxn ang="0">
                    <a:pos x="50" y="162"/>
                  </a:cxn>
                  <a:cxn ang="0">
                    <a:pos x="41" y="150"/>
                  </a:cxn>
                  <a:cxn ang="0">
                    <a:pos x="31" y="155"/>
                  </a:cxn>
                  <a:cxn ang="0">
                    <a:pos x="29" y="172"/>
                  </a:cxn>
                  <a:cxn ang="0">
                    <a:pos x="19" y="198"/>
                  </a:cxn>
                  <a:cxn ang="0">
                    <a:pos x="33" y="213"/>
                  </a:cxn>
                  <a:cxn ang="0">
                    <a:pos x="36" y="229"/>
                  </a:cxn>
                  <a:cxn ang="0">
                    <a:pos x="67" y="253"/>
                  </a:cxn>
                  <a:cxn ang="0">
                    <a:pos x="81" y="270"/>
                  </a:cxn>
                  <a:cxn ang="0">
                    <a:pos x="82" y="289"/>
                  </a:cxn>
                  <a:cxn ang="0">
                    <a:pos x="94" y="315"/>
                  </a:cxn>
                  <a:cxn ang="0">
                    <a:pos x="89" y="323"/>
                  </a:cxn>
                  <a:cxn ang="0">
                    <a:pos x="81" y="322"/>
                  </a:cxn>
                  <a:cxn ang="0">
                    <a:pos x="55" y="304"/>
                  </a:cxn>
                  <a:cxn ang="0">
                    <a:pos x="38" y="272"/>
                  </a:cxn>
                  <a:cxn ang="0">
                    <a:pos x="31" y="246"/>
                  </a:cxn>
                  <a:cxn ang="0">
                    <a:pos x="19" y="222"/>
                  </a:cxn>
                  <a:cxn ang="0">
                    <a:pos x="10" y="220"/>
                  </a:cxn>
                  <a:cxn ang="0">
                    <a:pos x="10" y="208"/>
                  </a:cxn>
                </a:cxnLst>
                <a:rect l="0" t="0" r="r" b="b"/>
                <a:pathLst>
                  <a:path w="168" h="325">
                    <a:moveTo>
                      <a:pt x="14" y="199"/>
                    </a:moveTo>
                    <a:lnTo>
                      <a:pt x="19" y="186"/>
                    </a:lnTo>
                    <a:lnTo>
                      <a:pt x="24" y="175"/>
                    </a:lnTo>
                    <a:lnTo>
                      <a:pt x="26" y="172"/>
                    </a:lnTo>
                    <a:lnTo>
                      <a:pt x="29" y="169"/>
                    </a:lnTo>
                    <a:lnTo>
                      <a:pt x="27" y="162"/>
                    </a:lnTo>
                    <a:lnTo>
                      <a:pt x="24" y="153"/>
                    </a:lnTo>
                    <a:lnTo>
                      <a:pt x="21" y="143"/>
                    </a:lnTo>
                    <a:lnTo>
                      <a:pt x="19" y="138"/>
                    </a:lnTo>
                    <a:lnTo>
                      <a:pt x="10" y="132"/>
                    </a:lnTo>
                    <a:lnTo>
                      <a:pt x="8" y="126"/>
                    </a:lnTo>
                    <a:lnTo>
                      <a:pt x="8" y="124"/>
                    </a:lnTo>
                    <a:lnTo>
                      <a:pt x="10" y="122"/>
                    </a:lnTo>
                    <a:lnTo>
                      <a:pt x="10" y="122"/>
                    </a:lnTo>
                    <a:lnTo>
                      <a:pt x="12" y="117"/>
                    </a:lnTo>
                    <a:lnTo>
                      <a:pt x="14" y="112"/>
                    </a:lnTo>
                    <a:lnTo>
                      <a:pt x="12" y="100"/>
                    </a:lnTo>
                    <a:lnTo>
                      <a:pt x="10" y="89"/>
                    </a:lnTo>
                    <a:lnTo>
                      <a:pt x="3" y="83"/>
                    </a:lnTo>
                    <a:lnTo>
                      <a:pt x="0" y="76"/>
                    </a:lnTo>
                    <a:lnTo>
                      <a:pt x="2" y="62"/>
                    </a:lnTo>
                    <a:lnTo>
                      <a:pt x="8" y="55"/>
                    </a:lnTo>
                    <a:lnTo>
                      <a:pt x="14" y="52"/>
                    </a:lnTo>
                    <a:lnTo>
                      <a:pt x="22" y="50"/>
                    </a:lnTo>
                    <a:lnTo>
                      <a:pt x="29" y="43"/>
                    </a:lnTo>
                    <a:lnTo>
                      <a:pt x="36" y="38"/>
                    </a:lnTo>
                    <a:lnTo>
                      <a:pt x="43" y="31"/>
                    </a:lnTo>
                    <a:lnTo>
                      <a:pt x="51" y="22"/>
                    </a:lnTo>
                    <a:lnTo>
                      <a:pt x="55" y="22"/>
                    </a:lnTo>
                    <a:lnTo>
                      <a:pt x="55" y="26"/>
                    </a:lnTo>
                    <a:lnTo>
                      <a:pt x="58" y="28"/>
                    </a:lnTo>
                    <a:lnTo>
                      <a:pt x="58" y="26"/>
                    </a:lnTo>
                    <a:lnTo>
                      <a:pt x="60" y="24"/>
                    </a:lnTo>
                    <a:lnTo>
                      <a:pt x="60" y="17"/>
                    </a:lnTo>
                    <a:lnTo>
                      <a:pt x="60" y="10"/>
                    </a:lnTo>
                    <a:lnTo>
                      <a:pt x="65" y="9"/>
                    </a:lnTo>
                    <a:lnTo>
                      <a:pt x="74" y="7"/>
                    </a:lnTo>
                    <a:lnTo>
                      <a:pt x="89" y="7"/>
                    </a:lnTo>
                    <a:lnTo>
                      <a:pt x="100" y="3"/>
                    </a:lnTo>
                    <a:lnTo>
                      <a:pt x="110" y="0"/>
                    </a:lnTo>
                    <a:lnTo>
                      <a:pt x="120" y="3"/>
                    </a:lnTo>
                    <a:lnTo>
                      <a:pt x="132" y="7"/>
                    </a:lnTo>
                    <a:lnTo>
                      <a:pt x="137" y="19"/>
                    </a:lnTo>
                    <a:lnTo>
                      <a:pt x="150" y="26"/>
                    </a:lnTo>
                    <a:lnTo>
                      <a:pt x="139" y="34"/>
                    </a:lnTo>
                    <a:lnTo>
                      <a:pt x="127" y="43"/>
                    </a:lnTo>
                    <a:lnTo>
                      <a:pt x="119" y="52"/>
                    </a:lnTo>
                    <a:lnTo>
                      <a:pt x="115" y="67"/>
                    </a:lnTo>
                    <a:lnTo>
                      <a:pt x="115" y="71"/>
                    </a:lnTo>
                    <a:lnTo>
                      <a:pt x="119" y="74"/>
                    </a:lnTo>
                    <a:lnTo>
                      <a:pt x="125" y="83"/>
                    </a:lnTo>
                    <a:lnTo>
                      <a:pt x="132" y="91"/>
                    </a:lnTo>
                    <a:lnTo>
                      <a:pt x="139" y="100"/>
                    </a:lnTo>
                    <a:lnTo>
                      <a:pt x="150" y="107"/>
                    </a:lnTo>
                    <a:lnTo>
                      <a:pt x="156" y="114"/>
                    </a:lnTo>
                    <a:lnTo>
                      <a:pt x="163" y="127"/>
                    </a:lnTo>
                    <a:lnTo>
                      <a:pt x="167" y="141"/>
                    </a:lnTo>
                    <a:lnTo>
                      <a:pt x="168" y="155"/>
                    </a:lnTo>
                    <a:lnTo>
                      <a:pt x="165" y="167"/>
                    </a:lnTo>
                    <a:lnTo>
                      <a:pt x="163" y="181"/>
                    </a:lnTo>
                    <a:lnTo>
                      <a:pt x="151" y="182"/>
                    </a:lnTo>
                    <a:lnTo>
                      <a:pt x="146" y="186"/>
                    </a:lnTo>
                    <a:lnTo>
                      <a:pt x="139" y="191"/>
                    </a:lnTo>
                    <a:lnTo>
                      <a:pt x="132" y="196"/>
                    </a:lnTo>
                    <a:lnTo>
                      <a:pt x="125" y="201"/>
                    </a:lnTo>
                    <a:lnTo>
                      <a:pt x="120" y="206"/>
                    </a:lnTo>
                    <a:lnTo>
                      <a:pt x="119" y="205"/>
                    </a:lnTo>
                    <a:lnTo>
                      <a:pt x="119" y="203"/>
                    </a:lnTo>
                    <a:lnTo>
                      <a:pt x="119" y="206"/>
                    </a:lnTo>
                    <a:lnTo>
                      <a:pt x="119" y="208"/>
                    </a:lnTo>
                    <a:lnTo>
                      <a:pt x="113" y="215"/>
                    </a:lnTo>
                    <a:lnTo>
                      <a:pt x="107" y="220"/>
                    </a:lnTo>
                    <a:lnTo>
                      <a:pt x="103" y="215"/>
                    </a:lnTo>
                    <a:lnTo>
                      <a:pt x="103" y="212"/>
                    </a:lnTo>
                    <a:lnTo>
                      <a:pt x="103" y="205"/>
                    </a:lnTo>
                    <a:lnTo>
                      <a:pt x="105" y="203"/>
                    </a:lnTo>
                    <a:lnTo>
                      <a:pt x="101" y="199"/>
                    </a:lnTo>
                    <a:lnTo>
                      <a:pt x="101" y="196"/>
                    </a:lnTo>
                    <a:lnTo>
                      <a:pt x="89" y="193"/>
                    </a:lnTo>
                    <a:lnTo>
                      <a:pt x="84" y="186"/>
                    </a:lnTo>
                    <a:lnTo>
                      <a:pt x="76" y="181"/>
                    </a:lnTo>
                    <a:lnTo>
                      <a:pt x="72" y="172"/>
                    </a:lnTo>
                    <a:lnTo>
                      <a:pt x="60" y="165"/>
                    </a:lnTo>
                    <a:lnTo>
                      <a:pt x="50" y="162"/>
                    </a:lnTo>
                    <a:lnTo>
                      <a:pt x="48" y="158"/>
                    </a:lnTo>
                    <a:lnTo>
                      <a:pt x="48" y="155"/>
                    </a:lnTo>
                    <a:lnTo>
                      <a:pt x="41" y="150"/>
                    </a:lnTo>
                    <a:lnTo>
                      <a:pt x="34" y="150"/>
                    </a:lnTo>
                    <a:lnTo>
                      <a:pt x="31" y="150"/>
                    </a:lnTo>
                    <a:lnTo>
                      <a:pt x="31" y="155"/>
                    </a:lnTo>
                    <a:lnTo>
                      <a:pt x="31" y="158"/>
                    </a:lnTo>
                    <a:lnTo>
                      <a:pt x="33" y="165"/>
                    </a:lnTo>
                    <a:lnTo>
                      <a:pt x="29" y="172"/>
                    </a:lnTo>
                    <a:lnTo>
                      <a:pt x="26" y="181"/>
                    </a:lnTo>
                    <a:lnTo>
                      <a:pt x="21" y="187"/>
                    </a:lnTo>
                    <a:lnTo>
                      <a:pt x="19" y="198"/>
                    </a:lnTo>
                    <a:lnTo>
                      <a:pt x="21" y="205"/>
                    </a:lnTo>
                    <a:lnTo>
                      <a:pt x="27" y="210"/>
                    </a:lnTo>
                    <a:lnTo>
                      <a:pt x="33" y="213"/>
                    </a:lnTo>
                    <a:lnTo>
                      <a:pt x="36" y="222"/>
                    </a:lnTo>
                    <a:lnTo>
                      <a:pt x="34" y="222"/>
                    </a:lnTo>
                    <a:lnTo>
                      <a:pt x="36" y="229"/>
                    </a:lnTo>
                    <a:lnTo>
                      <a:pt x="41" y="237"/>
                    </a:lnTo>
                    <a:lnTo>
                      <a:pt x="53" y="244"/>
                    </a:lnTo>
                    <a:lnTo>
                      <a:pt x="67" y="253"/>
                    </a:lnTo>
                    <a:lnTo>
                      <a:pt x="72" y="258"/>
                    </a:lnTo>
                    <a:lnTo>
                      <a:pt x="77" y="263"/>
                    </a:lnTo>
                    <a:lnTo>
                      <a:pt x="81" y="270"/>
                    </a:lnTo>
                    <a:lnTo>
                      <a:pt x="84" y="280"/>
                    </a:lnTo>
                    <a:lnTo>
                      <a:pt x="82" y="284"/>
                    </a:lnTo>
                    <a:lnTo>
                      <a:pt x="82" y="289"/>
                    </a:lnTo>
                    <a:lnTo>
                      <a:pt x="86" y="299"/>
                    </a:lnTo>
                    <a:lnTo>
                      <a:pt x="93" y="308"/>
                    </a:lnTo>
                    <a:lnTo>
                      <a:pt x="94" y="315"/>
                    </a:lnTo>
                    <a:lnTo>
                      <a:pt x="96" y="323"/>
                    </a:lnTo>
                    <a:lnTo>
                      <a:pt x="93" y="323"/>
                    </a:lnTo>
                    <a:lnTo>
                      <a:pt x="89" y="323"/>
                    </a:lnTo>
                    <a:lnTo>
                      <a:pt x="88" y="323"/>
                    </a:lnTo>
                    <a:lnTo>
                      <a:pt x="86" y="325"/>
                    </a:lnTo>
                    <a:lnTo>
                      <a:pt x="81" y="322"/>
                    </a:lnTo>
                    <a:lnTo>
                      <a:pt x="77" y="320"/>
                    </a:lnTo>
                    <a:lnTo>
                      <a:pt x="65" y="313"/>
                    </a:lnTo>
                    <a:lnTo>
                      <a:pt x="55" y="304"/>
                    </a:lnTo>
                    <a:lnTo>
                      <a:pt x="46" y="294"/>
                    </a:lnTo>
                    <a:lnTo>
                      <a:pt x="43" y="284"/>
                    </a:lnTo>
                    <a:lnTo>
                      <a:pt x="38" y="272"/>
                    </a:lnTo>
                    <a:lnTo>
                      <a:pt x="36" y="263"/>
                    </a:lnTo>
                    <a:lnTo>
                      <a:pt x="33" y="253"/>
                    </a:lnTo>
                    <a:lnTo>
                      <a:pt x="31" y="246"/>
                    </a:lnTo>
                    <a:lnTo>
                      <a:pt x="27" y="237"/>
                    </a:lnTo>
                    <a:lnTo>
                      <a:pt x="24" y="230"/>
                    </a:lnTo>
                    <a:lnTo>
                      <a:pt x="19" y="222"/>
                    </a:lnTo>
                    <a:lnTo>
                      <a:pt x="15" y="220"/>
                    </a:lnTo>
                    <a:lnTo>
                      <a:pt x="12" y="220"/>
                    </a:lnTo>
                    <a:lnTo>
                      <a:pt x="10" y="220"/>
                    </a:lnTo>
                    <a:lnTo>
                      <a:pt x="8" y="218"/>
                    </a:lnTo>
                    <a:lnTo>
                      <a:pt x="10" y="218"/>
                    </a:lnTo>
                    <a:lnTo>
                      <a:pt x="10" y="208"/>
                    </a:lnTo>
                    <a:lnTo>
                      <a:pt x="12" y="199"/>
                    </a:lnTo>
                    <a:lnTo>
                      <a:pt x="14" y="19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91" name="Freeform 242"/>
              <p:cNvSpPr>
                <a:spLocks/>
              </p:cNvSpPr>
              <p:nvPr/>
            </p:nvSpPr>
            <p:spPr bwMode="auto">
              <a:xfrm>
                <a:off x="6723857" y="4048125"/>
                <a:ext cx="34925" cy="36512"/>
              </a:xfrm>
              <a:custGeom>
                <a:avLst/>
                <a:gdLst/>
                <a:ahLst/>
                <a:cxnLst>
                  <a:cxn ang="0">
                    <a:pos x="14" y="19"/>
                  </a:cxn>
                  <a:cxn ang="0">
                    <a:pos x="10" y="16"/>
                  </a:cxn>
                  <a:cxn ang="0">
                    <a:pos x="9" y="12"/>
                  </a:cxn>
                  <a:cxn ang="0">
                    <a:pos x="3" y="9"/>
                  </a:cxn>
                  <a:cxn ang="0">
                    <a:pos x="0" y="7"/>
                  </a:cxn>
                  <a:cxn ang="0">
                    <a:pos x="3" y="2"/>
                  </a:cxn>
                  <a:cxn ang="0">
                    <a:pos x="10" y="0"/>
                  </a:cxn>
                  <a:cxn ang="0">
                    <a:pos x="14" y="11"/>
                  </a:cxn>
                  <a:cxn ang="0">
                    <a:pos x="22" y="17"/>
                  </a:cxn>
                  <a:cxn ang="0">
                    <a:pos x="22" y="19"/>
                  </a:cxn>
                  <a:cxn ang="0">
                    <a:pos x="22" y="23"/>
                  </a:cxn>
                  <a:cxn ang="0">
                    <a:pos x="21" y="23"/>
                  </a:cxn>
                  <a:cxn ang="0">
                    <a:pos x="19" y="23"/>
                  </a:cxn>
                  <a:cxn ang="0">
                    <a:pos x="15" y="21"/>
                  </a:cxn>
                  <a:cxn ang="0">
                    <a:pos x="14" y="19"/>
                  </a:cxn>
                </a:cxnLst>
                <a:rect l="0" t="0" r="r" b="b"/>
                <a:pathLst>
                  <a:path w="22" h="23">
                    <a:moveTo>
                      <a:pt x="14" y="19"/>
                    </a:moveTo>
                    <a:lnTo>
                      <a:pt x="10" y="16"/>
                    </a:lnTo>
                    <a:lnTo>
                      <a:pt x="9" y="12"/>
                    </a:lnTo>
                    <a:lnTo>
                      <a:pt x="3" y="9"/>
                    </a:lnTo>
                    <a:lnTo>
                      <a:pt x="0" y="7"/>
                    </a:lnTo>
                    <a:lnTo>
                      <a:pt x="3" y="2"/>
                    </a:lnTo>
                    <a:lnTo>
                      <a:pt x="10" y="0"/>
                    </a:lnTo>
                    <a:lnTo>
                      <a:pt x="14" y="11"/>
                    </a:lnTo>
                    <a:lnTo>
                      <a:pt x="22" y="17"/>
                    </a:lnTo>
                    <a:lnTo>
                      <a:pt x="22" y="19"/>
                    </a:lnTo>
                    <a:lnTo>
                      <a:pt x="22" y="23"/>
                    </a:lnTo>
                    <a:lnTo>
                      <a:pt x="21" y="23"/>
                    </a:lnTo>
                    <a:lnTo>
                      <a:pt x="19" y="23"/>
                    </a:lnTo>
                    <a:lnTo>
                      <a:pt x="15" y="21"/>
                    </a:lnTo>
                    <a:lnTo>
                      <a:pt x="14"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92" name="Freeform 243"/>
              <p:cNvSpPr>
                <a:spLocks/>
              </p:cNvSpPr>
              <p:nvPr/>
            </p:nvSpPr>
            <p:spPr bwMode="auto">
              <a:xfrm>
                <a:off x="6781007" y="4075113"/>
                <a:ext cx="15875" cy="14287"/>
              </a:xfrm>
              <a:custGeom>
                <a:avLst/>
                <a:gdLst/>
                <a:ahLst/>
                <a:cxnLst>
                  <a:cxn ang="0">
                    <a:pos x="0" y="0"/>
                  </a:cxn>
                  <a:cxn ang="0">
                    <a:pos x="2" y="0"/>
                  </a:cxn>
                  <a:cxn ang="0">
                    <a:pos x="5" y="0"/>
                  </a:cxn>
                  <a:cxn ang="0">
                    <a:pos x="7" y="0"/>
                  </a:cxn>
                  <a:cxn ang="0">
                    <a:pos x="10" y="2"/>
                  </a:cxn>
                  <a:cxn ang="0">
                    <a:pos x="7" y="6"/>
                  </a:cxn>
                  <a:cxn ang="0">
                    <a:pos x="4" y="9"/>
                  </a:cxn>
                  <a:cxn ang="0">
                    <a:pos x="0" y="6"/>
                  </a:cxn>
                  <a:cxn ang="0">
                    <a:pos x="0" y="2"/>
                  </a:cxn>
                  <a:cxn ang="0">
                    <a:pos x="0" y="0"/>
                  </a:cxn>
                </a:cxnLst>
                <a:rect l="0" t="0" r="r" b="b"/>
                <a:pathLst>
                  <a:path w="10" h="9">
                    <a:moveTo>
                      <a:pt x="0" y="0"/>
                    </a:moveTo>
                    <a:lnTo>
                      <a:pt x="2" y="0"/>
                    </a:lnTo>
                    <a:lnTo>
                      <a:pt x="5" y="0"/>
                    </a:lnTo>
                    <a:lnTo>
                      <a:pt x="7" y="0"/>
                    </a:lnTo>
                    <a:lnTo>
                      <a:pt x="10" y="2"/>
                    </a:lnTo>
                    <a:lnTo>
                      <a:pt x="7" y="6"/>
                    </a:lnTo>
                    <a:lnTo>
                      <a:pt x="4" y="9"/>
                    </a:lnTo>
                    <a:lnTo>
                      <a:pt x="0" y="6"/>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93" name="Freeform 244"/>
              <p:cNvSpPr>
                <a:spLocks/>
              </p:cNvSpPr>
              <p:nvPr/>
            </p:nvSpPr>
            <p:spPr bwMode="auto">
              <a:xfrm>
                <a:off x="6576219" y="4040188"/>
                <a:ext cx="14288" cy="22225"/>
              </a:xfrm>
              <a:custGeom>
                <a:avLst/>
                <a:gdLst/>
                <a:ahLst/>
                <a:cxnLst>
                  <a:cxn ang="0">
                    <a:pos x="2" y="0"/>
                  </a:cxn>
                  <a:cxn ang="0">
                    <a:pos x="7" y="5"/>
                  </a:cxn>
                  <a:cxn ang="0">
                    <a:pos x="9" y="14"/>
                  </a:cxn>
                  <a:cxn ang="0">
                    <a:pos x="4" y="9"/>
                  </a:cxn>
                  <a:cxn ang="0">
                    <a:pos x="0" y="2"/>
                  </a:cxn>
                  <a:cxn ang="0">
                    <a:pos x="0" y="0"/>
                  </a:cxn>
                  <a:cxn ang="0">
                    <a:pos x="4" y="0"/>
                  </a:cxn>
                  <a:cxn ang="0">
                    <a:pos x="4" y="2"/>
                  </a:cxn>
                  <a:cxn ang="0">
                    <a:pos x="2" y="0"/>
                  </a:cxn>
                </a:cxnLst>
                <a:rect l="0" t="0" r="r" b="b"/>
                <a:pathLst>
                  <a:path w="9" h="14">
                    <a:moveTo>
                      <a:pt x="2" y="0"/>
                    </a:moveTo>
                    <a:lnTo>
                      <a:pt x="7" y="5"/>
                    </a:lnTo>
                    <a:lnTo>
                      <a:pt x="9" y="14"/>
                    </a:lnTo>
                    <a:lnTo>
                      <a:pt x="4" y="9"/>
                    </a:lnTo>
                    <a:lnTo>
                      <a:pt x="0" y="2"/>
                    </a:lnTo>
                    <a:lnTo>
                      <a:pt x="0" y="0"/>
                    </a:lnTo>
                    <a:lnTo>
                      <a:pt x="4" y="0"/>
                    </a:lnTo>
                    <a:lnTo>
                      <a:pt x="4" y="2"/>
                    </a:lnTo>
                    <a:lnTo>
                      <a:pt x="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94" name="Freeform 245"/>
              <p:cNvSpPr>
                <a:spLocks/>
              </p:cNvSpPr>
              <p:nvPr/>
            </p:nvSpPr>
            <p:spPr bwMode="auto">
              <a:xfrm>
                <a:off x="6546057" y="3990975"/>
                <a:ext cx="15875" cy="19050"/>
              </a:xfrm>
              <a:custGeom>
                <a:avLst/>
                <a:gdLst/>
                <a:ahLst/>
                <a:cxnLst>
                  <a:cxn ang="0">
                    <a:pos x="4" y="0"/>
                  </a:cxn>
                  <a:cxn ang="0">
                    <a:pos x="9" y="5"/>
                  </a:cxn>
                  <a:cxn ang="0">
                    <a:pos x="10" y="12"/>
                  </a:cxn>
                  <a:cxn ang="0">
                    <a:pos x="5" y="7"/>
                  </a:cxn>
                  <a:cxn ang="0">
                    <a:pos x="2" y="0"/>
                  </a:cxn>
                  <a:cxn ang="0">
                    <a:pos x="0" y="0"/>
                  </a:cxn>
                  <a:cxn ang="0">
                    <a:pos x="4" y="0"/>
                  </a:cxn>
                </a:cxnLst>
                <a:rect l="0" t="0" r="r" b="b"/>
                <a:pathLst>
                  <a:path w="10" h="12">
                    <a:moveTo>
                      <a:pt x="4" y="0"/>
                    </a:moveTo>
                    <a:lnTo>
                      <a:pt x="9" y="5"/>
                    </a:lnTo>
                    <a:lnTo>
                      <a:pt x="10" y="12"/>
                    </a:lnTo>
                    <a:lnTo>
                      <a:pt x="5" y="7"/>
                    </a:lnTo>
                    <a:lnTo>
                      <a:pt x="2" y="0"/>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95" name="Freeform 246"/>
              <p:cNvSpPr>
                <a:spLocks/>
              </p:cNvSpPr>
              <p:nvPr/>
            </p:nvSpPr>
            <p:spPr bwMode="auto">
              <a:xfrm>
                <a:off x="7284244" y="3205163"/>
                <a:ext cx="50800" cy="68262"/>
              </a:xfrm>
              <a:custGeom>
                <a:avLst/>
                <a:gdLst/>
                <a:ahLst/>
                <a:cxnLst>
                  <a:cxn ang="0">
                    <a:pos x="12" y="26"/>
                  </a:cxn>
                  <a:cxn ang="0">
                    <a:pos x="15" y="17"/>
                  </a:cxn>
                  <a:cxn ang="0">
                    <a:pos x="10" y="14"/>
                  </a:cxn>
                  <a:cxn ang="0">
                    <a:pos x="10" y="12"/>
                  </a:cxn>
                  <a:cxn ang="0">
                    <a:pos x="10" y="14"/>
                  </a:cxn>
                  <a:cxn ang="0">
                    <a:pos x="10" y="15"/>
                  </a:cxn>
                  <a:cxn ang="0">
                    <a:pos x="6" y="15"/>
                  </a:cxn>
                  <a:cxn ang="0">
                    <a:pos x="5" y="17"/>
                  </a:cxn>
                  <a:cxn ang="0">
                    <a:pos x="0" y="15"/>
                  </a:cxn>
                  <a:cxn ang="0">
                    <a:pos x="0" y="12"/>
                  </a:cxn>
                  <a:cxn ang="0">
                    <a:pos x="1" y="7"/>
                  </a:cxn>
                  <a:cxn ang="0">
                    <a:pos x="6" y="3"/>
                  </a:cxn>
                  <a:cxn ang="0">
                    <a:pos x="10" y="0"/>
                  </a:cxn>
                  <a:cxn ang="0">
                    <a:pos x="15" y="0"/>
                  </a:cxn>
                  <a:cxn ang="0">
                    <a:pos x="20" y="2"/>
                  </a:cxn>
                  <a:cxn ang="0">
                    <a:pos x="27" y="3"/>
                  </a:cxn>
                  <a:cxn ang="0">
                    <a:pos x="27" y="5"/>
                  </a:cxn>
                  <a:cxn ang="0">
                    <a:pos x="29" y="9"/>
                  </a:cxn>
                  <a:cxn ang="0">
                    <a:pos x="32" y="14"/>
                  </a:cxn>
                  <a:cxn ang="0">
                    <a:pos x="32" y="15"/>
                  </a:cxn>
                  <a:cxn ang="0">
                    <a:pos x="32" y="17"/>
                  </a:cxn>
                  <a:cxn ang="0">
                    <a:pos x="31" y="17"/>
                  </a:cxn>
                  <a:cxn ang="0">
                    <a:pos x="29" y="17"/>
                  </a:cxn>
                  <a:cxn ang="0">
                    <a:pos x="25" y="24"/>
                  </a:cxn>
                  <a:cxn ang="0">
                    <a:pos x="24" y="33"/>
                  </a:cxn>
                  <a:cxn ang="0">
                    <a:pos x="18" y="39"/>
                  </a:cxn>
                  <a:cxn ang="0">
                    <a:pos x="15" y="43"/>
                  </a:cxn>
                  <a:cxn ang="0">
                    <a:pos x="15" y="39"/>
                  </a:cxn>
                  <a:cxn ang="0">
                    <a:pos x="15" y="38"/>
                  </a:cxn>
                  <a:cxn ang="0">
                    <a:pos x="15" y="41"/>
                  </a:cxn>
                  <a:cxn ang="0">
                    <a:pos x="8" y="36"/>
                  </a:cxn>
                  <a:cxn ang="0">
                    <a:pos x="6" y="33"/>
                  </a:cxn>
                  <a:cxn ang="0">
                    <a:pos x="8" y="29"/>
                  </a:cxn>
                  <a:cxn ang="0">
                    <a:pos x="12" y="26"/>
                  </a:cxn>
                </a:cxnLst>
                <a:rect l="0" t="0" r="r" b="b"/>
                <a:pathLst>
                  <a:path w="32" h="43">
                    <a:moveTo>
                      <a:pt x="12" y="26"/>
                    </a:moveTo>
                    <a:lnTo>
                      <a:pt x="15" y="17"/>
                    </a:lnTo>
                    <a:lnTo>
                      <a:pt x="10" y="14"/>
                    </a:lnTo>
                    <a:lnTo>
                      <a:pt x="10" y="12"/>
                    </a:lnTo>
                    <a:lnTo>
                      <a:pt x="10" y="14"/>
                    </a:lnTo>
                    <a:lnTo>
                      <a:pt x="10" y="15"/>
                    </a:lnTo>
                    <a:lnTo>
                      <a:pt x="6" y="15"/>
                    </a:lnTo>
                    <a:lnTo>
                      <a:pt x="5" y="17"/>
                    </a:lnTo>
                    <a:lnTo>
                      <a:pt x="0" y="15"/>
                    </a:lnTo>
                    <a:lnTo>
                      <a:pt x="0" y="12"/>
                    </a:lnTo>
                    <a:lnTo>
                      <a:pt x="1" y="7"/>
                    </a:lnTo>
                    <a:lnTo>
                      <a:pt x="6" y="3"/>
                    </a:lnTo>
                    <a:lnTo>
                      <a:pt x="10" y="0"/>
                    </a:lnTo>
                    <a:lnTo>
                      <a:pt x="15" y="0"/>
                    </a:lnTo>
                    <a:lnTo>
                      <a:pt x="20" y="2"/>
                    </a:lnTo>
                    <a:lnTo>
                      <a:pt x="27" y="3"/>
                    </a:lnTo>
                    <a:lnTo>
                      <a:pt x="27" y="5"/>
                    </a:lnTo>
                    <a:lnTo>
                      <a:pt x="29" y="9"/>
                    </a:lnTo>
                    <a:lnTo>
                      <a:pt x="32" y="14"/>
                    </a:lnTo>
                    <a:lnTo>
                      <a:pt x="32" y="15"/>
                    </a:lnTo>
                    <a:lnTo>
                      <a:pt x="32" y="17"/>
                    </a:lnTo>
                    <a:lnTo>
                      <a:pt x="31" y="17"/>
                    </a:lnTo>
                    <a:lnTo>
                      <a:pt x="29" y="17"/>
                    </a:lnTo>
                    <a:lnTo>
                      <a:pt x="25" y="24"/>
                    </a:lnTo>
                    <a:lnTo>
                      <a:pt x="24" y="33"/>
                    </a:lnTo>
                    <a:lnTo>
                      <a:pt x="18" y="39"/>
                    </a:lnTo>
                    <a:lnTo>
                      <a:pt x="15" y="43"/>
                    </a:lnTo>
                    <a:lnTo>
                      <a:pt x="15" y="39"/>
                    </a:lnTo>
                    <a:lnTo>
                      <a:pt x="15" y="38"/>
                    </a:lnTo>
                    <a:lnTo>
                      <a:pt x="15" y="41"/>
                    </a:lnTo>
                    <a:lnTo>
                      <a:pt x="8" y="36"/>
                    </a:lnTo>
                    <a:lnTo>
                      <a:pt x="6" y="33"/>
                    </a:lnTo>
                    <a:lnTo>
                      <a:pt x="8" y="29"/>
                    </a:lnTo>
                    <a:lnTo>
                      <a:pt x="12"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96" name="Freeform 247"/>
              <p:cNvSpPr>
                <a:spLocks/>
              </p:cNvSpPr>
              <p:nvPr/>
            </p:nvSpPr>
            <p:spPr bwMode="auto">
              <a:xfrm>
                <a:off x="7346157" y="3189288"/>
                <a:ext cx="49213" cy="42862"/>
              </a:xfrm>
              <a:custGeom>
                <a:avLst/>
                <a:gdLst/>
                <a:ahLst/>
                <a:cxnLst>
                  <a:cxn ang="0">
                    <a:pos x="26" y="17"/>
                  </a:cxn>
                  <a:cxn ang="0">
                    <a:pos x="21" y="15"/>
                  </a:cxn>
                  <a:cxn ang="0">
                    <a:pos x="19" y="13"/>
                  </a:cxn>
                  <a:cxn ang="0">
                    <a:pos x="12" y="22"/>
                  </a:cxn>
                  <a:cxn ang="0">
                    <a:pos x="7" y="27"/>
                  </a:cxn>
                  <a:cxn ang="0">
                    <a:pos x="4" y="24"/>
                  </a:cxn>
                  <a:cxn ang="0">
                    <a:pos x="4" y="19"/>
                  </a:cxn>
                  <a:cxn ang="0">
                    <a:pos x="0" y="15"/>
                  </a:cxn>
                  <a:cxn ang="0">
                    <a:pos x="0" y="13"/>
                  </a:cxn>
                  <a:cxn ang="0">
                    <a:pos x="4" y="10"/>
                  </a:cxn>
                  <a:cxn ang="0">
                    <a:pos x="9" y="7"/>
                  </a:cxn>
                  <a:cxn ang="0">
                    <a:pos x="17" y="3"/>
                  </a:cxn>
                  <a:cxn ang="0">
                    <a:pos x="26" y="0"/>
                  </a:cxn>
                  <a:cxn ang="0">
                    <a:pos x="31" y="1"/>
                  </a:cxn>
                  <a:cxn ang="0">
                    <a:pos x="31" y="8"/>
                  </a:cxn>
                  <a:cxn ang="0">
                    <a:pos x="28" y="13"/>
                  </a:cxn>
                  <a:cxn ang="0">
                    <a:pos x="26" y="17"/>
                  </a:cxn>
                </a:cxnLst>
                <a:rect l="0" t="0" r="r" b="b"/>
                <a:pathLst>
                  <a:path w="31" h="27">
                    <a:moveTo>
                      <a:pt x="26" y="17"/>
                    </a:moveTo>
                    <a:lnTo>
                      <a:pt x="21" y="15"/>
                    </a:lnTo>
                    <a:lnTo>
                      <a:pt x="19" y="13"/>
                    </a:lnTo>
                    <a:lnTo>
                      <a:pt x="12" y="22"/>
                    </a:lnTo>
                    <a:lnTo>
                      <a:pt x="7" y="27"/>
                    </a:lnTo>
                    <a:lnTo>
                      <a:pt x="4" y="24"/>
                    </a:lnTo>
                    <a:lnTo>
                      <a:pt x="4" y="19"/>
                    </a:lnTo>
                    <a:lnTo>
                      <a:pt x="0" y="15"/>
                    </a:lnTo>
                    <a:lnTo>
                      <a:pt x="0" y="13"/>
                    </a:lnTo>
                    <a:lnTo>
                      <a:pt x="4" y="10"/>
                    </a:lnTo>
                    <a:lnTo>
                      <a:pt x="9" y="7"/>
                    </a:lnTo>
                    <a:lnTo>
                      <a:pt x="17" y="3"/>
                    </a:lnTo>
                    <a:lnTo>
                      <a:pt x="26" y="0"/>
                    </a:lnTo>
                    <a:lnTo>
                      <a:pt x="31" y="1"/>
                    </a:lnTo>
                    <a:lnTo>
                      <a:pt x="31" y="8"/>
                    </a:lnTo>
                    <a:lnTo>
                      <a:pt x="28" y="13"/>
                    </a:lnTo>
                    <a:lnTo>
                      <a:pt x="26"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97" name="Freeform 248"/>
              <p:cNvSpPr>
                <a:spLocks/>
              </p:cNvSpPr>
              <p:nvPr/>
            </p:nvSpPr>
            <p:spPr bwMode="auto">
              <a:xfrm>
                <a:off x="7312819" y="3003550"/>
                <a:ext cx="257175" cy="209550"/>
              </a:xfrm>
              <a:custGeom>
                <a:avLst/>
                <a:gdLst/>
                <a:ahLst/>
                <a:cxnLst>
                  <a:cxn ang="0">
                    <a:pos x="62" y="125"/>
                  </a:cxn>
                  <a:cxn ang="0">
                    <a:pos x="62" y="118"/>
                  </a:cxn>
                  <a:cxn ang="0">
                    <a:pos x="56" y="111"/>
                  </a:cxn>
                  <a:cxn ang="0">
                    <a:pos x="45" y="111"/>
                  </a:cxn>
                  <a:cxn ang="0">
                    <a:pos x="38" y="113"/>
                  </a:cxn>
                  <a:cxn ang="0">
                    <a:pos x="21" y="120"/>
                  </a:cxn>
                  <a:cxn ang="0">
                    <a:pos x="2" y="122"/>
                  </a:cxn>
                  <a:cxn ang="0">
                    <a:pos x="2" y="118"/>
                  </a:cxn>
                  <a:cxn ang="0">
                    <a:pos x="13" y="110"/>
                  </a:cxn>
                  <a:cxn ang="0">
                    <a:pos x="25" y="98"/>
                  </a:cxn>
                  <a:cxn ang="0">
                    <a:pos x="43" y="98"/>
                  </a:cxn>
                  <a:cxn ang="0">
                    <a:pos x="57" y="98"/>
                  </a:cxn>
                  <a:cxn ang="0">
                    <a:pos x="69" y="94"/>
                  </a:cxn>
                  <a:cxn ang="0">
                    <a:pos x="78" y="84"/>
                  </a:cxn>
                  <a:cxn ang="0">
                    <a:pos x="86" y="75"/>
                  </a:cxn>
                  <a:cxn ang="0">
                    <a:pos x="88" y="70"/>
                  </a:cxn>
                  <a:cxn ang="0">
                    <a:pos x="88" y="75"/>
                  </a:cxn>
                  <a:cxn ang="0">
                    <a:pos x="99" y="74"/>
                  </a:cxn>
                  <a:cxn ang="0">
                    <a:pos x="114" y="63"/>
                  </a:cxn>
                  <a:cxn ang="0">
                    <a:pos x="131" y="41"/>
                  </a:cxn>
                  <a:cxn ang="0">
                    <a:pos x="133" y="25"/>
                  </a:cxn>
                  <a:cxn ang="0">
                    <a:pos x="131" y="15"/>
                  </a:cxn>
                  <a:cxn ang="0">
                    <a:pos x="138" y="5"/>
                  </a:cxn>
                  <a:cxn ang="0">
                    <a:pos x="143" y="5"/>
                  </a:cxn>
                  <a:cxn ang="0">
                    <a:pos x="148" y="5"/>
                  </a:cxn>
                  <a:cxn ang="0">
                    <a:pos x="147" y="0"/>
                  </a:cxn>
                  <a:cxn ang="0">
                    <a:pos x="154" y="3"/>
                  </a:cxn>
                  <a:cxn ang="0">
                    <a:pos x="155" y="13"/>
                  </a:cxn>
                  <a:cxn ang="0">
                    <a:pos x="162" y="31"/>
                  </a:cxn>
                  <a:cxn ang="0">
                    <a:pos x="155" y="46"/>
                  </a:cxn>
                  <a:cxn ang="0">
                    <a:pos x="155" y="50"/>
                  </a:cxn>
                  <a:cxn ang="0">
                    <a:pos x="150" y="51"/>
                  </a:cxn>
                  <a:cxn ang="0">
                    <a:pos x="145" y="60"/>
                  </a:cxn>
                  <a:cxn ang="0">
                    <a:pos x="147" y="74"/>
                  </a:cxn>
                  <a:cxn ang="0">
                    <a:pos x="142" y="87"/>
                  </a:cxn>
                  <a:cxn ang="0">
                    <a:pos x="143" y="98"/>
                  </a:cxn>
                  <a:cxn ang="0">
                    <a:pos x="131" y="108"/>
                  </a:cxn>
                  <a:cxn ang="0">
                    <a:pos x="131" y="99"/>
                  </a:cxn>
                  <a:cxn ang="0">
                    <a:pos x="117" y="111"/>
                  </a:cxn>
                  <a:cxn ang="0">
                    <a:pos x="111" y="110"/>
                  </a:cxn>
                  <a:cxn ang="0">
                    <a:pos x="100" y="115"/>
                  </a:cxn>
                  <a:cxn ang="0">
                    <a:pos x="85" y="106"/>
                  </a:cxn>
                  <a:cxn ang="0">
                    <a:pos x="83" y="110"/>
                  </a:cxn>
                  <a:cxn ang="0">
                    <a:pos x="88" y="118"/>
                  </a:cxn>
                  <a:cxn ang="0">
                    <a:pos x="83" y="118"/>
                  </a:cxn>
                  <a:cxn ang="0">
                    <a:pos x="71" y="132"/>
                  </a:cxn>
                  <a:cxn ang="0">
                    <a:pos x="62" y="127"/>
                  </a:cxn>
                </a:cxnLst>
                <a:rect l="0" t="0" r="r" b="b"/>
                <a:pathLst>
                  <a:path w="162" h="132">
                    <a:moveTo>
                      <a:pt x="62" y="127"/>
                    </a:moveTo>
                    <a:lnTo>
                      <a:pt x="62" y="125"/>
                    </a:lnTo>
                    <a:lnTo>
                      <a:pt x="62" y="124"/>
                    </a:lnTo>
                    <a:lnTo>
                      <a:pt x="62" y="118"/>
                    </a:lnTo>
                    <a:lnTo>
                      <a:pt x="64" y="115"/>
                    </a:lnTo>
                    <a:lnTo>
                      <a:pt x="56" y="111"/>
                    </a:lnTo>
                    <a:lnTo>
                      <a:pt x="49" y="110"/>
                    </a:lnTo>
                    <a:lnTo>
                      <a:pt x="45" y="111"/>
                    </a:lnTo>
                    <a:lnTo>
                      <a:pt x="45" y="113"/>
                    </a:lnTo>
                    <a:lnTo>
                      <a:pt x="38" y="113"/>
                    </a:lnTo>
                    <a:lnTo>
                      <a:pt x="33" y="115"/>
                    </a:lnTo>
                    <a:lnTo>
                      <a:pt x="21" y="120"/>
                    </a:lnTo>
                    <a:lnTo>
                      <a:pt x="7" y="124"/>
                    </a:lnTo>
                    <a:lnTo>
                      <a:pt x="2" y="122"/>
                    </a:lnTo>
                    <a:lnTo>
                      <a:pt x="0" y="120"/>
                    </a:lnTo>
                    <a:lnTo>
                      <a:pt x="2" y="118"/>
                    </a:lnTo>
                    <a:lnTo>
                      <a:pt x="6" y="117"/>
                    </a:lnTo>
                    <a:lnTo>
                      <a:pt x="13" y="110"/>
                    </a:lnTo>
                    <a:lnTo>
                      <a:pt x="19" y="105"/>
                    </a:lnTo>
                    <a:lnTo>
                      <a:pt x="25" y="98"/>
                    </a:lnTo>
                    <a:lnTo>
                      <a:pt x="35" y="98"/>
                    </a:lnTo>
                    <a:lnTo>
                      <a:pt x="43" y="98"/>
                    </a:lnTo>
                    <a:lnTo>
                      <a:pt x="50" y="98"/>
                    </a:lnTo>
                    <a:lnTo>
                      <a:pt x="57" y="98"/>
                    </a:lnTo>
                    <a:lnTo>
                      <a:pt x="66" y="98"/>
                    </a:lnTo>
                    <a:lnTo>
                      <a:pt x="69" y="94"/>
                    </a:lnTo>
                    <a:lnTo>
                      <a:pt x="74" y="89"/>
                    </a:lnTo>
                    <a:lnTo>
                      <a:pt x="78" y="84"/>
                    </a:lnTo>
                    <a:lnTo>
                      <a:pt x="83" y="82"/>
                    </a:lnTo>
                    <a:lnTo>
                      <a:pt x="86" y="75"/>
                    </a:lnTo>
                    <a:lnTo>
                      <a:pt x="92" y="68"/>
                    </a:lnTo>
                    <a:lnTo>
                      <a:pt x="88" y="70"/>
                    </a:lnTo>
                    <a:lnTo>
                      <a:pt x="88" y="74"/>
                    </a:lnTo>
                    <a:lnTo>
                      <a:pt x="88" y="75"/>
                    </a:lnTo>
                    <a:lnTo>
                      <a:pt x="92" y="77"/>
                    </a:lnTo>
                    <a:lnTo>
                      <a:pt x="99" y="74"/>
                    </a:lnTo>
                    <a:lnTo>
                      <a:pt x="105" y="70"/>
                    </a:lnTo>
                    <a:lnTo>
                      <a:pt x="114" y="63"/>
                    </a:lnTo>
                    <a:lnTo>
                      <a:pt x="123" y="53"/>
                    </a:lnTo>
                    <a:lnTo>
                      <a:pt x="131" y="41"/>
                    </a:lnTo>
                    <a:lnTo>
                      <a:pt x="135" y="29"/>
                    </a:lnTo>
                    <a:lnTo>
                      <a:pt x="133" y="25"/>
                    </a:lnTo>
                    <a:lnTo>
                      <a:pt x="131" y="22"/>
                    </a:lnTo>
                    <a:lnTo>
                      <a:pt x="131" y="15"/>
                    </a:lnTo>
                    <a:lnTo>
                      <a:pt x="135" y="10"/>
                    </a:lnTo>
                    <a:lnTo>
                      <a:pt x="138" y="5"/>
                    </a:lnTo>
                    <a:lnTo>
                      <a:pt x="143" y="3"/>
                    </a:lnTo>
                    <a:lnTo>
                      <a:pt x="143" y="5"/>
                    </a:lnTo>
                    <a:lnTo>
                      <a:pt x="150" y="5"/>
                    </a:lnTo>
                    <a:lnTo>
                      <a:pt x="148" y="5"/>
                    </a:lnTo>
                    <a:lnTo>
                      <a:pt x="145" y="1"/>
                    </a:lnTo>
                    <a:lnTo>
                      <a:pt x="147" y="0"/>
                    </a:lnTo>
                    <a:lnTo>
                      <a:pt x="152" y="0"/>
                    </a:lnTo>
                    <a:lnTo>
                      <a:pt x="154" y="3"/>
                    </a:lnTo>
                    <a:lnTo>
                      <a:pt x="154" y="8"/>
                    </a:lnTo>
                    <a:lnTo>
                      <a:pt x="155" y="13"/>
                    </a:lnTo>
                    <a:lnTo>
                      <a:pt x="159" y="22"/>
                    </a:lnTo>
                    <a:lnTo>
                      <a:pt x="162" y="31"/>
                    </a:lnTo>
                    <a:lnTo>
                      <a:pt x="159" y="38"/>
                    </a:lnTo>
                    <a:lnTo>
                      <a:pt x="155" y="46"/>
                    </a:lnTo>
                    <a:lnTo>
                      <a:pt x="155" y="48"/>
                    </a:lnTo>
                    <a:lnTo>
                      <a:pt x="155" y="50"/>
                    </a:lnTo>
                    <a:lnTo>
                      <a:pt x="152" y="50"/>
                    </a:lnTo>
                    <a:lnTo>
                      <a:pt x="150" y="51"/>
                    </a:lnTo>
                    <a:lnTo>
                      <a:pt x="147" y="53"/>
                    </a:lnTo>
                    <a:lnTo>
                      <a:pt x="145" y="60"/>
                    </a:lnTo>
                    <a:lnTo>
                      <a:pt x="145" y="67"/>
                    </a:lnTo>
                    <a:lnTo>
                      <a:pt x="147" y="74"/>
                    </a:lnTo>
                    <a:lnTo>
                      <a:pt x="143" y="79"/>
                    </a:lnTo>
                    <a:lnTo>
                      <a:pt x="142" y="87"/>
                    </a:lnTo>
                    <a:lnTo>
                      <a:pt x="142" y="93"/>
                    </a:lnTo>
                    <a:lnTo>
                      <a:pt x="143" y="98"/>
                    </a:lnTo>
                    <a:lnTo>
                      <a:pt x="136" y="101"/>
                    </a:lnTo>
                    <a:lnTo>
                      <a:pt x="131" y="108"/>
                    </a:lnTo>
                    <a:lnTo>
                      <a:pt x="129" y="103"/>
                    </a:lnTo>
                    <a:lnTo>
                      <a:pt x="131" y="99"/>
                    </a:lnTo>
                    <a:lnTo>
                      <a:pt x="123" y="105"/>
                    </a:lnTo>
                    <a:lnTo>
                      <a:pt x="117" y="111"/>
                    </a:lnTo>
                    <a:lnTo>
                      <a:pt x="116" y="110"/>
                    </a:lnTo>
                    <a:lnTo>
                      <a:pt x="111" y="110"/>
                    </a:lnTo>
                    <a:lnTo>
                      <a:pt x="105" y="111"/>
                    </a:lnTo>
                    <a:lnTo>
                      <a:pt x="100" y="115"/>
                    </a:lnTo>
                    <a:lnTo>
                      <a:pt x="90" y="110"/>
                    </a:lnTo>
                    <a:lnTo>
                      <a:pt x="85" y="106"/>
                    </a:lnTo>
                    <a:lnTo>
                      <a:pt x="83" y="108"/>
                    </a:lnTo>
                    <a:lnTo>
                      <a:pt x="83" y="110"/>
                    </a:lnTo>
                    <a:lnTo>
                      <a:pt x="85" y="115"/>
                    </a:lnTo>
                    <a:lnTo>
                      <a:pt x="88" y="118"/>
                    </a:lnTo>
                    <a:lnTo>
                      <a:pt x="85" y="118"/>
                    </a:lnTo>
                    <a:lnTo>
                      <a:pt x="83" y="118"/>
                    </a:lnTo>
                    <a:lnTo>
                      <a:pt x="76" y="122"/>
                    </a:lnTo>
                    <a:lnTo>
                      <a:pt x="71" y="132"/>
                    </a:lnTo>
                    <a:lnTo>
                      <a:pt x="66" y="129"/>
                    </a:lnTo>
                    <a:lnTo>
                      <a:pt x="62" y="12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98" name="Freeform 249"/>
              <p:cNvSpPr>
                <a:spLocks/>
              </p:cNvSpPr>
              <p:nvPr/>
            </p:nvSpPr>
            <p:spPr bwMode="auto">
              <a:xfrm>
                <a:off x="7520782" y="2887663"/>
                <a:ext cx="131763" cy="112712"/>
              </a:xfrm>
              <a:custGeom>
                <a:avLst/>
                <a:gdLst/>
                <a:ahLst/>
                <a:cxnLst>
                  <a:cxn ang="0">
                    <a:pos x="11" y="38"/>
                  </a:cxn>
                  <a:cxn ang="0">
                    <a:pos x="12" y="38"/>
                  </a:cxn>
                  <a:cxn ang="0">
                    <a:pos x="16" y="38"/>
                  </a:cxn>
                  <a:cxn ang="0">
                    <a:pos x="19" y="35"/>
                  </a:cxn>
                  <a:cxn ang="0">
                    <a:pos x="24" y="28"/>
                  </a:cxn>
                  <a:cxn ang="0">
                    <a:pos x="26" y="18"/>
                  </a:cxn>
                  <a:cxn ang="0">
                    <a:pos x="28" y="13"/>
                  </a:cxn>
                  <a:cxn ang="0">
                    <a:pos x="26" y="9"/>
                  </a:cxn>
                  <a:cxn ang="0">
                    <a:pos x="26" y="7"/>
                  </a:cxn>
                  <a:cxn ang="0">
                    <a:pos x="26" y="2"/>
                  </a:cxn>
                  <a:cxn ang="0">
                    <a:pos x="29" y="0"/>
                  </a:cxn>
                  <a:cxn ang="0">
                    <a:pos x="38" y="7"/>
                  </a:cxn>
                  <a:cxn ang="0">
                    <a:pos x="47" y="16"/>
                  </a:cxn>
                  <a:cxn ang="0">
                    <a:pos x="55" y="23"/>
                  </a:cxn>
                  <a:cxn ang="0">
                    <a:pos x="69" y="26"/>
                  </a:cxn>
                  <a:cxn ang="0">
                    <a:pos x="74" y="25"/>
                  </a:cxn>
                  <a:cxn ang="0">
                    <a:pos x="79" y="25"/>
                  </a:cxn>
                  <a:cxn ang="0">
                    <a:pos x="76" y="28"/>
                  </a:cxn>
                  <a:cxn ang="0">
                    <a:pos x="76" y="31"/>
                  </a:cxn>
                  <a:cxn ang="0">
                    <a:pos x="78" y="35"/>
                  </a:cxn>
                  <a:cxn ang="0">
                    <a:pos x="83" y="38"/>
                  </a:cxn>
                  <a:cxn ang="0">
                    <a:pos x="74" y="40"/>
                  </a:cxn>
                  <a:cxn ang="0">
                    <a:pos x="67" y="42"/>
                  </a:cxn>
                  <a:cxn ang="0">
                    <a:pos x="54" y="49"/>
                  </a:cxn>
                  <a:cxn ang="0">
                    <a:pos x="48" y="61"/>
                  </a:cxn>
                  <a:cxn ang="0">
                    <a:pos x="36" y="54"/>
                  </a:cxn>
                  <a:cxn ang="0">
                    <a:pos x="26" y="49"/>
                  </a:cxn>
                  <a:cxn ang="0">
                    <a:pos x="23" y="49"/>
                  </a:cxn>
                  <a:cxn ang="0">
                    <a:pos x="23" y="52"/>
                  </a:cxn>
                  <a:cxn ang="0">
                    <a:pos x="12" y="50"/>
                  </a:cxn>
                  <a:cxn ang="0">
                    <a:pos x="7" y="56"/>
                  </a:cxn>
                  <a:cxn ang="0">
                    <a:pos x="11" y="59"/>
                  </a:cxn>
                  <a:cxn ang="0">
                    <a:pos x="17" y="64"/>
                  </a:cxn>
                  <a:cxn ang="0">
                    <a:pos x="11" y="68"/>
                  </a:cxn>
                  <a:cxn ang="0">
                    <a:pos x="5" y="71"/>
                  </a:cxn>
                  <a:cxn ang="0">
                    <a:pos x="2" y="71"/>
                  </a:cxn>
                  <a:cxn ang="0">
                    <a:pos x="2" y="64"/>
                  </a:cxn>
                  <a:cxn ang="0">
                    <a:pos x="2" y="59"/>
                  </a:cxn>
                  <a:cxn ang="0">
                    <a:pos x="0" y="56"/>
                  </a:cxn>
                  <a:cxn ang="0">
                    <a:pos x="0" y="54"/>
                  </a:cxn>
                  <a:cxn ang="0">
                    <a:pos x="4" y="47"/>
                  </a:cxn>
                  <a:cxn ang="0">
                    <a:pos x="9" y="42"/>
                  </a:cxn>
                  <a:cxn ang="0">
                    <a:pos x="9" y="38"/>
                  </a:cxn>
                  <a:cxn ang="0">
                    <a:pos x="11" y="38"/>
                  </a:cxn>
                  <a:cxn ang="0">
                    <a:pos x="12" y="40"/>
                  </a:cxn>
                  <a:cxn ang="0">
                    <a:pos x="11" y="38"/>
                  </a:cxn>
                </a:cxnLst>
                <a:rect l="0" t="0" r="r" b="b"/>
                <a:pathLst>
                  <a:path w="83" h="71">
                    <a:moveTo>
                      <a:pt x="11" y="38"/>
                    </a:moveTo>
                    <a:lnTo>
                      <a:pt x="12" y="38"/>
                    </a:lnTo>
                    <a:lnTo>
                      <a:pt x="16" y="38"/>
                    </a:lnTo>
                    <a:lnTo>
                      <a:pt x="19" y="35"/>
                    </a:lnTo>
                    <a:lnTo>
                      <a:pt x="24" y="28"/>
                    </a:lnTo>
                    <a:lnTo>
                      <a:pt x="26" y="18"/>
                    </a:lnTo>
                    <a:lnTo>
                      <a:pt x="28" y="13"/>
                    </a:lnTo>
                    <a:lnTo>
                      <a:pt x="26" y="9"/>
                    </a:lnTo>
                    <a:lnTo>
                      <a:pt x="26" y="7"/>
                    </a:lnTo>
                    <a:lnTo>
                      <a:pt x="26" y="2"/>
                    </a:lnTo>
                    <a:lnTo>
                      <a:pt x="29" y="0"/>
                    </a:lnTo>
                    <a:lnTo>
                      <a:pt x="38" y="7"/>
                    </a:lnTo>
                    <a:lnTo>
                      <a:pt x="47" y="16"/>
                    </a:lnTo>
                    <a:lnTo>
                      <a:pt x="55" y="23"/>
                    </a:lnTo>
                    <a:lnTo>
                      <a:pt x="69" y="26"/>
                    </a:lnTo>
                    <a:lnTo>
                      <a:pt x="74" y="25"/>
                    </a:lnTo>
                    <a:lnTo>
                      <a:pt x="79" y="25"/>
                    </a:lnTo>
                    <a:lnTo>
                      <a:pt x="76" y="28"/>
                    </a:lnTo>
                    <a:lnTo>
                      <a:pt x="76" y="31"/>
                    </a:lnTo>
                    <a:lnTo>
                      <a:pt x="78" y="35"/>
                    </a:lnTo>
                    <a:lnTo>
                      <a:pt x="83" y="38"/>
                    </a:lnTo>
                    <a:lnTo>
                      <a:pt x="74" y="40"/>
                    </a:lnTo>
                    <a:lnTo>
                      <a:pt x="67" y="42"/>
                    </a:lnTo>
                    <a:lnTo>
                      <a:pt x="54" y="49"/>
                    </a:lnTo>
                    <a:lnTo>
                      <a:pt x="48" y="61"/>
                    </a:lnTo>
                    <a:lnTo>
                      <a:pt x="36" y="54"/>
                    </a:lnTo>
                    <a:lnTo>
                      <a:pt x="26" y="49"/>
                    </a:lnTo>
                    <a:lnTo>
                      <a:pt x="23" y="49"/>
                    </a:lnTo>
                    <a:lnTo>
                      <a:pt x="23" y="52"/>
                    </a:lnTo>
                    <a:lnTo>
                      <a:pt x="12" y="50"/>
                    </a:lnTo>
                    <a:lnTo>
                      <a:pt x="7" y="56"/>
                    </a:lnTo>
                    <a:lnTo>
                      <a:pt x="11" y="59"/>
                    </a:lnTo>
                    <a:lnTo>
                      <a:pt x="17" y="64"/>
                    </a:lnTo>
                    <a:lnTo>
                      <a:pt x="11" y="68"/>
                    </a:lnTo>
                    <a:lnTo>
                      <a:pt x="5" y="71"/>
                    </a:lnTo>
                    <a:lnTo>
                      <a:pt x="2" y="71"/>
                    </a:lnTo>
                    <a:lnTo>
                      <a:pt x="2" y="64"/>
                    </a:lnTo>
                    <a:lnTo>
                      <a:pt x="2" y="59"/>
                    </a:lnTo>
                    <a:lnTo>
                      <a:pt x="0" y="56"/>
                    </a:lnTo>
                    <a:lnTo>
                      <a:pt x="0" y="54"/>
                    </a:lnTo>
                    <a:lnTo>
                      <a:pt x="4" y="47"/>
                    </a:lnTo>
                    <a:lnTo>
                      <a:pt x="9" y="42"/>
                    </a:lnTo>
                    <a:lnTo>
                      <a:pt x="9" y="38"/>
                    </a:lnTo>
                    <a:lnTo>
                      <a:pt x="11" y="38"/>
                    </a:lnTo>
                    <a:lnTo>
                      <a:pt x="12" y="40"/>
                    </a:lnTo>
                    <a:lnTo>
                      <a:pt x="11" y="3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899" name="Freeform 250"/>
              <p:cNvSpPr>
                <a:spLocks/>
              </p:cNvSpPr>
              <p:nvPr/>
            </p:nvSpPr>
            <p:spPr bwMode="auto">
              <a:xfrm>
                <a:off x="7649369" y="2916238"/>
                <a:ext cx="22225" cy="20637"/>
              </a:xfrm>
              <a:custGeom>
                <a:avLst/>
                <a:gdLst/>
                <a:ahLst/>
                <a:cxnLst>
                  <a:cxn ang="0">
                    <a:pos x="10" y="0"/>
                  </a:cxn>
                  <a:cxn ang="0">
                    <a:pos x="14" y="1"/>
                  </a:cxn>
                  <a:cxn ang="0">
                    <a:pos x="7" y="8"/>
                  </a:cxn>
                  <a:cxn ang="0">
                    <a:pos x="0" y="13"/>
                  </a:cxn>
                  <a:cxn ang="0">
                    <a:pos x="0" y="10"/>
                  </a:cxn>
                  <a:cxn ang="0">
                    <a:pos x="0" y="8"/>
                  </a:cxn>
                  <a:cxn ang="0">
                    <a:pos x="5" y="3"/>
                  </a:cxn>
                  <a:cxn ang="0">
                    <a:pos x="12" y="1"/>
                  </a:cxn>
                  <a:cxn ang="0">
                    <a:pos x="10" y="0"/>
                  </a:cxn>
                </a:cxnLst>
                <a:rect l="0" t="0" r="r" b="b"/>
                <a:pathLst>
                  <a:path w="14" h="13">
                    <a:moveTo>
                      <a:pt x="10" y="0"/>
                    </a:moveTo>
                    <a:lnTo>
                      <a:pt x="14" y="1"/>
                    </a:lnTo>
                    <a:lnTo>
                      <a:pt x="7" y="8"/>
                    </a:lnTo>
                    <a:lnTo>
                      <a:pt x="0" y="13"/>
                    </a:lnTo>
                    <a:lnTo>
                      <a:pt x="0" y="10"/>
                    </a:lnTo>
                    <a:lnTo>
                      <a:pt x="0" y="8"/>
                    </a:lnTo>
                    <a:lnTo>
                      <a:pt x="5" y="3"/>
                    </a:lnTo>
                    <a:lnTo>
                      <a:pt x="12" y="1"/>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00" name="Freeform 251"/>
              <p:cNvSpPr>
                <a:spLocks/>
              </p:cNvSpPr>
              <p:nvPr/>
            </p:nvSpPr>
            <p:spPr bwMode="auto">
              <a:xfrm>
                <a:off x="7693819" y="2887663"/>
                <a:ext cx="28575" cy="22225"/>
              </a:xfrm>
              <a:custGeom>
                <a:avLst/>
                <a:gdLst/>
                <a:ahLst/>
                <a:cxnLst>
                  <a:cxn ang="0">
                    <a:pos x="18" y="4"/>
                  </a:cxn>
                  <a:cxn ang="0">
                    <a:pos x="8" y="9"/>
                  </a:cxn>
                  <a:cxn ang="0">
                    <a:pos x="0" y="14"/>
                  </a:cxn>
                  <a:cxn ang="0">
                    <a:pos x="0" y="13"/>
                  </a:cxn>
                  <a:cxn ang="0">
                    <a:pos x="0" y="11"/>
                  </a:cxn>
                  <a:cxn ang="0">
                    <a:pos x="3" y="6"/>
                  </a:cxn>
                  <a:cxn ang="0">
                    <a:pos x="12" y="0"/>
                  </a:cxn>
                  <a:cxn ang="0">
                    <a:pos x="15" y="0"/>
                  </a:cxn>
                  <a:cxn ang="0">
                    <a:pos x="18" y="0"/>
                  </a:cxn>
                  <a:cxn ang="0">
                    <a:pos x="18" y="4"/>
                  </a:cxn>
                </a:cxnLst>
                <a:rect l="0" t="0" r="r" b="b"/>
                <a:pathLst>
                  <a:path w="18" h="14">
                    <a:moveTo>
                      <a:pt x="18" y="4"/>
                    </a:moveTo>
                    <a:lnTo>
                      <a:pt x="8" y="9"/>
                    </a:lnTo>
                    <a:lnTo>
                      <a:pt x="0" y="14"/>
                    </a:lnTo>
                    <a:lnTo>
                      <a:pt x="0" y="13"/>
                    </a:lnTo>
                    <a:lnTo>
                      <a:pt x="0" y="11"/>
                    </a:lnTo>
                    <a:lnTo>
                      <a:pt x="3" y="6"/>
                    </a:lnTo>
                    <a:lnTo>
                      <a:pt x="12" y="0"/>
                    </a:lnTo>
                    <a:lnTo>
                      <a:pt x="15" y="0"/>
                    </a:lnTo>
                    <a:lnTo>
                      <a:pt x="18" y="0"/>
                    </a:lnTo>
                    <a:lnTo>
                      <a:pt x="18"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01" name="Freeform 252"/>
              <p:cNvSpPr>
                <a:spLocks/>
              </p:cNvSpPr>
              <p:nvPr/>
            </p:nvSpPr>
            <p:spPr bwMode="auto">
              <a:xfrm>
                <a:off x="7747794" y="2863850"/>
                <a:ext cx="15875" cy="15875"/>
              </a:xfrm>
              <a:custGeom>
                <a:avLst/>
                <a:gdLst/>
                <a:ahLst/>
                <a:cxnLst>
                  <a:cxn ang="0">
                    <a:pos x="2" y="7"/>
                  </a:cxn>
                  <a:cxn ang="0">
                    <a:pos x="2" y="5"/>
                  </a:cxn>
                  <a:cxn ang="0">
                    <a:pos x="2" y="3"/>
                  </a:cxn>
                  <a:cxn ang="0">
                    <a:pos x="5" y="0"/>
                  </a:cxn>
                  <a:cxn ang="0">
                    <a:pos x="10" y="0"/>
                  </a:cxn>
                  <a:cxn ang="0">
                    <a:pos x="5" y="5"/>
                  </a:cxn>
                  <a:cxn ang="0">
                    <a:pos x="2" y="10"/>
                  </a:cxn>
                  <a:cxn ang="0">
                    <a:pos x="0" y="9"/>
                  </a:cxn>
                  <a:cxn ang="0">
                    <a:pos x="2" y="7"/>
                  </a:cxn>
                </a:cxnLst>
                <a:rect l="0" t="0" r="r" b="b"/>
                <a:pathLst>
                  <a:path w="10" h="10">
                    <a:moveTo>
                      <a:pt x="2" y="7"/>
                    </a:moveTo>
                    <a:lnTo>
                      <a:pt x="2" y="5"/>
                    </a:lnTo>
                    <a:lnTo>
                      <a:pt x="2" y="3"/>
                    </a:lnTo>
                    <a:lnTo>
                      <a:pt x="5" y="0"/>
                    </a:lnTo>
                    <a:lnTo>
                      <a:pt x="10" y="0"/>
                    </a:lnTo>
                    <a:lnTo>
                      <a:pt x="5" y="5"/>
                    </a:lnTo>
                    <a:lnTo>
                      <a:pt x="2" y="10"/>
                    </a:lnTo>
                    <a:lnTo>
                      <a:pt x="0" y="9"/>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02" name="Freeform 253"/>
              <p:cNvSpPr>
                <a:spLocks/>
              </p:cNvSpPr>
              <p:nvPr/>
            </p:nvSpPr>
            <p:spPr bwMode="auto">
              <a:xfrm>
                <a:off x="7562057" y="2617788"/>
                <a:ext cx="65088" cy="250825"/>
              </a:xfrm>
              <a:custGeom>
                <a:avLst/>
                <a:gdLst/>
                <a:ahLst/>
                <a:cxnLst>
                  <a:cxn ang="0">
                    <a:pos x="29" y="98"/>
                  </a:cxn>
                  <a:cxn ang="0">
                    <a:pos x="21" y="100"/>
                  </a:cxn>
                  <a:cxn ang="0">
                    <a:pos x="17" y="107"/>
                  </a:cxn>
                  <a:cxn ang="0">
                    <a:pos x="15" y="115"/>
                  </a:cxn>
                  <a:cxn ang="0">
                    <a:pos x="15" y="127"/>
                  </a:cxn>
                  <a:cxn ang="0">
                    <a:pos x="21" y="140"/>
                  </a:cxn>
                  <a:cxn ang="0">
                    <a:pos x="29" y="153"/>
                  </a:cxn>
                  <a:cxn ang="0">
                    <a:pos x="28" y="153"/>
                  </a:cxn>
                  <a:cxn ang="0">
                    <a:pos x="24" y="150"/>
                  </a:cxn>
                  <a:cxn ang="0">
                    <a:pos x="22" y="148"/>
                  </a:cxn>
                  <a:cxn ang="0">
                    <a:pos x="19" y="148"/>
                  </a:cxn>
                  <a:cxn ang="0">
                    <a:pos x="17" y="148"/>
                  </a:cxn>
                  <a:cxn ang="0">
                    <a:pos x="10" y="153"/>
                  </a:cxn>
                  <a:cxn ang="0">
                    <a:pos x="5" y="158"/>
                  </a:cxn>
                  <a:cxn ang="0">
                    <a:pos x="3" y="152"/>
                  </a:cxn>
                  <a:cxn ang="0">
                    <a:pos x="5" y="145"/>
                  </a:cxn>
                  <a:cxn ang="0">
                    <a:pos x="5" y="133"/>
                  </a:cxn>
                  <a:cxn ang="0">
                    <a:pos x="7" y="122"/>
                  </a:cxn>
                  <a:cxn ang="0">
                    <a:pos x="5" y="114"/>
                  </a:cxn>
                  <a:cxn ang="0">
                    <a:pos x="5" y="107"/>
                  </a:cxn>
                  <a:cxn ang="0">
                    <a:pos x="5" y="98"/>
                  </a:cxn>
                  <a:cxn ang="0">
                    <a:pos x="7" y="91"/>
                  </a:cxn>
                  <a:cxn ang="0">
                    <a:pos x="7" y="76"/>
                  </a:cxn>
                  <a:cxn ang="0">
                    <a:pos x="7" y="62"/>
                  </a:cxn>
                  <a:cxn ang="0">
                    <a:pos x="3" y="52"/>
                  </a:cxn>
                  <a:cxn ang="0">
                    <a:pos x="0" y="43"/>
                  </a:cxn>
                  <a:cxn ang="0">
                    <a:pos x="0" y="35"/>
                  </a:cxn>
                  <a:cxn ang="0">
                    <a:pos x="2" y="26"/>
                  </a:cxn>
                  <a:cxn ang="0">
                    <a:pos x="3" y="19"/>
                  </a:cxn>
                  <a:cxn ang="0">
                    <a:pos x="10" y="17"/>
                  </a:cxn>
                  <a:cxn ang="0">
                    <a:pos x="10" y="14"/>
                  </a:cxn>
                  <a:cxn ang="0">
                    <a:pos x="12" y="11"/>
                  </a:cxn>
                  <a:cxn ang="0">
                    <a:pos x="12" y="5"/>
                  </a:cxn>
                  <a:cxn ang="0">
                    <a:pos x="12" y="0"/>
                  </a:cxn>
                  <a:cxn ang="0">
                    <a:pos x="14" y="0"/>
                  </a:cxn>
                  <a:cxn ang="0">
                    <a:pos x="15" y="0"/>
                  </a:cxn>
                  <a:cxn ang="0">
                    <a:pos x="17" y="12"/>
                  </a:cxn>
                  <a:cxn ang="0">
                    <a:pos x="22" y="24"/>
                  </a:cxn>
                  <a:cxn ang="0">
                    <a:pos x="21" y="33"/>
                  </a:cxn>
                  <a:cxn ang="0">
                    <a:pos x="24" y="43"/>
                  </a:cxn>
                  <a:cxn ang="0">
                    <a:pos x="24" y="55"/>
                  </a:cxn>
                  <a:cxn ang="0">
                    <a:pos x="24" y="62"/>
                  </a:cxn>
                  <a:cxn ang="0">
                    <a:pos x="28" y="69"/>
                  </a:cxn>
                  <a:cxn ang="0">
                    <a:pos x="34" y="86"/>
                  </a:cxn>
                  <a:cxn ang="0">
                    <a:pos x="41" y="103"/>
                  </a:cxn>
                  <a:cxn ang="0">
                    <a:pos x="34" y="98"/>
                  </a:cxn>
                  <a:cxn ang="0">
                    <a:pos x="29" y="98"/>
                  </a:cxn>
                </a:cxnLst>
                <a:rect l="0" t="0" r="r" b="b"/>
                <a:pathLst>
                  <a:path w="41" h="158">
                    <a:moveTo>
                      <a:pt x="29" y="98"/>
                    </a:moveTo>
                    <a:lnTo>
                      <a:pt x="21" y="100"/>
                    </a:lnTo>
                    <a:lnTo>
                      <a:pt x="17" y="107"/>
                    </a:lnTo>
                    <a:lnTo>
                      <a:pt x="15" y="115"/>
                    </a:lnTo>
                    <a:lnTo>
                      <a:pt x="15" y="127"/>
                    </a:lnTo>
                    <a:lnTo>
                      <a:pt x="21" y="140"/>
                    </a:lnTo>
                    <a:lnTo>
                      <a:pt x="29" y="153"/>
                    </a:lnTo>
                    <a:lnTo>
                      <a:pt x="28" y="153"/>
                    </a:lnTo>
                    <a:lnTo>
                      <a:pt x="24" y="150"/>
                    </a:lnTo>
                    <a:lnTo>
                      <a:pt x="22" y="148"/>
                    </a:lnTo>
                    <a:lnTo>
                      <a:pt x="19" y="148"/>
                    </a:lnTo>
                    <a:lnTo>
                      <a:pt x="17" y="148"/>
                    </a:lnTo>
                    <a:lnTo>
                      <a:pt x="10" y="153"/>
                    </a:lnTo>
                    <a:lnTo>
                      <a:pt x="5" y="158"/>
                    </a:lnTo>
                    <a:lnTo>
                      <a:pt x="3" y="152"/>
                    </a:lnTo>
                    <a:lnTo>
                      <a:pt x="5" y="145"/>
                    </a:lnTo>
                    <a:lnTo>
                      <a:pt x="5" y="133"/>
                    </a:lnTo>
                    <a:lnTo>
                      <a:pt x="7" y="122"/>
                    </a:lnTo>
                    <a:lnTo>
                      <a:pt x="5" y="114"/>
                    </a:lnTo>
                    <a:lnTo>
                      <a:pt x="5" y="107"/>
                    </a:lnTo>
                    <a:lnTo>
                      <a:pt x="5" y="98"/>
                    </a:lnTo>
                    <a:lnTo>
                      <a:pt x="7" y="91"/>
                    </a:lnTo>
                    <a:lnTo>
                      <a:pt x="7" y="76"/>
                    </a:lnTo>
                    <a:lnTo>
                      <a:pt x="7" y="62"/>
                    </a:lnTo>
                    <a:lnTo>
                      <a:pt x="3" y="52"/>
                    </a:lnTo>
                    <a:lnTo>
                      <a:pt x="0" y="43"/>
                    </a:lnTo>
                    <a:lnTo>
                      <a:pt x="0" y="35"/>
                    </a:lnTo>
                    <a:lnTo>
                      <a:pt x="2" y="26"/>
                    </a:lnTo>
                    <a:lnTo>
                      <a:pt x="3" y="19"/>
                    </a:lnTo>
                    <a:lnTo>
                      <a:pt x="10" y="17"/>
                    </a:lnTo>
                    <a:lnTo>
                      <a:pt x="10" y="14"/>
                    </a:lnTo>
                    <a:lnTo>
                      <a:pt x="12" y="11"/>
                    </a:lnTo>
                    <a:lnTo>
                      <a:pt x="12" y="5"/>
                    </a:lnTo>
                    <a:lnTo>
                      <a:pt x="12" y="0"/>
                    </a:lnTo>
                    <a:lnTo>
                      <a:pt x="14" y="0"/>
                    </a:lnTo>
                    <a:lnTo>
                      <a:pt x="15" y="0"/>
                    </a:lnTo>
                    <a:lnTo>
                      <a:pt x="17" y="12"/>
                    </a:lnTo>
                    <a:lnTo>
                      <a:pt x="22" y="24"/>
                    </a:lnTo>
                    <a:lnTo>
                      <a:pt x="21" y="33"/>
                    </a:lnTo>
                    <a:lnTo>
                      <a:pt x="24" y="43"/>
                    </a:lnTo>
                    <a:lnTo>
                      <a:pt x="24" y="55"/>
                    </a:lnTo>
                    <a:lnTo>
                      <a:pt x="24" y="62"/>
                    </a:lnTo>
                    <a:lnTo>
                      <a:pt x="28" y="69"/>
                    </a:lnTo>
                    <a:lnTo>
                      <a:pt x="34" y="86"/>
                    </a:lnTo>
                    <a:lnTo>
                      <a:pt x="41" y="103"/>
                    </a:lnTo>
                    <a:lnTo>
                      <a:pt x="34" y="98"/>
                    </a:lnTo>
                    <a:lnTo>
                      <a:pt x="29" y="9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03" name="Freeform 254"/>
              <p:cNvSpPr>
                <a:spLocks/>
              </p:cNvSpPr>
              <p:nvPr/>
            </p:nvSpPr>
            <p:spPr bwMode="auto">
              <a:xfrm>
                <a:off x="5487194" y="1744663"/>
                <a:ext cx="403225" cy="295275"/>
              </a:xfrm>
              <a:custGeom>
                <a:avLst/>
                <a:gdLst/>
                <a:ahLst/>
                <a:cxnLst>
                  <a:cxn ang="0">
                    <a:pos x="77" y="177"/>
                  </a:cxn>
                  <a:cxn ang="0">
                    <a:pos x="60" y="162"/>
                  </a:cxn>
                  <a:cxn ang="0">
                    <a:pos x="58" y="138"/>
                  </a:cxn>
                  <a:cxn ang="0">
                    <a:pos x="69" y="113"/>
                  </a:cxn>
                  <a:cxn ang="0">
                    <a:pos x="88" y="93"/>
                  </a:cxn>
                  <a:cxn ang="0">
                    <a:pos x="108" y="81"/>
                  </a:cxn>
                  <a:cxn ang="0">
                    <a:pos x="124" y="72"/>
                  </a:cxn>
                  <a:cxn ang="0">
                    <a:pos x="134" y="64"/>
                  </a:cxn>
                  <a:cxn ang="0">
                    <a:pos x="149" y="57"/>
                  </a:cxn>
                  <a:cxn ang="0">
                    <a:pos x="167" y="46"/>
                  </a:cxn>
                  <a:cxn ang="0">
                    <a:pos x="189" y="43"/>
                  </a:cxn>
                  <a:cxn ang="0">
                    <a:pos x="206" y="36"/>
                  </a:cxn>
                  <a:cxn ang="0">
                    <a:pos x="223" y="31"/>
                  </a:cxn>
                  <a:cxn ang="0">
                    <a:pos x="248" y="22"/>
                  </a:cxn>
                  <a:cxn ang="0">
                    <a:pos x="251" y="7"/>
                  </a:cxn>
                  <a:cxn ang="0">
                    <a:pos x="239" y="0"/>
                  </a:cxn>
                  <a:cxn ang="0">
                    <a:pos x="223" y="0"/>
                  </a:cxn>
                  <a:cxn ang="0">
                    <a:pos x="205" y="9"/>
                  </a:cxn>
                  <a:cxn ang="0">
                    <a:pos x="186" y="19"/>
                  </a:cxn>
                  <a:cxn ang="0">
                    <a:pos x="167" y="26"/>
                  </a:cxn>
                  <a:cxn ang="0">
                    <a:pos x="149" y="26"/>
                  </a:cxn>
                  <a:cxn ang="0">
                    <a:pos x="132" y="26"/>
                  </a:cxn>
                  <a:cxn ang="0">
                    <a:pos x="112" y="33"/>
                  </a:cxn>
                  <a:cxn ang="0">
                    <a:pos x="89" y="48"/>
                  </a:cxn>
                  <a:cxn ang="0">
                    <a:pos x="70" y="55"/>
                  </a:cxn>
                  <a:cxn ang="0">
                    <a:pos x="55" y="58"/>
                  </a:cxn>
                  <a:cxn ang="0">
                    <a:pos x="57" y="65"/>
                  </a:cxn>
                  <a:cxn ang="0">
                    <a:pos x="53" y="79"/>
                  </a:cxn>
                  <a:cxn ang="0">
                    <a:pos x="36" y="95"/>
                  </a:cxn>
                  <a:cxn ang="0">
                    <a:pos x="36" y="105"/>
                  </a:cxn>
                  <a:cxn ang="0">
                    <a:pos x="31" y="113"/>
                  </a:cxn>
                  <a:cxn ang="0">
                    <a:pos x="17" y="120"/>
                  </a:cxn>
                  <a:cxn ang="0">
                    <a:pos x="15" y="132"/>
                  </a:cxn>
                  <a:cxn ang="0">
                    <a:pos x="12" y="139"/>
                  </a:cxn>
                  <a:cxn ang="0">
                    <a:pos x="2" y="146"/>
                  </a:cxn>
                  <a:cxn ang="0">
                    <a:pos x="5" y="162"/>
                  </a:cxn>
                  <a:cxn ang="0">
                    <a:pos x="12" y="165"/>
                  </a:cxn>
                  <a:cxn ang="0">
                    <a:pos x="20" y="165"/>
                  </a:cxn>
                  <a:cxn ang="0">
                    <a:pos x="31" y="170"/>
                  </a:cxn>
                  <a:cxn ang="0">
                    <a:pos x="38" y="182"/>
                  </a:cxn>
                  <a:cxn ang="0">
                    <a:pos x="46" y="184"/>
                  </a:cxn>
                  <a:cxn ang="0">
                    <a:pos x="88" y="186"/>
                  </a:cxn>
                  <a:cxn ang="0">
                    <a:pos x="82" y="181"/>
                  </a:cxn>
                </a:cxnLst>
                <a:rect l="0" t="0" r="r" b="b"/>
                <a:pathLst>
                  <a:path w="254" h="186">
                    <a:moveTo>
                      <a:pt x="88" y="186"/>
                    </a:moveTo>
                    <a:lnTo>
                      <a:pt x="77" y="177"/>
                    </a:lnTo>
                    <a:lnTo>
                      <a:pt x="69" y="170"/>
                    </a:lnTo>
                    <a:lnTo>
                      <a:pt x="60" y="162"/>
                    </a:lnTo>
                    <a:lnTo>
                      <a:pt x="58" y="151"/>
                    </a:lnTo>
                    <a:lnTo>
                      <a:pt x="58" y="138"/>
                    </a:lnTo>
                    <a:lnTo>
                      <a:pt x="63" y="126"/>
                    </a:lnTo>
                    <a:lnTo>
                      <a:pt x="69" y="113"/>
                    </a:lnTo>
                    <a:lnTo>
                      <a:pt x="79" y="103"/>
                    </a:lnTo>
                    <a:lnTo>
                      <a:pt x="88" y="93"/>
                    </a:lnTo>
                    <a:lnTo>
                      <a:pt x="98" y="86"/>
                    </a:lnTo>
                    <a:lnTo>
                      <a:pt x="108" y="81"/>
                    </a:lnTo>
                    <a:lnTo>
                      <a:pt x="120" y="77"/>
                    </a:lnTo>
                    <a:lnTo>
                      <a:pt x="124" y="72"/>
                    </a:lnTo>
                    <a:lnTo>
                      <a:pt x="129" y="69"/>
                    </a:lnTo>
                    <a:lnTo>
                      <a:pt x="134" y="64"/>
                    </a:lnTo>
                    <a:lnTo>
                      <a:pt x="144" y="64"/>
                    </a:lnTo>
                    <a:lnTo>
                      <a:pt x="149" y="57"/>
                    </a:lnTo>
                    <a:lnTo>
                      <a:pt x="155" y="52"/>
                    </a:lnTo>
                    <a:lnTo>
                      <a:pt x="167" y="46"/>
                    </a:lnTo>
                    <a:lnTo>
                      <a:pt x="179" y="45"/>
                    </a:lnTo>
                    <a:lnTo>
                      <a:pt x="189" y="43"/>
                    </a:lnTo>
                    <a:lnTo>
                      <a:pt x="203" y="40"/>
                    </a:lnTo>
                    <a:lnTo>
                      <a:pt x="206" y="36"/>
                    </a:lnTo>
                    <a:lnTo>
                      <a:pt x="215" y="34"/>
                    </a:lnTo>
                    <a:lnTo>
                      <a:pt x="223" y="31"/>
                    </a:lnTo>
                    <a:lnTo>
                      <a:pt x="232" y="29"/>
                    </a:lnTo>
                    <a:lnTo>
                      <a:pt x="248" y="22"/>
                    </a:lnTo>
                    <a:lnTo>
                      <a:pt x="254" y="12"/>
                    </a:lnTo>
                    <a:lnTo>
                      <a:pt x="251" y="7"/>
                    </a:lnTo>
                    <a:lnTo>
                      <a:pt x="246" y="3"/>
                    </a:lnTo>
                    <a:lnTo>
                      <a:pt x="239" y="0"/>
                    </a:lnTo>
                    <a:lnTo>
                      <a:pt x="234" y="0"/>
                    </a:lnTo>
                    <a:lnTo>
                      <a:pt x="223" y="0"/>
                    </a:lnTo>
                    <a:lnTo>
                      <a:pt x="213" y="3"/>
                    </a:lnTo>
                    <a:lnTo>
                      <a:pt x="205" y="9"/>
                    </a:lnTo>
                    <a:lnTo>
                      <a:pt x="196" y="14"/>
                    </a:lnTo>
                    <a:lnTo>
                      <a:pt x="186" y="19"/>
                    </a:lnTo>
                    <a:lnTo>
                      <a:pt x="177" y="24"/>
                    </a:lnTo>
                    <a:lnTo>
                      <a:pt x="167" y="26"/>
                    </a:lnTo>
                    <a:lnTo>
                      <a:pt x="158" y="29"/>
                    </a:lnTo>
                    <a:lnTo>
                      <a:pt x="149" y="26"/>
                    </a:lnTo>
                    <a:lnTo>
                      <a:pt x="143" y="22"/>
                    </a:lnTo>
                    <a:lnTo>
                      <a:pt x="132" y="26"/>
                    </a:lnTo>
                    <a:lnTo>
                      <a:pt x="127" y="29"/>
                    </a:lnTo>
                    <a:lnTo>
                      <a:pt x="112" y="33"/>
                    </a:lnTo>
                    <a:lnTo>
                      <a:pt x="101" y="41"/>
                    </a:lnTo>
                    <a:lnTo>
                      <a:pt x="89" y="48"/>
                    </a:lnTo>
                    <a:lnTo>
                      <a:pt x="81" y="53"/>
                    </a:lnTo>
                    <a:lnTo>
                      <a:pt x="70" y="55"/>
                    </a:lnTo>
                    <a:lnTo>
                      <a:pt x="60" y="57"/>
                    </a:lnTo>
                    <a:lnTo>
                      <a:pt x="55" y="58"/>
                    </a:lnTo>
                    <a:lnTo>
                      <a:pt x="55" y="62"/>
                    </a:lnTo>
                    <a:lnTo>
                      <a:pt x="57" y="65"/>
                    </a:lnTo>
                    <a:lnTo>
                      <a:pt x="58" y="71"/>
                    </a:lnTo>
                    <a:lnTo>
                      <a:pt x="53" y="79"/>
                    </a:lnTo>
                    <a:lnTo>
                      <a:pt x="45" y="88"/>
                    </a:lnTo>
                    <a:lnTo>
                      <a:pt x="36" y="95"/>
                    </a:lnTo>
                    <a:lnTo>
                      <a:pt x="33" y="101"/>
                    </a:lnTo>
                    <a:lnTo>
                      <a:pt x="36" y="105"/>
                    </a:lnTo>
                    <a:lnTo>
                      <a:pt x="39" y="113"/>
                    </a:lnTo>
                    <a:lnTo>
                      <a:pt x="31" y="113"/>
                    </a:lnTo>
                    <a:lnTo>
                      <a:pt x="24" y="117"/>
                    </a:lnTo>
                    <a:lnTo>
                      <a:pt x="17" y="120"/>
                    </a:lnTo>
                    <a:lnTo>
                      <a:pt x="15" y="127"/>
                    </a:lnTo>
                    <a:lnTo>
                      <a:pt x="15" y="132"/>
                    </a:lnTo>
                    <a:lnTo>
                      <a:pt x="15" y="134"/>
                    </a:lnTo>
                    <a:lnTo>
                      <a:pt x="12" y="139"/>
                    </a:lnTo>
                    <a:lnTo>
                      <a:pt x="7" y="143"/>
                    </a:lnTo>
                    <a:lnTo>
                      <a:pt x="2" y="146"/>
                    </a:lnTo>
                    <a:lnTo>
                      <a:pt x="0" y="155"/>
                    </a:lnTo>
                    <a:lnTo>
                      <a:pt x="5" y="162"/>
                    </a:lnTo>
                    <a:lnTo>
                      <a:pt x="10" y="165"/>
                    </a:lnTo>
                    <a:lnTo>
                      <a:pt x="12" y="165"/>
                    </a:lnTo>
                    <a:lnTo>
                      <a:pt x="17" y="165"/>
                    </a:lnTo>
                    <a:lnTo>
                      <a:pt x="20" y="165"/>
                    </a:lnTo>
                    <a:lnTo>
                      <a:pt x="26" y="165"/>
                    </a:lnTo>
                    <a:lnTo>
                      <a:pt x="31" y="170"/>
                    </a:lnTo>
                    <a:lnTo>
                      <a:pt x="33" y="182"/>
                    </a:lnTo>
                    <a:lnTo>
                      <a:pt x="38" y="182"/>
                    </a:lnTo>
                    <a:lnTo>
                      <a:pt x="45" y="182"/>
                    </a:lnTo>
                    <a:lnTo>
                      <a:pt x="46" y="184"/>
                    </a:lnTo>
                    <a:lnTo>
                      <a:pt x="48" y="186"/>
                    </a:lnTo>
                    <a:lnTo>
                      <a:pt x="88" y="186"/>
                    </a:lnTo>
                    <a:lnTo>
                      <a:pt x="84" y="181"/>
                    </a:lnTo>
                    <a:lnTo>
                      <a:pt x="82" y="181"/>
                    </a:lnTo>
                    <a:lnTo>
                      <a:pt x="88" y="1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04" name="Freeform 255"/>
              <p:cNvSpPr>
                <a:spLocks/>
              </p:cNvSpPr>
              <p:nvPr/>
            </p:nvSpPr>
            <p:spPr bwMode="auto">
              <a:xfrm>
                <a:off x="4102894" y="2519363"/>
                <a:ext cx="884238" cy="633412"/>
              </a:xfrm>
              <a:custGeom>
                <a:avLst/>
                <a:gdLst/>
                <a:ahLst/>
                <a:cxnLst>
                  <a:cxn ang="0">
                    <a:pos x="530" y="291"/>
                  </a:cxn>
                  <a:cxn ang="0">
                    <a:pos x="540" y="313"/>
                  </a:cxn>
                  <a:cxn ang="0">
                    <a:pos x="492" y="315"/>
                  </a:cxn>
                  <a:cxn ang="0">
                    <a:pos x="461" y="325"/>
                  </a:cxn>
                  <a:cxn ang="0">
                    <a:pos x="466" y="349"/>
                  </a:cxn>
                  <a:cxn ang="0">
                    <a:pos x="478" y="367"/>
                  </a:cxn>
                  <a:cxn ang="0">
                    <a:pos x="462" y="370"/>
                  </a:cxn>
                  <a:cxn ang="0">
                    <a:pos x="445" y="380"/>
                  </a:cxn>
                  <a:cxn ang="0">
                    <a:pos x="437" y="358"/>
                  </a:cxn>
                  <a:cxn ang="0">
                    <a:pos x="411" y="312"/>
                  </a:cxn>
                  <a:cxn ang="0">
                    <a:pos x="373" y="274"/>
                  </a:cxn>
                  <a:cxn ang="0">
                    <a:pos x="339" y="245"/>
                  </a:cxn>
                  <a:cxn ang="0">
                    <a:pos x="308" y="241"/>
                  </a:cxn>
                  <a:cxn ang="0">
                    <a:pos x="328" y="270"/>
                  </a:cxn>
                  <a:cxn ang="0">
                    <a:pos x="361" y="300"/>
                  </a:cxn>
                  <a:cxn ang="0">
                    <a:pos x="387" y="329"/>
                  </a:cxn>
                  <a:cxn ang="0">
                    <a:pos x="373" y="349"/>
                  </a:cxn>
                  <a:cxn ang="0">
                    <a:pos x="361" y="356"/>
                  </a:cxn>
                  <a:cxn ang="0">
                    <a:pos x="337" y="317"/>
                  </a:cxn>
                  <a:cxn ang="0">
                    <a:pos x="299" y="293"/>
                  </a:cxn>
                  <a:cxn ang="0">
                    <a:pos x="253" y="258"/>
                  </a:cxn>
                  <a:cxn ang="0">
                    <a:pos x="182" y="275"/>
                  </a:cxn>
                  <a:cxn ang="0">
                    <a:pos x="139" y="325"/>
                  </a:cxn>
                  <a:cxn ang="0">
                    <a:pos x="117" y="375"/>
                  </a:cxn>
                  <a:cxn ang="0">
                    <a:pos x="89" y="387"/>
                  </a:cxn>
                  <a:cxn ang="0">
                    <a:pos x="38" y="382"/>
                  </a:cxn>
                  <a:cxn ang="0">
                    <a:pos x="7" y="367"/>
                  </a:cxn>
                  <a:cxn ang="0">
                    <a:pos x="5" y="330"/>
                  </a:cxn>
                  <a:cxn ang="0">
                    <a:pos x="5" y="277"/>
                  </a:cxn>
                  <a:cxn ang="0">
                    <a:pos x="55" y="270"/>
                  </a:cxn>
                  <a:cxn ang="0">
                    <a:pos x="108" y="274"/>
                  </a:cxn>
                  <a:cxn ang="0">
                    <a:pos x="120" y="238"/>
                  </a:cxn>
                  <a:cxn ang="0">
                    <a:pos x="105" y="205"/>
                  </a:cxn>
                  <a:cxn ang="0">
                    <a:pos x="69" y="186"/>
                  </a:cxn>
                  <a:cxn ang="0">
                    <a:pos x="93" y="179"/>
                  </a:cxn>
                  <a:cxn ang="0">
                    <a:pos x="110" y="164"/>
                  </a:cxn>
                  <a:cxn ang="0">
                    <a:pos x="139" y="160"/>
                  </a:cxn>
                  <a:cxn ang="0">
                    <a:pos x="168" y="134"/>
                  </a:cxn>
                  <a:cxn ang="0">
                    <a:pos x="198" y="107"/>
                  </a:cxn>
                  <a:cxn ang="0">
                    <a:pos x="235" y="86"/>
                  </a:cxn>
                  <a:cxn ang="0">
                    <a:pos x="263" y="74"/>
                  </a:cxn>
                  <a:cxn ang="0">
                    <a:pos x="249" y="31"/>
                  </a:cxn>
                  <a:cxn ang="0">
                    <a:pos x="278" y="12"/>
                  </a:cxn>
                  <a:cxn ang="0">
                    <a:pos x="284" y="30"/>
                  </a:cxn>
                  <a:cxn ang="0">
                    <a:pos x="277" y="64"/>
                  </a:cxn>
                  <a:cxn ang="0">
                    <a:pos x="301" y="73"/>
                  </a:cxn>
                  <a:cxn ang="0">
                    <a:pos x="328" y="74"/>
                  </a:cxn>
                  <a:cxn ang="0">
                    <a:pos x="371" y="61"/>
                  </a:cxn>
                  <a:cxn ang="0">
                    <a:pos x="407" y="64"/>
                  </a:cxn>
                  <a:cxn ang="0">
                    <a:pos x="466" y="64"/>
                  </a:cxn>
                  <a:cxn ang="0">
                    <a:pos x="473" y="122"/>
                  </a:cxn>
                  <a:cxn ang="0">
                    <a:pos x="459" y="183"/>
                  </a:cxn>
                  <a:cxn ang="0">
                    <a:pos x="507" y="181"/>
                  </a:cxn>
                  <a:cxn ang="0">
                    <a:pos x="540" y="227"/>
                  </a:cxn>
                  <a:cxn ang="0">
                    <a:pos x="557" y="234"/>
                  </a:cxn>
                </a:cxnLst>
                <a:rect l="0" t="0" r="r" b="b"/>
                <a:pathLst>
                  <a:path w="557" h="399">
                    <a:moveTo>
                      <a:pt x="547" y="248"/>
                    </a:moveTo>
                    <a:lnTo>
                      <a:pt x="545" y="253"/>
                    </a:lnTo>
                    <a:lnTo>
                      <a:pt x="543" y="255"/>
                    </a:lnTo>
                    <a:lnTo>
                      <a:pt x="543" y="269"/>
                    </a:lnTo>
                    <a:lnTo>
                      <a:pt x="535" y="277"/>
                    </a:lnTo>
                    <a:lnTo>
                      <a:pt x="530" y="291"/>
                    </a:lnTo>
                    <a:lnTo>
                      <a:pt x="531" y="296"/>
                    </a:lnTo>
                    <a:lnTo>
                      <a:pt x="536" y="303"/>
                    </a:lnTo>
                    <a:lnTo>
                      <a:pt x="542" y="306"/>
                    </a:lnTo>
                    <a:lnTo>
                      <a:pt x="547" y="312"/>
                    </a:lnTo>
                    <a:lnTo>
                      <a:pt x="543" y="312"/>
                    </a:lnTo>
                    <a:lnTo>
                      <a:pt x="540" y="313"/>
                    </a:lnTo>
                    <a:lnTo>
                      <a:pt x="533" y="313"/>
                    </a:lnTo>
                    <a:lnTo>
                      <a:pt x="528" y="315"/>
                    </a:lnTo>
                    <a:lnTo>
                      <a:pt x="519" y="320"/>
                    </a:lnTo>
                    <a:lnTo>
                      <a:pt x="512" y="325"/>
                    </a:lnTo>
                    <a:lnTo>
                      <a:pt x="502" y="320"/>
                    </a:lnTo>
                    <a:lnTo>
                      <a:pt x="492" y="315"/>
                    </a:lnTo>
                    <a:lnTo>
                      <a:pt x="481" y="317"/>
                    </a:lnTo>
                    <a:lnTo>
                      <a:pt x="475" y="322"/>
                    </a:lnTo>
                    <a:lnTo>
                      <a:pt x="475" y="327"/>
                    </a:lnTo>
                    <a:lnTo>
                      <a:pt x="475" y="332"/>
                    </a:lnTo>
                    <a:lnTo>
                      <a:pt x="466" y="329"/>
                    </a:lnTo>
                    <a:lnTo>
                      <a:pt x="461" y="325"/>
                    </a:lnTo>
                    <a:lnTo>
                      <a:pt x="457" y="327"/>
                    </a:lnTo>
                    <a:lnTo>
                      <a:pt x="456" y="330"/>
                    </a:lnTo>
                    <a:lnTo>
                      <a:pt x="466" y="343"/>
                    </a:lnTo>
                    <a:lnTo>
                      <a:pt x="464" y="344"/>
                    </a:lnTo>
                    <a:lnTo>
                      <a:pt x="464" y="348"/>
                    </a:lnTo>
                    <a:lnTo>
                      <a:pt x="466" y="349"/>
                    </a:lnTo>
                    <a:lnTo>
                      <a:pt x="471" y="355"/>
                    </a:lnTo>
                    <a:lnTo>
                      <a:pt x="476" y="358"/>
                    </a:lnTo>
                    <a:lnTo>
                      <a:pt x="481" y="361"/>
                    </a:lnTo>
                    <a:lnTo>
                      <a:pt x="481" y="363"/>
                    </a:lnTo>
                    <a:lnTo>
                      <a:pt x="483" y="367"/>
                    </a:lnTo>
                    <a:lnTo>
                      <a:pt x="478" y="367"/>
                    </a:lnTo>
                    <a:lnTo>
                      <a:pt x="475" y="370"/>
                    </a:lnTo>
                    <a:lnTo>
                      <a:pt x="475" y="370"/>
                    </a:lnTo>
                    <a:lnTo>
                      <a:pt x="464" y="365"/>
                    </a:lnTo>
                    <a:lnTo>
                      <a:pt x="461" y="361"/>
                    </a:lnTo>
                    <a:lnTo>
                      <a:pt x="461" y="367"/>
                    </a:lnTo>
                    <a:lnTo>
                      <a:pt x="462" y="370"/>
                    </a:lnTo>
                    <a:lnTo>
                      <a:pt x="464" y="375"/>
                    </a:lnTo>
                    <a:lnTo>
                      <a:pt x="461" y="380"/>
                    </a:lnTo>
                    <a:lnTo>
                      <a:pt x="464" y="387"/>
                    </a:lnTo>
                    <a:lnTo>
                      <a:pt x="459" y="387"/>
                    </a:lnTo>
                    <a:lnTo>
                      <a:pt x="456" y="387"/>
                    </a:lnTo>
                    <a:lnTo>
                      <a:pt x="445" y="380"/>
                    </a:lnTo>
                    <a:lnTo>
                      <a:pt x="442" y="370"/>
                    </a:lnTo>
                    <a:lnTo>
                      <a:pt x="444" y="365"/>
                    </a:lnTo>
                    <a:lnTo>
                      <a:pt x="447" y="361"/>
                    </a:lnTo>
                    <a:lnTo>
                      <a:pt x="442" y="361"/>
                    </a:lnTo>
                    <a:lnTo>
                      <a:pt x="438" y="361"/>
                    </a:lnTo>
                    <a:lnTo>
                      <a:pt x="437" y="358"/>
                    </a:lnTo>
                    <a:lnTo>
                      <a:pt x="437" y="356"/>
                    </a:lnTo>
                    <a:lnTo>
                      <a:pt x="430" y="346"/>
                    </a:lnTo>
                    <a:lnTo>
                      <a:pt x="425" y="341"/>
                    </a:lnTo>
                    <a:lnTo>
                      <a:pt x="414" y="330"/>
                    </a:lnTo>
                    <a:lnTo>
                      <a:pt x="411" y="318"/>
                    </a:lnTo>
                    <a:lnTo>
                      <a:pt x="411" y="312"/>
                    </a:lnTo>
                    <a:lnTo>
                      <a:pt x="411" y="306"/>
                    </a:lnTo>
                    <a:lnTo>
                      <a:pt x="404" y="293"/>
                    </a:lnTo>
                    <a:lnTo>
                      <a:pt x="394" y="284"/>
                    </a:lnTo>
                    <a:lnTo>
                      <a:pt x="382" y="279"/>
                    </a:lnTo>
                    <a:lnTo>
                      <a:pt x="378" y="274"/>
                    </a:lnTo>
                    <a:lnTo>
                      <a:pt x="373" y="274"/>
                    </a:lnTo>
                    <a:lnTo>
                      <a:pt x="371" y="274"/>
                    </a:lnTo>
                    <a:lnTo>
                      <a:pt x="361" y="270"/>
                    </a:lnTo>
                    <a:lnTo>
                      <a:pt x="354" y="263"/>
                    </a:lnTo>
                    <a:lnTo>
                      <a:pt x="347" y="253"/>
                    </a:lnTo>
                    <a:lnTo>
                      <a:pt x="347" y="245"/>
                    </a:lnTo>
                    <a:lnTo>
                      <a:pt x="339" y="245"/>
                    </a:lnTo>
                    <a:lnTo>
                      <a:pt x="332" y="245"/>
                    </a:lnTo>
                    <a:lnTo>
                      <a:pt x="327" y="238"/>
                    </a:lnTo>
                    <a:lnTo>
                      <a:pt x="325" y="231"/>
                    </a:lnTo>
                    <a:lnTo>
                      <a:pt x="313" y="234"/>
                    </a:lnTo>
                    <a:lnTo>
                      <a:pt x="308" y="239"/>
                    </a:lnTo>
                    <a:lnTo>
                      <a:pt x="308" y="241"/>
                    </a:lnTo>
                    <a:lnTo>
                      <a:pt x="311" y="243"/>
                    </a:lnTo>
                    <a:lnTo>
                      <a:pt x="309" y="246"/>
                    </a:lnTo>
                    <a:lnTo>
                      <a:pt x="309" y="251"/>
                    </a:lnTo>
                    <a:lnTo>
                      <a:pt x="311" y="260"/>
                    </a:lnTo>
                    <a:lnTo>
                      <a:pt x="320" y="265"/>
                    </a:lnTo>
                    <a:lnTo>
                      <a:pt x="328" y="270"/>
                    </a:lnTo>
                    <a:lnTo>
                      <a:pt x="332" y="281"/>
                    </a:lnTo>
                    <a:lnTo>
                      <a:pt x="337" y="291"/>
                    </a:lnTo>
                    <a:lnTo>
                      <a:pt x="342" y="298"/>
                    </a:lnTo>
                    <a:lnTo>
                      <a:pt x="352" y="300"/>
                    </a:lnTo>
                    <a:lnTo>
                      <a:pt x="363" y="300"/>
                    </a:lnTo>
                    <a:lnTo>
                      <a:pt x="361" y="300"/>
                    </a:lnTo>
                    <a:lnTo>
                      <a:pt x="361" y="303"/>
                    </a:lnTo>
                    <a:lnTo>
                      <a:pt x="364" y="308"/>
                    </a:lnTo>
                    <a:lnTo>
                      <a:pt x="375" y="313"/>
                    </a:lnTo>
                    <a:lnTo>
                      <a:pt x="389" y="320"/>
                    </a:lnTo>
                    <a:lnTo>
                      <a:pt x="395" y="332"/>
                    </a:lnTo>
                    <a:lnTo>
                      <a:pt x="387" y="329"/>
                    </a:lnTo>
                    <a:lnTo>
                      <a:pt x="380" y="325"/>
                    </a:lnTo>
                    <a:lnTo>
                      <a:pt x="371" y="327"/>
                    </a:lnTo>
                    <a:lnTo>
                      <a:pt x="368" y="334"/>
                    </a:lnTo>
                    <a:lnTo>
                      <a:pt x="371" y="339"/>
                    </a:lnTo>
                    <a:lnTo>
                      <a:pt x="376" y="348"/>
                    </a:lnTo>
                    <a:lnTo>
                      <a:pt x="373" y="349"/>
                    </a:lnTo>
                    <a:lnTo>
                      <a:pt x="371" y="351"/>
                    </a:lnTo>
                    <a:lnTo>
                      <a:pt x="366" y="360"/>
                    </a:lnTo>
                    <a:lnTo>
                      <a:pt x="359" y="367"/>
                    </a:lnTo>
                    <a:lnTo>
                      <a:pt x="354" y="365"/>
                    </a:lnTo>
                    <a:lnTo>
                      <a:pt x="354" y="361"/>
                    </a:lnTo>
                    <a:lnTo>
                      <a:pt x="361" y="356"/>
                    </a:lnTo>
                    <a:lnTo>
                      <a:pt x="363" y="349"/>
                    </a:lnTo>
                    <a:lnTo>
                      <a:pt x="359" y="339"/>
                    </a:lnTo>
                    <a:lnTo>
                      <a:pt x="358" y="334"/>
                    </a:lnTo>
                    <a:lnTo>
                      <a:pt x="349" y="327"/>
                    </a:lnTo>
                    <a:lnTo>
                      <a:pt x="344" y="318"/>
                    </a:lnTo>
                    <a:lnTo>
                      <a:pt x="337" y="317"/>
                    </a:lnTo>
                    <a:lnTo>
                      <a:pt x="333" y="313"/>
                    </a:lnTo>
                    <a:lnTo>
                      <a:pt x="321" y="310"/>
                    </a:lnTo>
                    <a:lnTo>
                      <a:pt x="316" y="306"/>
                    </a:lnTo>
                    <a:lnTo>
                      <a:pt x="311" y="301"/>
                    </a:lnTo>
                    <a:lnTo>
                      <a:pt x="306" y="298"/>
                    </a:lnTo>
                    <a:lnTo>
                      <a:pt x="299" y="293"/>
                    </a:lnTo>
                    <a:lnTo>
                      <a:pt x="294" y="288"/>
                    </a:lnTo>
                    <a:lnTo>
                      <a:pt x="287" y="277"/>
                    </a:lnTo>
                    <a:lnTo>
                      <a:pt x="282" y="267"/>
                    </a:lnTo>
                    <a:lnTo>
                      <a:pt x="273" y="258"/>
                    </a:lnTo>
                    <a:lnTo>
                      <a:pt x="263" y="257"/>
                    </a:lnTo>
                    <a:lnTo>
                      <a:pt x="253" y="258"/>
                    </a:lnTo>
                    <a:lnTo>
                      <a:pt x="249" y="265"/>
                    </a:lnTo>
                    <a:lnTo>
                      <a:pt x="235" y="272"/>
                    </a:lnTo>
                    <a:lnTo>
                      <a:pt x="222" y="279"/>
                    </a:lnTo>
                    <a:lnTo>
                      <a:pt x="206" y="275"/>
                    </a:lnTo>
                    <a:lnTo>
                      <a:pt x="192" y="272"/>
                    </a:lnTo>
                    <a:lnTo>
                      <a:pt x="182" y="275"/>
                    </a:lnTo>
                    <a:lnTo>
                      <a:pt x="177" y="286"/>
                    </a:lnTo>
                    <a:lnTo>
                      <a:pt x="180" y="296"/>
                    </a:lnTo>
                    <a:lnTo>
                      <a:pt x="170" y="306"/>
                    </a:lnTo>
                    <a:lnTo>
                      <a:pt x="155" y="313"/>
                    </a:lnTo>
                    <a:lnTo>
                      <a:pt x="146" y="317"/>
                    </a:lnTo>
                    <a:lnTo>
                      <a:pt x="139" y="325"/>
                    </a:lnTo>
                    <a:lnTo>
                      <a:pt x="132" y="336"/>
                    </a:lnTo>
                    <a:lnTo>
                      <a:pt x="131" y="346"/>
                    </a:lnTo>
                    <a:lnTo>
                      <a:pt x="132" y="351"/>
                    </a:lnTo>
                    <a:lnTo>
                      <a:pt x="136" y="353"/>
                    </a:lnTo>
                    <a:lnTo>
                      <a:pt x="127" y="365"/>
                    </a:lnTo>
                    <a:lnTo>
                      <a:pt x="117" y="375"/>
                    </a:lnTo>
                    <a:lnTo>
                      <a:pt x="112" y="377"/>
                    </a:lnTo>
                    <a:lnTo>
                      <a:pt x="108" y="382"/>
                    </a:lnTo>
                    <a:lnTo>
                      <a:pt x="103" y="386"/>
                    </a:lnTo>
                    <a:lnTo>
                      <a:pt x="98" y="387"/>
                    </a:lnTo>
                    <a:lnTo>
                      <a:pt x="98" y="387"/>
                    </a:lnTo>
                    <a:lnTo>
                      <a:pt x="89" y="387"/>
                    </a:lnTo>
                    <a:lnTo>
                      <a:pt x="82" y="389"/>
                    </a:lnTo>
                    <a:lnTo>
                      <a:pt x="67" y="394"/>
                    </a:lnTo>
                    <a:lnTo>
                      <a:pt x="53" y="399"/>
                    </a:lnTo>
                    <a:lnTo>
                      <a:pt x="48" y="396"/>
                    </a:lnTo>
                    <a:lnTo>
                      <a:pt x="45" y="389"/>
                    </a:lnTo>
                    <a:lnTo>
                      <a:pt x="38" y="382"/>
                    </a:lnTo>
                    <a:lnTo>
                      <a:pt x="33" y="380"/>
                    </a:lnTo>
                    <a:lnTo>
                      <a:pt x="20" y="382"/>
                    </a:lnTo>
                    <a:lnTo>
                      <a:pt x="12" y="384"/>
                    </a:lnTo>
                    <a:lnTo>
                      <a:pt x="7" y="380"/>
                    </a:lnTo>
                    <a:lnTo>
                      <a:pt x="7" y="379"/>
                    </a:lnTo>
                    <a:lnTo>
                      <a:pt x="7" y="367"/>
                    </a:lnTo>
                    <a:lnTo>
                      <a:pt x="7" y="360"/>
                    </a:lnTo>
                    <a:lnTo>
                      <a:pt x="2" y="356"/>
                    </a:lnTo>
                    <a:lnTo>
                      <a:pt x="0" y="353"/>
                    </a:lnTo>
                    <a:lnTo>
                      <a:pt x="2" y="344"/>
                    </a:lnTo>
                    <a:lnTo>
                      <a:pt x="5" y="341"/>
                    </a:lnTo>
                    <a:lnTo>
                      <a:pt x="5" y="330"/>
                    </a:lnTo>
                    <a:lnTo>
                      <a:pt x="7" y="320"/>
                    </a:lnTo>
                    <a:lnTo>
                      <a:pt x="8" y="310"/>
                    </a:lnTo>
                    <a:lnTo>
                      <a:pt x="10" y="301"/>
                    </a:lnTo>
                    <a:lnTo>
                      <a:pt x="7" y="291"/>
                    </a:lnTo>
                    <a:lnTo>
                      <a:pt x="3" y="282"/>
                    </a:lnTo>
                    <a:lnTo>
                      <a:pt x="5" y="277"/>
                    </a:lnTo>
                    <a:lnTo>
                      <a:pt x="12" y="274"/>
                    </a:lnTo>
                    <a:lnTo>
                      <a:pt x="19" y="269"/>
                    </a:lnTo>
                    <a:lnTo>
                      <a:pt x="24" y="269"/>
                    </a:lnTo>
                    <a:lnTo>
                      <a:pt x="27" y="269"/>
                    </a:lnTo>
                    <a:lnTo>
                      <a:pt x="33" y="270"/>
                    </a:lnTo>
                    <a:lnTo>
                      <a:pt x="55" y="270"/>
                    </a:lnTo>
                    <a:lnTo>
                      <a:pt x="58" y="272"/>
                    </a:lnTo>
                    <a:lnTo>
                      <a:pt x="63" y="274"/>
                    </a:lnTo>
                    <a:lnTo>
                      <a:pt x="88" y="274"/>
                    </a:lnTo>
                    <a:lnTo>
                      <a:pt x="94" y="274"/>
                    </a:lnTo>
                    <a:lnTo>
                      <a:pt x="101" y="275"/>
                    </a:lnTo>
                    <a:lnTo>
                      <a:pt x="108" y="274"/>
                    </a:lnTo>
                    <a:lnTo>
                      <a:pt x="115" y="274"/>
                    </a:lnTo>
                    <a:lnTo>
                      <a:pt x="119" y="262"/>
                    </a:lnTo>
                    <a:lnTo>
                      <a:pt x="122" y="250"/>
                    </a:lnTo>
                    <a:lnTo>
                      <a:pt x="120" y="243"/>
                    </a:lnTo>
                    <a:lnTo>
                      <a:pt x="120" y="236"/>
                    </a:lnTo>
                    <a:lnTo>
                      <a:pt x="120" y="238"/>
                    </a:lnTo>
                    <a:lnTo>
                      <a:pt x="120" y="232"/>
                    </a:lnTo>
                    <a:lnTo>
                      <a:pt x="122" y="229"/>
                    </a:lnTo>
                    <a:lnTo>
                      <a:pt x="120" y="226"/>
                    </a:lnTo>
                    <a:lnTo>
                      <a:pt x="119" y="222"/>
                    </a:lnTo>
                    <a:lnTo>
                      <a:pt x="106" y="215"/>
                    </a:lnTo>
                    <a:lnTo>
                      <a:pt x="105" y="205"/>
                    </a:lnTo>
                    <a:lnTo>
                      <a:pt x="101" y="202"/>
                    </a:lnTo>
                    <a:lnTo>
                      <a:pt x="100" y="202"/>
                    </a:lnTo>
                    <a:lnTo>
                      <a:pt x="89" y="198"/>
                    </a:lnTo>
                    <a:lnTo>
                      <a:pt x="81" y="195"/>
                    </a:lnTo>
                    <a:lnTo>
                      <a:pt x="72" y="189"/>
                    </a:lnTo>
                    <a:lnTo>
                      <a:pt x="69" y="186"/>
                    </a:lnTo>
                    <a:lnTo>
                      <a:pt x="69" y="184"/>
                    </a:lnTo>
                    <a:lnTo>
                      <a:pt x="70" y="181"/>
                    </a:lnTo>
                    <a:lnTo>
                      <a:pt x="76" y="179"/>
                    </a:lnTo>
                    <a:lnTo>
                      <a:pt x="81" y="176"/>
                    </a:lnTo>
                    <a:lnTo>
                      <a:pt x="88" y="176"/>
                    </a:lnTo>
                    <a:lnTo>
                      <a:pt x="93" y="179"/>
                    </a:lnTo>
                    <a:lnTo>
                      <a:pt x="101" y="181"/>
                    </a:lnTo>
                    <a:lnTo>
                      <a:pt x="106" y="179"/>
                    </a:lnTo>
                    <a:lnTo>
                      <a:pt x="113" y="177"/>
                    </a:lnTo>
                    <a:lnTo>
                      <a:pt x="113" y="174"/>
                    </a:lnTo>
                    <a:lnTo>
                      <a:pt x="110" y="169"/>
                    </a:lnTo>
                    <a:lnTo>
                      <a:pt x="110" y="164"/>
                    </a:lnTo>
                    <a:lnTo>
                      <a:pt x="110" y="160"/>
                    </a:lnTo>
                    <a:lnTo>
                      <a:pt x="115" y="160"/>
                    </a:lnTo>
                    <a:lnTo>
                      <a:pt x="122" y="164"/>
                    </a:lnTo>
                    <a:lnTo>
                      <a:pt x="131" y="167"/>
                    </a:lnTo>
                    <a:lnTo>
                      <a:pt x="136" y="164"/>
                    </a:lnTo>
                    <a:lnTo>
                      <a:pt x="139" y="160"/>
                    </a:lnTo>
                    <a:lnTo>
                      <a:pt x="148" y="157"/>
                    </a:lnTo>
                    <a:lnTo>
                      <a:pt x="155" y="152"/>
                    </a:lnTo>
                    <a:lnTo>
                      <a:pt x="158" y="143"/>
                    </a:lnTo>
                    <a:lnTo>
                      <a:pt x="162" y="136"/>
                    </a:lnTo>
                    <a:lnTo>
                      <a:pt x="165" y="134"/>
                    </a:lnTo>
                    <a:lnTo>
                      <a:pt x="168" y="134"/>
                    </a:lnTo>
                    <a:lnTo>
                      <a:pt x="172" y="131"/>
                    </a:lnTo>
                    <a:lnTo>
                      <a:pt x="180" y="129"/>
                    </a:lnTo>
                    <a:lnTo>
                      <a:pt x="189" y="126"/>
                    </a:lnTo>
                    <a:lnTo>
                      <a:pt x="194" y="124"/>
                    </a:lnTo>
                    <a:lnTo>
                      <a:pt x="196" y="116"/>
                    </a:lnTo>
                    <a:lnTo>
                      <a:pt x="198" y="107"/>
                    </a:lnTo>
                    <a:lnTo>
                      <a:pt x="199" y="104"/>
                    </a:lnTo>
                    <a:lnTo>
                      <a:pt x="201" y="102"/>
                    </a:lnTo>
                    <a:lnTo>
                      <a:pt x="211" y="91"/>
                    </a:lnTo>
                    <a:lnTo>
                      <a:pt x="229" y="86"/>
                    </a:lnTo>
                    <a:lnTo>
                      <a:pt x="232" y="86"/>
                    </a:lnTo>
                    <a:lnTo>
                      <a:pt x="235" y="86"/>
                    </a:lnTo>
                    <a:lnTo>
                      <a:pt x="235" y="85"/>
                    </a:lnTo>
                    <a:lnTo>
                      <a:pt x="239" y="83"/>
                    </a:lnTo>
                    <a:lnTo>
                      <a:pt x="244" y="81"/>
                    </a:lnTo>
                    <a:lnTo>
                      <a:pt x="251" y="83"/>
                    </a:lnTo>
                    <a:lnTo>
                      <a:pt x="258" y="79"/>
                    </a:lnTo>
                    <a:lnTo>
                      <a:pt x="263" y="74"/>
                    </a:lnTo>
                    <a:lnTo>
                      <a:pt x="261" y="67"/>
                    </a:lnTo>
                    <a:lnTo>
                      <a:pt x="260" y="62"/>
                    </a:lnTo>
                    <a:lnTo>
                      <a:pt x="256" y="52"/>
                    </a:lnTo>
                    <a:lnTo>
                      <a:pt x="253" y="45"/>
                    </a:lnTo>
                    <a:lnTo>
                      <a:pt x="249" y="38"/>
                    </a:lnTo>
                    <a:lnTo>
                      <a:pt x="249" y="31"/>
                    </a:lnTo>
                    <a:lnTo>
                      <a:pt x="251" y="18"/>
                    </a:lnTo>
                    <a:lnTo>
                      <a:pt x="260" y="11"/>
                    </a:lnTo>
                    <a:lnTo>
                      <a:pt x="270" y="6"/>
                    </a:lnTo>
                    <a:lnTo>
                      <a:pt x="282" y="0"/>
                    </a:lnTo>
                    <a:lnTo>
                      <a:pt x="282" y="6"/>
                    </a:lnTo>
                    <a:lnTo>
                      <a:pt x="278" y="12"/>
                    </a:lnTo>
                    <a:lnTo>
                      <a:pt x="278" y="19"/>
                    </a:lnTo>
                    <a:lnTo>
                      <a:pt x="280" y="23"/>
                    </a:lnTo>
                    <a:lnTo>
                      <a:pt x="287" y="24"/>
                    </a:lnTo>
                    <a:lnTo>
                      <a:pt x="287" y="26"/>
                    </a:lnTo>
                    <a:lnTo>
                      <a:pt x="287" y="28"/>
                    </a:lnTo>
                    <a:lnTo>
                      <a:pt x="284" y="30"/>
                    </a:lnTo>
                    <a:lnTo>
                      <a:pt x="282" y="33"/>
                    </a:lnTo>
                    <a:lnTo>
                      <a:pt x="273" y="40"/>
                    </a:lnTo>
                    <a:lnTo>
                      <a:pt x="270" y="52"/>
                    </a:lnTo>
                    <a:lnTo>
                      <a:pt x="272" y="57"/>
                    </a:lnTo>
                    <a:lnTo>
                      <a:pt x="277" y="62"/>
                    </a:lnTo>
                    <a:lnTo>
                      <a:pt x="277" y="64"/>
                    </a:lnTo>
                    <a:lnTo>
                      <a:pt x="277" y="67"/>
                    </a:lnTo>
                    <a:lnTo>
                      <a:pt x="282" y="67"/>
                    </a:lnTo>
                    <a:lnTo>
                      <a:pt x="289" y="69"/>
                    </a:lnTo>
                    <a:lnTo>
                      <a:pt x="289" y="73"/>
                    </a:lnTo>
                    <a:lnTo>
                      <a:pt x="292" y="76"/>
                    </a:lnTo>
                    <a:lnTo>
                      <a:pt x="301" y="73"/>
                    </a:lnTo>
                    <a:lnTo>
                      <a:pt x="309" y="69"/>
                    </a:lnTo>
                    <a:lnTo>
                      <a:pt x="316" y="66"/>
                    </a:lnTo>
                    <a:lnTo>
                      <a:pt x="327" y="66"/>
                    </a:lnTo>
                    <a:lnTo>
                      <a:pt x="325" y="67"/>
                    </a:lnTo>
                    <a:lnTo>
                      <a:pt x="325" y="71"/>
                    </a:lnTo>
                    <a:lnTo>
                      <a:pt x="328" y="74"/>
                    </a:lnTo>
                    <a:lnTo>
                      <a:pt x="332" y="78"/>
                    </a:lnTo>
                    <a:lnTo>
                      <a:pt x="337" y="74"/>
                    </a:lnTo>
                    <a:lnTo>
                      <a:pt x="342" y="73"/>
                    </a:lnTo>
                    <a:lnTo>
                      <a:pt x="352" y="69"/>
                    </a:lnTo>
                    <a:lnTo>
                      <a:pt x="364" y="67"/>
                    </a:lnTo>
                    <a:lnTo>
                      <a:pt x="371" y="61"/>
                    </a:lnTo>
                    <a:lnTo>
                      <a:pt x="383" y="57"/>
                    </a:lnTo>
                    <a:lnTo>
                      <a:pt x="392" y="57"/>
                    </a:lnTo>
                    <a:lnTo>
                      <a:pt x="401" y="59"/>
                    </a:lnTo>
                    <a:lnTo>
                      <a:pt x="399" y="62"/>
                    </a:lnTo>
                    <a:lnTo>
                      <a:pt x="399" y="66"/>
                    </a:lnTo>
                    <a:lnTo>
                      <a:pt x="407" y="64"/>
                    </a:lnTo>
                    <a:lnTo>
                      <a:pt x="416" y="64"/>
                    </a:lnTo>
                    <a:lnTo>
                      <a:pt x="425" y="62"/>
                    </a:lnTo>
                    <a:lnTo>
                      <a:pt x="435" y="62"/>
                    </a:lnTo>
                    <a:lnTo>
                      <a:pt x="447" y="62"/>
                    </a:lnTo>
                    <a:lnTo>
                      <a:pt x="461" y="62"/>
                    </a:lnTo>
                    <a:lnTo>
                      <a:pt x="466" y="64"/>
                    </a:lnTo>
                    <a:lnTo>
                      <a:pt x="471" y="73"/>
                    </a:lnTo>
                    <a:lnTo>
                      <a:pt x="475" y="81"/>
                    </a:lnTo>
                    <a:lnTo>
                      <a:pt x="476" y="91"/>
                    </a:lnTo>
                    <a:lnTo>
                      <a:pt x="473" y="100"/>
                    </a:lnTo>
                    <a:lnTo>
                      <a:pt x="469" y="109"/>
                    </a:lnTo>
                    <a:lnTo>
                      <a:pt x="473" y="122"/>
                    </a:lnTo>
                    <a:lnTo>
                      <a:pt x="478" y="136"/>
                    </a:lnTo>
                    <a:lnTo>
                      <a:pt x="473" y="141"/>
                    </a:lnTo>
                    <a:lnTo>
                      <a:pt x="468" y="147"/>
                    </a:lnTo>
                    <a:lnTo>
                      <a:pt x="461" y="159"/>
                    </a:lnTo>
                    <a:lnTo>
                      <a:pt x="459" y="176"/>
                    </a:lnTo>
                    <a:lnTo>
                      <a:pt x="459" y="183"/>
                    </a:lnTo>
                    <a:lnTo>
                      <a:pt x="464" y="186"/>
                    </a:lnTo>
                    <a:lnTo>
                      <a:pt x="471" y="186"/>
                    </a:lnTo>
                    <a:lnTo>
                      <a:pt x="481" y="188"/>
                    </a:lnTo>
                    <a:lnTo>
                      <a:pt x="490" y="186"/>
                    </a:lnTo>
                    <a:lnTo>
                      <a:pt x="500" y="184"/>
                    </a:lnTo>
                    <a:lnTo>
                      <a:pt x="507" y="181"/>
                    </a:lnTo>
                    <a:lnTo>
                      <a:pt x="518" y="181"/>
                    </a:lnTo>
                    <a:lnTo>
                      <a:pt x="524" y="184"/>
                    </a:lnTo>
                    <a:lnTo>
                      <a:pt x="528" y="193"/>
                    </a:lnTo>
                    <a:lnTo>
                      <a:pt x="531" y="202"/>
                    </a:lnTo>
                    <a:lnTo>
                      <a:pt x="540" y="207"/>
                    </a:lnTo>
                    <a:lnTo>
                      <a:pt x="540" y="227"/>
                    </a:lnTo>
                    <a:lnTo>
                      <a:pt x="540" y="229"/>
                    </a:lnTo>
                    <a:lnTo>
                      <a:pt x="543" y="231"/>
                    </a:lnTo>
                    <a:lnTo>
                      <a:pt x="545" y="234"/>
                    </a:lnTo>
                    <a:lnTo>
                      <a:pt x="550" y="232"/>
                    </a:lnTo>
                    <a:lnTo>
                      <a:pt x="557" y="231"/>
                    </a:lnTo>
                    <a:lnTo>
                      <a:pt x="557" y="234"/>
                    </a:lnTo>
                    <a:lnTo>
                      <a:pt x="557" y="239"/>
                    </a:lnTo>
                    <a:lnTo>
                      <a:pt x="550" y="241"/>
                    </a:lnTo>
                    <a:lnTo>
                      <a:pt x="547" y="2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05" name="Freeform 256"/>
              <p:cNvSpPr>
                <a:spLocks/>
              </p:cNvSpPr>
              <p:nvPr/>
            </p:nvSpPr>
            <p:spPr bwMode="auto">
              <a:xfrm>
                <a:off x="4429919" y="2020888"/>
                <a:ext cx="598488" cy="574675"/>
              </a:xfrm>
              <a:custGeom>
                <a:avLst/>
                <a:gdLst/>
                <a:ahLst/>
                <a:cxnLst>
                  <a:cxn ang="0">
                    <a:pos x="66" y="278"/>
                  </a:cxn>
                  <a:cxn ang="0">
                    <a:pos x="23" y="299"/>
                  </a:cxn>
                  <a:cxn ang="0">
                    <a:pos x="9" y="283"/>
                  </a:cxn>
                  <a:cxn ang="0">
                    <a:pos x="2" y="277"/>
                  </a:cxn>
                  <a:cxn ang="0">
                    <a:pos x="2" y="246"/>
                  </a:cxn>
                  <a:cxn ang="0">
                    <a:pos x="12" y="215"/>
                  </a:cxn>
                  <a:cxn ang="0">
                    <a:pos x="45" y="187"/>
                  </a:cxn>
                  <a:cxn ang="0">
                    <a:pos x="52" y="180"/>
                  </a:cxn>
                  <a:cxn ang="0">
                    <a:pos x="98" y="146"/>
                  </a:cxn>
                  <a:cxn ang="0">
                    <a:pos x="107" y="125"/>
                  </a:cxn>
                  <a:cxn ang="0">
                    <a:pos x="136" y="93"/>
                  </a:cxn>
                  <a:cxn ang="0">
                    <a:pos x="164" y="60"/>
                  </a:cxn>
                  <a:cxn ang="0">
                    <a:pos x="145" y="62"/>
                  </a:cxn>
                  <a:cxn ang="0">
                    <a:pos x="145" y="53"/>
                  </a:cxn>
                  <a:cxn ang="0">
                    <a:pos x="153" y="51"/>
                  </a:cxn>
                  <a:cxn ang="0">
                    <a:pos x="176" y="55"/>
                  </a:cxn>
                  <a:cxn ang="0">
                    <a:pos x="176" y="41"/>
                  </a:cxn>
                  <a:cxn ang="0">
                    <a:pos x="191" y="36"/>
                  </a:cxn>
                  <a:cxn ang="0">
                    <a:pos x="212" y="36"/>
                  </a:cxn>
                  <a:cxn ang="0">
                    <a:pos x="241" y="19"/>
                  </a:cxn>
                  <a:cxn ang="0">
                    <a:pos x="251" y="5"/>
                  </a:cxn>
                  <a:cxn ang="0">
                    <a:pos x="274" y="7"/>
                  </a:cxn>
                  <a:cxn ang="0">
                    <a:pos x="289" y="10"/>
                  </a:cxn>
                  <a:cxn ang="0">
                    <a:pos x="306" y="8"/>
                  </a:cxn>
                  <a:cxn ang="0">
                    <a:pos x="329" y="7"/>
                  </a:cxn>
                  <a:cxn ang="0">
                    <a:pos x="349" y="7"/>
                  </a:cxn>
                  <a:cxn ang="0">
                    <a:pos x="344" y="27"/>
                  </a:cxn>
                  <a:cxn ang="0">
                    <a:pos x="355" y="38"/>
                  </a:cxn>
                  <a:cxn ang="0">
                    <a:pos x="339" y="63"/>
                  </a:cxn>
                  <a:cxn ang="0">
                    <a:pos x="351" y="89"/>
                  </a:cxn>
                  <a:cxn ang="0">
                    <a:pos x="353" y="132"/>
                  </a:cxn>
                  <a:cxn ang="0">
                    <a:pos x="363" y="160"/>
                  </a:cxn>
                  <a:cxn ang="0">
                    <a:pos x="370" y="182"/>
                  </a:cxn>
                  <a:cxn ang="0">
                    <a:pos x="342" y="232"/>
                  </a:cxn>
                  <a:cxn ang="0">
                    <a:pos x="301" y="252"/>
                  </a:cxn>
                  <a:cxn ang="0">
                    <a:pos x="255" y="261"/>
                  </a:cxn>
                  <a:cxn ang="0">
                    <a:pos x="232" y="230"/>
                  </a:cxn>
                  <a:cxn ang="0">
                    <a:pos x="227" y="203"/>
                  </a:cxn>
                  <a:cxn ang="0">
                    <a:pos x="263" y="168"/>
                  </a:cxn>
                  <a:cxn ang="0">
                    <a:pos x="289" y="137"/>
                  </a:cxn>
                  <a:cxn ang="0">
                    <a:pos x="250" y="132"/>
                  </a:cxn>
                  <a:cxn ang="0">
                    <a:pos x="232" y="158"/>
                  </a:cxn>
                  <a:cxn ang="0">
                    <a:pos x="207" y="184"/>
                  </a:cxn>
                  <a:cxn ang="0">
                    <a:pos x="174" y="218"/>
                  </a:cxn>
                  <a:cxn ang="0">
                    <a:pos x="174" y="247"/>
                  </a:cxn>
                  <a:cxn ang="0">
                    <a:pos x="196" y="266"/>
                  </a:cxn>
                  <a:cxn ang="0">
                    <a:pos x="176" y="287"/>
                  </a:cxn>
                  <a:cxn ang="0">
                    <a:pos x="162" y="313"/>
                  </a:cxn>
                  <a:cxn ang="0">
                    <a:pos x="160" y="335"/>
                  </a:cxn>
                  <a:cxn ang="0">
                    <a:pos x="140" y="345"/>
                  </a:cxn>
                  <a:cxn ang="0">
                    <a:pos x="115" y="362"/>
                  </a:cxn>
                  <a:cxn ang="0">
                    <a:pos x="105" y="338"/>
                  </a:cxn>
                  <a:cxn ang="0">
                    <a:pos x="95" y="306"/>
                  </a:cxn>
                  <a:cxn ang="0">
                    <a:pos x="88" y="278"/>
                  </a:cxn>
                </a:cxnLst>
                <a:rect l="0" t="0" r="r" b="b"/>
                <a:pathLst>
                  <a:path w="377" h="362">
                    <a:moveTo>
                      <a:pt x="88" y="280"/>
                    </a:moveTo>
                    <a:lnTo>
                      <a:pt x="81" y="275"/>
                    </a:lnTo>
                    <a:lnTo>
                      <a:pt x="78" y="268"/>
                    </a:lnTo>
                    <a:lnTo>
                      <a:pt x="66" y="278"/>
                    </a:lnTo>
                    <a:lnTo>
                      <a:pt x="55" y="290"/>
                    </a:lnTo>
                    <a:lnTo>
                      <a:pt x="43" y="299"/>
                    </a:lnTo>
                    <a:lnTo>
                      <a:pt x="29" y="302"/>
                    </a:lnTo>
                    <a:lnTo>
                      <a:pt x="23" y="299"/>
                    </a:lnTo>
                    <a:lnTo>
                      <a:pt x="16" y="295"/>
                    </a:lnTo>
                    <a:lnTo>
                      <a:pt x="7" y="290"/>
                    </a:lnTo>
                    <a:lnTo>
                      <a:pt x="5" y="289"/>
                    </a:lnTo>
                    <a:lnTo>
                      <a:pt x="9" y="283"/>
                    </a:lnTo>
                    <a:lnTo>
                      <a:pt x="14" y="280"/>
                    </a:lnTo>
                    <a:lnTo>
                      <a:pt x="14" y="273"/>
                    </a:lnTo>
                    <a:lnTo>
                      <a:pt x="7" y="273"/>
                    </a:lnTo>
                    <a:lnTo>
                      <a:pt x="2" y="277"/>
                    </a:lnTo>
                    <a:lnTo>
                      <a:pt x="4" y="270"/>
                    </a:lnTo>
                    <a:lnTo>
                      <a:pt x="9" y="263"/>
                    </a:lnTo>
                    <a:lnTo>
                      <a:pt x="4" y="254"/>
                    </a:lnTo>
                    <a:lnTo>
                      <a:pt x="2" y="246"/>
                    </a:lnTo>
                    <a:lnTo>
                      <a:pt x="0" y="235"/>
                    </a:lnTo>
                    <a:lnTo>
                      <a:pt x="0" y="227"/>
                    </a:lnTo>
                    <a:lnTo>
                      <a:pt x="4" y="218"/>
                    </a:lnTo>
                    <a:lnTo>
                      <a:pt x="12" y="215"/>
                    </a:lnTo>
                    <a:lnTo>
                      <a:pt x="21" y="203"/>
                    </a:lnTo>
                    <a:lnTo>
                      <a:pt x="35" y="197"/>
                    </a:lnTo>
                    <a:lnTo>
                      <a:pt x="40" y="192"/>
                    </a:lnTo>
                    <a:lnTo>
                      <a:pt x="45" y="187"/>
                    </a:lnTo>
                    <a:lnTo>
                      <a:pt x="52" y="184"/>
                    </a:lnTo>
                    <a:lnTo>
                      <a:pt x="64" y="184"/>
                    </a:lnTo>
                    <a:lnTo>
                      <a:pt x="57" y="182"/>
                    </a:lnTo>
                    <a:lnTo>
                      <a:pt x="52" y="180"/>
                    </a:lnTo>
                    <a:lnTo>
                      <a:pt x="66" y="173"/>
                    </a:lnTo>
                    <a:lnTo>
                      <a:pt x="78" y="165"/>
                    </a:lnTo>
                    <a:lnTo>
                      <a:pt x="86" y="154"/>
                    </a:lnTo>
                    <a:lnTo>
                      <a:pt x="98" y="146"/>
                    </a:lnTo>
                    <a:lnTo>
                      <a:pt x="100" y="139"/>
                    </a:lnTo>
                    <a:lnTo>
                      <a:pt x="103" y="132"/>
                    </a:lnTo>
                    <a:lnTo>
                      <a:pt x="103" y="127"/>
                    </a:lnTo>
                    <a:lnTo>
                      <a:pt x="107" y="125"/>
                    </a:lnTo>
                    <a:lnTo>
                      <a:pt x="109" y="118"/>
                    </a:lnTo>
                    <a:lnTo>
                      <a:pt x="112" y="113"/>
                    </a:lnTo>
                    <a:lnTo>
                      <a:pt x="122" y="99"/>
                    </a:lnTo>
                    <a:lnTo>
                      <a:pt x="136" y="93"/>
                    </a:lnTo>
                    <a:lnTo>
                      <a:pt x="143" y="86"/>
                    </a:lnTo>
                    <a:lnTo>
                      <a:pt x="152" y="77"/>
                    </a:lnTo>
                    <a:lnTo>
                      <a:pt x="158" y="68"/>
                    </a:lnTo>
                    <a:lnTo>
                      <a:pt x="164" y="60"/>
                    </a:lnTo>
                    <a:lnTo>
                      <a:pt x="148" y="65"/>
                    </a:lnTo>
                    <a:lnTo>
                      <a:pt x="134" y="70"/>
                    </a:lnTo>
                    <a:lnTo>
                      <a:pt x="138" y="65"/>
                    </a:lnTo>
                    <a:lnTo>
                      <a:pt x="145" y="62"/>
                    </a:lnTo>
                    <a:lnTo>
                      <a:pt x="138" y="60"/>
                    </a:lnTo>
                    <a:lnTo>
                      <a:pt x="136" y="60"/>
                    </a:lnTo>
                    <a:lnTo>
                      <a:pt x="138" y="55"/>
                    </a:lnTo>
                    <a:lnTo>
                      <a:pt x="145" y="53"/>
                    </a:lnTo>
                    <a:lnTo>
                      <a:pt x="148" y="55"/>
                    </a:lnTo>
                    <a:lnTo>
                      <a:pt x="150" y="50"/>
                    </a:lnTo>
                    <a:lnTo>
                      <a:pt x="153" y="48"/>
                    </a:lnTo>
                    <a:lnTo>
                      <a:pt x="153" y="51"/>
                    </a:lnTo>
                    <a:lnTo>
                      <a:pt x="153" y="56"/>
                    </a:lnTo>
                    <a:lnTo>
                      <a:pt x="162" y="58"/>
                    </a:lnTo>
                    <a:lnTo>
                      <a:pt x="170" y="62"/>
                    </a:lnTo>
                    <a:lnTo>
                      <a:pt x="176" y="55"/>
                    </a:lnTo>
                    <a:lnTo>
                      <a:pt x="179" y="50"/>
                    </a:lnTo>
                    <a:lnTo>
                      <a:pt x="176" y="48"/>
                    </a:lnTo>
                    <a:lnTo>
                      <a:pt x="172" y="48"/>
                    </a:lnTo>
                    <a:lnTo>
                      <a:pt x="176" y="41"/>
                    </a:lnTo>
                    <a:lnTo>
                      <a:pt x="184" y="39"/>
                    </a:lnTo>
                    <a:lnTo>
                      <a:pt x="188" y="39"/>
                    </a:lnTo>
                    <a:lnTo>
                      <a:pt x="193" y="39"/>
                    </a:lnTo>
                    <a:lnTo>
                      <a:pt x="191" y="36"/>
                    </a:lnTo>
                    <a:lnTo>
                      <a:pt x="189" y="36"/>
                    </a:lnTo>
                    <a:lnTo>
                      <a:pt x="198" y="29"/>
                    </a:lnTo>
                    <a:lnTo>
                      <a:pt x="212" y="29"/>
                    </a:lnTo>
                    <a:lnTo>
                      <a:pt x="212" y="36"/>
                    </a:lnTo>
                    <a:lnTo>
                      <a:pt x="219" y="27"/>
                    </a:lnTo>
                    <a:lnTo>
                      <a:pt x="231" y="22"/>
                    </a:lnTo>
                    <a:lnTo>
                      <a:pt x="231" y="29"/>
                    </a:lnTo>
                    <a:lnTo>
                      <a:pt x="241" y="19"/>
                    </a:lnTo>
                    <a:lnTo>
                      <a:pt x="255" y="15"/>
                    </a:lnTo>
                    <a:lnTo>
                      <a:pt x="248" y="12"/>
                    </a:lnTo>
                    <a:lnTo>
                      <a:pt x="246" y="10"/>
                    </a:lnTo>
                    <a:lnTo>
                      <a:pt x="251" y="5"/>
                    </a:lnTo>
                    <a:lnTo>
                      <a:pt x="258" y="1"/>
                    </a:lnTo>
                    <a:lnTo>
                      <a:pt x="262" y="7"/>
                    </a:lnTo>
                    <a:lnTo>
                      <a:pt x="269" y="10"/>
                    </a:lnTo>
                    <a:lnTo>
                      <a:pt x="274" y="7"/>
                    </a:lnTo>
                    <a:lnTo>
                      <a:pt x="284" y="3"/>
                    </a:lnTo>
                    <a:lnTo>
                      <a:pt x="291" y="0"/>
                    </a:lnTo>
                    <a:lnTo>
                      <a:pt x="294" y="3"/>
                    </a:lnTo>
                    <a:lnTo>
                      <a:pt x="289" y="10"/>
                    </a:lnTo>
                    <a:lnTo>
                      <a:pt x="284" y="20"/>
                    </a:lnTo>
                    <a:lnTo>
                      <a:pt x="294" y="13"/>
                    </a:lnTo>
                    <a:lnTo>
                      <a:pt x="306" y="5"/>
                    </a:lnTo>
                    <a:lnTo>
                      <a:pt x="306" y="8"/>
                    </a:lnTo>
                    <a:lnTo>
                      <a:pt x="308" y="13"/>
                    </a:lnTo>
                    <a:lnTo>
                      <a:pt x="318" y="5"/>
                    </a:lnTo>
                    <a:lnTo>
                      <a:pt x="329" y="0"/>
                    </a:lnTo>
                    <a:lnTo>
                      <a:pt x="329" y="7"/>
                    </a:lnTo>
                    <a:lnTo>
                      <a:pt x="334" y="12"/>
                    </a:lnTo>
                    <a:lnTo>
                      <a:pt x="336" y="5"/>
                    </a:lnTo>
                    <a:lnTo>
                      <a:pt x="341" y="3"/>
                    </a:lnTo>
                    <a:lnTo>
                      <a:pt x="349" y="7"/>
                    </a:lnTo>
                    <a:lnTo>
                      <a:pt x="358" y="12"/>
                    </a:lnTo>
                    <a:lnTo>
                      <a:pt x="349" y="20"/>
                    </a:lnTo>
                    <a:lnTo>
                      <a:pt x="337" y="24"/>
                    </a:lnTo>
                    <a:lnTo>
                      <a:pt x="344" y="27"/>
                    </a:lnTo>
                    <a:lnTo>
                      <a:pt x="348" y="31"/>
                    </a:lnTo>
                    <a:lnTo>
                      <a:pt x="355" y="32"/>
                    </a:lnTo>
                    <a:lnTo>
                      <a:pt x="363" y="34"/>
                    </a:lnTo>
                    <a:lnTo>
                      <a:pt x="355" y="38"/>
                    </a:lnTo>
                    <a:lnTo>
                      <a:pt x="348" y="44"/>
                    </a:lnTo>
                    <a:lnTo>
                      <a:pt x="339" y="50"/>
                    </a:lnTo>
                    <a:lnTo>
                      <a:pt x="337" y="60"/>
                    </a:lnTo>
                    <a:lnTo>
                      <a:pt x="339" y="63"/>
                    </a:lnTo>
                    <a:lnTo>
                      <a:pt x="346" y="68"/>
                    </a:lnTo>
                    <a:lnTo>
                      <a:pt x="353" y="72"/>
                    </a:lnTo>
                    <a:lnTo>
                      <a:pt x="356" y="80"/>
                    </a:lnTo>
                    <a:lnTo>
                      <a:pt x="351" y="89"/>
                    </a:lnTo>
                    <a:lnTo>
                      <a:pt x="348" y="101"/>
                    </a:lnTo>
                    <a:lnTo>
                      <a:pt x="351" y="113"/>
                    </a:lnTo>
                    <a:lnTo>
                      <a:pt x="356" y="125"/>
                    </a:lnTo>
                    <a:lnTo>
                      <a:pt x="353" y="132"/>
                    </a:lnTo>
                    <a:lnTo>
                      <a:pt x="351" y="141"/>
                    </a:lnTo>
                    <a:lnTo>
                      <a:pt x="353" y="146"/>
                    </a:lnTo>
                    <a:lnTo>
                      <a:pt x="358" y="153"/>
                    </a:lnTo>
                    <a:lnTo>
                      <a:pt x="363" y="160"/>
                    </a:lnTo>
                    <a:lnTo>
                      <a:pt x="367" y="166"/>
                    </a:lnTo>
                    <a:lnTo>
                      <a:pt x="363" y="170"/>
                    </a:lnTo>
                    <a:lnTo>
                      <a:pt x="361" y="173"/>
                    </a:lnTo>
                    <a:lnTo>
                      <a:pt x="370" y="182"/>
                    </a:lnTo>
                    <a:lnTo>
                      <a:pt x="377" y="194"/>
                    </a:lnTo>
                    <a:lnTo>
                      <a:pt x="370" y="206"/>
                    </a:lnTo>
                    <a:lnTo>
                      <a:pt x="358" y="220"/>
                    </a:lnTo>
                    <a:lnTo>
                      <a:pt x="342" y="232"/>
                    </a:lnTo>
                    <a:lnTo>
                      <a:pt x="332" y="244"/>
                    </a:lnTo>
                    <a:lnTo>
                      <a:pt x="324" y="249"/>
                    </a:lnTo>
                    <a:lnTo>
                      <a:pt x="313" y="252"/>
                    </a:lnTo>
                    <a:lnTo>
                      <a:pt x="301" y="252"/>
                    </a:lnTo>
                    <a:lnTo>
                      <a:pt x="294" y="254"/>
                    </a:lnTo>
                    <a:lnTo>
                      <a:pt x="277" y="259"/>
                    </a:lnTo>
                    <a:lnTo>
                      <a:pt x="263" y="263"/>
                    </a:lnTo>
                    <a:lnTo>
                      <a:pt x="255" y="261"/>
                    </a:lnTo>
                    <a:lnTo>
                      <a:pt x="251" y="256"/>
                    </a:lnTo>
                    <a:lnTo>
                      <a:pt x="236" y="251"/>
                    </a:lnTo>
                    <a:lnTo>
                      <a:pt x="231" y="237"/>
                    </a:lnTo>
                    <a:lnTo>
                      <a:pt x="232" y="230"/>
                    </a:lnTo>
                    <a:lnTo>
                      <a:pt x="238" y="227"/>
                    </a:lnTo>
                    <a:lnTo>
                      <a:pt x="229" y="218"/>
                    </a:lnTo>
                    <a:lnTo>
                      <a:pt x="227" y="208"/>
                    </a:lnTo>
                    <a:lnTo>
                      <a:pt x="227" y="203"/>
                    </a:lnTo>
                    <a:lnTo>
                      <a:pt x="227" y="197"/>
                    </a:lnTo>
                    <a:lnTo>
                      <a:pt x="241" y="192"/>
                    </a:lnTo>
                    <a:lnTo>
                      <a:pt x="253" y="182"/>
                    </a:lnTo>
                    <a:lnTo>
                      <a:pt x="263" y="168"/>
                    </a:lnTo>
                    <a:lnTo>
                      <a:pt x="274" y="161"/>
                    </a:lnTo>
                    <a:lnTo>
                      <a:pt x="286" y="154"/>
                    </a:lnTo>
                    <a:lnTo>
                      <a:pt x="293" y="146"/>
                    </a:lnTo>
                    <a:lnTo>
                      <a:pt x="289" y="137"/>
                    </a:lnTo>
                    <a:lnTo>
                      <a:pt x="282" y="134"/>
                    </a:lnTo>
                    <a:lnTo>
                      <a:pt x="272" y="132"/>
                    </a:lnTo>
                    <a:lnTo>
                      <a:pt x="263" y="132"/>
                    </a:lnTo>
                    <a:lnTo>
                      <a:pt x="250" y="132"/>
                    </a:lnTo>
                    <a:lnTo>
                      <a:pt x="241" y="136"/>
                    </a:lnTo>
                    <a:lnTo>
                      <a:pt x="234" y="141"/>
                    </a:lnTo>
                    <a:lnTo>
                      <a:pt x="232" y="151"/>
                    </a:lnTo>
                    <a:lnTo>
                      <a:pt x="232" y="158"/>
                    </a:lnTo>
                    <a:lnTo>
                      <a:pt x="232" y="163"/>
                    </a:lnTo>
                    <a:lnTo>
                      <a:pt x="227" y="170"/>
                    </a:lnTo>
                    <a:lnTo>
                      <a:pt x="219" y="179"/>
                    </a:lnTo>
                    <a:lnTo>
                      <a:pt x="207" y="184"/>
                    </a:lnTo>
                    <a:lnTo>
                      <a:pt x="198" y="191"/>
                    </a:lnTo>
                    <a:lnTo>
                      <a:pt x="184" y="196"/>
                    </a:lnTo>
                    <a:lnTo>
                      <a:pt x="176" y="208"/>
                    </a:lnTo>
                    <a:lnTo>
                      <a:pt x="174" y="218"/>
                    </a:lnTo>
                    <a:lnTo>
                      <a:pt x="169" y="228"/>
                    </a:lnTo>
                    <a:lnTo>
                      <a:pt x="169" y="237"/>
                    </a:lnTo>
                    <a:lnTo>
                      <a:pt x="172" y="242"/>
                    </a:lnTo>
                    <a:lnTo>
                      <a:pt x="174" y="247"/>
                    </a:lnTo>
                    <a:lnTo>
                      <a:pt x="179" y="249"/>
                    </a:lnTo>
                    <a:lnTo>
                      <a:pt x="188" y="254"/>
                    </a:lnTo>
                    <a:lnTo>
                      <a:pt x="193" y="259"/>
                    </a:lnTo>
                    <a:lnTo>
                      <a:pt x="196" y="266"/>
                    </a:lnTo>
                    <a:lnTo>
                      <a:pt x="193" y="271"/>
                    </a:lnTo>
                    <a:lnTo>
                      <a:pt x="188" y="278"/>
                    </a:lnTo>
                    <a:lnTo>
                      <a:pt x="179" y="283"/>
                    </a:lnTo>
                    <a:lnTo>
                      <a:pt x="176" y="287"/>
                    </a:lnTo>
                    <a:lnTo>
                      <a:pt x="169" y="289"/>
                    </a:lnTo>
                    <a:lnTo>
                      <a:pt x="164" y="295"/>
                    </a:lnTo>
                    <a:lnTo>
                      <a:pt x="162" y="304"/>
                    </a:lnTo>
                    <a:lnTo>
                      <a:pt x="162" y="313"/>
                    </a:lnTo>
                    <a:lnTo>
                      <a:pt x="164" y="320"/>
                    </a:lnTo>
                    <a:lnTo>
                      <a:pt x="169" y="321"/>
                    </a:lnTo>
                    <a:lnTo>
                      <a:pt x="164" y="328"/>
                    </a:lnTo>
                    <a:lnTo>
                      <a:pt x="160" y="335"/>
                    </a:lnTo>
                    <a:lnTo>
                      <a:pt x="155" y="338"/>
                    </a:lnTo>
                    <a:lnTo>
                      <a:pt x="153" y="345"/>
                    </a:lnTo>
                    <a:lnTo>
                      <a:pt x="145" y="345"/>
                    </a:lnTo>
                    <a:lnTo>
                      <a:pt x="140" y="345"/>
                    </a:lnTo>
                    <a:lnTo>
                      <a:pt x="133" y="347"/>
                    </a:lnTo>
                    <a:lnTo>
                      <a:pt x="129" y="354"/>
                    </a:lnTo>
                    <a:lnTo>
                      <a:pt x="122" y="359"/>
                    </a:lnTo>
                    <a:lnTo>
                      <a:pt x="115" y="362"/>
                    </a:lnTo>
                    <a:lnTo>
                      <a:pt x="112" y="357"/>
                    </a:lnTo>
                    <a:lnTo>
                      <a:pt x="109" y="350"/>
                    </a:lnTo>
                    <a:lnTo>
                      <a:pt x="105" y="342"/>
                    </a:lnTo>
                    <a:lnTo>
                      <a:pt x="105" y="338"/>
                    </a:lnTo>
                    <a:lnTo>
                      <a:pt x="105" y="335"/>
                    </a:lnTo>
                    <a:lnTo>
                      <a:pt x="105" y="333"/>
                    </a:lnTo>
                    <a:lnTo>
                      <a:pt x="97" y="320"/>
                    </a:lnTo>
                    <a:lnTo>
                      <a:pt x="95" y="306"/>
                    </a:lnTo>
                    <a:lnTo>
                      <a:pt x="88" y="297"/>
                    </a:lnTo>
                    <a:lnTo>
                      <a:pt x="85" y="287"/>
                    </a:lnTo>
                    <a:lnTo>
                      <a:pt x="86" y="282"/>
                    </a:lnTo>
                    <a:lnTo>
                      <a:pt x="88" y="278"/>
                    </a:lnTo>
                    <a:lnTo>
                      <a:pt x="88" y="2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06" name="Freeform 257"/>
              <p:cNvSpPr>
                <a:spLocks/>
              </p:cNvSpPr>
              <p:nvPr/>
            </p:nvSpPr>
            <p:spPr bwMode="auto">
              <a:xfrm>
                <a:off x="4763294" y="1717675"/>
                <a:ext cx="3906838" cy="1449387"/>
              </a:xfrm>
              <a:custGeom>
                <a:avLst/>
                <a:gdLst/>
                <a:ahLst/>
                <a:cxnLst>
                  <a:cxn ang="0">
                    <a:pos x="1720" y="708"/>
                  </a:cxn>
                  <a:cxn ang="0">
                    <a:pos x="1734" y="571"/>
                  </a:cxn>
                  <a:cxn ang="0">
                    <a:pos x="1744" y="488"/>
                  </a:cxn>
                  <a:cxn ang="0">
                    <a:pos x="1906" y="464"/>
                  </a:cxn>
                  <a:cxn ang="0">
                    <a:pos x="2002" y="416"/>
                  </a:cxn>
                  <a:cxn ang="0">
                    <a:pos x="2086" y="409"/>
                  </a:cxn>
                  <a:cxn ang="0">
                    <a:pos x="1976" y="507"/>
                  </a:cxn>
                  <a:cxn ang="0">
                    <a:pos x="2011" y="584"/>
                  </a:cxn>
                  <a:cxn ang="0">
                    <a:pos x="2091" y="452"/>
                  </a:cxn>
                  <a:cxn ang="0">
                    <a:pos x="2257" y="399"/>
                  </a:cxn>
                  <a:cxn ang="0">
                    <a:pos x="2324" y="328"/>
                  </a:cxn>
                  <a:cxn ang="0">
                    <a:pos x="2425" y="333"/>
                  </a:cxn>
                  <a:cxn ang="0">
                    <a:pos x="2355" y="261"/>
                  </a:cxn>
                  <a:cxn ang="0">
                    <a:pos x="2177" y="234"/>
                  </a:cxn>
                  <a:cxn ang="0">
                    <a:pos x="1978" y="184"/>
                  </a:cxn>
                  <a:cxn ang="0">
                    <a:pos x="1835" y="143"/>
                  </a:cxn>
                  <a:cxn ang="0">
                    <a:pos x="1696" y="179"/>
                  </a:cxn>
                  <a:cxn ang="0">
                    <a:pos x="1582" y="173"/>
                  </a:cxn>
                  <a:cxn ang="0">
                    <a:pos x="1436" y="130"/>
                  </a:cxn>
                  <a:cxn ang="0">
                    <a:pos x="1266" y="122"/>
                  </a:cxn>
                  <a:cxn ang="0">
                    <a:pos x="1233" y="2"/>
                  </a:cxn>
                  <a:cxn ang="0">
                    <a:pos x="1106" y="48"/>
                  </a:cxn>
                  <a:cxn ang="0">
                    <a:pos x="958" y="106"/>
                  </a:cxn>
                  <a:cxn ang="0">
                    <a:pos x="863" y="156"/>
                  </a:cxn>
                  <a:cxn ang="0">
                    <a:pos x="790" y="148"/>
                  </a:cxn>
                  <a:cxn ang="0">
                    <a:pos x="769" y="251"/>
                  </a:cxn>
                  <a:cxn ang="0">
                    <a:pos x="731" y="137"/>
                  </a:cxn>
                  <a:cxn ang="0">
                    <a:pos x="704" y="256"/>
                  </a:cxn>
                  <a:cxn ang="0">
                    <a:pos x="585" y="247"/>
                  </a:cxn>
                  <a:cxn ang="0">
                    <a:pos x="470" y="247"/>
                  </a:cxn>
                  <a:cxn ang="0">
                    <a:pos x="363" y="247"/>
                  </a:cxn>
                  <a:cxn ang="0">
                    <a:pos x="294" y="335"/>
                  </a:cxn>
                  <a:cxn ang="0">
                    <a:pos x="237" y="311"/>
                  </a:cxn>
                  <a:cxn ang="0">
                    <a:pos x="225" y="244"/>
                  </a:cxn>
                  <a:cxn ang="0">
                    <a:pos x="136" y="259"/>
                  </a:cxn>
                  <a:cxn ang="0">
                    <a:pos x="153" y="361"/>
                  </a:cxn>
                  <a:cxn ang="0">
                    <a:pos x="107" y="464"/>
                  </a:cxn>
                  <a:cxn ang="0">
                    <a:pos x="41" y="500"/>
                  </a:cxn>
                  <a:cxn ang="0">
                    <a:pos x="45" y="567"/>
                  </a:cxn>
                  <a:cxn ang="0">
                    <a:pos x="43" y="688"/>
                  </a:cxn>
                  <a:cxn ang="0">
                    <a:pos x="124" y="734"/>
                  </a:cxn>
                  <a:cxn ang="0">
                    <a:pos x="212" y="755"/>
                  </a:cxn>
                  <a:cxn ang="0">
                    <a:pos x="253" y="713"/>
                  </a:cxn>
                  <a:cxn ang="0">
                    <a:pos x="270" y="765"/>
                  </a:cxn>
                  <a:cxn ang="0">
                    <a:pos x="353" y="829"/>
                  </a:cxn>
                  <a:cxn ang="0">
                    <a:pos x="415" y="851"/>
                  </a:cxn>
                  <a:cxn ang="0">
                    <a:pos x="403" y="727"/>
                  </a:cxn>
                  <a:cxn ang="0">
                    <a:pos x="492" y="729"/>
                  </a:cxn>
                  <a:cxn ang="0">
                    <a:pos x="473" y="811"/>
                  </a:cxn>
                  <a:cxn ang="0">
                    <a:pos x="494" y="880"/>
                  </a:cxn>
                  <a:cxn ang="0">
                    <a:pos x="599" y="889"/>
                  </a:cxn>
                  <a:cxn ang="0">
                    <a:pos x="666" y="875"/>
                  </a:cxn>
                  <a:cxn ang="0">
                    <a:pos x="747" y="872"/>
                  </a:cxn>
                  <a:cxn ang="0">
                    <a:pos x="798" y="825"/>
                  </a:cxn>
                  <a:cxn ang="0">
                    <a:pos x="932" y="710"/>
                  </a:cxn>
                  <a:cxn ang="0">
                    <a:pos x="1030" y="648"/>
                  </a:cxn>
                  <a:cxn ang="0">
                    <a:pos x="1152" y="612"/>
                  </a:cxn>
                  <a:cxn ang="0">
                    <a:pos x="1268" y="653"/>
                  </a:cxn>
                  <a:cxn ang="0">
                    <a:pos x="1422" y="653"/>
                  </a:cxn>
                  <a:cxn ang="0">
                    <a:pos x="1546" y="629"/>
                  </a:cxn>
                  <a:cxn ang="0">
                    <a:pos x="1649" y="682"/>
                  </a:cxn>
                  <a:cxn ang="0">
                    <a:pos x="1610" y="780"/>
                  </a:cxn>
                </a:cxnLst>
                <a:rect l="0" t="0" r="r" b="b"/>
                <a:pathLst>
                  <a:path w="2461" h="913">
                    <a:moveTo>
                      <a:pt x="1608" y="786"/>
                    </a:moveTo>
                    <a:lnTo>
                      <a:pt x="1612" y="786"/>
                    </a:lnTo>
                    <a:lnTo>
                      <a:pt x="1620" y="787"/>
                    </a:lnTo>
                    <a:lnTo>
                      <a:pt x="1631" y="789"/>
                    </a:lnTo>
                    <a:lnTo>
                      <a:pt x="1644" y="791"/>
                    </a:lnTo>
                    <a:lnTo>
                      <a:pt x="1653" y="787"/>
                    </a:lnTo>
                    <a:lnTo>
                      <a:pt x="1663" y="780"/>
                    </a:lnTo>
                    <a:lnTo>
                      <a:pt x="1674" y="768"/>
                    </a:lnTo>
                    <a:lnTo>
                      <a:pt x="1684" y="756"/>
                    </a:lnTo>
                    <a:lnTo>
                      <a:pt x="1692" y="743"/>
                    </a:lnTo>
                    <a:lnTo>
                      <a:pt x="1703" y="729"/>
                    </a:lnTo>
                    <a:lnTo>
                      <a:pt x="1711" y="717"/>
                    </a:lnTo>
                    <a:lnTo>
                      <a:pt x="1720" y="708"/>
                    </a:lnTo>
                    <a:lnTo>
                      <a:pt x="1725" y="700"/>
                    </a:lnTo>
                    <a:lnTo>
                      <a:pt x="1734" y="691"/>
                    </a:lnTo>
                    <a:lnTo>
                      <a:pt x="1737" y="681"/>
                    </a:lnTo>
                    <a:lnTo>
                      <a:pt x="1742" y="670"/>
                    </a:lnTo>
                    <a:lnTo>
                      <a:pt x="1742" y="660"/>
                    </a:lnTo>
                    <a:lnTo>
                      <a:pt x="1742" y="652"/>
                    </a:lnTo>
                    <a:lnTo>
                      <a:pt x="1742" y="641"/>
                    </a:lnTo>
                    <a:lnTo>
                      <a:pt x="1748" y="633"/>
                    </a:lnTo>
                    <a:lnTo>
                      <a:pt x="1753" y="621"/>
                    </a:lnTo>
                    <a:lnTo>
                      <a:pt x="1758" y="605"/>
                    </a:lnTo>
                    <a:lnTo>
                      <a:pt x="1753" y="591"/>
                    </a:lnTo>
                    <a:lnTo>
                      <a:pt x="1744" y="579"/>
                    </a:lnTo>
                    <a:lnTo>
                      <a:pt x="1734" y="571"/>
                    </a:lnTo>
                    <a:lnTo>
                      <a:pt x="1725" y="572"/>
                    </a:lnTo>
                    <a:lnTo>
                      <a:pt x="1713" y="578"/>
                    </a:lnTo>
                    <a:lnTo>
                      <a:pt x="1705" y="578"/>
                    </a:lnTo>
                    <a:lnTo>
                      <a:pt x="1694" y="576"/>
                    </a:lnTo>
                    <a:lnTo>
                      <a:pt x="1689" y="574"/>
                    </a:lnTo>
                    <a:lnTo>
                      <a:pt x="1680" y="562"/>
                    </a:lnTo>
                    <a:lnTo>
                      <a:pt x="1679" y="557"/>
                    </a:lnTo>
                    <a:lnTo>
                      <a:pt x="1682" y="545"/>
                    </a:lnTo>
                    <a:lnTo>
                      <a:pt x="1692" y="535"/>
                    </a:lnTo>
                    <a:lnTo>
                      <a:pt x="1705" y="524"/>
                    </a:lnTo>
                    <a:lnTo>
                      <a:pt x="1717" y="516"/>
                    </a:lnTo>
                    <a:lnTo>
                      <a:pt x="1729" y="502"/>
                    </a:lnTo>
                    <a:lnTo>
                      <a:pt x="1744" y="488"/>
                    </a:lnTo>
                    <a:lnTo>
                      <a:pt x="1760" y="474"/>
                    </a:lnTo>
                    <a:lnTo>
                      <a:pt x="1775" y="468"/>
                    </a:lnTo>
                    <a:lnTo>
                      <a:pt x="1784" y="464"/>
                    </a:lnTo>
                    <a:lnTo>
                      <a:pt x="1796" y="464"/>
                    </a:lnTo>
                    <a:lnTo>
                      <a:pt x="1809" y="461"/>
                    </a:lnTo>
                    <a:lnTo>
                      <a:pt x="1825" y="461"/>
                    </a:lnTo>
                    <a:lnTo>
                      <a:pt x="1837" y="459"/>
                    </a:lnTo>
                    <a:lnTo>
                      <a:pt x="1851" y="457"/>
                    </a:lnTo>
                    <a:lnTo>
                      <a:pt x="1861" y="457"/>
                    </a:lnTo>
                    <a:lnTo>
                      <a:pt x="1871" y="457"/>
                    </a:lnTo>
                    <a:lnTo>
                      <a:pt x="1885" y="457"/>
                    </a:lnTo>
                    <a:lnTo>
                      <a:pt x="1895" y="462"/>
                    </a:lnTo>
                    <a:lnTo>
                      <a:pt x="1906" y="464"/>
                    </a:lnTo>
                    <a:lnTo>
                      <a:pt x="1916" y="468"/>
                    </a:lnTo>
                    <a:lnTo>
                      <a:pt x="1920" y="468"/>
                    </a:lnTo>
                    <a:lnTo>
                      <a:pt x="1925" y="468"/>
                    </a:lnTo>
                    <a:lnTo>
                      <a:pt x="1932" y="468"/>
                    </a:lnTo>
                    <a:lnTo>
                      <a:pt x="1944" y="468"/>
                    </a:lnTo>
                    <a:lnTo>
                      <a:pt x="1945" y="454"/>
                    </a:lnTo>
                    <a:lnTo>
                      <a:pt x="1949" y="445"/>
                    </a:lnTo>
                    <a:lnTo>
                      <a:pt x="1954" y="435"/>
                    </a:lnTo>
                    <a:lnTo>
                      <a:pt x="1961" y="428"/>
                    </a:lnTo>
                    <a:lnTo>
                      <a:pt x="1968" y="421"/>
                    </a:lnTo>
                    <a:lnTo>
                      <a:pt x="1978" y="418"/>
                    </a:lnTo>
                    <a:lnTo>
                      <a:pt x="1988" y="416"/>
                    </a:lnTo>
                    <a:lnTo>
                      <a:pt x="2002" y="416"/>
                    </a:lnTo>
                    <a:lnTo>
                      <a:pt x="2007" y="414"/>
                    </a:lnTo>
                    <a:lnTo>
                      <a:pt x="2012" y="414"/>
                    </a:lnTo>
                    <a:lnTo>
                      <a:pt x="2019" y="414"/>
                    </a:lnTo>
                    <a:lnTo>
                      <a:pt x="2031" y="416"/>
                    </a:lnTo>
                    <a:lnTo>
                      <a:pt x="2024" y="423"/>
                    </a:lnTo>
                    <a:lnTo>
                      <a:pt x="2028" y="433"/>
                    </a:lnTo>
                    <a:lnTo>
                      <a:pt x="2031" y="433"/>
                    </a:lnTo>
                    <a:lnTo>
                      <a:pt x="2042" y="428"/>
                    </a:lnTo>
                    <a:lnTo>
                      <a:pt x="2055" y="416"/>
                    </a:lnTo>
                    <a:lnTo>
                      <a:pt x="2074" y="397"/>
                    </a:lnTo>
                    <a:lnTo>
                      <a:pt x="2081" y="397"/>
                    </a:lnTo>
                    <a:lnTo>
                      <a:pt x="2088" y="404"/>
                    </a:lnTo>
                    <a:lnTo>
                      <a:pt x="2086" y="409"/>
                    </a:lnTo>
                    <a:lnTo>
                      <a:pt x="2085" y="416"/>
                    </a:lnTo>
                    <a:lnTo>
                      <a:pt x="2078" y="423"/>
                    </a:lnTo>
                    <a:lnTo>
                      <a:pt x="2067" y="433"/>
                    </a:lnTo>
                    <a:lnTo>
                      <a:pt x="2057" y="437"/>
                    </a:lnTo>
                    <a:lnTo>
                      <a:pt x="2047" y="438"/>
                    </a:lnTo>
                    <a:lnTo>
                      <a:pt x="2038" y="442"/>
                    </a:lnTo>
                    <a:lnTo>
                      <a:pt x="2031" y="450"/>
                    </a:lnTo>
                    <a:lnTo>
                      <a:pt x="2023" y="461"/>
                    </a:lnTo>
                    <a:lnTo>
                      <a:pt x="2016" y="474"/>
                    </a:lnTo>
                    <a:lnTo>
                      <a:pt x="2005" y="483"/>
                    </a:lnTo>
                    <a:lnTo>
                      <a:pt x="1997" y="493"/>
                    </a:lnTo>
                    <a:lnTo>
                      <a:pt x="1985" y="498"/>
                    </a:lnTo>
                    <a:lnTo>
                      <a:pt x="1976" y="507"/>
                    </a:lnTo>
                    <a:lnTo>
                      <a:pt x="1968" y="517"/>
                    </a:lnTo>
                    <a:lnTo>
                      <a:pt x="1966" y="535"/>
                    </a:lnTo>
                    <a:lnTo>
                      <a:pt x="1966" y="541"/>
                    </a:lnTo>
                    <a:lnTo>
                      <a:pt x="1966" y="553"/>
                    </a:lnTo>
                    <a:lnTo>
                      <a:pt x="1968" y="567"/>
                    </a:lnTo>
                    <a:lnTo>
                      <a:pt x="1971" y="583"/>
                    </a:lnTo>
                    <a:lnTo>
                      <a:pt x="1973" y="595"/>
                    </a:lnTo>
                    <a:lnTo>
                      <a:pt x="1976" y="609"/>
                    </a:lnTo>
                    <a:lnTo>
                      <a:pt x="1981" y="617"/>
                    </a:lnTo>
                    <a:lnTo>
                      <a:pt x="1987" y="626"/>
                    </a:lnTo>
                    <a:lnTo>
                      <a:pt x="1993" y="610"/>
                    </a:lnTo>
                    <a:lnTo>
                      <a:pt x="2000" y="596"/>
                    </a:lnTo>
                    <a:lnTo>
                      <a:pt x="2011" y="584"/>
                    </a:lnTo>
                    <a:lnTo>
                      <a:pt x="2024" y="578"/>
                    </a:lnTo>
                    <a:lnTo>
                      <a:pt x="2026" y="567"/>
                    </a:lnTo>
                    <a:lnTo>
                      <a:pt x="2033" y="562"/>
                    </a:lnTo>
                    <a:lnTo>
                      <a:pt x="2040" y="555"/>
                    </a:lnTo>
                    <a:lnTo>
                      <a:pt x="2045" y="550"/>
                    </a:lnTo>
                    <a:lnTo>
                      <a:pt x="2047" y="538"/>
                    </a:lnTo>
                    <a:lnTo>
                      <a:pt x="2054" y="531"/>
                    </a:lnTo>
                    <a:lnTo>
                      <a:pt x="2059" y="524"/>
                    </a:lnTo>
                    <a:lnTo>
                      <a:pt x="2062" y="519"/>
                    </a:lnTo>
                    <a:lnTo>
                      <a:pt x="2059" y="509"/>
                    </a:lnTo>
                    <a:lnTo>
                      <a:pt x="2062" y="497"/>
                    </a:lnTo>
                    <a:lnTo>
                      <a:pt x="2076" y="469"/>
                    </a:lnTo>
                    <a:lnTo>
                      <a:pt x="2091" y="452"/>
                    </a:lnTo>
                    <a:lnTo>
                      <a:pt x="2105" y="443"/>
                    </a:lnTo>
                    <a:lnTo>
                      <a:pt x="2119" y="442"/>
                    </a:lnTo>
                    <a:lnTo>
                      <a:pt x="2129" y="443"/>
                    </a:lnTo>
                    <a:lnTo>
                      <a:pt x="2140" y="449"/>
                    </a:lnTo>
                    <a:lnTo>
                      <a:pt x="2148" y="452"/>
                    </a:lnTo>
                    <a:lnTo>
                      <a:pt x="2157" y="455"/>
                    </a:lnTo>
                    <a:lnTo>
                      <a:pt x="2172" y="452"/>
                    </a:lnTo>
                    <a:lnTo>
                      <a:pt x="2188" y="445"/>
                    </a:lnTo>
                    <a:lnTo>
                      <a:pt x="2202" y="435"/>
                    </a:lnTo>
                    <a:lnTo>
                      <a:pt x="2217" y="426"/>
                    </a:lnTo>
                    <a:lnTo>
                      <a:pt x="2229" y="414"/>
                    </a:lnTo>
                    <a:lnTo>
                      <a:pt x="2243" y="406"/>
                    </a:lnTo>
                    <a:lnTo>
                      <a:pt x="2257" y="399"/>
                    </a:lnTo>
                    <a:lnTo>
                      <a:pt x="2272" y="397"/>
                    </a:lnTo>
                    <a:lnTo>
                      <a:pt x="2293" y="394"/>
                    </a:lnTo>
                    <a:lnTo>
                      <a:pt x="2305" y="390"/>
                    </a:lnTo>
                    <a:lnTo>
                      <a:pt x="2308" y="385"/>
                    </a:lnTo>
                    <a:lnTo>
                      <a:pt x="2308" y="380"/>
                    </a:lnTo>
                    <a:lnTo>
                      <a:pt x="2301" y="373"/>
                    </a:lnTo>
                    <a:lnTo>
                      <a:pt x="2294" y="366"/>
                    </a:lnTo>
                    <a:lnTo>
                      <a:pt x="2289" y="361"/>
                    </a:lnTo>
                    <a:lnTo>
                      <a:pt x="2288" y="359"/>
                    </a:lnTo>
                    <a:lnTo>
                      <a:pt x="2291" y="345"/>
                    </a:lnTo>
                    <a:lnTo>
                      <a:pt x="2303" y="339"/>
                    </a:lnTo>
                    <a:lnTo>
                      <a:pt x="2313" y="333"/>
                    </a:lnTo>
                    <a:lnTo>
                      <a:pt x="2324" y="328"/>
                    </a:lnTo>
                    <a:lnTo>
                      <a:pt x="2324" y="316"/>
                    </a:lnTo>
                    <a:lnTo>
                      <a:pt x="2331" y="311"/>
                    </a:lnTo>
                    <a:lnTo>
                      <a:pt x="2341" y="311"/>
                    </a:lnTo>
                    <a:lnTo>
                      <a:pt x="2353" y="316"/>
                    </a:lnTo>
                    <a:lnTo>
                      <a:pt x="2363" y="323"/>
                    </a:lnTo>
                    <a:lnTo>
                      <a:pt x="2374" y="332"/>
                    </a:lnTo>
                    <a:lnTo>
                      <a:pt x="2382" y="339"/>
                    </a:lnTo>
                    <a:lnTo>
                      <a:pt x="2392" y="345"/>
                    </a:lnTo>
                    <a:lnTo>
                      <a:pt x="2403" y="351"/>
                    </a:lnTo>
                    <a:lnTo>
                      <a:pt x="2413" y="354"/>
                    </a:lnTo>
                    <a:lnTo>
                      <a:pt x="2417" y="351"/>
                    </a:lnTo>
                    <a:lnTo>
                      <a:pt x="2422" y="344"/>
                    </a:lnTo>
                    <a:lnTo>
                      <a:pt x="2425" y="333"/>
                    </a:lnTo>
                    <a:lnTo>
                      <a:pt x="2430" y="328"/>
                    </a:lnTo>
                    <a:lnTo>
                      <a:pt x="2435" y="321"/>
                    </a:lnTo>
                    <a:lnTo>
                      <a:pt x="2442" y="320"/>
                    </a:lnTo>
                    <a:lnTo>
                      <a:pt x="2451" y="316"/>
                    </a:lnTo>
                    <a:lnTo>
                      <a:pt x="2461" y="314"/>
                    </a:lnTo>
                    <a:lnTo>
                      <a:pt x="2451" y="304"/>
                    </a:lnTo>
                    <a:lnTo>
                      <a:pt x="2439" y="297"/>
                    </a:lnTo>
                    <a:lnTo>
                      <a:pt x="2425" y="289"/>
                    </a:lnTo>
                    <a:lnTo>
                      <a:pt x="2411" y="284"/>
                    </a:lnTo>
                    <a:lnTo>
                      <a:pt x="2394" y="277"/>
                    </a:lnTo>
                    <a:lnTo>
                      <a:pt x="2380" y="271"/>
                    </a:lnTo>
                    <a:lnTo>
                      <a:pt x="2365" y="266"/>
                    </a:lnTo>
                    <a:lnTo>
                      <a:pt x="2355" y="261"/>
                    </a:lnTo>
                    <a:lnTo>
                      <a:pt x="2337" y="251"/>
                    </a:lnTo>
                    <a:lnTo>
                      <a:pt x="2320" y="242"/>
                    </a:lnTo>
                    <a:lnTo>
                      <a:pt x="2301" y="234"/>
                    </a:lnTo>
                    <a:lnTo>
                      <a:pt x="2284" y="227"/>
                    </a:lnTo>
                    <a:lnTo>
                      <a:pt x="2263" y="220"/>
                    </a:lnTo>
                    <a:lnTo>
                      <a:pt x="2243" y="216"/>
                    </a:lnTo>
                    <a:lnTo>
                      <a:pt x="2222" y="213"/>
                    </a:lnTo>
                    <a:lnTo>
                      <a:pt x="2202" y="213"/>
                    </a:lnTo>
                    <a:lnTo>
                      <a:pt x="2190" y="213"/>
                    </a:lnTo>
                    <a:lnTo>
                      <a:pt x="2181" y="215"/>
                    </a:lnTo>
                    <a:lnTo>
                      <a:pt x="2176" y="216"/>
                    </a:lnTo>
                    <a:lnTo>
                      <a:pt x="2176" y="222"/>
                    </a:lnTo>
                    <a:lnTo>
                      <a:pt x="2177" y="234"/>
                    </a:lnTo>
                    <a:lnTo>
                      <a:pt x="2177" y="241"/>
                    </a:lnTo>
                    <a:lnTo>
                      <a:pt x="2172" y="242"/>
                    </a:lnTo>
                    <a:lnTo>
                      <a:pt x="2169" y="239"/>
                    </a:lnTo>
                    <a:lnTo>
                      <a:pt x="2153" y="227"/>
                    </a:lnTo>
                    <a:lnTo>
                      <a:pt x="2143" y="222"/>
                    </a:lnTo>
                    <a:lnTo>
                      <a:pt x="2026" y="220"/>
                    </a:lnTo>
                    <a:lnTo>
                      <a:pt x="2023" y="210"/>
                    </a:lnTo>
                    <a:lnTo>
                      <a:pt x="2019" y="203"/>
                    </a:lnTo>
                    <a:lnTo>
                      <a:pt x="2012" y="196"/>
                    </a:lnTo>
                    <a:lnTo>
                      <a:pt x="2007" y="191"/>
                    </a:lnTo>
                    <a:lnTo>
                      <a:pt x="1999" y="186"/>
                    </a:lnTo>
                    <a:lnTo>
                      <a:pt x="1990" y="184"/>
                    </a:lnTo>
                    <a:lnTo>
                      <a:pt x="1978" y="184"/>
                    </a:lnTo>
                    <a:lnTo>
                      <a:pt x="1968" y="184"/>
                    </a:lnTo>
                    <a:lnTo>
                      <a:pt x="1952" y="184"/>
                    </a:lnTo>
                    <a:lnTo>
                      <a:pt x="1937" y="186"/>
                    </a:lnTo>
                    <a:lnTo>
                      <a:pt x="1921" y="186"/>
                    </a:lnTo>
                    <a:lnTo>
                      <a:pt x="1911" y="182"/>
                    </a:lnTo>
                    <a:lnTo>
                      <a:pt x="1904" y="173"/>
                    </a:lnTo>
                    <a:lnTo>
                      <a:pt x="1899" y="167"/>
                    </a:lnTo>
                    <a:lnTo>
                      <a:pt x="1892" y="160"/>
                    </a:lnTo>
                    <a:lnTo>
                      <a:pt x="1885" y="156"/>
                    </a:lnTo>
                    <a:lnTo>
                      <a:pt x="1871" y="151"/>
                    </a:lnTo>
                    <a:lnTo>
                      <a:pt x="1859" y="148"/>
                    </a:lnTo>
                    <a:lnTo>
                      <a:pt x="1847" y="144"/>
                    </a:lnTo>
                    <a:lnTo>
                      <a:pt x="1835" y="143"/>
                    </a:lnTo>
                    <a:lnTo>
                      <a:pt x="1821" y="141"/>
                    </a:lnTo>
                    <a:lnTo>
                      <a:pt x="1808" y="139"/>
                    </a:lnTo>
                    <a:lnTo>
                      <a:pt x="1794" y="139"/>
                    </a:lnTo>
                    <a:lnTo>
                      <a:pt x="1780" y="139"/>
                    </a:lnTo>
                    <a:lnTo>
                      <a:pt x="1765" y="139"/>
                    </a:lnTo>
                    <a:lnTo>
                      <a:pt x="1756" y="143"/>
                    </a:lnTo>
                    <a:lnTo>
                      <a:pt x="1748" y="146"/>
                    </a:lnTo>
                    <a:lnTo>
                      <a:pt x="1742" y="151"/>
                    </a:lnTo>
                    <a:lnTo>
                      <a:pt x="1734" y="163"/>
                    </a:lnTo>
                    <a:lnTo>
                      <a:pt x="1732" y="179"/>
                    </a:lnTo>
                    <a:lnTo>
                      <a:pt x="1717" y="179"/>
                    </a:lnTo>
                    <a:lnTo>
                      <a:pt x="1706" y="179"/>
                    </a:lnTo>
                    <a:lnTo>
                      <a:pt x="1696" y="179"/>
                    </a:lnTo>
                    <a:lnTo>
                      <a:pt x="1687" y="179"/>
                    </a:lnTo>
                    <a:lnTo>
                      <a:pt x="1668" y="179"/>
                    </a:lnTo>
                    <a:lnTo>
                      <a:pt x="1651" y="179"/>
                    </a:lnTo>
                    <a:lnTo>
                      <a:pt x="1641" y="175"/>
                    </a:lnTo>
                    <a:lnTo>
                      <a:pt x="1636" y="172"/>
                    </a:lnTo>
                    <a:lnTo>
                      <a:pt x="1627" y="168"/>
                    </a:lnTo>
                    <a:lnTo>
                      <a:pt x="1619" y="167"/>
                    </a:lnTo>
                    <a:lnTo>
                      <a:pt x="1615" y="172"/>
                    </a:lnTo>
                    <a:lnTo>
                      <a:pt x="1613" y="180"/>
                    </a:lnTo>
                    <a:lnTo>
                      <a:pt x="1610" y="186"/>
                    </a:lnTo>
                    <a:lnTo>
                      <a:pt x="1606" y="189"/>
                    </a:lnTo>
                    <a:lnTo>
                      <a:pt x="1591" y="184"/>
                    </a:lnTo>
                    <a:lnTo>
                      <a:pt x="1582" y="173"/>
                    </a:lnTo>
                    <a:lnTo>
                      <a:pt x="1576" y="160"/>
                    </a:lnTo>
                    <a:lnTo>
                      <a:pt x="1576" y="149"/>
                    </a:lnTo>
                    <a:lnTo>
                      <a:pt x="1579" y="143"/>
                    </a:lnTo>
                    <a:lnTo>
                      <a:pt x="1582" y="132"/>
                    </a:lnTo>
                    <a:lnTo>
                      <a:pt x="1576" y="125"/>
                    </a:lnTo>
                    <a:lnTo>
                      <a:pt x="1565" y="118"/>
                    </a:lnTo>
                    <a:lnTo>
                      <a:pt x="1543" y="113"/>
                    </a:lnTo>
                    <a:lnTo>
                      <a:pt x="1512" y="112"/>
                    </a:lnTo>
                    <a:lnTo>
                      <a:pt x="1502" y="110"/>
                    </a:lnTo>
                    <a:lnTo>
                      <a:pt x="1496" y="113"/>
                    </a:lnTo>
                    <a:lnTo>
                      <a:pt x="1491" y="118"/>
                    </a:lnTo>
                    <a:lnTo>
                      <a:pt x="1491" y="130"/>
                    </a:lnTo>
                    <a:lnTo>
                      <a:pt x="1436" y="130"/>
                    </a:lnTo>
                    <a:lnTo>
                      <a:pt x="1426" y="127"/>
                    </a:lnTo>
                    <a:lnTo>
                      <a:pt x="1410" y="125"/>
                    </a:lnTo>
                    <a:lnTo>
                      <a:pt x="1391" y="122"/>
                    </a:lnTo>
                    <a:lnTo>
                      <a:pt x="1374" y="118"/>
                    </a:lnTo>
                    <a:lnTo>
                      <a:pt x="1355" y="113"/>
                    </a:lnTo>
                    <a:lnTo>
                      <a:pt x="1338" y="108"/>
                    </a:lnTo>
                    <a:lnTo>
                      <a:pt x="1326" y="103"/>
                    </a:lnTo>
                    <a:lnTo>
                      <a:pt x="1319" y="98"/>
                    </a:lnTo>
                    <a:lnTo>
                      <a:pt x="1297" y="113"/>
                    </a:lnTo>
                    <a:lnTo>
                      <a:pt x="1283" y="124"/>
                    </a:lnTo>
                    <a:lnTo>
                      <a:pt x="1273" y="127"/>
                    </a:lnTo>
                    <a:lnTo>
                      <a:pt x="1268" y="129"/>
                    </a:lnTo>
                    <a:lnTo>
                      <a:pt x="1266" y="122"/>
                    </a:lnTo>
                    <a:lnTo>
                      <a:pt x="1268" y="118"/>
                    </a:lnTo>
                    <a:lnTo>
                      <a:pt x="1278" y="108"/>
                    </a:lnTo>
                    <a:lnTo>
                      <a:pt x="1299" y="100"/>
                    </a:lnTo>
                    <a:lnTo>
                      <a:pt x="1321" y="88"/>
                    </a:lnTo>
                    <a:lnTo>
                      <a:pt x="1343" y="75"/>
                    </a:lnTo>
                    <a:lnTo>
                      <a:pt x="1355" y="62"/>
                    </a:lnTo>
                    <a:lnTo>
                      <a:pt x="1359" y="50"/>
                    </a:lnTo>
                    <a:lnTo>
                      <a:pt x="1345" y="38"/>
                    </a:lnTo>
                    <a:lnTo>
                      <a:pt x="1312" y="27"/>
                    </a:lnTo>
                    <a:lnTo>
                      <a:pt x="1257" y="27"/>
                    </a:lnTo>
                    <a:lnTo>
                      <a:pt x="1252" y="17"/>
                    </a:lnTo>
                    <a:lnTo>
                      <a:pt x="1245" y="8"/>
                    </a:lnTo>
                    <a:lnTo>
                      <a:pt x="1233" y="2"/>
                    </a:lnTo>
                    <a:lnTo>
                      <a:pt x="1219" y="0"/>
                    </a:lnTo>
                    <a:lnTo>
                      <a:pt x="1209" y="0"/>
                    </a:lnTo>
                    <a:lnTo>
                      <a:pt x="1201" y="2"/>
                    </a:lnTo>
                    <a:lnTo>
                      <a:pt x="1194" y="5"/>
                    </a:lnTo>
                    <a:lnTo>
                      <a:pt x="1189" y="10"/>
                    </a:lnTo>
                    <a:lnTo>
                      <a:pt x="1178" y="19"/>
                    </a:lnTo>
                    <a:lnTo>
                      <a:pt x="1170" y="29"/>
                    </a:lnTo>
                    <a:lnTo>
                      <a:pt x="1163" y="31"/>
                    </a:lnTo>
                    <a:lnTo>
                      <a:pt x="1152" y="36"/>
                    </a:lnTo>
                    <a:lnTo>
                      <a:pt x="1140" y="41"/>
                    </a:lnTo>
                    <a:lnTo>
                      <a:pt x="1128" y="46"/>
                    </a:lnTo>
                    <a:lnTo>
                      <a:pt x="1115" y="46"/>
                    </a:lnTo>
                    <a:lnTo>
                      <a:pt x="1106" y="48"/>
                    </a:lnTo>
                    <a:lnTo>
                      <a:pt x="1099" y="45"/>
                    </a:lnTo>
                    <a:lnTo>
                      <a:pt x="1099" y="39"/>
                    </a:lnTo>
                    <a:lnTo>
                      <a:pt x="1089" y="39"/>
                    </a:lnTo>
                    <a:lnTo>
                      <a:pt x="1077" y="43"/>
                    </a:lnTo>
                    <a:lnTo>
                      <a:pt x="1060" y="45"/>
                    </a:lnTo>
                    <a:lnTo>
                      <a:pt x="1044" y="50"/>
                    </a:lnTo>
                    <a:lnTo>
                      <a:pt x="1023" y="55"/>
                    </a:lnTo>
                    <a:lnTo>
                      <a:pt x="1006" y="62"/>
                    </a:lnTo>
                    <a:lnTo>
                      <a:pt x="987" y="70"/>
                    </a:lnTo>
                    <a:lnTo>
                      <a:pt x="974" y="82"/>
                    </a:lnTo>
                    <a:lnTo>
                      <a:pt x="968" y="89"/>
                    </a:lnTo>
                    <a:lnTo>
                      <a:pt x="963" y="100"/>
                    </a:lnTo>
                    <a:lnTo>
                      <a:pt x="958" y="106"/>
                    </a:lnTo>
                    <a:lnTo>
                      <a:pt x="953" y="112"/>
                    </a:lnTo>
                    <a:lnTo>
                      <a:pt x="943" y="110"/>
                    </a:lnTo>
                    <a:lnTo>
                      <a:pt x="932" y="110"/>
                    </a:lnTo>
                    <a:lnTo>
                      <a:pt x="919" y="110"/>
                    </a:lnTo>
                    <a:lnTo>
                      <a:pt x="905" y="112"/>
                    </a:lnTo>
                    <a:lnTo>
                      <a:pt x="891" y="112"/>
                    </a:lnTo>
                    <a:lnTo>
                      <a:pt x="881" y="117"/>
                    </a:lnTo>
                    <a:lnTo>
                      <a:pt x="874" y="122"/>
                    </a:lnTo>
                    <a:lnTo>
                      <a:pt x="872" y="134"/>
                    </a:lnTo>
                    <a:lnTo>
                      <a:pt x="874" y="143"/>
                    </a:lnTo>
                    <a:lnTo>
                      <a:pt x="881" y="155"/>
                    </a:lnTo>
                    <a:lnTo>
                      <a:pt x="872" y="156"/>
                    </a:lnTo>
                    <a:lnTo>
                      <a:pt x="863" y="156"/>
                    </a:lnTo>
                    <a:lnTo>
                      <a:pt x="857" y="155"/>
                    </a:lnTo>
                    <a:lnTo>
                      <a:pt x="850" y="155"/>
                    </a:lnTo>
                    <a:lnTo>
                      <a:pt x="839" y="155"/>
                    </a:lnTo>
                    <a:lnTo>
                      <a:pt x="829" y="155"/>
                    </a:lnTo>
                    <a:lnTo>
                      <a:pt x="817" y="163"/>
                    </a:lnTo>
                    <a:lnTo>
                      <a:pt x="810" y="168"/>
                    </a:lnTo>
                    <a:lnTo>
                      <a:pt x="805" y="168"/>
                    </a:lnTo>
                    <a:lnTo>
                      <a:pt x="803" y="165"/>
                    </a:lnTo>
                    <a:lnTo>
                      <a:pt x="798" y="156"/>
                    </a:lnTo>
                    <a:lnTo>
                      <a:pt x="798" y="149"/>
                    </a:lnTo>
                    <a:lnTo>
                      <a:pt x="796" y="143"/>
                    </a:lnTo>
                    <a:lnTo>
                      <a:pt x="795" y="139"/>
                    </a:lnTo>
                    <a:lnTo>
                      <a:pt x="790" y="148"/>
                    </a:lnTo>
                    <a:lnTo>
                      <a:pt x="784" y="156"/>
                    </a:lnTo>
                    <a:lnTo>
                      <a:pt x="776" y="161"/>
                    </a:lnTo>
                    <a:lnTo>
                      <a:pt x="769" y="168"/>
                    </a:lnTo>
                    <a:lnTo>
                      <a:pt x="772" y="179"/>
                    </a:lnTo>
                    <a:lnTo>
                      <a:pt x="781" y="191"/>
                    </a:lnTo>
                    <a:lnTo>
                      <a:pt x="783" y="201"/>
                    </a:lnTo>
                    <a:lnTo>
                      <a:pt x="779" y="215"/>
                    </a:lnTo>
                    <a:lnTo>
                      <a:pt x="776" y="227"/>
                    </a:lnTo>
                    <a:lnTo>
                      <a:pt x="783" y="244"/>
                    </a:lnTo>
                    <a:lnTo>
                      <a:pt x="786" y="258"/>
                    </a:lnTo>
                    <a:lnTo>
                      <a:pt x="783" y="265"/>
                    </a:lnTo>
                    <a:lnTo>
                      <a:pt x="774" y="259"/>
                    </a:lnTo>
                    <a:lnTo>
                      <a:pt x="769" y="251"/>
                    </a:lnTo>
                    <a:lnTo>
                      <a:pt x="764" y="237"/>
                    </a:lnTo>
                    <a:lnTo>
                      <a:pt x="760" y="223"/>
                    </a:lnTo>
                    <a:lnTo>
                      <a:pt x="757" y="206"/>
                    </a:lnTo>
                    <a:lnTo>
                      <a:pt x="755" y="192"/>
                    </a:lnTo>
                    <a:lnTo>
                      <a:pt x="755" y="179"/>
                    </a:lnTo>
                    <a:lnTo>
                      <a:pt x="755" y="172"/>
                    </a:lnTo>
                    <a:lnTo>
                      <a:pt x="759" y="160"/>
                    </a:lnTo>
                    <a:lnTo>
                      <a:pt x="764" y="151"/>
                    </a:lnTo>
                    <a:lnTo>
                      <a:pt x="762" y="146"/>
                    </a:lnTo>
                    <a:lnTo>
                      <a:pt x="760" y="144"/>
                    </a:lnTo>
                    <a:lnTo>
                      <a:pt x="753" y="141"/>
                    </a:lnTo>
                    <a:lnTo>
                      <a:pt x="741" y="139"/>
                    </a:lnTo>
                    <a:lnTo>
                      <a:pt x="731" y="137"/>
                    </a:lnTo>
                    <a:lnTo>
                      <a:pt x="721" y="141"/>
                    </a:lnTo>
                    <a:lnTo>
                      <a:pt x="710" y="146"/>
                    </a:lnTo>
                    <a:lnTo>
                      <a:pt x="700" y="155"/>
                    </a:lnTo>
                    <a:lnTo>
                      <a:pt x="690" y="161"/>
                    </a:lnTo>
                    <a:lnTo>
                      <a:pt x="683" y="172"/>
                    </a:lnTo>
                    <a:lnTo>
                      <a:pt x="678" y="180"/>
                    </a:lnTo>
                    <a:lnTo>
                      <a:pt x="678" y="189"/>
                    </a:lnTo>
                    <a:lnTo>
                      <a:pt x="678" y="204"/>
                    </a:lnTo>
                    <a:lnTo>
                      <a:pt x="683" y="218"/>
                    </a:lnTo>
                    <a:lnTo>
                      <a:pt x="690" y="229"/>
                    </a:lnTo>
                    <a:lnTo>
                      <a:pt x="700" y="241"/>
                    </a:lnTo>
                    <a:lnTo>
                      <a:pt x="705" y="251"/>
                    </a:lnTo>
                    <a:lnTo>
                      <a:pt x="704" y="256"/>
                    </a:lnTo>
                    <a:lnTo>
                      <a:pt x="697" y="256"/>
                    </a:lnTo>
                    <a:lnTo>
                      <a:pt x="686" y="253"/>
                    </a:lnTo>
                    <a:lnTo>
                      <a:pt x="673" y="246"/>
                    </a:lnTo>
                    <a:lnTo>
                      <a:pt x="659" y="239"/>
                    </a:lnTo>
                    <a:lnTo>
                      <a:pt x="643" y="232"/>
                    </a:lnTo>
                    <a:lnTo>
                      <a:pt x="635" y="229"/>
                    </a:lnTo>
                    <a:lnTo>
                      <a:pt x="612" y="222"/>
                    </a:lnTo>
                    <a:lnTo>
                      <a:pt x="597" y="222"/>
                    </a:lnTo>
                    <a:lnTo>
                      <a:pt x="588" y="220"/>
                    </a:lnTo>
                    <a:lnTo>
                      <a:pt x="585" y="225"/>
                    </a:lnTo>
                    <a:lnTo>
                      <a:pt x="585" y="230"/>
                    </a:lnTo>
                    <a:lnTo>
                      <a:pt x="588" y="237"/>
                    </a:lnTo>
                    <a:lnTo>
                      <a:pt x="585" y="247"/>
                    </a:lnTo>
                    <a:lnTo>
                      <a:pt x="583" y="254"/>
                    </a:lnTo>
                    <a:lnTo>
                      <a:pt x="580" y="254"/>
                    </a:lnTo>
                    <a:lnTo>
                      <a:pt x="576" y="256"/>
                    </a:lnTo>
                    <a:lnTo>
                      <a:pt x="568" y="249"/>
                    </a:lnTo>
                    <a:lnTo>
                      <a:pt x="561" y="246"/>
                    </a:lnTo>
                    <a:lnTo>
                      <a:pt x="545" y="247"/>
                    </a:lnTo>
                    <a:lnTo>
                      <a:pt x="528" y="254"/>
                    </a:lnTo>
                    <a:lnTo>
                      <a:pt x="518" y="256"/>
                    </a:lnTo>
                    <a:lnTo>
                      <a:pt x="507" y="258"/>
                    </a:lnTo>
                    <a:lnTo>
                      <a:pt x="497" y="256"/>
                    </a:lnTo>
                    <a:lnTo>
                      <a:pt x="490" y="256"/>
                    </a:lnTo>
                    <a:lnTo>
                      <a:pt x="482" y="247"/>
                    </a:lnTo>
                    <a:lnTo>
                      <a:pt x="470" y="247"/>
                    </a:lnTo>
                    <a:lnTo>
                      <a:pt x="454" y="253"/>
                    </a:lnTo>
                    <a:lnTo>
                      <a:pt x="439" y="263"/>
                    </a:lnTo>
                    <a:lnTo>
                      <a:pt x="420" y="273"/>
                    </a:lnTo>
                    <a:lnTo>
                      <a:pt x="406" y="284"/>
                    </a:lnTo>
                    <a:lnTo>
                      <a:pt x="392" y="290"/>
                    </a:lnTo>
                    <a:lnTo>
                      <a:pt x="384" y="294"/>
                    </a:lnTo>
                    <a:lnTo>
                      <a:pt x="373" y="290"/>
                    </a:lnTo>
                    <a:lnTo>
                      <a:pt x="370" y="284"/>
                    </a:lnTo>
                    <a:lnTo>
                      <a:pt x="370" y="273"/>
                    </a:lnTo>
                    <a:lnTo>
                      <a:pt x="372" y="265"/>
                    </a:lnTo>
                    <a:lnTo>
                      <a:pt x="370" y="254"/>
                    </a:lnTo>
                    <a:lnTo>
                      <a:pt x="368" y="251"/>
                    </a:lnTo>
                    <a:lnTo>
                      <a:pt x="363" y="247"/>
                    </a:lnTo>
                    <a:lnTo>
                      <a:pt x="358" y="253"/>
                    </a:lnTo>
                    <a:lnTo>
                      <a:pt x="351" y="263"/>
                    </a:lnTo>
                    <a:lnTo>
                      <a:pt x="344" y="285"/>
                    </a:lnTo>
                    <a:lnTo>
                      <a:pt x="347" y="290"/>
                    </a:lnTo>
                    <a:lnTo>
                      <a:pt x="353" y="301"/>
                    </a:lnTo>
                    <a:lnTo>
                      <a:pt x="347" y="308"/>
                    </a:lnTo>
                    <a:lnTo>
                      <a:pt x="337" y="311"/>
                    </a:lnTo>
                    <a:lnTo>
                      <a:pt x="323" y="308"/>
                    </a:lnTo>
                    <a:lnTo>
                      <a:pt x="311" y="311"/>
                    </a:lnTo>
                    <a:lnTo>
                      <a:pt x="306" y="313"/>
                    </a:lnTo>
                    <a:lnTo>
                      <a:pt x="303" y="320"/>
                    </a:lnTo>
                    <a:lnTo>
                      <a:pt x="298" y="327"/>
                    </a:lnTo>
                    <a:lnTo>
                      <a:pt x="294" y="335"/>
                    </a:lnTo>
                    <a:lnTo>
                      <a:pt x="287" y="340"/>
                    </a:lnTo>
                    <a:lnTo>
                      <a:pt x="277" y="344"/>
                    </a:lnTo>
                    <a:lnTo>
                      <a:pt x="263" y="344"/>
                    </a:lnTo>
                    <a:lnTo>
                      <a:pt x="246" y="339"/>
                    </a:lnTo>
                    <a:lnTo>
                      <a:pt x="246" y="359"/>
                    </a:lnTo>
                    <a:lnTo>
                      <a:pt x="234" y="356"/>
                    </a:lnTo>
                    <a:lnTo>
                      <a:pt x="227" y="352"/>
                    </a:lnTo>
                    <a:lnTo>
                      <a:pt x="222" y="345"/>
                    </a:lnTo>
                    <a:lnTo>
                      <a:pt x="220" y="340"/>
                    </a:lnTo>
                    <a:lnTo>
                      <a:pt x="215" y="323"/>
                    </a:lnTo>
                    <a:lnTo>
                      <a:pt x="210" y="311"/>
                    </a:lnTo>
                    <a:lnTo>
                      <a:pt x="224" y="311"/>
                    </a:lnTo>
                    <a:lnTo>
                      <a:pt x="237" y="311"/>
                    </a:lnTo>
                    <a:lnTo>
                      <a:pt x="249" y="311"/>
                    </a:lnTo>
                    <a:lnTo>
                      <a:pt x="265" y="316"/>
                    </a:lnTo>
                    <a:lnTo>
                      <a:pt x="275" y="316"/>
                    </a:lnTo>
                    <a:lnTo>
                      <a:pt x="289" y="313"/>
                    </a:lnTo>
                    <a:lnTo>
                      <a:pt x="299" y="308"/>
                    </a:lnTo>
                    <a:lnTo>
                      <a:pt x="308" y="301"/>
                    </a:lnTo>
                    <a:lnTo>
                      <a:pt x="308" y="290"/>
                    </a:lnTo>
                    <a:lnTo>
                      <a:pt x="303" y="282"/>
                    </a:lnTo>
                    <a:lnTo>
                      <a:pt x="287" y="271"/>
                    </a:lnTo>
                    <a:lnTo>
                      <a:pt x="263" y="261"/>
                    </a:lnTo>
                    <a:lnTo>
                      <a:pt x="251" y="256"/>
                    </a:lnTo>
                    <a:lnTo>
                      <a:pt x="239" y="251"/>
                    </a:lnTo>
                    <a:lnTo>
                      <a:pt x="225" y="244"/>
                    </a:lnTo>
                    <a:lnTo>
                      <a:pt x="212" y="239"/>
                    </a:lnTo>
                    <a:lnTo>
                      <a:pt x="196" y="234"/>
                    </a:lnTo>
                    <a:lnTo>
                      <a:pt x="184" y="229"/>
                    </a:lnTo>
                    <a:lnTo>
                      <a:pt x="174" y="225"/>
                    </a:lnTo>
                    <a:lnTo>
                      <a:pt x="167" y="225"/>
                    </a:lnTo>
                    <a:lnTo>
                      <a:pt x="163" y="223"/>
                    </a:lnTo>
                    <a:lnTo>
                      <a:pt x="153" y="225"/>
                    </a:lnTo>
                    <a:lnTo>
                      <a:pt x="145" y="229"/>
                    </a:lnTo>
                    <a:lnTo>
                      <a:pt x="138" y="235"/>
                    </a:lnTo>
                    <a:lnTo>
                      <a:pt x="129" y="241"/>
                    </a:lnTo>
                    <a:lnTo>
                      <a:pt x="127" y="251"/>
                    </a:lnTo>
                    <a:lnTo>
                      <a:pt x="129" y="254"/>
                    </a:lnTo>
                    <a:lnTo>
                      <a:pt x="136" y="259"/>
                    </a:lnTo>
                    <a:lnTo>
                      <a:pt x="143" y="263"/>
                    </a:lnTo>
                    <a:lnTo>
                      <a:pt x="146" y="271"/>
                    </a:lnTo>
                    <a:lnTo>
                      <a:pt x="141" y="280"/>
                    </a:lnTo>
                    <a:lnTo>
                      <a:pt x="138" y="292"/>
                    </a:lnTo>
                    <a:lnTo>
                      <a:pt x="141" y="304"/>
                    </a:lnTo>
                    <a:lnTo>
                      <a:pt x="146" y="316"/>
                    </a:lnTo>
                    <a:lnTo>
                      <a:pt x="143" y="323"/>
                    </a:lnTo>
                    <a:lnTo>
                      <a:pt x="141" y="332"/>
                    </a:lnTo>
                    <a:lnTo>
                      <a:pt x="143" y="337"/>
                    </a:lnTo>
                    <a:lnTo>
                      <a:pt x="148" y="344"/>
                    </a:lnTo>
                    <a:lnTo>
                      <a:pt x="153" y="351"/>
                    </a:lnTo>
                    <a:lnTo>
                      <a:pt x="157" y="357"/>
                    </a:lnTo>
                    <a:lnTo>
                      <a:pt x="153" y="361"/>
                    </a:lnTo>
                    <a:lnTo>
                      <a:pt x="151" y="364"/>
                    </a:lnTo>
                    <a:lnTo>
                      <a:pt x="160" y="373"/>
                    </a:lnTo>
                    <a:lnTo>
                      <a:pt x="167" y="385"/>
                    </a:lnTo>
                    <a:lnTo>
                      <a:pt x="160" y="397"/>
                    </a:lnTo>
                    <a:lnTo>
                      <a:pt x="148" y="411"/>
                    </a:lnTo>
                    <a:lnTo>
                      <a:pt x="132" y="423"/>
                    </a:lnTo>
                    <a:lnTo>
                      <a:pt x="122" y="435"/>
                    </a:lnTo>
                    <a:lnTo>
                      <a:pt x="127" y="442"/>
                    </a:lnTo>
                    <a:lnTo>
                      <a:pt x="134" y="454"/>
                    </a:lnTo>
                    <a:lnTo>
                      <a:pt x="127" y="455"/>
                    </a:lnTo>
                    <a:lnTo>
                      <a:pt x="120" y="459"/>
                    </a:lnTo>
                    <a:lnTo>
                      <a:pt x="112" y="462"/>
                    </a:lnTo>
                    <a:lnTo>
                      <a:pt x="107" y="464"/>
                    </a:lnTo>
                    <a:lnTo>
                      <a:pt x="95" y="462"/>
                    </a:lnTo>
                    <a:lnTo>
                      <a:pt x="81" y="461"/>
                    </a:lnTo>
                    <a:lnTo>
                      <a:pt x="69" y="461"/>
                    </a:lnTo>
                    <a:lnTo>
                      <a:pt x="59" y="466"/>
                    </a:lnTo>
                    <a:lnTo>
                      <a:pt x="50" y="471"/>
                    </a:lnTo>
                    <a:lnTo>
                      <a:pt x="52" y="478"/>
                    </a:lnTo>
                    <a:lnTo>
                      <a:pt x="64" y="493"/>
                    </a:lnTo>
                    <a:lnTo>
                      <a:pt x="65" y="504"/>
                    </a:lnTo>
                    <a:lnTo>
                      <a:pt x="62" y="509"/>
                    </a:lnTo>
                    <a:lnTo>
                      <a:pt x="59" y="512"/>
                    </a:lnTo>
                    <a:lnTo>
                      <a:pt x="52" y="509"/>
                    </a:lnTo>
                    <a:lnTo>
                      <a:pt x="46" y="505"/>
                    </a:lnTo>
                    <a:lnTo>
                      <a:pt x="41" y="500"/>
                    </a:lnTo>
                    <a:lnTo>
                      <a:pt x="38" y="498"/>
                    </a:lnTo>
                    <a:lnTo>
                      <a:pt x="29" y="502"/>
                    </a:lnTo>
                    <a:lnTo>
                      <a:pt x="24" y="511"/>
                    </a:lnTo>
                    <a:lnTo>
                      <a:pt x="17" y="523"/>
                    </a:lnTo>
                    <a:lnTo>
                      <a:pt x="17" y="535"/>
                    </a:lnTo>
                    <a:lnTo>
                      <a:pt x="14" y="545"/>
                    </a:lnTo>
                    <a:lnTo>
                      <a:pt x="9" y="552"/>
                    </a:lnTo>
                    <a:lnTo>
                      <a:pt x="2" y="557"/>
                    </a:lnTo>
                    <a:lnTo>
                      <a:pt x="0" y="569"/>
                    </a:lnTo>
                    <a:lnTo>
                      <a:pt x="9" y="567"/>
                    </a:lnTo>
                    <a:lnTo>
                      <a:pt x="19" y="567"/>
                    </a:lnTo>
                    <a:lnTo>
                      <a:pt x="31" y="567"/>
                    </a:lnTo>
                    <a:lnTo>
                      <a:pt x="45" y="567"/>
                    </a:lnTo>
                    <a:lnTo>
                      <a:pt x="50" y="569"/>
                    </a:lnTo>
                    <a:lnTo>
                      <a:pt x="55" y="578"/>
                    </a:lnTo>
                    <a:lnTo>
                      <a:pt x="59" y="586"/>
                    </a:lnTo>
                    <a:lnTo>
                      <a:pt x="60" y="596"/>
                    </a:lnTo>
                    <a:lnTo>
                      <a:pt x="57" y="605"/>
                    </a:lnTo>
                    <a:lnTo>
                      <a:pt x="53" y="614"/>
                    </a:lnTo>
                    <a:lnTo>
                      <a:pt x="57" y="627"/>
                    </a:lnTo>
                    <a:lnTo>
                      <a:pt x="62" y="641"/>
                    </a:lnTo>
                    <a:lnTo>
                      <a:pt x="57" y="646"/>
                    </a:lnTo>
                    <a:lnTo>
                      <a:pt x="52" y="652"/>
                    </a:lnTo>
                    <a:lnTo>
                      <a:pt x="45" y="664"/>
                    </a:lnTo>
                    <a:lnTo>
                      <a:pt x="43" y="681"/>
                    </a:lnTo>
                    <a:lnTo>
                      <a:pt x="43" y="688"/>
                    </a:lnTo>
                    <a:lnTo>
                      <a:pt x="48" y="691"/>
                    </a:lnTo>
                    <a:lnTo>
                      <a:pt x="55" y="691"/>
                    </a:lnTo>
                    <a:lnTo>
                      <a:pt x="65" y="693"/>
                    </a:lnTo>
                    <a:lnTo>
                      <a:pt x="74" y="691"/>
                    </a:lnTo>
                    <a:lnTo>
                      <a:pt x="84" y="689"/>
                    </a:lnTo>
                    <a:lnTo>
                      <a:pt x="91" y="686"/>
                    </a:lnTo>
                    <a:lnTo>
                      <a:pt x="102" y="686"/>
                    </a:lnTo>
                    <a:lnTo>
                      <a:pt x="108" y="689"/>
                    </a:lnTo>
                    <a:lnTo>
                      <a:pt x="112" y="698"/>
                    </a:lnTo>
                    <a:lnTo>
                      <a:pt x="115" y="707"/>
                    </a:lnTo>
                    <a:lnTo>
                      <a:pt x="124" y="712"/>
                    </a:lnTo>
                    <a:lnTo>
                      <a:pt x="124" y="732"/>
                    </a:lnTo>
                    <a:lnTo>
                      <a:pt x="124" y="734"/>
                    </a:lnTo>
                    <a:lnTo>
                      <a:pt x="127" y="736"/>
                    </a:lnTo>
                    <a:lnTo>
                      <a:pt x="129" y="739"/>
                    </a:lnTo>
                    <a:lnTo>
                      <a:pt x="134" y="737"/>
                    </a:lnTo>
                    <a:lnTo>
                      <a:pt x="141" y="736"/>
                    </a:lnTo>
                    <a:lnTo>
                      <a:pt x="146" y="731"/>
                    </a:lnTo>
                    <a:lnTo>
                      <a:pt x="153" y="727"/>
                    </a:lnTo>
                    <a:lnTo>
                      <a:pt x="157" y="722"/>
                    </a:lnTo>
                    <a:lnTo>
                      <a:pt x="165" y="720"/>
                    </a:lnTo>
                    <a:lnTo>
                      <a:pt x="172" y="725"/>
                    </a:lnTo>
                    <a:lnTo>
                      <a:pt x="184" y="739"/>
                    </a:lnTo>
                    <a:lnTo>
                      <a:pt x="196" y="751"/>
                    </a:lnTo>
                    <a:lnTo>
                      <a:pt x="205" y="758"/>
                    </a:lnTo>
                    <a:lnTo>
                      <a:pt x="212" y="755"/>
                    </a:lnTo>
                    <a:lnTo>
                      <a:pt x="222" y="751"/>
                    </a:lnTo>
                    <a:lnTo>
                      <a:pt x="232" y="746"/>
                    </a:lnTo>
                    <a:lnTo>
                      <a:pt x="239" y="743"/>
                    </a:lnTo>
                    <a:lnTo>
                      <a:pt x="236" y="741"/>
                    </a:lnTo>
                    <a:lnTo>
                      <a:pt x="232" y="741"/>
                    </a:lnTo>
                    <a:lnTo>
                      <a:pt x="227" y="741"/>
                    </a:lnTo>
                    <a:lnTo>
                      <a:pt x="225" y="741"/>
                    </a:lnTo>
                    <a:lnTo>
                      <a:pt x="220" y="739"/>
                    </a:lnTo>
                    <a:lnTo>
                      <a:pt x="217" y="732"/>
                    </a:lnTo>
                    <a:lnTo>
                      <a:pt x="222" y="727"/>
                    </a:lnTo>
                    <a:lnTo>
                      <a:pt x="237" y="720"/>
                    </a:lnTo>
                    <a:lnTo>
                      <a:pt x="244" y="717"/>
                    </a:lnTo>
                    <a:lnTo>
                      <a:pt x="253" y="713"/>
                    </a:lnTo>
                    <a:lnTo>
                      <a:pt x="261" y="710"/>
                    </a:lnTo>
                    <a:lnTo>
                      <a:pt x="268" y="710"/>
                    </a:lnTo>
                    <a:lnTo>
                      <a:pt x="263" y="713"/>
                    </a:lnTo>
                    <a:lnTo>
                      <a:pt x="258" y="719"/>
                    </a:lnTo>
                    <a:lnTo>
                      <a:pt x="260" y="722"/>
                    </a:lnTo>
                    <a:lnTo>
                      <a:pt x="261" y="729"/>
                    </a:lnTo>
                    <a:lnTo>
                      <a:pt x="260" y="732"/>
                    </a:lnTo>
                    <a:lnTo>
                      <a:pt x="258" y="736"/>
                    </a:lnTo>
                    <a:lnTo>
                      <a:pt x="251" y="739"/>
                    </a:lnTo>
                    <a:lnTo>
                      <a:pt x="244" y="743"/>
                    </a:lnTo>
                    <a:lnTo>
                      <a:pt x="248" y="751"/>
                    </a:lnTo>
                    <a:lnTo>
                      <a:pt x="258" y="760"/>
                    </a:lnTo>
                    <a:lnTo>
                      <a:pt x="270" y="765"/>
                    </a:lnTo>
                    <a:lnTo>
                      <a:pt x="284" y="772"/>
                    </a:lnTo>
                    <a:lnTo>
                      <a:pt x="294" y="777"/>
                    </a:lnTo>
                    <a:lnTo>
                      <a:pt x="304" y="784"/>
                    </a:lnTo>
                    <a:lnTo>
                      <a:pt x="311" y="793"/>
                    </a:lnTo>
                    <a:lnTo>
                      <a:pt x="315" y="808"/>
                    </a:lnTo>
                    <a:lnTo>
                      <a:pt x="317" y="808"/>
                    </a:lnTo>
                    <a:lnTo>
                      <a:pt x="322" y="805"/>
                    </a:lnTo>
                    <a:lnTo>
                      <a:pt x="327" y="805"/>
                    </a:lnTo>
                    <a:lnTo>
                      <a:pt x="335" y="805"/>
                    </a:lnTo>
                    <a:lnTo>
                      <a:pt x="341" y="810"/>
                    </a:lnTo>
                    <a:lnTo>
                      <a:pt x="344" y="817"/>
                    </a:lnTo>
                    <a:lnTo>
                      <a:pt x="347" y="825"/>
                    </a:lnTo>
                    <a:lnTo>
                      <a:pt x="353" y="829"/>
                    </a:lnTo>
                    <a:lnTo>
                      <a:pt x="360" y="834"/>
                    </a:lnTo>
                    <a:lnTo>
                      <a:pt x="365" y="837"/>
                    </a:lnTo>
                    <a:lnTo>
                      <a:pt x="370" y="844"/>
                    </a:lnTo>
                    <a:lnTo>
                      <a:pt x="375" y="849"/>
                    </a:lnTo>
                    <a:lnTo>
                      <a:pt x="385" y="853"/>
                    </a:lnTo>
                    <a:lnTo>
                      <a:pt x="394" y="846"/>
                    </a:lnTo>
                    <a:lnTo>
                      <a:pt x="403" y="841"/>
                    </a:lnTo>
                    <a:lnTo>
                      <a:pt x="406" y="839"/>
                    </a:lnTo>
                    <a:lnTo>
                      <a:pt x="411" y="839"/>
                    </a:lnTo>
                    <a:lnTo>
                      <a:pt x="411" y="842"/>
                    </a:lnTo>
                    <a:lnTo>
                      <a:pt x="415" y="848"/>
                    </a:lnTo>
                    <a:lnTo>
                      <a:pt x="413" y="849"/>
                    </a:lnTo>
                    <a:lnTo>
                      <a:pt x="415" y="851"/>
                    </a:lnTo>
                    <a:lnTo>
                      <a:pt x="421" y="853"/>
                    </a:lnTo>
                    <a:lnTo>
                      <a:pt x="427" y="837"/>
                    </a:lnTo>
                    <a:lnTo>
                      <a:pt x="435" y="827"/>
                    </a:lnTo>
                    <a:lnTo>
                      <a:pt x="423" y="817"/>
                    </a:lnTo>
                    <a:lnTo>
                      <a:pt x="413" y="803"/>
                    </a:lnTo>
                    <a:lnTo>
                      <a:pt x="404" y="786"/>
                    </a:lnTo>
                    <a:lnTo>
                      <a:pt x="401" y="772"/>
                    </a:lnTo>
                    <a:lnTo>
                      <a:pt x="394" y="762"/>
                    </a:lnTo>
                    <a:lnTo>
                      <a:pt x="389" y="753"/>
                    </a:lnTo>
                    <a:lnTo>
                      <a:pt x="389" y="746"/>
                    </a:lnTo>
                    <a:lnTo>
                      <a:pt x="394" y="739"/>
                    </a:lnTo>
                    <a:lnTo>
                      <a:pt x="397" y="731"/>
                    </a:lnTo>
                    <a:lnTo>
                      <a:pt x="403" y="727"/>
                    </a:lnTo>
                    <a:lnTo>
                      <a:pt x="404" y="725"/>
                    </a:lnTo>
                    <a:lnTo>
                      <a:pt x="411" y="724"/>
                    </a:lnTo>
                    <a:lnTo>
                      <a:pt x="416" y="720"/>
                    </a:lnTo>
                    <a:lnTo>
                      <a:pt x="421" y="720"/>
                    </a:lnTo>
                    <a:lnTo>
                      <a:pt x="428" y="715"/>
                    </a:lnTo>
                    <a:lnTo>
                      <a:pt x="437" y="713"/>
                    </a:lnTo>
                    <a:lnTo>
                      <a:pt x="447" y="712"/>
                    </a:lnTo>
                    <a:lnTo>
                      <a:pt x="459" y="712"/>
                    </a:lnTo>
                    <a:lnTo>
                      <a:pt x="468" y="712"/>
                    </a:lnTo>
                    <a:lnTo>
                      <a:pt x="475" y="713"/>
                    </a:lnTo>
                    <a:lnTo>
                      <a:pt x="480" y="715"/>
                    </a:lnTo>
                    <a:lnTo>
                      <a:pt x="485" y="720"/>
                    </a:lnTo>
                    <a:lnTo>
                      <a:pt x="492" y="729"/>
                    </a:lnTo>
                    <a:lnTo>
                      <a:pt x="501" y="739"/>
                    </a:lnTo>
                    <a:lnTo>
                      <a:pt x="487" y="743"/>
                    </a:lnTo>
                    <a:lnTo>
                      <a:pt x="475" y="741"/>
                    </a:lnTo>
                    <a:lnTo>
                      <a:pt x="463" y="741"/>
                    </a:lnTo>
                    <a:lnTo>
                      <a:pt x="451" y="746"/>
                    </a:lnTo>
                    <a:lnTo>
                      <a:pt x="442" y="750"/>
                    </a:lnTo>
                    <a:lnTo>
                      <a:pt x="439" y="753"/>
                    </a:lnTo>
                    <a:lnTo>
                      <a:pt x="442" y="762"/>
                    </a:lnTo>
                    <a:lnTo>
                      <a:pt x="451" y="768"/>
                    </a:lnTo>
                    <a:lnTo>
                      <a:pt x="456" y="779"/>
                    </a:lnTo>
                    <a:lnTo>
                      <a:pt x="464" y="789"/>
                    </a:lnTo>
                    <a:lnTo>
                      <a:pt x="470" y="798"/>
                    </a:lnTo>
                    <a:lnTo>
                      <a:pt x="473" y="811"/>
                    </a:lnTo>
                    <a:lnTo>
                      <a:pt x="482" y="806"/>
                    </a:lnTo>
                    <a:lnTo>
                      <a:pt x="490" y="805"/>
                    </a:lnTo>
                    <a:lnTo>
                      <a:pt x="494" y="813"/>
                    </a:lnTo>
                    <a:lnTo>
                      <a:pt x="499" y="823"/>
                    </a:lnTo>
                    <a:lnTo>
                      <a:pt x="485" y="823"/>
                    </a:lnTo>
                    <a:lnTo>
                      <a:pt x="476" y="827"/>
                    </a:lnTo>
                    <a:lnTo>
                      <a:pt x="475" y="835"/>
                    </a:lnTo>
                    <a:lnTo>
                      <a:pt x="487" y="842"/>
                    </a:lnTo>
                    <a:lnTo>
                      <a:pt x="492" y="858"/>
                    </a:lnTo>
                    <a:lnTo>
                      <a:pt x="490" y="863"/>
                    </a:lnTo>
                    <a:lnTo>
                      <a:pt x="489" y="868"/>
                    </a:lnTo>
                    <a:lnTo>
                      <a:pt x="490" y="875"/>
                    </a:lnTo>
                    <a:lnTo>
                      <a:pt x="494" y="880"/>
                    </a:lnTo>
                    <a:lnTo>
                      <a:pt x="495" y="875"/>
                    </a:lnTo>
                    <a:lnTo>
                      <a:pt x="504" y="873"/>
                    </a:lnTo>
                    <a:lnTo>
                      <a:pt x="509" y="870"/>
                    </a:lnTo>
                    <a:lnTo>
                      <a:pt x="514" y="866"/>
                    </a:lnTo>
                    <a:lnTo>
                      <a:pt x="525" y="863"/>
                    </a:lnTo>
                    <a:lnTo>
                      <a:pt x="537" y="860"/>
                    </a:lnTo>
                    <a:lnTo>
                      <a:pt x="550" y="865"/>
                    </a:lnTo>
                    <a:lnTo>
                      <a:pt x="566" y="872"/>
                    </a:lnTo>
                    <a:lnTo>
                      <a:pt x="573" y="875"/>
                    </a:lnTo>
                    <a:lnTo>
                      <a:pt x="580" y="878"/>
                    </a:lnTo>
                    <a:lnTo>
                      <a:pt x="585" y="882"/>
                    </a:lnTo>
                    <a:lnTo>
                      <a:pt x="597" y="885"/>
                    </a:lnTo>
                    <a:lnTo>
                      <a:pt x="599" y="889"/>
                    </a:lnTo>
                    <a:lnTo>
                      <a:pt x="600" y="892"/>
                    </a:lnTo>
                    <a:lnTo>
                      <a:pt x="600" y="901"/>
                    </a:lnTo>
                    <a:lnTo>
                      <a:pt x="602" y="911"/>
                    </a:lnTo>
                    <a:lnTo>
                      <a:pt x="609" y="909"/>
                    </a:lnTo>
                    <a:lnTo>
                      <a:pt x="618" y="913"/>
                    </a:lnTo>
                    <a:lnTo>
                      <a:pt x="624" y="909"/>
                    </a:lnTo>
                    <a:lnTo>
                      <a:pt x="630" y="904"/>
                    </a:lnTo>
                    <a:lnTo>
                      <a:pt x="636" y="901"/>
                    </a:lnTo>
                    <a:lnTo>
                      <a:pt x="643" y="897"/>
                    </a:lnTo>
                    <a:lnTo>
                      <a:pt x="647" y="889"/>
                    </a:lnTo>
                    <a:lnTo>
                      <a:pt x="652" y="882"/>
                    </a:lnTo>
                    <a:lnTo>
                      <a:pt x="657" y="877"/>
                    </a:lnTo>
                    <a:lnTo>
                      <a:pt x="666" y="875"/>
                    </a:lnTo>
                    <a:lnTo>
                      <a:pt x="669" y="875"/>
                    </a:lnTo>
                    <a:lnTo>
                      <a:pt x="674" y="877"/>
                    </a:lnTo>
                    <a:lnTo>
                      <a:pt x="681" y="880"/>
                    </a:lnTo>
                    <a:lnTo>
                      <a:pt x="690" y="878"/>
                    </a:lnTo>
                    <a:lnTo>
                      <a:pt x="695" y="880"/>
                    </a:lnTo>
                    <a:lnTo>
                      <a:pt x="700" y="884"/>
                    </a:lnTo>
                    <a:lnTo>
                      <a:pt x="712" y="880"/>
                    </a:lnTo>
                    <a:lnTo>
                      <a:pt x="722" y="872"/>
                    </a:lnTo>
                    <a:lnTo>
                      <a:pt x="724" y="872"/>
                    </a:lnTo>
                    <a:lnTo>
                      <a:pt x="729" y="865"/>
                    </a:lnTo>
                    <a:lnTo>
                      <a:pt x="741" y="860"/>
                    </a:lnTo>
                    <a:lnTo>
                      <a:pt x="745" y="863"/>
                    </a:lnTo>
                    <a:lnTo>
                      <a:pt x="747" y="872"/>
                    </a:lnTo>
                    <a:lnTo>
                      <a:pt x="747" y="880"/>
                    </a:lnTo>
                    <a:lnTo>
                      <a:pt x="753" y="885"/>
                    </a:lnTo>
                    <a:lnTo>
                      <a:pt x="765" y="880"/>
                    </a:lnTo>
                    <a:lnTo>
                      <a:pt x="779" y="877"/>
                    </a:lnTo>
                    <a:lnTo>
                      <a:pt x="788" y="877"/>
                    </a:lnTo>
                    <a:lnTo>
                      <a:pt x="796" y="878"/>
                    </a:lnTo>
                    <a:lnTo>
                      <a:pt x="796" y="877"/>
                    </a:lnTo>
                    <a:lnTo>
                      <a:pt x="791" y="863"/>
                    </a:lnTo>
                    <a:lnTo>
                      <a:pt x="779" y="858"/>
                    </a:lnTo>
                    <a:lnTo>
                      <a:pt x="781" y="848"/>
                    </a:lnTo>
                    <a:lnTo>
                      <a:pt x="786" y="837"/>
                    </a:lnTo>
                    <a:lnTo>
                      <a:pt x="791" y="829"/>
                    </a:lnTo>
                    <a:lnTo>
                      <a:pt x="798" y="825"/>
                    </a:lnTo>
                    <a:lnTo>
                      <a:pt x="814" y="823"/>
                    </a:lnTo>
                    <a:lnTo>
                      <a:pt x="829" y="820"/>
                    </a:lnTo>
                    <a:lnTo>
                      <a:pt x="843" y="813"/>
                    </a:lnTo>
                    <a:lnTo>
                      <a:pt x="855" y="805"/>
                    </a:lnTo>
                    <a:lnTo>
                      <a:pt x="863" y="793"/>
                    </a:lnTo>
                    <a:lnTo>
                      <a:pt x="870" y="779"/>
                    </a:lnTo>
                    <a:lnTo>
                      <a:pt x="874" y="763"/>
                    </a:lnTo>
                    <a:lnTo>
                      <a:pt x="877" y="744"/>
                    </a:lnTo>
                    <a:lnTo>
                      <a:pt x="891" y="737"/>
                    </a:lnTo>
                    <a:lnTo>
                      <a:pt x="901" y="725"/>
                    </a:lnTo>
                    <a:lnTo>
                      <a:pt x="910" y="713"/>
                    </a:lnTo>
                    <a:lnTo>
                      <a:pt x="920" y="712"/>
                    </a:lnTo>
                    <a:lnTo>
                      <a:pt x="932" y="710"/>
                    </a:lnTo>
                    <a:lnTo>
                      <a:pt x="941" y="708"/>
                    </a:lnTo>
                    <a:lnTo>
                      <a:pt x="944" y="703"/>
                    </a:lnTo>
                    <a:lnTo>
                      <a:pt x="949" y="700"/>
                    </a:lnTo>
                    <a:lnTo>
                      <a:pt x="949" y="688"/>
                    </a:lnTo>
                    <a:lnTo>
                      <a:pt x="953" y="681"/>
                    </a:lnTo>
                    <a:lnTo>
                      <a:pt x="960" y="674"/>
                    </a:lnTo>
                    <a:lnTo>
                      <a:pt x="968" y="669"/>
                    </a:lnTo>
                    <a:lnTo>
                      <a:pt x="979" y="665"/>
                    </a:lnTo>
                    <a:lnTo>
                      <a:pt x="989" y="664"/>
                    </a:lnTo>
                    <a:lnTo>
                      <a:pt x="999" y="658"/>
                    </a:lnTo>
                    <a:lnTo>
                      <a:pt x="1010" y="655"/>
                    </a:lnTo>
                    <a:lnTo>
                      <a:pt x="1020" y="652"/>
                    </a:lnTo>
                    <a:lnTo>
                      <a:pt x="1030" y="648"/>
                    </a:lnTo>
                    <a:lnTo>
                      <a:pt x="1037" y="641"/>
                    </a:lnTo>
                    <a:lnTo>
                      <a:pt x="1049" y="636"/>
                    </a:lnTo>
                    <a:lnTo>
                      <a:pt x="1060" y="638"/>
                    </a:lnTo>
                    <a:lnTo>
                      <a:pt x="1075" y="643"/>
                    </a:lnTo>
                    <a:lnTo>
                      <a:pt x="1089" y="648"/>
                    </a:lnTo>
                    <a:lnTo>
                      <a:pt x="1106" y="652"/>
                    </a:lnTo>
                    <a:lnTo>
                      <a:pt x="1113" y="648"/>
                    </a:lnTo>
                    <a:lnTo>
                      <a:pt x="1120" y="645"/>
                    </a:lnTo>
                    <a:lnTo>
                      <a:pt x="1123" y="638"/>
                    </a:lnTo>
                    <a:lnTo>
                      <a:pt x="1128" y="631"/>
                    </a:lnTo>
                    <a:lnTo>
                      <a:pt x="1133" y="617"/>
                    </a:lnTo>
                    <a:lnTo>
                      <a:pt x="1144" y="612"/>
                    </a:lnTo>
                    <a:lnTo>
                      <a:pt x="1152" y="612"/>
                    </a:lnTo>
                    <a:lnTo>
                      <a:pt x="1168" y="615"/>
                    </a:lnTo>
                    <a:lnTo>
                      <a:pt x="1180" y="619"/>
                    </a:lnTo>
                    <a:lnTo>
                      <a:pt x="1187" y="626"/>
                    </a:lnTo>
                    <a:lnTo>
                      <a:pt x="1190" y="634"/>
                    </a:lnTo>
                    <a:lnTo>
                      <a:pt x="1195" y="639"/>
                    </a:lnTo>
                    <a:lnTo>
                      <a:pt x="1202" y="643"/>
                    </a:lnTo>
                    <a:lnTo>
                      <a:pt x="1209" y="645"/>
                    </a:lnTo>
                    <a:lnTo>
                      <a:pt x="1221" y="643"/>
                    </a:lnTo>
                    <a:lnTo>
                      <a:pt x="1233" y="641"/>
                    </a:lnTo>
                    <a:lnTo>
                      <a:pt x="1242" y="641"/>
                    </a:lnTo>
                    <a:lnTo>
                      <a:pt x="1252" y="645"/>
                    </a:lnTo>
                    <a:lnTo>
                      <a:pt x="1259" y="648"/>
                    </a:lnTo>
                    <a:lnTo>
                      <a:pt x="1268" y="653"/>
                    </a:lnTo>
                    <a:lnTo>
                      <a:pt x="1275" y="657"/>
                    </a:lnTo>
                    <a:lnTo>
                      <a:pt x="1283" y="660"/>
                    </a:lnTo>
                    <a:lnTo>
                      <a:pt x="1293" y="664"/>
                    </a:lnTo>
                    <a:lnTo>
                      <a:pt x="1305" y="665"/>
                    </a:lnTo>
                    <a:lnTo>
                      <a:pt x="1316" y="664"/>
                    </a:lnTo>
                    <a:lnTo>
                      <a:pt x="1328" y="660"/>
                    </a:lnTo>
                    <a:lnTo>
                      <a:pt x="1340" y="657"/>
                    </a:lnTo>
                    <a:lnTo>
                      <a:pt x="1354" y="653"/>
                    </a:lnTo>
                    <a:lnTo>
                      <a:pt x="1366" y="648"/>
                    </a:lnTo>
                    <a:lnTo>
                      <a:pt x="1379" y="648"/>
                    </a:lnTo>
                    <a:lnTo>
                      <a:pt x="1393" y="648"/>
                    </a:lnTo>
                    <a:lnTo>
                      <a:pt x="1409" y="653"/>
                    </a:lnTo>
                    <a:lnTo>
                      <a:pt x="1422" y="653"/>
                    </a:lnTo>
                    <a:lnTo>
                      <a:pt x="1433" y="650"/>
                    </a:lnTo>
                    <a:lnTo>
                      <a:pt x="1440" y="639"/>
                    </a:lnTo>
                    <a:lnTo>
                      <a:pt x="1447" y="627"/>
                    </a:lnTo>
                    <a:lnTo>
                      <a:pt x="1452" y="612"/>
                    </a:lnTo>
                    <a:lnTo>
                      <a:pt x="1460" y="600"/>
                    </a:lnTo>
                    <a:lnTo>
                      <a:pt x="1474" y="591"/>
                    </a:lnTo>
                    <a:lnTo>
                      <a:pt x="1496" y="588"/>
                    </a:lnTo>
                    <a:lnTo>
                      <a:pt x="1510" y="588"/>
                    </a:lnTo>
                    <a:lnTo>
                      <a:pt x="1520" y="593"/>
                    </a:lnTo>
                    <a:lnTo>
                      <a:pt x="1529" y="598"/>
                    </a:lnTo>
                    <a:lnTo>
                      <a:pt x="1536" y="609"/>
                    </a:lnTo>
                    <a:lnTo>
                      <a:pt x="1541" y="617"/>
                    </a:lnTo>
                    <a:lnTo>
                      <a:pt x="1546" y="629"/>
                    </a:lnTo>
                    <a:lnTo>
                      <a:pt x="1551" y="639"/>
                    </a:lnTo>
                    <a:lnTo>
                      <a:pt x="1558" y="652"/>
                    </a:lnTo>
                    <a:lnTo>
                      <a:pt x="1563" y="657"/>
                    </a:lnTo>
                    <a:lnTo>
                      <a:pt x="1576" y="660"/>
                    </a:lnTo>
                    <a:lnTo>
                      <a:pt x="1586" y="664"/>
                    </a:lnTo>
                    <a:lnTo>
                      <a:pt x="1596" y="670"/>
                    </a:lnTo>
                    <a:lnTo>
                      <a:pt x="1600" y="676"/>
                    </a:lnTo>
                    <a:lnTo>
                      <a:pt x="1606" y="686"/>
                    </a:lnTo>
                    <a:lnTo>
                      <a:pt x="1612" y="693"/>
                    </a:lnTo>
                    <a:lnTo>
                      <a:pt x="1624" y="696"/>
                    </a:lnTo>
                    <a:lnTo>
                      <a:pt x="1632" y="693"/>
                    </a:lnTo>
                    <a:lnTo>
                      <a:pt x="1641" y="688"/>
                    </a:lnTo>
                    <a:lnTo>
                      <a:pt x="1649" y="682"/>
                    </a:lnTo>
                    <a:lnTo>
                      <a:pt x="1665" y="681"/>
                    </a:lnTo>
                    <a:lnTo>
                      <a:pt x="1665" y="694"/>
                    </a:lnTo>
                    <a:lnTo>
                      <a:pt x="1656" y="703"/>
                    </a:lnTo>
                    <a:lnTo>
                      <a:pt x="1649" y="717"/>
                    </a:lnTo>
                    <a:lnTo>
                      <a:pt x="1643" y="731"/>
                    </a:lnTo>
                    <a:lnTo>
                      <a:pt x="1636" y="739"/>
                    </a:lnTo>
                    <a:lnTo>
                      <a:pt x="1625" y="743"/>
                    </a:lnTo>
                    <a:lnTo>
                      <a:pt x="1615" y="746"/>
                    </a:lnTo>
                    <a:lnTo>
                      <a:pt x="1608" y="748"/>
                    </a:lnTo>
                    <a:lnTo>
                      <a:pt x="1610" y="753"/>
                    </a:lnTo>
                    <a:lnTo>
                      <a:pt x="1615" y="762"/>
                    </a:lnTo>
                    <a:lnTo>
                      <a:pt x="1615" y="772"/>
                    </a:lnTo>
                    <a:lnTo>
                      <a:pt x="1610" y="780"/>
                    </a:lnTo>
                    <a:lnTo>
                      <a:pt x="1608" y="7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07" name="Freeform 258"/>
              <p:cNvSpPr>
                <a:spLocks/>
              </p:cNvSpPr>
              <p:nvPr/>
            </p:nvSpPr>
            <p:spPr bwMode="auto">
              <a:xfrm>
                <a:off x="5999957" y="2651125"/>
                <a:ext cx="1406525" cy="887412"/>
              </a:xfrm>
              <a:custGeom>
                <a:avLst/>
                <a:gdLst/>
                <a:ahLst/>
                <a:cxnLst>
                  <a:cxn ang="0">
                    <a:pos x="659" y="330"/>
                  </a:cxn>
                  <a:cxn ang="0">
                    <a:pos x="707" y="294"/>
                  </a:cxn>
                  <a:cxn ang="0">
                    <a:pos x="669" y="294"/>
                  </a:cxn>
                  <a:cxn ang="0">
                    <a:pos x="635" y="270"/>
                  </a:cxn>
                  <a:cxn ang="0">
                    <a:pos x="680" y="239"/>
                  </a:cxn>
                  <a:cxn ang="0">
                    <a:pos x="686" y="263"/>
                  </a:cxn>
                  <a:cxn ang="0">
                    <a:pos x="745" y="254"/>
                  </a:cxn>
                  <a:cxn ang="0">
                    <a:pos x="745" y="284"/>
                  </a:cxn>
                  <a:cxn ang="0">
                    <a:pos x="757" y="299"/>
                  </a:cxn>
                  <a:cxn ang="0">
                    <a:pos x="762" y="320"/>
                  </a:cxn>
                  <a:cxn ang="0">
                    <a:pos x="767" y="339"/>
                  </a:cxn>
                  <a:cxn ang="0">
                    <a:pos x="793" y="328"/>
                  </a:cxn>
                  <a:cxn ang="0">
                    <a:pos x="784" y="266"/>
                  </a:cxn>
                  <a:cxn ang="0">
                    <a:pos x="807" y="229"/>
                  </a:cxn>
                  <a:cxn ang="0">
                    <a:pos x="836" y="184"/>
                  </a:cxn>
                  <a:cxn ang="0">
                    <a:pos x="857" y="151"/>
                  </a:cxn>
                  <a:cxn ang="0">
                    <a:pos x="870" y="94"/>
                  </a:cxn>
                  <a:cxn ang="0">
                    <a:pos x="821" y="88"/>
                  </a:cxn>
                  <a:cxn ang="0">
                    <a:pos x="772" y="51"/>
                  </a:cxn>
                  <a:cxn ang="0">
                    <a:pos x="731" y="0"/>
                  </a:cxn>
                  <a:cxn ang="0">
                    <a:pos x="661" y="51"/>
                  </a:cxn>
                  <a:cxn ang="0">
                    <a:pos x="587" y="60"/>
                  </a:cxn>
                  <a:cxn ang="0">
                    <a:pos x="514" y="76"/>
                  </a:cxn>
                  <a:cxn ang="0">
                    <a:pos x="463" y="53"/>
                  </a:cxn>
                  <a:cxn ang="0">
                    <a:pos x="411" y="46"/>
                  </a:cxn>
                  <a:cxn ang="0">
                    <a:pos x="354" y="29"/>
                  </a:cxn>
                  <a:cxn ang="0">
                    <a:pos x="310" y="60"/>
                  </a:cxn>
                  <a:cxn ang="0">
                    <a:pos x="241" y="64"/>
                  </a:cxn>
                  <a:cxn ang="0">
                    <a:pos x="181" y="86"/>
                  </a:cxn>
                  <a:cxn ang="0">
                    <a:pos x="153" y="122"/>
                  </a:cxn>
                  <a:cxn ang="0">
                    <a:pos x="95" y="175"/>
                  </a:cxn>
                  <a:cxn ang="0">
                    <a:pos x="35" y="235"/>
                  </a:cxn>
                  <a:cxn ang="0">
                    <a:pos x="12" y="275"/>
                  </a:cxn>
                  <a:cxn ang="0">
                    <a:pos x="35" y="311"/>
                  </a:cxn>
                  <a:cxn ang="0">
                    <a:pos x="95" y="327"/>
                  </a:cxn>
                  <a:cxn ang="0">
                    <a:pos x="84" y="364"/>
                  </a:cxn>
                  <a:cxn ang="0">
                    <a:pos x="78" y="392"/>
                  </a:cxn>
                  <a:cxn ang="0">
                    <a:pos x="134" y="414"/>
                  </a:cxn>
                  <a:cxn ang="0">
                    <a:pos x="169" y="437"/>
                  </a:cxn>
                  <a:cxn ang="0">
                    <a:pos x="217" y="442"/>
                  </a:cxn>
                  <a:cxn ang="0">
                    <a:pos x="272" y="440"/>
                  </a:cxn>
                  <a:cxn ang="0">
                    <a:pos x="306" y="419"/>
                  </a:cxn>
                  <a:cxn ang="0">
                    <a:pos x="341" y="431"/>
                  </a:cxn>
                  <a:cxn ang="0">
                    <a:pos x="351" y="485"/>
                  </a:cxn>
                  <a:cxn ang="0">
                    <a:pos x="365" y="504"/>
                  </a:cxn>
                  <a:cxn ang="0">
                    <a:pos x="392" y="536"/>
                  </a:cxn>
                  <a:cxn ang="0">
                    <a:pos x="406" y="538"/>
                  </a:cxn>
                  <a:cxn ang="0">
                    <a:pos x="446" y="517"/>
                  </a:cxn>
                  <a:cxn ang="0">
                    <a:pos x="508" y="542"/>
                  </a:cxn>
                  <a:cxn ang="0">
                    <a:pos x="539" y="542"/>
                  </a:cxn>
                  <a:cxn ang="0">
                    <a:pos x="585" y="524"/>
                  </a:cxn>
                  <a:cxn ang="0">
                    <a:pos x="638" y="500"/>
                  </a:cxn>
                  <a:cxn ang="0">
                    <a:pos x="666" y="457"/>
                  </a:cxn>
                  <a:cxn ang="0">
                    <a:pos x="692" y="416"/>
                  </a:cxn>
                  <a:cxn ang="0">
                    <a:pos x="676" y="358"/>
                  </a:cxn>
                </a:cxnLst>
                <a:rect l="0" t="0" r="r" b="b"/>
                <a:pathLst>
                  <a:path w="886" h="559">
                    <a:moveTo>
                      <a:pt x="674" y="352"/>
                    </a:moveTo>
                    <a:lnTo>
                      <a:pt x="673" y="352"/>
                    </a:lnTo>
                    <a:lnTo>
                      <a:pt x="673" y="347"/>
                    </a:lnTo>
                    <a:lnTo>
                      <a:pt x="673" y="342"/>
                    </a:lnTo>
                    <a:lnTo>
                      <a:pt x="664" y="339"/>
                    </a:lnTo>
                    <a:lnTo>
                      <a:pt x="659" y="330"/>
                    </a:lnTo>
                    <a:lnTo>
                      <a:pt x="662" y="323"/>
                    </a:lnTo>
                    <a:lnTo>
                      <a:pt x="669" y="318"/>
                    </a:lnTo>
                    <a:lnTo>
                      <a:pt x="674" y="309"/>
                    </a:lnTo>
                    <a:lnTo>
                      <a:pt x="685" y="304"/>
                    </a:lnTo>
                    <a:lnTo>
                      <a:pt x="697" y="299"/>
                    </a:lnTo>
                    <a:lnTo>
                      <a:pt x="707" y="294"/>
                    </a:lnTo>
                    <a:lnTo>
                      <a:pt x="697" y="290"/>
                    </a:lnTo>
                    <a:lnTo>
                      <a:pt x="688" y="289"/>
                    </a:lnTo>
                    <a:lnTo>
                      <a:pt x="681" y="285"/>
                    </a:lnTo>
                    <a:lnTo>
                      <a:pt x="676" y="284"/>
                    </a:lnTo>
                    <a:lnTo>
                      <a:pt x="673" y="289"/>
                    </a:lnTo>
                    <a:lnTo>
                      <a:pt x="669" y="294"/>
                    </a:lnTo>
                    <a:lnTo>
                      <a:pt x="662" y="294"/>
                    </a:lnTo>
                    <a:lnTo>
                      <a:pt x="655" y="292"/>
                    </a:lnTo>
                    <a:lnTo>
                      <a:pt x="650" y="285"/>
                    </a:lnTo>
                    <a:lnTo>
                      <a:pt x="647" y="278"/>
                    </a:lnTo>
                    <a:lnTo>
                      <a:pt x="638" y="275"/>
                    </a:lnTo>
                    <a:lnTo>
                      <a:pt x="635" y="270"/>
                    </a:lnTo>
                    <a:lnTo>
                      <a:pt x="637" y="263"/>
                    </a:lnTo>
                    <a:lnTo>
                      <a:pt x="643" y="261"/>
                    </a:lnTo>
                    <a:lnTo>
                      <a:pt x="650" y="260"/>
                    </a:lnTo>
                    <a:lnTo>
                      <a:pt x="657" y="258"/>
                    </a:lnTo>
                    <a:lnTo>
                      <a:pt x="668" y="249"/>
                    </a:lnTo>
                    <a:lnTo>
                      <a:pt x="680" y="239"/>
                    </a:lnTo>
                    <a:lnTo>
                      <a:pt x="680" y="235"/>
                    </a:lnTo>
                    <a:lnTo>
                      <a:pt x="686" y="234"/>
                    </a:lnTo>
                    <a:lnTo>
                      <a:pt x="693" y="235"/>
                    </a:lnTo>
                    <a:lnTo>
                      <a:pt x="697" y="242"/>
                    </a:lnTo>
                    <a:lnTo>
                      <a:pt x="692" y="253"/>
                    </a:lnTo>
                    <a:lnTo>
                      <a:pt x="686" y="263"/>
                    </a:lnTo>
                    <a:lnTo>
                      <a:pt x="697" y="260"/>
                    </a:lnTo>
                    <a:lnTo>
                      <a:pt x="707" y="254"/>
                    </a:lnTo>
                    <a:lnTo>
                      <a:pt x="717" y="249"/>
                    </a:lnTo>
                    <a:lnTo>
                      <a:pt x="729" y="247"/>
                    </a:lnTo>
                    <a:lnTo>
                      <a:pt x="736" y="251"/>
                    </a:lnTo>
                    <a:lnTo>
                      <a:pt x="745" y="254"/>
                    </a:lnTo>
                    <a:lnTo>
                      <a:pt x="743" y="260"/>
                    </a:lnTo>
                    <a:lnTo>
                      <a:pt x="745" y="265"/>
                    </a:lnTo>
                    <a:lnTo>
                      <a:pt x="741" y="270"/>
                    </a:lnTo>
                    <a:lnTo>
                      <a:pt x="740" y="275"/>
                    </a:lnTo>
                    <a:lnTo>
                      <a:pt x="740" y="280"/>
                    </a:lnTo>
                    <a:lnTo>
                      <a:pt x="745" y="284"/>
                    </a:lnTo>
                    <a:lnTo>
                      <a:pt x="747" y="282"/>
                    </a:lnTo>
                    <a:lnTo>
                      <a:pt x="752" y="282"/>
                    </a:lnTo>
                    <a:lnTo>
                      <a:pt x="760" y="284"/>
                    </a:lnTo>
                    <a:lnTo>
                      <a:pt x="766" y="292"/>
                    </a:lnTo>
                    <a:lnTo>
                      <a:pt x="762" y="296"/>
                    </a:lnTo>
                    <a:lnTo>
                      <a:pt x="757" y="299"/>
                    </a:lnTo>
                    <a:lnTo>
                      <a:pt x="757" y="304"/>
                    </a:lnTo>
                    <a:lnTo>
                      <a:pt x="759" y="304"/>
                    </a:lnTo>
                    <a:lnTo>
                      <a:pt x="762" y="308"/>
                    </a:lnTo>
                    <a:lnTo>
                      <a:pt x="764" y="311"/>
                    </a:lnTo>
                    <a:lnTo>
                      <a:pt x="766" y="316"/>
                    </a:lnTo>
                    <a:lnTo>
                      <a:pt x="762" y="320"/>
                    </a:lnTo>
                    <a:lnTo>
                      <a:pt x="760" y="327"/>
                    </a:lnTo>
                    <a:lnTo>
                      <a:pt x="760" y="330"/>
                    </a:lnTo>
                    <a:lnTo>
                      <a:pt x="764" y="332"/>
                    </a:lnTo>
                    <a:lnTo>
                      <a:pt x="760" y="335"/>
                    </a:lnTo>
                    <a:lnTo>
                      <a:pt x="760" y="339"/>
                    </a:lnTo>
                    <a:lnTo>
                      <a:pt x="767" y="339"/>
                    </a:lnTo>
                    <a:lnTo>
                      <a:pt x="771" y="335"/>
                    </a:lnTo>
                    <a:lnTo>
                      <a:pt x="778" y="335"/>
                    </a:lnTo>
                    <a:lnTo>
                      <a:pt x="779" y="330"/>
                    </a:lnTo>
                    <a:lnTo>
                      <a:pt x="784" y="330"/>
                    </a:lnTo>
                    <a:lnTo>
                      <a:pt x="788" y="328"/>
                    </a:lnTo>
                    <a:lnTo>
                      <a:pt x="793" y="328"/>
                    </a:lnTo>
                    <a:lnTo>
                      <a:pt x="800" y="321"/>
                    </a:lnTo>
                    <a:lnTo>
                      <a:pt x="803" y="309"/>
                    </a:lnTo>
                    <a:lnTo>
                      <a:pt x="802" y="294"/>
                    </a:lnTo>
                    <a:lnTo>
                      <a:pt x="798" y="284"/>
                    </a:lnTo>
                    <a:lnTo>
                      <a:pt x="791" y="273"/>
                    </a:lnTo>
                    <a:lnTo>
                      <a:pt x="784" y="266"/>
                    </a:lnTo>
                    <a:lnTo>
                      <a:pt x="778" y="258"/>
                    </a:lnTo>
                    <a:lnTo>
                      <a:pt x="776" y="249"/>
                    </a:lnTo>
                    <a:lnTo>
                      <a:pt x="784" y="246"/>
                    </a:lnTo>
                    <a:lnTo>
                      <a:pt x="791" y="241"/>
                    </a:lnTo>
                    <a:lnTo>
                      <a:pt x="798" y="234"/>
                    </a:lnTo>
                    <a:lnTo>
                      <a:pt x="807" y="229"/>
                    </a:lnTo>
                    <a:lnTo>
                      <a:pt x="810" y="218"/>
                    </a:lnTo>
                    <a:lnTo>
                      <a:pt x="815" y="210"/>
                    </a:lnTo>
                    <a:lnTo>
                      <a:pt x="821" y="203"/>
                    </a:lnTo>
                    <a:lnTo>
                      <a:pt x="829" y="198"/>
                    </a:lnTo>
                    <a:lnTo>
                      <a:pt x="831" y="192"/>
                    </a:lnTo>
                    <a:lnTo>
                      <a:pt x="836" y="184"/>
                    </a:lnTo>
                    <a:lnTo>
                      <a:pt x="836" y="174"/>
                    </a:lnTo>
                    <a:lnTo>
                      <a:pt x="831" y="165"/>
                    </a:lnTo>
                    <a:lnTo>
                      <a:pt x="829" y="160"/>
                    </a:lnTo>
                    <a:lnTo>
                      <a:pt x="836" y="158"/>
                    </a:lnTo>
                    <a:lnTo>
                      <a:pt x="846" y="155"/>
                    </a:lnTo>
                    <a:lnTo>
                      <a:pt x="857" y="151"/>
                    </a:lnTo>
                    <a:lnTo>
                      <a:pt x="864" y="143"/>
                    </a:lnTo>
                    <a:lnTo>
                      <a:pt x="870" y="129"/>
                    </a:lnTo>
                    <a:lnTo>
                      <a:pt x="877" y="115"/>
                    </a:lnTo>
                    <a:lnTo>
                      <a:pt x="886" y="106"/>
                    </a:lnTo>
                    <a:lnTo>
                      <a:pt x="886" y="93"/>
                    </a:lnTo>
                    <a:lnTo>
                      <a:pt x="870" y="94"/>
                    </a:lnTo>
                    <a:lnTo>
                      <a:pt x="862" y="100"/>
                    </a:lnTo>
                    <a:lnTo>
                      <a:pt x="853" y="105"/>
                    </a:lnTo>
                    <a:lnTo>
                      <a:pt x="845" y="108"/>
                    </a:lnTo>
                    <a:lnTo>
                      <a:pt x="833" y="105"/>
                    </a:lnTo>
                    <a:lnTo>
                      <a:pt x="827" y="98"/>
                    </a:lnTo>
                    <a:lnTo>
                      <a:pt x="821" y="88"/>
                    </a:lnTo>
                    <a:lnTo>
                      <a:pt x="817" y="82"/>
                    </a:lnTo>
                    <a:lnTo>
                      <a:pt x="807" y="76"/>
                    </a:lnTo>
                    <a:lnTo>
                      <a:pt x="797" y="72"/>
                    </a:lnTo>
                    <a:lnTo>
                      <a:pt x="784" y="69"/>
                    </a:lnTo>
                    <a:lnTo>
                      <a:pt x="779" y="64"/>
                    </a:lnTo>
                    <a:lnTo>
                      <a:pt x="772" y="51"/>
                    </a:lnTo>
                    <a:lnTo>
                      <a:pt x="767" y="41"/>
                    </a:lnTo>
                    <a:lnTo>
                      <a:pt x="762" y="29"/>
                    </a:lnTo>
                    <a:lnTo>
                      <a:pt x="757" y="21"/>
                    </a:lnTo>
                    <a:lnTo>
                      <a:pt x="750" y="10"/>
                    </a:lnTo>
                    <a:lnTo>
                      <a:pt x="741" y="5"/>
                    </a:lnTo>
                    <a:lnTo>
                      <a:pt x="731" y="0"/>
                    </a:lnTo>
                    <a:lnTo>
                      <a:pt x="717" y="0"/>
                    </a:lnTo>
                    <a:lnTo>
                      <a:pt x="695" y="3"/>
                    </a:lnTo>
                    <a:lnTo>
                      <a:pt x="681" y="12"/>
                    </a:lnTo>
                    <a:lnTo>
                      <a:pt x="673" y="24"/>
                    </a:lnTo>
                    <a:lnTo>
                      <a:pt x="668" y="39"/>
                    </a:lnTo>
                    <a:lnTo>
                      <a:pt x="661" y="51"/>
                    </a:lnTo>
                    <a:lnTo>
                      <a:pt x="654" y="62"/>
                    </a:lnTo>
                    <a:lnTo>
                      <a:pt x="643" y="65"/>
                    </a:lnTo>
                    <a:lnTo>
                      <a:pt x="630" y="65"/>
                    </a:lnTo>
                    <a:lnTo>
                      <a:pt x="614" y="60"/>
                    </a:lnTo>
                    <a:lnTo>
                      <a:pt x="600" y="60"/>
                    </a:lnTo>
                    <a:lnTo>
                      <a:pt x="587" y="60"/>
                    </a:lnTo>
                    <a:lnTo>
                      <a:pt x="575" y="65"/>
                    </a:lnTo>
                    <a:lnTo>
                      <a:pt x="561" y="69"/>
                    </a:lnTo>
                    <a:lnTo>
                      <a:pt x="549" y="72"/>
                    </a:lnTo>
                    <a:lnTo>
                      <a:pt x="537" y="76"/>
                    </a:lnTo>
                    <a:lnTo>
                      <a:pt x="526" y="77"/>
                    </a:lnTo>
                    <a:lnTo>
                      <a:pt x="514" y="76"/>
                    </a:lnTo>
                    <a:lnTo>
                      <a:pt x="504" y="72"/>
                    </a:lnTo>
                    <a:lnTo>
                      <a:pt x="496" y="69"/>
                    </a:lnTo>
                    <a:lnTo>
                      <a:pt x="489" y="65"/>
                    </a:lnTo>
                    <a:lnTo>
                      <a:pt x="480" y="60"/>
                    </a:lnTo>
                    <a:lnTo>
                      <a:pt x="473" y="57"/>
                    </a:lnTo>
                    <a:lnTo>
                      <a:pt x="463" y="53"/>
                    </a:lnTo>
                    <a:lnTo>
                      <a:pt x="454" y="53"/>
                    </a:lnTo>
                    <a:lnTo>
                      <a:pt x="442" y="55"/>
                    </a:lnTo>
                    <a:lnTo>
                      <a:pt x="430" y="57"/>
                    </a:lnTo>
                    <a:lnTo>
                      <a:pt x="423" y="55"/>
                    </a:lnTo>
                    <a:lnTo>
                      <a:pt x="416" y="51"/>
                    </a:lnTo>
                    <a:lnTo>
                      <a:pt x="411" y="46"/>
                    </a:lnTo>
                    <a:lnTo>
                      <a:pt x="408" y="38"/>
                    </a:lnTo>
                    <a:lnTo>
                      <a:pt x="401" y="31"/>
                    </a:lnTo>
                    <a:lnTo>
                      <a:pt x="389" y="27"/>
                    </a:lnTo>
                    <a:lnTo>
                      <a:pt x="373" y="24"/>
                    </a:lnTo>
                    <a:lnTo>
                      <a:pt x="365" y="24"/>
                    </a:lnTo>
                    <a:lnTo>
                      <a:pt x="354" y="29"/>
                    </a:lnTo>
                    <a:lnTo>
                      <a:pt x="349" y="43"/>
                    </a:lnTo>
                    <a:lnTo>
                      <a:pt x="344" y="50"/>
                    </a:lnTo>
                    <a:lnTo>
                      <a:pt x="341" y="57"/>
                    </a:lnTo>
                    <a:lnTo>
                      <a:pt x="334" y="60"/>
                    </a:lnTo>
                    <a:lnTo>
                      <a:pt x="327" y="64"/>
                    </a:lnTo>
                    <a:lnTo>
                      <a:pt x="310" y="60"/>
                    </a:lnTo>
                    <a:lnTo>
                      <a:pt x="296" y="55"/>
                    </a:lnTo>
                    <a:lnTo>
                      <a:pt x="281" y="50"/>
                    </a:lnTo>
                    <a:lnTo>
                      <a:pt x="270" y="48"/>
                    </a:lnTo>
                    <a:lnTo>
                      <a:pt x="258" y="53"/>
                    </a:lnTo>
                    <a:lnTo>
                      <a:pt x="251" y="60"/>
                    </a:lnTo>
                    <a:lnTo>
                      <a:pt x="241" y="64"/>
                    </a:lnTo>
                    <a:lnTo>
                      <a:pt x="231" y="67"/>
                    </a:lnTo>
                    <a:lnTo>
                      <a:pt x="220" y="70"/>
                    </a:lnTo>
                    <a:lnTo>
                      <a:pt x="210" y="76"/>
                    </a:lnTo>
                    <a:lnTo>
                      <a:pt x="200" y="77"/>
                    </a:lnTo>
                    <a:lnTo>
                      <a:pt x="189" y="81"/>
                    </a:lnTo>
                    <a:lnTo>
                      <a:pt x="181" y="86"/>
                    </a:lnTo>
                    <a:lnTo>
                      <a:pt x="174" y="93"/>
                    </a:lnTo>
                    <a:lnTo>
                      <a:pt x="170" y="100"/>
                    </a:lnTo>
                    <a:lnTo>
                      <a:pt x="170" y="112"/>
                    </a:lnTo>
                    <a:lnTo>
                      <a:pt x="165" y="115"/>
                    </a:lnTo>
                    <a:lnTo>
                      <a:pt x="162" y="120"/>
                    </a:lnTo>
                    <a:lnTo>
                      <a:pt x="153" y="122"/>
                    </a:lnTo>
                    <a:lnTo>
                      <a:pt x="141" y="124"/>
                    </a:lnTo>
                    <a:lnTo>
                      <a:pt x="131" y="125"/>
                    </a:lnTo>
                    <a:lnTo>
                      <a:pt x="122" y="137"/>
                    </a:lnTo>
                    <a:lnTo>
                      <a:pt x="112" y="149"/>
                    </a:lnTo>
                    <a:lnTo>
                      <a:pt x="98" y="156"/>
                    </a:lnTo>
                    <a:lnTo>
                      <a:pt x="95" y="175"/>
                    </a:lnTo>
                    <a:lnTo>
                      <a:pt x="91" y="191"/>
                    </a:lnTo>
                    <a:lnTo>
                      <a:pt x="84" y="205"/>
                    </a:lnTo>
                    <a:lnTo>
                      <a:pt x="76" y="217"/>
                    </a:lnTo>
                    <a:lnTo>
                      <a:pt x="64" y="225"/>
                    </a:lnTo>
                    <a:lnTo>
                      <a:pt x="50" y="232"/>
                    </a:lnTo>
                    <a:lnTo>
                      <a:pt x="35" y="235"/>
                    </a:lnTo>
                    <a:lnTo>
                      <a:pt x="19" y="237"/>
                    </a:lnTo>
                    <a:lnTo>
                      <a:pt x="12" y="241"/>
                    </a:lnTo>
                    <a:lnTo>
                      <a:pt x="7" y="249"/>
                    </a:lnTo>
                    <a:lnTo>
                      <a:pt x="2" y="260"/>
                    </a:lnTo>
                    <a:lnTo>
                      <a:pt x="0" y="270"/>
                    </a:lnTo>
                    <a:lnTo>
                      <a:pt x="12" y="275"/>
                    </a:lnTo>
                    <a:lnTo>
                      <a:pt x="17" y="289"/>
                    </a:lnTo>
                    <a:lnTo>
                      <a:pt x="17" y="290"/>
                    </a:lnTo>
                    <a:lnTo>
                      <a:pt x="19" y="297"/>
                    </a:lnTo>
                    <a:lnTo>
                      <a:pt x="29" y="299"/>
                    </a:lnTo>
                    <a:lnTo>
                      <a:pt x="33" y="304"/>
                    </a:lnTo>
                    <a:lnTo>
                      <a:pt x="35" y="311"/>
                    </a:lnTo>
                    <a:lnTo>
                      <a:pt x="45" y="316"/>
                    </a:lnTo>
                    <a:lnTo>
                      <a:pt x="59" y="321"/>
                    </a:lnTo>
                    <a:lnTo>
                      <a:pt x="69" y="316"/>
                    </a:lnTo>
                    <a:lnTo>
                      <a:pt x="79" y="313"/>
                    </a:lnTo>
                    <a:lnTo>
                      <a:pt x="88" y="316"/>
                    </a:lnTo>
                    <a:lnTo>
                      <a:pt x="95" y="327"/>
                    </a:lnTo>
                    <a:lnTo>
                      <a:pt x="91" y="333"/>
                    </a:lnTo>
                    <a:lnTo>
                      <a:pt x="84" y="339"/>
                    </a:lnTo>
                    <a:lnTo>
                      <a:pt x="78" y="342"/>
                    </a:lnTo>
                    <a:lnTo>
                      <a:pt x="76" y="351"/>
                    </a:lnTo>
                    <a:lnTo>
                      <a:pt x="79" y="358"/>
                    </a:lnTo>
                    <a:lnTo>
                      <a:pt x="84" y="364"/>
                    </a:lnTo>
                    <a:lnTo>
                      <a:pt x="79" y="368"/>
                    </a:lnTo>
                    <a:lnTo>
                      <a:pt x="72" y="370"/>
                    </a:lnTo>
                    <a:lnTo>
                      <a:pt x="72" y="375"/>
                    </a:lnTo>
                    <a:lnTo>
                      <a:pt x="74" y="382"/>
                    </a:lnTo>
                    <a:lnTo>
                      <a:pt x="76" y="390"/>
                    </a:lnTo>
                    <a:lnTo>
                      <a:pt x="78" y="392"/>
                    </a:lnTo>
                    <a:lnTo>
                      <a:pt x="83" y="394"/>
                    </a:lnTo>
                    <a:lnTo>
                      <a:pt x="93" y="399"/>
                    </a:lnTo>
                    <a:lnTo>
                      <a:pt x="105" y="406"/>
                    </a:lnTo>
                    <a:lnTo>
                      <a:pt x="117" y="406"/>
                    </a:lnTo>
                    <a:lnTo>
                      <a:pt x="127" y="411"/>
                    </a:lnTo>
                    <a:lnTo>
                      <a:pt x="134" y="414"/>
                    </a:lnTo>
                    <a:lnTo>
                      <a:pt x="146" y="418"/>
                    </a:lnTo>
                    <a:lnTo>
                      <a:pt x="148" y="421"/>
                    </a:lnTo>
                    <a:lnTo>
                      <a:pt x="152" y="428"/>
                    </a:lnTo>
                    <a:lnTo>
                      <a:pt x="155" y="428"/>
                    </a:lnTo>
                    <a:lnTo>
                      <a:pt x="160" y="428"/>
                    </a:lnTo>
                    <a:lnTo>
                      <a:pt x="169" y="437"/>
                    </a:lnTo>
                    <a:lnTo>
                      <a:pt x="184" y="442"/>
                    </a:lnTo>
                    <a:lnTo>
                      <a:pt x="195" y="442"/>
                    </a:lnTo>
                    <a:lnTo>
                      <a:pt x="205" y="442"/>
                    </a:lnTo>
                    <a:lnTo>
                      <a:pt x="210" y="440"/>
                    </a:lnTo>
                    <a:lnTo>
                      <a:pt x="215" y="438"/>
                    </a:lnTo>
                    <a:lnTo>
                      <a:pt x="217" y="442"/>
                    </a:lnTo>
                    <a:lnTo>
                      <a:pt x="219" y="450"/>
                    </a:lnTo>
                    <a:lnTo>
                      <a:pt x="227" y="442"/>
                    </a:lnTo>
                    <a:lnTo>
                      <a:pt x="241" y="437"/>
                    </a:lnTo>
                    <a:lnTo>
                      <a:pt x="255" y="440"/>
                    </a:lnTo>
                    <a:lnTo>
                      <a:pt x="267" y="444"/>
                    </a:lnTo>
                    <a:lnTo>
                      <a:pt x="272" y="440"/>
                    </a:lnTo>
                    <a:lnTo>
                      <a:pt x="281" y="435"/>
                    </a:lnTo>
                    <a:lnTo>
                      <a:pt x="287" y="430"/>
                    </a:lnTo>
                    <a:lnTo>
                      <a:pt x="294" y="428"/>
                    </a:lnTo>
                    <a:lnTo>
                      <a:pt x="296" y="423"/>
                    </a:lnTo>
                    <a:lnTo>
                      <a:pt x="299" y="421"/>
                    </a:lnTo>
                    <a:lnTo>
                      <a:pt x="306" y="419"/>
                    </a:lnTo>
                    <a:lnTo>
                      <a:pt x="317" y="421"/>
                    </a:lnTo>
                    <a:lnTo>
                      <a:pt x="320" y="416"/>
                    </a:lnTo>
                    <a:lnTo>
                      <a:pt x="324" y="416"/>
                    </a:lnTo>
                    <a:lnTo>
                      <a:pt x="327" y="423"/>
                    </a:lnTo>
                    <a:lnTo>
                      <a:pt x="334" y="430"/>
                    </a:lnTo>
                    <a:lnTo>
                      <a:pt x="341" y="431"/>
                    </a:lnTo>
                    <a:lnTo>
                      <a:pt x="351" y="437"/>
                    </a:lnTo>
                    <a:lnTo>
                      <a:pt x="358" y="447"/>
                    </a:lnTo>
                    <a:lnTo>
                      <a:pt x="363" y="459"/>
                    </a:lnTo>
                    <a:lnTo>
                      <a:pt x="360" y="471"/>
                    </a:lnTo>
                    <a:lnTo>
                      <a:pt x="356" y="478"/>
                    </a:lnTo>
                    <a:lnTo>
                      <a:pt x="351" y="485"/>
                    </a:lnTo>
                    <a:lnTo>
                      <a:pt x="349" y="499"/>
                    </a:lnTo>
                    <a:lnTo>
                      <a:pt x="349" y="500"/>
                    </a:lnTo>
                    <a:lnTo>
                      <a:pt x="351" y="504"/>
                    </a:lnTo>
                    <a:lnTo>
                      <a:pt x="356" y="502"/>
                    </a:lnTo>
                    <a:lnTo>
                      <a:pt x="363" y="502"/>
                    </a:lnTo>
                    <a:lnTo>
                      <a:pt x="365" y="504"/>
                    </a:lnTo>
                    <a:lnTo>
                      <a:pt x="367" y="509"/>
                    </a:lnTo>
                    <a:lnTo>
                      <a:pt x="368" y="512"/>
                    </a:lnTo>
                    <a:lnTo>
                      <a:pt x="373" y="516"/>
                    </a:lnTo>
                    <a:lnTo>
                      <a:pt x="377" y="529"/>
                    </a:lnTo>
                    <a:lnTo>
                      <a:pt x="389" y="538"/>
                    </a:lnTo>
                    <a:lnTo>
                      <a:pt x="392" y="536"/>
                    </a:lnTo>
                    <a:lnTo>
                      <a:pt x="397" y="536"/>
                    </a:lnTo>
                    <a:lnTo>
                      <a:pt x="401" y="536"/>
                    </a:lnTo>
                    <a:lnTo>
                      <a:pt x="401" y="540"/>
                    </a:lnTo>
                    <a:lnTo>
                      <a:pt x="404" y="542"/>
                    </a:lnTo>
                    <a:lnTo>
                      <a:pt x="404" y="540"/>
                    </a:lnTo>
                    <a:lnTo>
                      <a:pt x="406" y="538"/>
                    </a:lnTo>
                    <a:lnTo>
                      <a:pt x="406" y="531"/>
                    </a:lnTo>
                    <a:lnTo>
                      <a:pt x="406" y="524"/>
                    </a:lnTo>
                    <a:lnTo>
                      <a:pt x="411" y="523"/>
                    </a:lnTo>
                    <a:lnTo>
                      <a:pt x="420" y="521"/>
                    </a:lnTo>
                    <a:lnTo>
                      <a:pt x="435" y="521"/>
                    </a:lnTo>
                    <a:lnTo>
                      <a:pt x="446" y="517"/>
                    </a:lnTo>
                    <a:lnTo>
                      <a:pt x="456" y="514"/>
                    </a:lnTo>
                    <a:lnTo>
                      <a:pt x="466" y="517"/>
                    </a:lnTo>
                    <a:lnTo>
                      <a:pt x="478" y="521"/>
                    </a:lnTo>
                    <a:lnTo>
                      <a:pt x="483" y="533"/>
                    </a:lnTo>
                    <a:lnTo>
                      <a:pt x="496" y="540"/>
                    </a:lnTo>
                    <a:lnTo>
                      <a:pt x="508" y="542"/>
                    </a:lnTo>
                    <a:lnTo>
                      <a:pt x="520" y="545"/>
                    </a:lnTo>
                    <a:lnTo>
                      <a:pt x="518" y="552"/>
                    </a:lnTo>
                    <a:lnTo>
                      <a:pt x="523" y="559"/>
                    </a:lnTo>
                    <a:lnTo>
                      <a:pt x="526" y="554"/>
                    </a:lnTo>
                    <a:lnTo>
                      <a:pt x="530" y="547"/>
                    </a:lnTo>
                    <a:lnTo>
                      <a:pt x="539" y="542"/>
                    </a:lnTo>
                    <a:lnTo>
                      <a:pt x="547" y="540"/>
                    </a:lnTo>
                    <a:lnTo>
                      <a:pt x="561" y="536"/>
                    </a:lnTo>
                    <a:lnTo>
                      <a:pt x="573" y="531"/>
                    </a:lnTo>
                    <a:lnTo>
                      <a:pt x="575" y="526"/>
                    </a:lnTo>
                    <a:lnTo>
                      <a:pt x="578" y="523"/>
                    </a:lnTo>
                    <a:lnTo>
                      <a:pt x="585" y="524"/>
                    </a:lnTo>
                    <a:lnTo>
                      <a:pt x="592" y="526"/>
                    </a:lnTo>
                    <a:lnTo>
                      <a:pt x="604" y="523"/>
                    </a:lnTo>
                    <a:lnTo>
                      <a:pt x="616" y="517"/>
                    </a:lnTo>
                    <a:lnTo>
                      <a:pt x="623" y="509"/>
                    </a:lnTo>
                    <a:lnTo>
                      <a:pt x="635" y="504"/>
                    </a:lnTo>
                    <a:lnTo>
                      <a:pt x="638" y="500"/>
                    </a:lnTo>
                    <a:lnTo>
                      <a:pt x="642" y="495"/>
                    </a:lnTo>
                    <a:lnTo>
                      <a:pt x="647" y="492"/>
                    </a:lnTo>
                    <a:lnTo>
                      <a:pt x="654" y="483"/>
                    </a:lnTo>
                    <a:lnTo>
                      <a:pt x="657" y="474"/>
                    </a:lnTo>
                    <a:lnTo>
                      <a:pt x="662" y="466"/>
                    </a:lnTo>
                    <a:lnTo>
                      <a:pt x="666" y="457"/>
                    </a:lnTo>
                    <a:lnTo>
                      <a:pt x="673" y="450"/>
                    </a:lnTo>
                    <a:lnTo>
                      <a:pt x="680" y="442"/>
                    </a:lnTo>
                    <a:lnTo>
                      <a:pt x="686" y="438"/>
                    </a:lnTo>
                    <a:lnTo>
                      <a:pt x="686" y="430"/>
                    </a:lnTo>
                    <a:lnTo>
                      <a:pt x="690" y="425"/>
                    </a:lnTo>
                    <a:lnTo>
                      <a:pt x="692" y="416"/>
                    </a:lnTo>
                    <a:lnTo>
                      <a:pt x="695" y="407"/>
                    </a:lnTo>
                    <a:lnTo>
                      <a:pt x="693" y="392"/>
                    </a:lnTo>
                    <a:lnTo>
                      <a:pt x="690" y="382"/>
                    </a:lnTo>
                    <a:lnTo>
                      <a:pt x="685" y="373"/>
                    </a:lnTo>
                    <a:lnTo>
                      <a:pt x="680" y="364"/>
                    </a:lnTo>
                    <a:lnTo>
                      <a:pt x="676" y="358"/>
                    </a:lnTo>
                    <a:lnTo>
                      <a:pt x="674" y="352"/>
                    </a:lnTo>
                    <a:lnTo>
                      <a:pt x="674" y="3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08" name="Freeform 259"/>
              <p:cNvSpPr>
                <a:spLocks/>
              </p:cNvSpPr>
              <p:nvPr/>
            </p:nvSpPr>
            <p:spPr bwMode="auto">
              <a:xfrm>
                <a:off x="8405019" y="1987550"/>
                <a:ext cx="82550" cy="34925"/>
              </a:xfrm>
              <a:custGeom>
                <a:avLst/>
                <a:gdLst/>
                <a:ahLst/>
                <a:cxnLst>
                  <a:cxn ang="0">
                    <a:pos x="6" y="22"/>
                  </a:cxn>
                  <a:cxn ang="0">
                    <a:pos x="0" y="19"/>
                  </a:cxn>
                  <a:cxn ang="0">
                    <a:pos x="0" y="17"/>
                  </a:cxn>
                  <a:cxn ang="0">
                    <a:pos x="2" y="10"/>
                  </a:cxn>
                  <a:cxn ang="0">
                    <a:pos x="9" y="5"/>
                  </a:cxn>
                  <a:cxn ang="0">
                    <a:pos x="16" y="0"/>
                  </a:cxn>
                  <a:cxn ang="0">
                    <a:pos x="25" y="0"/>
                  </a:cxn>
                  <a:cxn ang="0">
                    <a:pos x="31" y="0"/>
                  </a:cxn>
                  <a:cxn ang="0">
                    <a:pos x="40" y="3"/>
                  </a:cxn>
                  <a:cxn ang="0">
                    <a:pos x="49" y="7"/>
                  </a:cxn>
                  <a:cxn ang="0">
                    <a:pos x="52" y="12"/>
                  </a:cxn>
                  <a:cxn ang="0">
                    <a:pos x="45" y="16"/>
                  </a:cxn>
                  <a:cxn ang="0">
                    <a:pos x="30" y="19"/>
                  </a:cxn>
                  <a:cxn ang="0">
                    <a:pos x="14" y="21"/>
                  </a:cxn>
                  <a:cxn ang="0">
                    <a:pos x="6" y="22"/>
                  </a:cxn>
                </a:cxnLst>
                <a:rect l="0" t="0" r="r" b="b"/>
                <a:pathLst>
                  <a:path w="52" h="22">
                    <a:moveTo>
                      <a:pt x="6" y="22"/>
                    </a:moveTo>
                    <a:lnTo>
                      <a:pt x="0" y="19"/>
                    </a:lnTo>
                    <a:lnTo>
                      <a:pt x="0" y="17"/>
                    </a:lnTo>
                    <a:lnTo>
                      <a:pt x="2" y="10"/>
                    </a:lnTo>
                    <a:lnTo>
                      <a:pt x="9" y="5"/>
                    </a:lnTo>
                    <a:lnTo>
                      <a:pt x="16" y="0"/>
                    </a:lnTo>
                    <a:lnTo>
                      <a:pt x="25" y="0"/>
                    </a:lnTo>
                    <a:lnTo>
                      <a:pt x="31" y="0"/>
                    </a:lnTo>
                    <a:lnTo>
                      <a:pt x="40" y="3"/>
                    </a:lnTo>
                    <a:lnTo>
                      <a:pt x="49" y="7"/>
                    </a:lnTo>
                    <a:lnTo>
                      <a:pt x="52" y="12"/>
                    </a:lnTo>
                    <a:lnTo>
                      <a:pt x="45" y="16"/>
                    </a:lnTo>
                    <a:lnTo>
                      <a:pt x="30" y="19"/>
                    </a:lnTo>
                    <a:lnTo>
                      <a:pt x="14" y="21"/>
                    </a:lnTo>
                    <a:lnTo>
                      <a:pt x="6"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09" name="Freeform 260"/>
              <p:cNvSpPr>
                <a:spLocks/>
              </p:cNvSpPr>
              <p:nvPr/>
            </p:nvSpPr>
            <p:spPr bwMode="auto">
              <a:xfrm>
                <a:off x="8162132" y="2055813"/>
                <a:ext cx="33338" cy="15875"/>
              </a:xfrm>
              <a:custGeom>
                <a:avLst/>
                <a:gdLst/>
                <a:ahLst/>
                <a:cxnLst>
                  <a:cxn ang="0">
                    <a:pos x="16" y="10"/>
                  </a:cxn>
                  <a:cxn ang="0">
                    <a:pos x="18" y="7"/>
                  </a:cxn>
                  <a:cxn ang="0">
                    <a:pos x="21" y="5"/>
                  </a:cxn>
                  <a:cxn ang="0">
                    <a:pos x="19" y="2"/>
                  </a:cxn>
                  <a:cxn ang="0">
                    <a:pos x="18" y="0"/>
                  </a:cxn>
                  <a:cxn ang="0">
                    <a:pos x="0" y="0"/>
                  </a:cxn>
                  <a:cxn ang="0">
                    <a:pos x="6" y="7"/>
                  </a:cxn>
                  <a:cxn ang="0">
                    <a:pos x="16" y="10"/>
                  </a:cxn>
                </a:cxnLst>
                <a:rect l="0" t="0" r="r" b="b"/>
                <a:pathLst>
                  <a:path w="21" h="10">
                    <a:moveTo>
                      <a:pt x="16" y="10"/>
                    </a:moveTo>
                    <a:lnTo>
                      <a:pt x="18" y="7"/>
                    </a:lnTo>
                    <a:lnTo>
                      <a:pt x="21" y="5"/>
                    </a:lnTo>
                    <a:lnTo>
                      <a:pt x="19" y="2"/>
                    </a:lnTo>
                    <a:lnTo>
                      <a:pt x="18" y="0"/>
                    </a:lnTo>
                    <a:lnTo>
                      <a:pt x="0" y="0"/>
                    </a:lnTo>
                    <a:lnTo>
                      <a:pt x="6" y="7"/>
                    </a:lnTo>
                    <a:lnTo>
                      <a:pt x="16"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10" name="Freeform 261"/>
              <p:cNvSpPr>
                <a:spLocks/>
              </p:cNvSpPr>
              <p:nvPr/>
            </p:nvSpPr>
            <p:spPr bwMode="auto">
              <a:xfrm>
                <a:off x="7411244" y="1798638"/>
                <a:ext cx="17463" cy="19050"/>
              </a:xfrm>
              <a:custGeom>
                <a:avLst/>
                <a:gdLst/>
                <a:ahLst/>
                <a:cxnLst>
                  <a:cxn ang="0">
                    <a:pos x="11" y="6"/>
                  </a:cxn>
                  <a:cxn ang="0">
                    <a:pos x="6" y="0"/>
                  </a:cxn>
                  <a:cxn ang="0">
                    <a:pos x="2" y="2"/>
                  </a:cxn>
                  <a:cxn ang="0">
                    <a:pos x="0" y="7"/>
                  </a:cxn>
                  <a:cxn ang="0">
                    <a:pos x="0" y="11"/>
                  </a:cxn>
                  <a:cxn ang="0">
                    <a:pos x="6" y="12"/>
                  </a:cxn>
                  <a:cxn ang="0">
                    <a:pos x="7" y="9"/>
                  </a:cxn>
                  <a:cxn ang="0">
                    <a:pos x="11" y="4"/>
                  </a:cxn>
                  <a:cxn ang="0">
                    <a:pos x="9" y="4"/>
                  </a:cxn>
                  <a:cxn ang="0">
                    <a:pos x="11" y="6"/>
                  </a:cxn>
                </a:cxnLst>
                <a:rect l="0" t="0" r="r" b="b"/>
                <a:pathLst>
                  <a:path w="11" h="12">
                    <a:moveTo>
                      <a:pt x="11" y="6"/>
                    </a:moveTo>
                    <a:lnTo>
                      <a:pt x="6" y="0"/>
                    </a:lnTo>
                    <a:lnTo>
                      <a:pt x="2" y="2"/>
                    </a:lnTo>
                    <a:lnTo>
                      <a:pt x="0" y="7"/>
                    </a:lnTo>
                    <a:lnTo>
                      <a:pt x="0" y="11"/>
                    </a:lnTo>
                    <a:lnTo>
                      <a:pt x="6" y="12"/>
                    </a:lnTo>
                    <a:lnTo>
                      <a:pt x="7" y="9"/>
                    </a:lnTo>
                    <a:lnTo>
                      <a:pt x="11" y="4"/>
                    </a:lnTo>
                    <a:lnTo>
                      <a:pt x="9" y="4"/>
                    </a:lnTo>
                    <a:lnTo>
                      <a:pt x="11"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11" name="Freeform 262"/>
              <p:cNvSpPr>
                <a:spLocks/>
              </p:cNvSpPr>
              <p:nvPr/>
            </p:nvSpPr>
            <p:spPr bwMode="auto">
              <a:xfrm>
                <a:off x="6871494" y="1857375"/>
                <a:ext cx="34925" cy="20637"/>
              </a:xfrm>
              <a:custGeom>
                <a:avLst/>
                <a:gdLst/>
                <a:ahLst/>
                <a:cxnLst>
                  <a:cxn ang="0">
                    <a:pos x="22" y="10"/>
                  </a:cxn>
                  <a:cxn ang="0">
                    <a:pos x="17" y="12"/>
                  </a:cxn>
                  <a:cxn ang="0">
                    <a:pos x="12" y="13"/>
                  </a:cxn>
                  <a:cxn ang="0">
                    <a:pos x="3" y="12"/>
                  </a:cxn>
                  <a:cxn ang="0">
                    <a:pos x="0" y="8"/>
                  </a:cxn>
                  <a:cxn ang="0">
                    <a:pos x="3" y="1"/>
                  </a:cxn>
                  <a:cxn ang="0">
                    <a:pos x="12" y="0"/>
                  </a:cxn>
                  <a:cxn ang="0">
                    <a:pos x="19" y="1"/>
                  </a:cxn>
                  <a:cxn ang="0">
                    <a:pos x="22" y="8"/>
                  </a:cxn>
                  <a:cxn ang="0">
                    <a:pos x="20" y="10"/>
                  </a:cxn>
                  <a:cxn ang="0">
                    <a:pos x="19" y="13"/>
                  </a:cxn>
                  <a:cxn ang="0">
                    <a:pos x="22" y="10"/>
                  </a:cxn>
                </a:cxnLst>
                <a:rect l="0" t="0" r="r" b="b"/>
                <a:pathLst>
                  <a:path w="22" h="13">
                    <a:moveTo>
                      <a:pt x="22" y="10"/>
                    </a:moveTo>
                    <a:lnTo>
                      <a:pt x="17" y="12"/>
                    </a:lnTo>
                    <a:lnTo>
                      <a:pt x="12" y="13"/>
                    </a:lnTo>
                    <a:lnTo>
                      <a:pt x="3" y="12"/>
                    </a:lnTo>
                    <a:lnTo>
                      <a:pt x="0" y="8"/>
                    </a:lnTo>
                    <a:lnTo>
                      <a:pt x="3" y="1"/>
                    </a:lnTo>
                    <a:lnTo>
                      <a:pt x="12" y="0"/>
                    </a:lnTo>
                    <a:lnTo>
                      <a:pt x="19" y="1"/>
                    </a:lnTo>
                    <a:lnTo>
                      <a:pt x="22" y="8"/>
                    </a:lnTo>
                    <a:lnTo>
                      <a:pt x="20" y="10"/>
                    </a:lnTo>
                    <a:lnTo>
                      <a:pt x="19" y="13"/>
                    </a:lnTo>
                    <a:lnTo>
                      <a:pt x="22"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12" name="Freeform 263"/>
              <p:cNvSpPr>
                <a:spLocks/>
              </p:cNvSpPr>
              <p:nvPr/>
            </p:nvSpPr>
            <p:spPr bwMode="auto">
              <a:xfrm>
                <a:off x="6587332" y="1624013"/>
                <a:ext cx="139700" cy="76200"/>
              </a:xfrm>
              <a:custGeom>
                <a:avLst/>
                <a:gdLst/>
                <a:ahLst/>
                <a:cxnLst>
                  <a:cxn ang="0">
                    <a:pos x="7" y="48"/>
                  </a:cxn>
                  <a:cxn ang="0">
                    <a:pos x="0" y="47"/>
                  </a:cxn>
                  <a:cxn ang="0">
                    <a:pos x="0" y="42"/>
                  </a:cxn>
                  <a:cxn ang="0">
                    <a:pos x="3" y="33"/>
                  </a:cxn>
                  <a:cxn ang="0">
                    <a:pos x="9" y="31"/>
                  </a:cxn>
                  <a:cxn ang="0">
                    <a:pos x="15" y="21"/>
                  </a:cxn>
                  <a:cxn ang="0">
                    <a:pos x="24" y="11"/>
                  </a:cxn>
                  <a:cxn ang="0">
                    <a:pos x="33" y="2"/>
                  </a:cxn>
                  <a:cxn ang="0">
                    <a:pos x="46" y="0"/>
                  </a:cxn>
                  <a:cxn ang="0">
                    <a:pos x="48" y="0"/>
                  </a:cxn>
                  <a:cxn ang="0">
                    <a:pos x="52" y="0"/>
                  </a:cxn>
                  <a:cxn ang="0">
                    <a:pos x="52" y="6"/>
                  </a:cxn>
                  <a:cxn ang="0">
                    <a:pos x="52" y="11"/>
                  </a:cxn>
                  <a:cxn ang="0">
                    <a:pos x="55" y="7"/>
                  </a:cxn>
                  <a:cxn ang="0">
                    <a:pos x="60" y="6"/>
                  </a:cxn>
                  <a:cxn ang="0">
                    <a:pos x="67" y="7"/>
                  </a:cxn>
                  <a:cxn ang="0">
                    <a:pos x="76" y="12"/>
                  </a:cxn>
                  <a:cxn ang="0">
                    <a:pos x="84" y="19"/>
                  </a:cxn>
                  <a:cxn ang="0">
                    <a:pos x="88" y="26"/>
                  </a:cxn>
                  <a:cxn ang="0">
                    <a:pos x="83" y="31"/>
                  </a:cxn>
                  <a:cxn ang="0">
                    <a:pos x="72" y="36"/>
                  </a:cxn>
                  <a:cxn ang="0">
                    <a:pos x="60" y="36"/>
                  </a:cxn>
                  <a:cxn ang="0">
                    <a:pos x="52" y="38"/>
                  </a:cxn>
                  <a:cxn ang="0">
                    <a:pos x="46" y="38"/>
                  </a:cxn>
                  <a:cxn ang="0">
                    <a:pos x="41" y="40"/>
                  </a:cxn>
                  <a:cxn ang="0">
                    <a:pos x="36" y="40"/>
                  </a:cxn>
                  <a:cxn ang="0">
                    <a:pos x="34" y="42"/>
                  </a:cxn>
                  <a:cxn ang="0">
                    <a:pos x="7" y="48"/>
                  </a:cxn>
                </a:cxnLst>
                <a:rect l="0" t="0" r="r" b="b"/>
                <a:pathLst>
                  <a:path w="88" h="48">
                    <a:moveTo>
                      <a:pt x="7" y="48"/>
                    </a:moveTo>
                    <a:lnTo>
                      <a:pt x="0" y="47"/>
                    </a:lnTo>
                    <a:lnTo>
                      <a:pt x="0" y="42"/>
                    </a:lnTo>
                    <a:lnTo>
                      <a:pt x="3" y="33"/>
                    </a:lnTo>
                    <a:lnTo>
                      <a:pt x="9" y="31"/>
                    </a:lnTo>
                    <a:lnTo>
                      <a:pt x="15" y="21"/>
                    </a:lnTo>
                    <a:lnTo>
                      <a:pt x="24" y="11"/>
                    </a:lnTo>
                    <a:lnTo>
                      <a:pt x="33" y="2"/>
                    </a:lnTo>
                    <a:lnTo>
                      <a:pt x="46" y="0"/>
                    </a:lnTo>
                    <a:lnTo>
                      <a:pt x="48" y="0"/>
                    </a:lnTo>
                    <a:lnTo>
                      <a:pt x="52" y="0"/>
                    </a:lnTo>
                    <a:lnTo>
                      <a:pt x="52" y="6"/>
                    </a:lnTo>
                    <a:lnTo>
                      <a:pt x="52" y="11"/>
                    </a:lnTo>
                    <a:lnTo>
                      <a:pt x="55" y="7"/>
                    </a:lnTo>
                    <a:lnTo>
                      <a:pt x="60" y="6"/>
                    </a:lnTo>
                    <a:lnTo>
                      <a:pt x="67" y="7"/>
                    </a:lnTo>
                    <a:lnTo>
                      <a:pt x="76" y="12"/>
                    </a:lnTo>
                    <a:lnTo>
                      <a:pt x="84" y="19"/>
                    </a:lnTo>
                    <a:lnTo>
                      <a:pt x="88" y="26"/>
                    </a:lnTo>
                    <a:lnTo>
                      <a:pt x="83" y="31"/>
                    </a:lnTo>
                    <a:lnTo>
                      <a:pt x="72" y="36"/>
                    </a:lnTo>
                    <a:lnTo>
                      <a:pt x="60" y="36"/>
                    </a:lnTo>
                    <a:lnTo>
                      <a:pt x="52" y="38"/>
                    </a:lnTo>
                    <a:lnTo>
                      <a:pt x="46" y="38"/>
                    </a:lnTo>
                    <a:lnTo>
                      <a:pt x="41" y="40"/>
                    </a:lnTo>
                    <a:lnTo>
                      <a:pt x="36" y="40"/>
                    </a:lnTo>
                    <a:lnTo>
                      <a:pt x="34" y="42"/>
                    </a:lnTo>
                    <a:lnTo>
                      <a:pt x="7" y="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13" name="Freeform 264"/>
              <p:cNvSpPr>
                <a:spLocks/>
              </p:cNvSpPr>
              <p:nvPr/>
            </p:nvSpPr>
            <p:spPr bwMode="auto">
              <a:xfrm>
                <a:off x="6393657" y="1585913"/>
                <a:ext cx="52388" cy="26987"/>
              </a:xfrm>
              <a:custGeom>
                <a:avLst/>
                <a:gdLst/>
                <a:ahLst/>
                <a:cxnLst>
                  <a:cxn ang="0">
                    <a:pos x="14" y="0"/>
                  </a:cxn>
                  <a:cxn ang="0">
                    <a:pos x="15" y="0"/>
                  </a:cxn>
                  <a:cxn ang="0">
                    <a:pos x="22" y="4"/>
                  </a:cxn>
                  <a:cxn ang="0">
                    <a:pos x="27" y="5"/>
                  </a:cxn>
                  <a:cxn ang="0">
                    <a:pos x="33" y="7"/>
                  </a:cxn>
                  <a:cxn ang="0">
                    <a:pos x="29" y="11"/>
                  </a:cxn>
                  <a:cxn ang="0">
                    <a:pos x="22" y="14"/>
                  </a:cxn>
                  <a:cxn ang="0">
                    <a:pos x="14" y="16"/>
                  </a:cxn>
                  <a:cxn ang="0">
                    <a:pos x="10" y="17"/>
                  </a:cxn>
                  <a:cxn ang="0">
                    <a:pos x="3" y="12"/>
                  </a:cxn>
                  <a:cxn ang="0">
                    <a:pos x="0" y="5"/>
                  </a:cxn>
                  <a:cxn ang="0">
                    <a:pos x="5" y="0"/>
                  </a:cxn>
                  <a:cxn ang="0">
                    <a:pos x="14" y="0"/>
                  </a:cxn>
                </a:cxnLst>
                <a:rect l="0" t="0" r="r" b="b"/>
                <a:pathLst>
                  <a:path w="33" h="17">
                    <a:moveTo>
                      <a:pt x="14" y="0"/>
                    </a:moveTo>
                    <a:lnTo>
                      <a:pt x="15" y="0"/>
                    </a:lnTo>
                    <a:lnTo>
                      <a:pt x="22" y="4"/>
                    </a:lnTo>
                    <a:lnTo>
                      <a:pt x="27" y="5"/>
                    </a:lnTo>
                    <a:lnTo>
                      <a:pt x="33" y="7"/>
                    </a:lnTo>
                    <a:lnTo>
                      <a:pt x="29" y="11"/>
                    </a:lnTo>
                    <a:lnTo>
                      <a:pt x="22" y="14"/>
                    </a:lnTo>
                    <a:lnTo>
                      <a:pt x="14" y="16"/>
                    </a:lnTo>
                    <a:lnTo>
                      <a:pt x="10" y="17"/>
                    </a:lnTo>
                    <a:lnTo>
                      <a:pt x="3" y="12"/>
                    </a:lnTo>
                    <a:lnTo>
                      <a:pt x="0" y="5"/>
                    </a:lnTo>
                    <a:lnTo>
                      <a:pt x="5"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14" name="Freeform 265"/>
              <p:cNvSpPr>
                <a:spLocks/>
              </p:cNvSpPr>
              <p:nvPr/>
            </p:nvSpPr>
            <p:spPr bwMode="auto">
              <a:xfrm>
                <a:off x="6409532" y="1525588"/>
                <a:ext cx="192088" cy="134937"/>
              </a:xfrm>
              <a:custGeom>
                <a:avLst/>
                <a:gdLst/>
                <a:ahLst/>
                <a:cxnLst>
                  <a:cxn ang="0">
                    <a:pos x="115" y="78"/>
                  </a:cxn>
                  <a:cxn ang="0">
                    <a:pos x="110" y="81"/>
                  </a:cxn>
                  <a:cxn ang="0">
                    <a:pos x="105" y="85"/>
                  </a:cxn>
                  <a:cxn ang="0">
                    <a:pos x="88" y="81"/>
                  </a:cxn>
                  <a:cxn ang="0">
                    <a:pos x="74" y="80"/>
                  </a:cxn>
                  <a:cxn ang="0">
                    <a:pos x="60" y="76"/>
                  </a:cxn>
                  <a:cxn ang="0">
                    <a:pos x="48" y="76"/>
                  </a:cxn>
                  <a:cxn ang="0">
                    <a:pos x="41" y="73"/>
                  </a:cxn>
                  <a:cxn ang="0">
                    <a:pos x="35" y="68"/>
                  </a:cxn>
                  <a:cxn ang="0">
                    <a:pos x="26" y="61"/>
                  </a:cxn>
                  <a:cxn ang="0">
                    <a:pos x="21" y="57"/>
                  </a:cxn>
                  <a:cxn ang="0">
                    <a:pos x="31" y="52"/>
                  </a:cxn>
                  <a:cxn ang="0">
                    <a:pos x="40" y="49"/>
                  </a:cxn>
                  <a:cxn ang="0">
                    <a:pos x="47" y="45"/>
                  </a:cxn>
                  <a:cxn ang="0">
                    <a:pos x="59" y="42"/>
                  </a:cxn>
                  <a:cxn ang="0">
                    <a:pos x="52" y="40"/>
                  </a:cxn>
                  <a:cxn ang="0">
                    <a:pos x="47" y="40"/>
                  </a:cxn>
                  <a:cxn ang="0">
                    <a:pos x="40" y="40"/>
                  </a:cxn>
                  <a:cxn ang="0">
                    <a:pos x="38" y="40"/>
                  </a:cxn>
                  <a:cxn ang="0">
                    <a:pos x="26" y="38"/>
                  </a:cxn>
                  <a:cxn ang="0">
                    <a:pos x="17" y="37"/>
                  </a:cxn>
                  <a:cxn ang="0">
                    <a:pos x="9" y="33"/>
                  </a:cxn>
                  <a:cxn ang="0">
                    <a:pos x="0" y="30"/>
                  </a:cxn>
                  <a:cxn ang="0">
                    <a:pos x="12" y="21"/>
                  </a:cxn>
                  <a:cxn ang="0">
                    <a:pos x="26" y="12"/>
                  </a:cxn>
                  <a:cxn ang="0">
                    <a:pos x="36" y="4"/>
                  </a:cxn>
                  <a:cxn ang="0">
                    <a:pos x="53" y="0"/>
                  </a:cxn>
                  <a:cxn ang="0">
                    <a:pos x="62" y="2"/>
                  </a:cxn>
                  <a:cxn ang="0">
                    <a:pos x="71" y="7"/>
                  </a:cxn>
                  <a:cxn ang="0">
                    <a:pos x="78" y="12"/>
                  </a:cxn>
                  <a:cxn ang="0">
                    <a:pos x="84" y="19"/>
                  </a:cxn>
                  <a:cxn ang="0">
                    <a:pos x="79" y="19"/>
                  </a:cxn>
                  <a:cxn ang="0">
                    <a:pos x="78" y="19"/>
                  </a:cxn>
                  <a:cxn ang="0">
                    <a:pos x="78" y="26"/>
                  </a:cxn>
                  <a:cxn ang="0">
                    <a:pos x="78" y="30"/>
                  </a:cxn>
                  <a:cxn ang="0">
                    <a:pos x="74" y="35"/>
                  </a:cxn>
                  <a:cxn ang="0">
                    <a:pos x="69" y="40"/>
                  </a:cxn>
                  <a:cxn ang="0">
                    <a:pos x="74" y="38"/>
                  </a:cxn>
                  <a:cxn ang="0">
                    <a:pos x="79" y="40"/>
                  </a:cxn>
                  <a:cxn ang="0">
                    <a:pos x="86" y="42"/>
                  </a:cxn>
                  <a:cxn ang="0">
                    <a:pos x="95" y="45"/>
                  </a:cxn>
                  <a:cxn ang="0">
                    <a:pos x="100" y="45"/>
                  </a:cxn>
                  <a:cxn ang="0">
                    <a:pos x="105" y="45"/>
                  </a:cxn>
                  <a:cxn ang="0">
                    <a:pos x="114" y="47"/>
                  </a:cxn>
                  <a:cxn ang="0">
                    <a:pos x="121" y="54"/>
                  </a:cxn>
                  <a:cxn ang="0">
                    <a:pos x="115" y="59"/>
                  </a:cxn>
                  <a:cxn ang="0">
                    <a:pos x="117" y="64"/>
                  </a:cxn>
                  <a:cxn ang="0">
                    <a:pos x="112" y="68"/>
                  </a:cxn>
                  <a:cxn ang="0">
                    <a:pos x="107" y="71"/>
                  </a:cxn>
                  <a:cxn ang="0">
                    <a:pos x="112" y="73"/>
                  </a:cxn>
                  <a:cxn ang="0">
                    <a:pos x="115" y="78"/>
                  </a:cxn>
                </a:cxnLst>
                <a:rect l="0" t="0" r="r" b="b"/>
                <a:pathLst>
                  <a:path w="121" h="85">
                    <a:moveTo>
                      <a:pt x="115" y="78"/>
                    </a:moveTo>
                    <a:lnTo>
                      <a:pt x="110" y="81"/>
                    </a:lnTo>
                    <a:lnTo>
                      <a:pt x="105" y="85"/>
                    </a:lnTo>
                    <a:lnTo>
                      <a:pt x="88" y="81"/>
                    </a:lnTo>
                    <a:lnTo>
                      <a:pt x="74" y="80"/>
                    </a:lnTo>
                    <a:lnTo>
                      <a:pt x="60" y="76"/>
                    </a:lnTo>
                    <a:lnTo>
                      <a:pt x="48" y="76"/>
                    </a:lnTo>
                    <a:lnTo>
                      <a:pt x="41" y="73"/>
                    </a:lnTo>
                    <a:lnTo>
                      <a:pt x="35" y="68"/>
                    </a:lnTo>
                    <a:lnTo>
                      <a:pt x="26" y="61"/>
                    </a:lnTo>
                    <a:lnTo>
                      <a:pt x="21" y="57"/>
                    </a:lnTo>
                    <a:lnTo>
                      <a:pt x="31" y="52"/>
                    </a:lnTo>
                    <a:lnTo>
                      <a:pt x="40" y="49"/>
                    </a:lnTo>
                    <a:lnTo>
                      <a:pt x="47" y="45"/>
                    </a:lnTo>
                    <a:lnTo>
                      <a:pt x="59" y="42"/>
                    </a:lnTo>
                    <a:lnTo>
                      <a:pt x="52" y="40"/>
                    </a:lnTo>
                    <a:lnTo>
                      <a:pt x="47" y="40"/>
                    </a:lnTo>
                    <a:lnTo>
                      <a:pt x="40" y="40"/>
                    </a:lnTo>
                    <a:lnTo>
                      <a:pt x="38" y="40"/>
                    </a:lnTo>
                    <a:lnTo>
                      <a:pt x="26" y="38"/>
                    </a:lnTo>
                    <a:lnTo>
                      <a:pt x="17" y="37"/>
                    </a:lnTo>
                    <a:lnTo>
                      <a:pt x="9" y="33"/>
                    </a:lnTo>
                    <a:lnTo>
                      <a:pt x="0" y="30"/>
                    </a:lnTo>
                    <a:lnTo>
                      <a:pt x="12" y="21"/>
                    </a:lnTo>
                    <a:lnTo>
                      <a:pt x="26" y="12"/>
                    </a:lnTo>
                    <a:lnTo>
                      <a:pt x="36" y="4"/>
                    </a:lnTo>
                    <a:lnTo>
                      <a:pt x="53" y="0"/>
                    </a:lnTo>
                    <a:lnTo>
                      <a:pt x="62" y="2"/>
                    </a:lnTo>
                    <a:lnTo>
                      <a:pt x="71" y="7"/>
                    </a:lnTo>
                    <a:lnTo>
                      <a:pt x="78" y="12"/>
                    </a:lnTo>
                    <a:lnTo>
                      <a:pt x="84" y="19"/>
                    </a:lnTo>
                    <a:lnTo>
                      <a:pt x="79" y="19"/>
                    </a:lnTo>
                    <a:lnTo>
                      <a:pt x="78" y="19"/>
                    </a:lnTo>
                    <a:lnTo>
                      <a:pt x="78" y="26"/>
                    </a:lnTo>
                    <a:lnTo>
                      <a:pt x="78" y="30"/>
                    </a:lnTo>
                    <a:lnTo>
                      <a:pt x="74" y="35"/>
                    </a:lnTo>
                    <a:lnTo>
                      <a:pt x="69" y="40"/>
                    </a:lnTo>
                    <a:lnTo>
                      <a:pt x="74" y="38"/>
                    </a:lnTo>
                    <a:lnTo>
                      <a:pt x="79" y="40"/>
                    </a:lnTo>
                    <a:lnTo>
                      <a:pt x="86" y="42"/>
                    </a:lnTo>
                    <a:lnTo>
                      <a:pt x="95" y="45"/>
                    </a:lnTo>
                    <a:lnTo>
                      <a:pt x="100" y="45"/>
                    </a:lnTo>
                    <a:lnTo>
                      <a:pt x="105" y="45"/>
                    </a:lnTo>
                    <a:lnTo>
                      <a:pt x="114" y="47"/>
                    </a:lnTo>
                    <a:lnTo>
                      <a:pt x="121" y="54"/>
                    </a:lnTo>
                    <a:lnTo>
                      <a:pt x="115" y="59"/>
                    </a:lnTo>
                    <a:lnTo>
                      <a:pt x="117" y="64"/>
                    </a:lnTo>
                    <a:lnTo>
                      <a:pt x="112" y="68"/>
                    </a:lnTo>
                    <a:lnTo>
                      <a:pt x="107" y="71"/>
                    </a:lnTo>
                    <a:lnTo>
                      <a:pt x="112" y="73"/>
                    </a:lnTo>
                    <a:lnTo>
                      <a:pt x="11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15" name="Freeform 266"/>
              <p:cNvSpPr>
                <a:spLocks/>
              </p:cNvSpPr>
              <p:nvPr/>
            </p:nvSpPr>
            <p:spPr bwMode="auto">
              <a:xfrm>
                <a:off x="6493669" y="1739900"/>
                <a:ext cx="22225" cy="15875"/>
              </a:xfrm>
              <a:custGeom>
                <a:avLst/>
                <a:gdLst/>
                <a:ahLst/>
                <a:cxnLst>
                  <a:cxn ang="0">
                    <a:pos x="0" y="5"/>
                  </a:cxn>
                  <a:cxn ang="0">
                    <a:pos x="4" y="1"/>
                  </a:cxn>
                  <a:cxn ang="0">
                    <a:pos x="7" y="0"/>
                  </a:cxn>
                  <a:cxn ang="0">
                    <a:pos x="14" y="0"/>
                  </a:cxn>
                  <a:cxn ang="0">
                    <a:pos x="11" y="6"/>
                  </a:cxn>
                  <a:cxn ang="0">
                    <a:pos x="4" y="10"/>
                  </a:cxn>
                  <a:cxn ang="0">
                    <a:pos x="0" y="6"/>
                  </a:cxn>
                  <a:cxn ang="0">
                    <a:pos x="0" y="5"/>
                  </a:cxn>
                </a:cxnLst>
                <a:rect l="0" t="0" r="r" b="b"/>
                <a:pathLst>
                  <a:path w="14" h="10">
                    <a:moveTo>
                      <a:pt x="0" y="5"/>
                    </a:moveTo>
                    <a:lnTo>
                      <a:pt x="4" y="1"/>
                    </a:lnTo>
                    <a:lnTo>
                      <a:pt x="7" y="0"/>
                    </a:lnTo>
                    <a:lnTo>
                      <a:pt x="14" y="0"/>
                    </a:lnTo>
                    <a:lnTo>
                      <a:pt x="11" y="6"/>
                    </a:lnTo>
                    <a:lnTo>
                      <a:pt x="4" y="10"/>
                    </a:lnTo>
                    <a:lnTo>
                      <a:pt x="0" y="6"/>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16" name="Freeform 267"/>
              <p:cNvSpPr>
                <a:spLocks/>
              </p:cNvSpPr>
              <p:nvPr/>
            </p:nvSpPr>
            <p:spPr bwMode="auto">
              <a:xfrm>
                <a:off x="6371432" y="1528763"/>
                <a:ext cx="33338" cy="6350"/>
              </a:xfrm>
              <a:custGeom>
                <a:avLst/>
                <a:gdLst/>
                <a:ahLst/>
                <a:cxnLst>
                  <a:cxn ang="0">
                    <a:pos x="21" y="4"/>
                  </a:cxn>
                  <a:cxn ang="0">
                    <a:pos x="9" y="4"/>
                  </a:cxn>
                  <a:cxn ang="0">
                    <a:pos x="0" y="0"/>
                  </a:cxn>
                  <a:cxn ang="0">
                    <a:pos x="19" y="0"/>
                  </a:cxn>
                  <a:cxn ang="0">
                    <a:pos x="21" y="4"/>
                  </a:cxn>
                </a:cxnLst>
                <a:rect l="0" t="0" r="r" b="b"/>
                <a:pathLst>
                  <a:path w="21" h="4">
                    <a:moveTo>
                      <a:pt x="21" y="4"/>
                    </a:moveTo>
                    <a:lnTo>
                      <a:pt x="9" y="4"/>
                    </a:lnTo>
                    <a:lnTo>
                      <a:pt x="0" y="0"/>
                    </a:lnTo>
                    <a:lnTo>
                      <a:pt x="19" y="0"/>
                    </a:lnTo>
                    <a:lnTo>
                      <a:pt x="21"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17" name="Freeform 268"/>
              <p:cNvSpPr>
                <a:spLocks/>
              </p:cNvSpPr>
              <p:nvPr/>
            </p:nvSpPr>
            <p:spPr bwMode="auto">
              <a:xfrm>
                <a:off x="6754019" y="1684338"/>
                <a:ext cx="23813" cy="11112"/>
              </a:xfrm>
              <a:custGeom>
                <a:avLst/>
                <a:gdLst/>
                <a:ahLst/>
                <a:cxnLst>
                  <a:cxn ang="0">
                    <a:pos x="15" y="0"/>
                  </a:cxn>
                  <a:cxn ang="0">
                    <a:pos x="14" y="4"/>
                  </a:cxn>
                  <a:cxn ang="0">
                    <a:pos x="8" y="7"/>
                  </a:cxn>
                  <a:cxn ang="0">
                    <a:pos x="2" y="4"/>
                  </a:cxn>
                  <a:cxn ang="0">
                    <a:pos x="0" y="2"/>
                  </a:cxn>
                  <a:cxn ang="0">
                    <a:pos x="10" y="0"/>
                  </a:cxn>
                  <a:cxn ang="0">
                    <a:pos x="15" y="0"/>
                  </a:cxn>
                </a:cxnLst>
                <a:rect l="0" t="0" r="r" b="b"/>
                <a:pathLst>
                  <a:path w="15" h="7">
                    <a:moveTo>
                      <a:pt x="15" y="0"/>
                    </a:moveTo>
                    <a:lnTo>
                      <a:pt x="14" y="4"/>
                    </a:lnTo>
                    <a:lnTo>
                      <a:pt x="8" y="7"/>
                    </a:lnTo>
                    <a:lnTo>
                      <a:pt x="2" y="4"/>
                    </a:lnTo>
                    <a:lnTo>
                      <a:pt x="0" y="2"/>
                    </a:lnTo>
                    <a:lnTo>
                      <a:pt x="10"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18" name="Freeform 269"/>
              <p:cNvSpPr>
                <a:spLocks/>
              </p:cNvSpPr>
              <p:nvPr/>
            </p:nvSpPr>
            <p:spPr bwMode="auto">
              <a:xfrm>
                <a:off x="5320507" y="1547813"/>
                <a:ext cx="163513" cy="49212"/>
              </a:xfrm>
              <a:custGeom>
                <a:avLst/>
                <a:gdLst/>
                <a:ahLst/>
                <a:cxnLst>
                  <a:cxn ang="0">
                    <a:pos x="88" y="16"/>
                  </a:cxn>
                  <a:cxn ang="0">
                    <a:pos x="76" y="17"/>
                  </a:cxn>
                  <a:cxn ang="0">
                    <a:pos x="67" y="21"/>
                  </a:cxn>
                  <a:cxn ang="0">
                    <a:pos x="60" y="26"/>
                  </a:cxn>
                  <a:cxn ang="0">
                    <a:pos x="57" y="31"/>
                  </a:cxn>
                  <a:cxn ang="0">
                    <a:pos x="52" y="28"/>
                  </a:cxn>
                  <a:cxn ang="0">
                    <a:pos x="52" y="26"/>
                  </a:cxn>
                  <a:cxn ang="0">
                    <a:pos x="52" y="26"/>
                  </a:cxn>
                  <a:cxn ang="0">
                    <a:pos x="41" y="24"/>
                  </a:cxn>
                  <a:cxn ang="0">
                    <a:pos x="38" y="21"/>
                  </a:cxn>
                  <a:cxn ang="0">
                    <a:pos x="41" y="17"/>
                  </a:cxn>
                  <a:cxn ang="0">
                    <a:pos x="48" y="16"/>
                  </a:cxn>
                  <a:cxn ang="0">
                    <a:pos x="41" y="16"/>
                  </a:cxn>
                  <a:cxn ang="0">
                    <a:pos x="38" y="16"/>
                  </a:cxn>
                  <a:cxn ang="0">
                    <a:pos x="41" y="12"/>
                  </a:cxn>
                  <a:cxn ang="0">
                    <a:pos x="46" y="11"/>
                  </a:cxn>
                  <a:cxn ang="0">
                    <a:pos x="39" y="7"/>
                  </a:cxn>
                  <a:cxn ang="0">
                    <a:pos x="34" y="5"/>
                  </a:cxn>
                  <a:cxn ang="0">
                    <a:pos x="22" y="9"/>
                  </a:cxn>
                  <a:cxn ang="0">
                    <a:pos x="12" y="12"/>
                  </a:cxn>
                  <a:cxn ang="0">
                    <a:pos x="5" y="11"/>
                  </a:cxn>
                  <a:cxn ang="0">
                    <a:pos x="0" y="11"/>
                  </a:cxn>
                  <a:cxn ang="0">
                    <a:pos x="5" y="4"/>
                  </a:cxn>
                  <a:cxn ang="0">
                    <a:pos x="17" y="2"/>
                  </a:cxn>
                  <a:cxn ang="0">
                    <a:pos x="29" y="0"/>
                  </a:cxn>
                  <a:cxn ang="0">
                    <a:pos x="39" y="0"/>
                  </a:cxn>
                  <a:cxn ang="0">
                    <a:pos x="55" y="4"/>
                  </a:cxn>
                  <a:cxn ang="0">
                    <a:pos x="69" y="7"/>
                  </a:cxn>
                  <a:cxn ang="0">
                    <a:pos x="77" y="4"/>
                  </a:cxn>
                  <a:cxn ang="0">
                    <a:pos x="88" y="0"/>
                  </a:cxn>
                  <a:cxn ang="0">
                    <a:pos x="96" y="2"/>
                  </a:cxn>
                  <a:cxn ang="0">
                    <a:pos x="103" y="5"/>
                  </a:cxn>
                  <a:cxn ang="0">
                    <a:pos x="96" y="12"/>
                  </a:cxn>
                  <a:cxn ang="0">
                    <a:pos x="89" y="16"/>
                  </a:cxn>
                  <a:cxn ang="0">
                    <a:pos x="86" y="16"/>
                  </a:cxn>
                  <a:cxn ang="0">
                    <a:pos x="84" y="16"/>
                  </a:cxn>
                  <a:cxn ang="0">
                    <a:pos x="84" y="21"/>
                  </a:cxn>
                  <a:cxn ang="0">
                    <a:pos x="88" y="16"/>
                  </a:cxn>
                </a:cxnLst>
                <a:rect l="0" t="0" r="r" b="b"/>
                <a:pathLst>
                  <a:path w="103" h="31">
                    <a:moveTo>
                      <a:pt x="88" y="16"/>
                    </a:moveTo>
                    <a:lnTo>
                      <a:pt x="76" y="17"/>
                    </a:lnTo>
                    <a:lnTo>
                      <a:pt x="67" y="21"/>
                    </a:lnTo>
                    <a:lnTo>
                      <a:pt x="60" y="26"/>
                    </a:lnTo>
                    <a:lnTo>
                      <a:pt x="57" y="31"/>
                    </a:lnTo>
                    <a:lnTo>
                      <a:pt x="52" y="28"/>
                    </a:lnTo>
                    <a:lnTo>
                      <a:pt x="52" y="26"/>
                    </a:lnTo>
                    <a:lnTo>
                      <a:pt x="52" y="26"/>
                    </a:lnTo>
                    <a:lnTo>
                      <a:pt x="41" y="24"/>
                    </a:lnTo>
                    <a:lnTo>
                      <a:pt x="38" y="21"/>
                    </a:lnTo>
                    <a:lnTo>
                      <a:pt x="41" y="17"/>
                    </a:lnTo>
                    <a:lnTo>
                      <a:pt x="48" y="16"/>
                    </a:lnTo>
                    <a:lnTo>
                      <a:pt x="41" y="16"/>
                    </a:lnTo>
                    <a:lnTo>
                      <a:pt x="38" y="16"/>
                    </a:lnTo>
                    <a:lnTo>
                      <a:pt x="41" y="12"/>
                    </a:lnTo>
                    <a:lnTo>
                      <a:pt x="46" y="11"/>
                    </a:lnTo>
                    <a:lnTo>
                      <a:pt x="39" y="7"/>
                    </a:lnTo>
                    <a:lnTo>
                      <a:pt x="34" y="5"/>
                    </a:lnTo>
                    <a:lnTo>
                      <a:pt x="22" y="9"/>
                    </a:lnTo>
                    <a:lnTo>
                      <a:pt x="12" y="12"/>
                    </a:lnTo>
                    <a:lnTo>
                      <a:pt x="5" y="11"/>
                    </a:lnTo>
                    <a:lnTo>
                      <a:pt x="0" y="11"/>
                    </a:lnTo>
                    <a:lnTo>
                      <a:pt x="5" y="4"/>
                    </a:lnTo>
                    <a:lnTo>
                      <a:pt x="17" y="2"/>
                    </a:lnTo>
                    <a:lnTo>
                      <a:pt x="29" y="0"/>
                    </a:lnTo>
                    <a:lnTo>
                      <a:pt x="39" y="0"/>
                    </a:lnTo>
                    <a:lnTo>
                      <a:pt x="55" y="4"/>
                    </a:lnTo>
                    <a:lnTo>
                      <a:pt x="69" y="7"/>
                    </a:lnTo>
                    <a:lnTo>
                      <a:pt x="77" y="4"/>
                    </a:lnTo>
                    <a:lnTo>
                      <a:pt x="88" y="0"/>
                    </a:lnTo>
                    <a:lnTo>
                      <a:pt x="96" y="2"/>
                    </a:lnTo>
                    <a:lnTo>
                      <a:pt x="103" y="5"/>
                    </a:lnTo>
                    <a:lnTo>
                      <a:pt x="96" y="12"/>
                    </a:lnTo>
                    <a:lnTo>
                      <a:pt x="89" y="16"/>
                    </a:lnTo>
                    <a:lnTo>
                      <a:pt x="86" y="16"/>
                    </a:lnTo>
                    <a:lnTo>
                      <a:pt x="84" y="16"/>
                    </a:lnTo>
                    <a:lnTo>
                      <a:pt x="84" y="21"/>
                    </a:lnTo>
                    <a:lnTo>
                      <a:pt x="88"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19" name="Freeform 270"/>
              <p:cNvSpPr>
                <a:spLocks/>
              </p:cNvSpPr>
              <p:nvPr/>
            </p:nvSpPr>
            <p:spPr bwMode="auto">
              <a:xfrm>
                <a:off x="5744369" y="1517650"/>
                <a:ext cx="57150" cy="36512"/>
              </a:xfrm>
              <a:custGeom>
                <a:avLst/>
                <a:gdLst/>
                <a:ahLst/>
                <a:cxnLst>
                  <a:cxn ang="0">
                    <a:pos x="8" y="23"/>
                  </a:cxn>
                  <a:cxn ang="0">
                    <a:pos x="1" y="19"/>
                  </a:cxn>
                  <a:cxn ang="0">
                    <a:pos x="0" y="14"/>
                  </a:cxn>
                  <a:cxn ang="0">
                    <a:pos x="1" y="9"/>
                  </a:cxn>
                  <a:cxn ang="0">
                    <a:pos x="10" y="4"/>
                  </a:cxn>
                  <a:cxn ang="0">
                    <a:pos x="18" y="0"/>
                  </a:cxn>
                  <a:cxn ang="0">
                    <a:pos x="29" y="0"/>
                  </a:cxn>
                  <a:cxn ang="0">
                    <a:pos x="36" y="16"/>
                  </a:cxn>
                  <a:cxn ang="0">
                    <a:pos x="29" y="17"/>
                  </a:cxn>
                  <a:cxn ang="0">
                    <a:pos x="22" y="19"/>
                  </a:cxn>
                  <a:cxn ang="0">
                    <a:pos x="12" y="21"/>
                  </a:cxn>
                  <a:cxn ang="0">
                    <a:pos x="8" y="23"/>
                  </a:cxn>
                </a:cxnLst>
                <a:rect l="0" t="0" r="r" b="b"/>
                <a:pathLst>
                  <a:path w="36" h="23">
                    <a:moveTo>
                      <a:pt x="8" y="23"/>
                    </a:moveTo>
                    <a:lnTo>
                      <a:pt x="1" y="19"/>
                    </a:lnTo>
                    <a:lnTo>
                      <a:pt x="0" y="14"/>
                    </a:lnTo>
                    <a:lnTo>
                      <a:pt x="1" y="9"/>
                    </a:lnTo>
                    <a:lnTo>
                      <a:pt x="10" y="4"/>
                    </a:lnTo>
                    <a:lnTo>
                      <a:pt x="18" y="0"/>
                    </a:lnTo>
                    <a:lnTo>
                      <a:pt x="29" y="0"/>
                    </a:lnTo>
                    <a:lnTo>
                      <a:pt x="36" y="16"/>
                    </a:lnTo>
                    <a:lnTo>
                      <a:pt x="29" y="17"/>
                    </a:lnTo>
                    <a:lnTo>
                      <a:pt x="22" y="19"/>
                    </a:lnTo>
                    <a:lnTo>
                      <a:pt x="12" y="21"/>
                    </a:lnTo>
                    <a:lnTo>
                      <a:pt x="8"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20" name="Freeform 271"/>
              <p:cNvSpPr>
                <a:spLocks/>
              </p:cNvSpPr>
              <p:nvPr/>
            </p:nvSpPr>
            <p:spPr bwMode="auto">
              <a:xfrm>
                <a:off x="5669757" y="1539875"/>
                <a:ext cx="60325" cy="34925"/>
              </a:xfrm>
              <a:custGeom>
                <a:avLst/>
                <a:gdLst/>
                <a:ahLst/>
                <a:cxnLst>
                  <a:cxn ang="0">
                    <a:pos x="38" y="5"/>
                  </a:cxn>
                  <a:cxn ang="0">
                    <a:pos x="38" y="9"/>
                  </a:cxn>
                  <a:cxn ang="0">
                    <a:pos x="38" y="12"/>
                  </a:cxn>
                  <a:cxn ang="0">
                    <a:pos x="31" y="16"/>
                  </a:cxn>
                  <a:cxn ang="0">
                    <a:pos x="26" y="16"/>
                  </a:cxn>
                  <a:cxn ang="0">
                    <a:pos x="28" y="21"/>
                  </a:cxn>
                  <a:cxn ang="0">
                    <a:pos x="21" y="21"/>
                  </a:cxn>
                  <a:cxn ang="0">
                    <a:pos x="12" y="22"/>
                  </a:cxn>
                  <a:cxn ang="0">
                    <a:pos x="4" y="21"/>
                  </a:cxn>
                  <a:cxn ang="0">
                    <a:pos x="0" y="21"/>
                  </a:cxn>
                  <a:cxn ang="0">
                    <a:pos x="2" y="10"/>
                  </a:cxn>
                  <a:cxn ang="0">
                    <a:pos x="10" y="7"/>
                  </a:cxn>
                  <a:cxn ang="0">
                    <a:pos x="9" y="2"/>
                  </a:cxn>
                  <a:cxn ang="0">
                    <a:pos x="10" y="0"/>
                  </a:cxn>
                  <a:cxn ang="0">
                    <a:pos x="26" y="0"/>
                  </a:cxn>
                  <a:cxn ang="0">
                    <a:pos x="24" y="3"/>
                  </a:cxn>
                  <a:cxn ang="0">
                    <a:pos x="22" y="5"/>
                  </a:cxn>
                  <a:cxn ang="0">
                    <a:pos x="28" y="5"/>
                  </a:cxn>
                  <a:cxn ang="0">
                    <a:pos x="38" y="5"/>
                  </a:cxn>
                </a:cxnLst>
                <a:rect l="0" t="0" r="r" b="b"/>
                <a:pathLst>
                  <a:path w="38" h="22">
                    <a:moveTo>
                      <a:pt x="38" y="5"/>
                    </a:moveTo>
                    <a:lnTo>
                      <a:pt x="38" y="9"/>
                    </a:lnTo>
                    <a:lnTo>
                      <a:pt x="38" y="12"/>
                    </a:lnTo>
                    <a:lnTo>
                      <a:pt x="31" y="16"/>
                    </a:lnTo>
                    <a:lnTo>
                      <a:pt x="26" y="16"/>
                    </a:lnTo>
                    <a:lnTo>
                      <a:pt x="28" y="21"/>
                    </a:lnTo>
                    <a:lnTo>
                      <a:pt x="21" y="21"/>
                    </a:lnTo>
                    <a:lnTo>
                      <a:pt x="12" y="22"/>
                    </a:lnTo>
                    <a:lnTo>
                      <a:pt x="4" y="21"/>
                    </a:lnTo>
                    <a:lnTo>
                      <a:pt x="0" y="21"/>
                    </a:lnTo>
                    <a:lnTo>
                      <a:pt x="2" y="10"/>
                    </a:lnTo>
                    <a:lnTo>
                      <a:pt x="10" y="7"/>
                    </a:lnTo>
                    <a:lnTo>
                      <a:pt x="9" y="2"/>
                    </a:lnTo>
                    <a:lnTo>
                      <a:pt x="10" y="0"/>
                    </a:lnTo>
                    <a:lnTo>
                      <a:pt x="26" y="0"/>
                    </a:lnTo>
                    <a:lnTo>
                      <a:pt x="24" y="3"/>
                    </a:lnTo>
                    <a:lnTo>
                      <a:pt x="22" y="5"/>
                    </a:lnTo>
                    <a:lnTo>
                      <a:pt x="28" y="5"/>
                    </a:lnTo>
                    <a:lnTo>
                      <a:pt x="3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21" name="Freeform 272"/>
              <p:cNvSpPr>
                <a:spLocks/>
              </p:cNvSpPr>
              <p:nvPr/>
            </p:nvSpPr>
            <p:spPr bwMode="auto">
              <a:xfrm>
                <a:off x="5587207" y="1573213"/>
                <a:ext cx="63500" cy="20637"/>
              </a:xfrm>
              <a:custGeom>
                <a:avLst/>
                <a:gdLst/>
                <a:ahLst/>
                <a:cxnLst>
                  <a:cxn ang="0">
                    <a:pos x="23" y="13"/>
                  </a:cxn>
                  <a:cxn ang="0">
                    <a:pos x="18" y="10"/>
                  </a:cxn>
                  <a:cxn ang="0">
                    <a:pos x="14" y="8"/>
                  </a:cxn>
                  <a:cxn ang="0">
                    <a:pos x="11" y="12"/>
                  </a:cxn>
                  <a:cxn ang="0">
                    <a:pos x="6" y="13"/>
                  </a:cxn>
                  <a:cxn ang="0">
                    <a:pos x="2" y="12"/>
                  </a:cxn>
                  <a:cxn ang="0">
                    <a:pos x="0" y="10"/>
                  </a:cxn>
                  <a:cxn ang="0">
                    <a:pos x="2" y="3"/>
                  </a:cxn>
                  <a:cxn ang="0">
                    <a:pos x="11" y="1"/>
                  </a:cxn>
                  <a:cxn ang="0">
                    <a:pos x="18" y="0"/>
                  </a:cxn>
                  <a:cxn ang="0">
                    <a:pos x="26" y="0"/>
                  </a:cxn>
                  <a:cxn ang="0">
                    <a:pos x="35" y="0"/>
                  </a:cxn>
                  <a:cxn ang="0">
                    <a:pos x="40" y="5"/>
                  </a:cxn>
                  <a:cxn ang="0">
                    <a:pos x="30" y="8"/>
                  </a:cxn>
                  <a:cxn ang="0">
                    <a:pos x="23" y="13"/>
                  </a:cxn>
                </a:cxnLst>
                <a:rect l="0" t="0" r="r" b="b"/>
                <a:pathLst>
                  <a:path w="40" h="13">
                    <a:moveTo>
                      <a:pt x="23" y="13"/>
                    </a:moveTo>
                    <a:lnTo>
                      <a:pt x="18" y="10"/>
                    </a:lnTo>
                    <a:lnTo>
                      <a:pt x="14" y="8"/>
                    </a:lnTo>
                    <a:lnTo>
                      <a:pt x="11" y="12"/>
                    </a:lnTo>
                    <a:lnTo>
                      <a:pt x="6" y="13"/>
                    </a:lnTo>
                    <a:lnTo>
                      <a:pt x="2" y="12"/>
                    </a:lnTo>
                    <a:lnTo>
                      <a:pt x="0" y="10"/>
                    </a:lnTo>
                    <a:lnTo>
                      <a:pt x="2" y="3"/>
                    </a:lnTo>
                    <a:lnTo>
                      <a:pt x="11" y="1"/>
                    </a:lnTo>
                    <a:lnTo>
                      <a:pt x="18" y="0"/>
                    </a:lnTo>
                    <a:lnTo>
                      <a:pt x="26" y="0"/>
                    </a:lnTo>
                    <a:lnTo>
                      <a:pt x="35" y="0"/>
                    </a:lnTo>
                    <a:lnTo>
                      <a:pt x="40" y="5"/>
                    </a:lnTo>
                    <a:lnTo>
                      <a:pt x="30" y="8"/>
                    </a:lnTo>
                    <a:lnTo>
                      <a:pt x="23"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22" name="Freeform 273"/>
              <p:cNvSpPr>
                <a:spLocks/>
              </p:cNvSpPr>
              <p:nvPr/>
            </p:nvSpPr>
            <p:spPr bwMode="auto">
              <a:xfrm>
                <a:off x="5552282" y="1498600"/>
                <a:ext cx="95250" cy="66675"/>
              </a:xfrm>
              <a:custGeom>
                <a:avLst/>
                <a:gdLst/>
                <a:ahLst/>
                <a:cxnLst>
                  <a:cxn ang="0">
                    <a:pos x="45" y="36"/>
                  </a:cxn>
                  <a:cxn ang="0">
                    <a:pos x="35" y="38"/>
                  </a:cxn>
                  <a:cxn ang="0">
                    <a:pos x="26" y="42"/>
                  </a:cxn>
                  <a:cxn ang="0">
                    <a:pos x="19" y="38"/>
                  </a:cxn>
                  <a:cxn ang="0">
                    <a:pos x="12" y="36"/>
                  </a:cxn>
                  <a:cxn ang="0">
                    <a:pos x="4" y="33"/>
                  </a:cxn>
                  <a:cxn ang="0">
                    <a:pos x="0" y="33"/>
                  </a:cxn>
                  <a:cxn ang="0">
                    <a:pos x="4" y="29"/>
                  </a:cxn>
                  <a:cxn ang="0">
                    <a:pos x="7" y="26"/>
                  </a:cxn>
                  <a:cxn ang="0">
                    <a:pos x="28" y="26"/>
                  </a:cxn>
                  <a:cxn ang="0">
                    <a:pos x="22" y="23"/>
                  </a:cxn>
                  <a:cxn ang="0">
                    <a:pos x="19" y="26"/>
                  </a:cxn>
                  <a:cxn ang="0">
                    <a:pos x="19" y="19"/>
                  </a:cxn>
                  <a:cxn ang="0">
                    <a:pos x="26" y="16"/>
                  </a:cxn>
                  <a:cxn ang="0">
                    <a:pos x="35" y="14"/>
                  </a:cxn>
                  <a:cxn ang="0">
                    <a:pos x="40" y="9"/>
                  </a:cxn>
                  <a:cxn ang="0">
                    <a:pos x="50" y="9"/>
                  </a:cxn>
                  <a:cxn ang="0">
                    <a:pos x="52" y="2"/>
                  </a:cxn>
                  <a:cxn ang="0">
                    <a:pos x="59" y="0"/>
                  </a:cxn>
                  <a:cxn ang="0">
                    <a:pos x="59" y="2"/>
                  </a:cxn>
                  <a:cxn ang="0">
                    <a:pos x="60" y="7"/>
                  </a:cxn>
                  <a:cxn ang="0">
                    <a:pos x="57" y="9"/>
                  </a:cxn>
                  <a:cxn ang="0">
                    <a:pos x="55" y="12"/>
                  </a:cxn>
                  <a:cxn ang="0">
                    <a:pos x="41" y="19"/>
                  </a:cxn>
                  <a:cxn ang="0">
                    <a:pos x="33" y="26"/>
                  </a:cxn>
                  <a:cxn ang="0">
                    <a:pos x="40" y="26"/>
                  </a:cxn>
                  <a:cxn ang="0">
                    <a:pos x="47" y="28"/>
                  </a:cxn>
                  <a:cxn ang="0">
                    <a:pos x="53" y="29"/>
                  </a:cxn>
                  <a:cxn ang="0">
                    <a:pos x="60" y="35"/>
                  </a:cxn>
                  <a:cxn ang="0">
                    <a:pos x="53" y="35"/>
                  </a:cxn>
                  <a:cxn ang="0">
                    <a:pos x="45" y="36"/>
                  </a:cxn>
                </a:cxnLst>
                <a:rect l="0" t="0" r="r" b="b"/>
                <a:pathLst>
                  <a:path w="60" h="42">
                    <a:moveTo>
                      <a:pt x="45" y="36"/>
                    </a:moveTo>
                    <a:lnTo>
                      <a:pt x="35" y="38"/>
                    </a:lnTo>
                    <a:lnTo>
                      <a:pt x="26" y="42"/>
                    </a:lnTo>
                    <a:lnTo>
                      <a:pt x="19" y="38"/>
                    </a:lnTo>
                    <a:lnTo>
                      <a:pt x="12" y="36"/>
                    </a:lnTo>
                    <a:lnTo>
                      <a:pt x="4" y="33"/>
                    </a:lnTo>
                    <a:lnTo>
                      <a:pt x="0" y="33"/>
                    </a:lnTo>
                    <a:lnTo>
                      <a:pt x="4" y="29"/>
                    </a:lnTo>
                    <a:lnTo>
                      <a:pt x="7" y="26"/>
                    </a:lnTo>
                    <a:lnTo>
                      <a:pt x="28" y="26"/>
                    </a:lnTo>
                    <a:lnTo>
                      <a:pt x="22" y="23"/>
                    </a:lnTo>
                    <a:lnTo>
                      <a:pt x="19" y="26"/>
                    </a:lnTo>
                    <a:lnTo>
                      <a:pt x="19" y="19"/>
                    </a:lnTo>
                    <a:lnTo>
                      <a:pt x="26" y="16"/>
                    </a:lnTo>
                    <a:lnTo>
                      <a:pt x="35" y="14"/>
                    </a:lnTo>
                    <a:lnTo>
                      <a:pt x="40" y="9"/>
                    </a:lnTo>
                    <a:lnTo>
                      <a:pt x="50" y="9"/>
                    </a:lnTo>
                    <a:lnTo>
                      <a:pt x="52" y="2"/>
                    </a:lnTo>
                    <a:lnTo>
                      <a:pt x="59" y="0"/>
                    </a:lnTo>
                    <a:lnTo>
                      <a:pt x="59" y="2"/>
                    </a:lnTo>
                    <a:lnTo>
                      <a:pt x="60" y="7"/>
                    </a:lnTo>
                    <a:lnTo>
                      <a:pt x="57" y="9"/>
                    </a:lnTo>
                    <a:lnTo>
                      <a:pt x="55" y="12"/>
                    </a:lnTo>
                    <a:lnTo>
                      <a:pt x="41" y="19"/>
                    </a:lnTo>
                    <a:lnTo>
                      <a:pt x="33" y="26"/>
                    </a:lnTo>
                    <a:lnTo>
                      <a:pt x="40" y="26"/>
                    </a:lnTo>
                    <a:lnTo>
                      <a:pt x="47" y="28"/>
                    </a:lnTo>
                    <a:lnTo>
                      <a:pt x="53" y="29"/>
                    </a:lnTo>
                    <a:lnTo>
                      <a:pt x="60" y="35"/>
                    </a:lnTo>
                    <a:lnTo>
                      <a:pt x="53" y="35"/>
                    </a:lnTo>
                    <a:lnTo>
                      <a:pt x="45"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23" name="Freeform 274"/>
              <p:cNvSpPr>
                <a:spLocks/>
              </p:cNvSpPr>
              <p:nvPr/>
            </p:nvSpPr>
            <p:spPr bwMode="auto">
              <a:xfrm>
                <a:off x="4553744" y="1597025"/>
                <a:ext cx="322263" cy="174625"/>
              </a:xfrm>
              <a:custGeom>
                <a:avLst/>
                <a:gdLst/>
                <a:ahLst/>
                <a:cxnLst>
                  <a:cxn ang="0">
                    <a:pos x="168" y="84"/>
                  </a:cxn>
                  <a:cxn ang="0">
                    <a:pos x="158" y="81"/>
                  </a:cxn>
                  <a:cxn ang="0">
                    <a:pos x="151" y="72"/>
                  </a:cxn>
                  <a:cxn ang="0">
                    <a:pos x="148" y="59"/>
                  </a:cxn>
                  <a:cxn ang="0">
                    <a:pos x="148" y="52"/>
                  </a:cxn>
                  <a:cxn ang="0">
                    <a:pos x="142" y="47"/>
                  </a:cxn>
                  <a:cxn ang="0">
                    <a:pos x="127" y="47"/>
                  </a:cxn>
                  <a:cxn ang="0">
                    <a:pos x="115" y="67"/>
                  </a:cxn>
                  <a:cxn ang="0">
                    <a:pos x="108" y="81"/>
                  </a:cxn>
                  <a:cxn ang="0">
                    <a:pos x="98" y="88"/>
                  </a:cxn>
                  <a:cxn ang="0">
                    <a:pos x="92" y="103"/>
                  </a:cxn>
                  <a:cxn ang="0">
                    <a:pos x="75" y="103"/>
                  </a:cxn>
                  <a:cxn ang="0">
                    <a:pos x="53" y="90"/>
                  </a:cxn>
                  <a:cxn ang="0">
                    <a:pos x="62" y="78"/>
                  </a:cxn>
                  <a:cxn ang="0">
                    <a:pos x="75" y="76"/>
                  </a:cxn>
                  <a:cxn ang="0">
                    <a:pos x="80" y="72"/>
                  </a:cxn>
                  <a:cxn ang="0">
                    <a:pos x="65" y="72"/>
                  </a:cxn>
                  <a:cxn ang="0">
                    <a:pos x="55" y="72"/>
                  </a:cxn>
                  <a:cxn ang="0">
                    <a:pos x="44" y="72"/>
                  </a:cxn>
                  <a:cxn ang="0">
                    <a:pos x="48" y="62"/>
                  </a:cxn>
                  <a:cxn ang="0">
                    <a:pos x="62" y="57"/>
                  </a:cxn>
                  <a:cxn ang="0">
                    <a:pos x="77" y="52"/>
                  </a:cxn>
                  <a:cxn ang="0">
                    <a:pos x="74" y="48"/>
                  </a:cxn>
                  <a:cxn ang="0">
                    <a:pos x="65" y="45"/>
                  </a:cxn>
                  <a:cxn ang="0">
                    <a:pos x="60" y="43"/>
                  </a:cxn>
                  <a:cxn ang="0">
                    <a:pos x="51" y="50"/>
                  </a:cxn>
                  <a:cxn ang="0">
                    <a:pos x="32" y="55"/>
                  </a:cxn>
                  <a:cxn ang="0">
                    <a:pos x="29" y="48"/>
                  </a:cxn>
                  <a:cxn ang="0">
                    <a:pos x="19" y="40"/>
                  </a:cxn>
                  <a:cxn ang="0">
                    <a:pos x="13" y="29"/>
                  </a:cxn>
                  <a:cxn ang="0">
                    <a:pos x="0" y="17"/>
                  </a:cxn>
                  <a:cxn ang="0">
                    <a:pos x="17" y="5"/>
                  </a:cxn>
                  <a:cxn ang="0">
                    <a:pos x="43" y="7"/>
                  </a:cxn>
                  <a:cxn ang="0">
                    <a:pos x="37" y="14"/>
                  </a:cxn>
                  <a:cxn ang="0">
                    <a:pos x="51" y="23"/>
                  </a:cxn>
                  <a:cxn ang="0">
                    <a:pos x="48" y="16"/>
                  </a:cxn>
                  <a:cxn ang="0">
                    <a:pos x="56" y="7"/>
                  </a:cxn>
                  <a:cxn ang="0">
                    <a:pos x="67" y="16"/>
                  </a:cxn>
                  <a:cxn ang="0">
                    <a:pos x="79" y="29"/>
                  </a:cxn>
                  <a:cxn ang="0">
                    <a:pos x="72" y="7"/>
                  </a:cxn>
                  <a:cxn ang="0">
                    <a:pos x="82" y="0"/>
                  </a:cxn>
                  <a:cxn ang="0">
                    <a:pos x="94" y="2"/>
                  </a:cxn>
                  <a:cxn ang="0">
                    <a:pos x="103" y="9"/>
                  </a:cxn>
                  <a:cxn ang="0">
                    <a:pos x="101" y="19"/>
                  </a:cxn>
                  <a:cxn ang="0">
                    <a:pos x="110" y="12"/>
                  </a:cxn>
                  <a:cxn ang="0">
                    <a:pos x="117" y="24"/>
                  </a:cxn>
                  <a:cxn ang="0">
                    <a:pos x="122" y="26"/>
                  </a:cxn>
                  <a:cxn ang="0">
                    <a:pos x="142" y="33"/>
                  </a:cxn>
                  <a:cxn ang="0">
                    <a:pos x="163" y="47"/>
                  </a:cxn>
                  <a:cxn ang="0">
                    <a:pos x="158" y="48"/>
                  </a:cxn>
                  <a:cxn ang="0">
                    <a:pos x="166" y="48"/>
                  </a:cxn>
                  <a:cxn ang="0">
                    <a:pos x="166" y="55"/>
                  </a:cxn>
                  <a:cxn ang="0">
                    <a:pos x="182" y="55"/>
                  </a:cxn>
                  <a:cxn ang="0">
                    <a:pos x="189" y="67"/>
                  </a:cxn>
                  <a:cxn ang="0">
                    <a:pos x="203" y="72"/>
                  </a:cxn>
                  <a:cxn ang="0">
                    <a:pos x="185" y="81"/>
                  </a:cxn>
                  <a:cxn ang="0">
                    <a:pos x="170" y="91"/>
                  </a:cxn>
                </a:cxnLst>
                <a:rect l="0" t="0" r="r" b="b"/>
                <a:pathLst>
                  <a:path w="203" h="110">
                    <a:moveTo>
                      <a:pt x="170" y="91"/>
                    </a:moveTo>
                    <a:lnTo>
                      <a:pt x="168" y="84"/>
                    </a:lnTo>
                    <a:lnTo>
                      <a:pt x="170" y="81"/>
                    </a:lnTo>
                    <a:lnTo>
                      <a:pt x="158" y="81"/>
                    </a:lnTo>
                    <a:lnTo>
                      <a:pt x="148" y="81"/>
                    </a:lnTo>
                    <a:lnTo>
                      <a:pt x="151" y="72"/>
                    </a:lnTo>
                    <a:lnTo>
                      <a:pt x="154" y="65"/>
                    </a:lnTo>
                    <a:lnTo>
                      <a:pt x="148" y="59"/>
                    </a:lnTo>
                    <a:lnTo>
                      <a:pt x="144" y="52"/>
                    </a:lnTo>
                    <a:lnTo>
                      <a:pt x="148" y="52"/>
                    </a:lnTo>
                    <a:lnTo>
                      <a:pt x="151" y="52"/>
                    </a:lnTo>
                    <a:lnTo>
                      <a:pt x="142" y="47"/>
                    </a:lnTo>
                    <a:lnTo>
                      <a:pt x="139" y="43"/>
                    </a:lnTo>
                    <a:lnTo>
                      <a:pt x="127" y="47"/>
                    </a:lnTo>
                    <a:lnTo>
                      <a:pt x="120" y="55"/>
                    </a:lnTo>
                    <a:lnTo>
                      <a:pt x="115" y="67"/>
                    </a:lnTo>
                    <a:lnTo>
                      <a:pt x="111" y="79"/>
                    </a:lnTo>
                    <a:lnTo>
                      <a:pt x="108" y="81"/>
                    </a:lnTo>
                    <a:lnTo>
                      <a:pt x="105" y="83"/>
                    </a:lnTo>
                    <a:lnTo>
                      <a:pt x="98" y="88"/>
                    </a:lnTo>
                    <a:lnTo>
                      <a:pt x="96" y="96"/>
                    </a:lnTo>
                    <a:lnTo>
                      <a:pt x="92" y="103"/>
                    </a:lnTo>
                    <a:lnTo>
                      <a:pt x="89" y="110"/>
                    </a:lnTo>
                    <a:lnTo>
                      <a:pt x="75" y="103"/>
                    </a:lnTo>
                    <a:lnTo>
                      <a:pt x="63" y="98"/>
                    </a:lnTo>
                    <a:lnTo>
                      <a:pt x="53" y="90"/>
                    </a:lnTo>
                    <a:lnTo>
                      <a:pt x="49" y="79"/>
                    </a:lnTo>
                    <a:lnTo>
                      <a:pt x="62" y="78"/>
                    </a:lnTo>
                    <a:lnTo>
                      <a:pt x="68" y="79"/>
                    </a:lnTo>
                    <a:lnTo>
                      <a:pt x="75" y="76"/>
                    </a:lnTo>
                    <a:lnTo>
                      <a:pt x="86" y="76"/>
                    </a:lnTo>
                    <a:lnTo>
                      <a:pt x="80" y="72"/>
                    </a:lnTo>
                    <a:lnTo>
                      <a:pt x="74" y="72"/>
                    </a:lnTo>
                    <a:lnTo>
                      <a:pt x="65" y="72"/>
                    </a:lnTo>
                    <a:lnTo>
                      <a:pt x="62" y="72"/>
                    </a:lnTo>
                    <a:lnTo>
                      <a:pt x="55" y="72"/>
                    </a:lnTo>
                    <a:lnTo>
                      <a:pt x="49" y="74"/>
                    </a:lnTo>
                    <a:lnTo>
                      <a:pt x="44" y="72"/>
                    </a:lnTo>
                    <a:lnTo>
                      <a:pt x="43" y="65"/>
                    </a:lnTo>
                    <a:lnTo>
                      <a:pt x="48" y="62"/>
                    </a:lnTo>
                    <a:lnTo>
                      <a:pt x="58" y="60"/>
                    </a:lnTo>
                    <a:lnTo>
                      <a:pt x="62" y="57"/>
                    </a:lnTo>
                    <a:lnTo>
                      <a:pt x="70" y="55"/>
                    </a:lnTo>
                    <a:lnTo>
                      <a:pt x="77" y="52"/>
                    </a:lnTo>
                    <a:lnTo>
                      <a:pt x="84" y="48"/>
                    </a:lnTo>
                    <a:lnTo>
                      <a:pt x="74" y="48"/>
                    </a:lnTo>
                    <a:lnTo>
                      <a:pt x="70" y="48"/>
                    </a:lnTo>
                    <a:lnTo>
                      <a:pt x="65" y="45"/>
                    </a:lnTo>
                    <a:lnTo>
                      <a:pt x="62" y="43"/>
                    </a:lnTo>
                    <a:lnTo>
                      <a:pt x="60" y="43"/>
                    </a:lnTo>
                    <a:lnTo>
                      <a:pt x="58" y="43"/>
                    </a:lnTo>
                    <a:lnTo>
                      <a:pt x="51" y="50"/>
                    </a:lnTo>
                    <a:lnTo>
                      <a:pt x="43" y="57"/>
                    </a:lnTo>
                    <a:lnTo>
                      <a:pt x="32" y="55"/>
                    </a:lnTo>
                    <a:lnTo>
                      <a:pt x="27" y="50"/>
                    </a:lnTo>
                    <a:lnTo>
                      <a:pt x="29" y="48"/>
                    </a:lnTo>
                    <a:lnTo>
                      <a:pt x="31" y="48"/>
                    </a:lnTo>
                    <a:lnTo>
                      <a:pt x="19" y="40"/>
                    </a:lnTo>
                    <a:lnTo>
                      <a:pt x="17" y="31"/>
                    </a:lnTo>
                    <a:lnTo>
                      <a:pt x="13" y="29"/>
                    </a:lnTo>
                    <a:lnTo>
                      <a:pt x="7" y="24"/>
                    </a:lnTo>
                    <a:lnTo>
                      <a:pt x="0" y="17"/>
                    </a:lnTo>
                    <a:lnTo>
                      <a:pt x="7" y="10"/>
                    </a:lnTo>
                    <a:lnTo>
                      <a:pt x="17" y="5"/>
                    </a:lnTo>
                    <a:lnTo>
                      <a:pt x="27" y="5"/>
                    </a:lnTo>
                    <a:lnTo>
                      <a:pt x="43" y="7"/>
                    </a:lnTo>
                    <a:lnTo>
                      <a:pt x="39" y="10"/>
                    </a:lnTo>
                    <a:lnTo>
                      <a:pt x="37" y="14"/>
                    </a:lnTo>
                    <a:lnTo>
                      <a:pt x="44" y="17"/>
                    </a:lnTo>
                    <a:lnTo>
                      <a:pt x="51" y="23"/>
                    </a:lnTo>
                    <a:lnTo>
                      <a:pt x="48" y="19"/>
                    </a:lnTo>
                    <a:lnTo>
                      <a:pt x="48" y="16"/>
                    </a:lnTo>
                    <a:lnTo>
                      <a:pt x="49" y="9"/>
                    </a:lnTo>
                    <a:lnTo>
                      <a:pt x="56" y="7"/>
                    </a:lnTo>
                    <a:lnTo>
                      <a:pt x="63" y="9"/>
                    </a:lnTo>
                    <a:lnTo>
                      <a:pt x="67" y="16"/>
                    </a:lnTo>
                    <a:lnTo>
                      <a:pt x="70" y="23"/>
                    </a:lnTo>
                    <a:lnTo>
                      <a:pt x="79" y="29"/>
                    </a:lnTo>
                    <a:lnTo>
                      <a:pt x="74" y="17"/>
                    </a:lnTo>
                    <a:lnTo>
                      <a:pt x="72" y="7"/>
                    </a:lnTo>
                    <a:lnTo>
                      <a:pt x="74" y="0"/>
                    </a:lnTo>
                    <a:lnTo>
                      <a:pt x="82" y="0"/>
                    </a:lnTo>
                    <a:lnTo>
                      <a:pt x="87" y="0"/>
                    </a:lnTo>
                    <a:lnTo>
                      <a:pt x="94" y="2"/>
                    </a:lnTo>
                    <a:lnTo>
                      <a:pt x="99" y="4"/>
                    </a:lnTo>
                    <a:lnTo>
                      <a:pt x="103" y="9"/>
                    </a:lnTo>
                    <a:lnTo>
                      <a:pt x="101" y="14"/>
                    </a:lnTo>
                    <a:lnTo>
                      <a:pt x="101" y="19"/>
                    </a:lnTo>
                    <a:lnTo>
                      <a:pt x="105" y="14"/>
                    </a:lnTo>
                    <a:lnTo>
                      <a:pt x="110" y="12"/>
                    </a:lnTo>
                    <a:lnTo>
                      <a:pt x="117" y="16"/>
                    </a:lnTo>
                    <a:lnTo>
                      <a:pt x="117" y="24"/>
                    </a:lnTo>
                    <a:lnTo>
                      <a:pt x="118" y="24"/>
                    </a:lnTo>
                    <a:lnTo>
                      <a:pt x="122" y="26"/>
                    </a:lnTo>
                    <a:lnTo>
                      <a:pt x="129" y="28"/>
                    </a:lnTo>
                    <a:lnTo>
                      <a:pt x="142" y="33"/>
                    </a:lnTo>
                    <a:lnTo>
                      <a:pt x="154" y="40"/>
                    </a:lnTo>
                    <a:lnTo>
                      <a:pt x="163" y="47"/>
                    </a:lnTo>
                    <a:lnTo>
                      <a:pt x="160" y="47"/>
                    </a:lnTo>
                    <a:lnTo>
                      <a:pt x="158" y="48"/>
                    </a:lnTo>
                    <a:lnTo>
                      <a:pt x="161" y="48"/>
                    </a:lnTo>
                    <a:lnTo>
                      <a:pt x="166" y="48"/>
                    </a:lnTo>
                    <a:lnTo>
                      <a:pt x="166" y="52"/>
                    </a:lnTo>
                    <a:lnTo>
                      <a:pt x="166" y="55"/>
                    </a:lnTo>
                    <a:lnTo>
                      <a:pt x="173" y="55"/>
                    </a:lnTo>
                    <a:lnTo>
                      <a:pt x="182" y="55"/>
                    </a:lnTo>
                    <a:lnTo>
                      <a:pt x="184" y="62"/>
                    </a:lnTo>
                    <a:lnTo>
                      <a:pt x="189" y="67"/>
                    </a:lnTo>
                    <a:lnTo>
                      <a:pt x="196" y="69"/>
                    </a:lnTo>
                    <a:lnTo>
                      <a:pt x="203" y="72"/>
                    </a:lnTo>
                    <a:lnTo>
                      <a:pt x="192" y="76"/>
                    </a:lnTo>
                    <a:lnTo>
                      <a:pt x="185" y="81"/>
                    </a:lnTo>
                    <a:lnTo>
                      <a:pt x="177" y="86"/>
                    </a:lnTo>
                    <a:lnTo>
                      <a:pt x="170"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24" name="Freeform 275"/>
              <p:cNvSpPr>
                <a:spLocks/>
              </p:cNvSpPr>
              <p:nvPr/>
            </p:nvSpPr>
            <p:spPr bwMode="auto">
              <a:xfrm>
                <a:off x="4722019" y="1570038"/>
                <a:ext cx="207963" cy="73025"/>
              </a:xfrm>
              <a:custGeom>
                <a:avLst/>
                <a:gdLst/>
                <a:ahLst/>
                <a:cxnLst>
                  <a:cxn ang="0">
                    <a:pos x="131" y="21"/>
                  </a:cxn>
                  <a:cxn ang="0">
                    <a:pos x="119" y="27"/>
                  </a:cxn>
                  <a:cxn ang="0">
                    <a:pos x="105" y="36"/>
                  </a:cxn>
                  <a:cxn ang="0">
                    <a:pos x="90" y="43"/>
                  </a:cxn>
                  <a:cxn ang="0">
                    <a:pos x="79" y="46"/>
                  </a:cxn>
                  <a:cxn ang="0">
                    <a:pos x="67" y="43"/>
                  </a:cxn>
                  <a:cxn ang="0">
                    <a:pos x="62" y="38"/>
                  </a:cxn>
                  <a:cxn ang="0">
                    <a:pos x="33" y="38"/>
                  </a:cxn>
                  <a:cxn ang="0">
                    <a:pos x="26" y="34"/>
                  </a:cxn>
                  <a:cxn ang="0">
                    <a:pos x="26" y="29"/>
                  </a:cxn>
                  <a:cxn ang="0">
                    <a:pos x="31" y="29"/>
                  </a:cxn>
                  <a:cxn ang="0">
                    <a:pos x="36" y="29"/>
                  </a:cxn>
                  <a:cxn ang="0">
                    <a:pos x="42" y="27"/>
                  </a:cxn>
                  <a:cxn ang="0">
                    <a:pos x="48" y="26"/>
                  </a:cxn>
                  <a:cxn ang="0">
                    <a:pos x="43" y="24"/>
                  </a:cxn>
                  <a:cxn ang="0">
                    <a:pos x="36" y="24"/>
                  </a:cxn>
                  <a:cxn ang="0">
                    <a:pos x="28" y="24"/>
                  </a:cxn>
                  <a:cxn ang="0">
                    <a:pos x="24" y="24"/>
                  </a:cxn>
                  <a:cxn ang="0">
                    <a:pos x="11" y="26"/>
                  </a:cxn>
                  <a:cxn ang="0">
                    <a:pos x="7" y="19"/>
                  </a:cxn>
                  <a:cxn ang="0">
                    <a:pos x="2" y="14"/>
                  </a:cxn>
                  <a:cxn ang="0">
                    <a:pos x="0" y="7"/>
                  </a:cxn>
                  <a:cxn ang="0">
                    <a:pos x="7" y="7"/>
                  </a:cxn>
                  <a:cxn ang="0">
                    <a:pos x="12" y="9"/>
                  </a:cxn>
                  <a:cxn ang="0">
                    <a:pos x="17" y="9"/>
                  </a:cxn>
                  <a:cxn ang="0">
                    <a:pos x="17" y="7"/>
                  </a:cxn>
                  <a:cxn ang="0">
                    <a:pos x="26" y="7"/>
                  </a:cxn>
                  <a:cxn ang="0">
                    <a:pos x="23" y="2"/>
                  </a:cxn>
                  <a:cxn ang="0">
                    <a:pos x="38" y="2"/>
                  </a:cxn>
                  <a:cxn ang="0">
                    <a:pos x="40" y="3"/>
                  </a:cxn>
                  <a:cxn ang="0">
                    <a:pos x="47" y="7"/>
                  </a:cxn>
                  <a:cxn ang="0">
                    <a:pos x="52" y="9"/>
                  </a:cxn>
                  <a:cxn ang="0">
                    <a:pos x="57" y="12"/>
                  </a:cxn>
                  <a:cxn ang="0">
                    <a:pos x="64" y="5"/>
                  </a:cxn>
                  <a:cxn ang="0">
                    <a:pos x="71" y="0"/>
                  </a:cxn>
                  <a:cxn ang="0">
                    <a:pos x="76" y="0"/>
                  </a:cxn>
                  <a:cxn ang="0">
                    <a:pos x="76" y="7"/>
                  </a:cxn>
                  <a:cxn ang="0">
                    <a:pos x="76" y="12"/>
                  </a:cxn>
                  <a:cxn ang="0">
                    <a:pos x="83" y="9"/>
                  </a:cxn>
                  <a:cxn ang="0">
                    <a:pos x="91" y="7"/>
                  </a:cxn>
                  <a:cxn ang="0">
                    <a:pos x="102" y="7"/>
                  </a:cxn>
                  <a:cxn ang="0">
                    <a:pos x="109" y="7"/>
                  </a:cxn>
                  <a:cxn ang="0">
                    <a:pos x="122" y="10"/>
                  </a:cxn>
                  <a:cxn ang="0">
                    <a:pos x="131" y="21"/>
                  </a:cxn>
                </a:cxnLst>
                <a:rect l="0" t="0" r="r" b="b"/>
                <a:pathLst>
                  <a:path w="131" h="46">
                    <a:moveTo>
                      <a:pt x="131" y="21"/>
                    </a:moveTo>
                    <a:lnTo>
                      <a:pt x="119" y="27"/>
                    </a:lnTo>
                    <a:lnTo>
                      <a:pt x="105" y="36"/>
                    </a:lnTo>
                    <a:lnTo>
                      <a:pt x="90" y="43"/>
                    </a:lnTo>
                    <a:lnTo>
                      <a:pt x="79" y="46"/>
                    </a:lnTo>
                    <a:lnTo>
                      <a:pt x="67" y="43"/>
                    </a:lnTo>
                    <a:lnTo>
                      <a:pt x="62" y="38"/>
                    </a:lnTo>
                    <a:lnTo>
                      <a:pt x="33" y="38"/>
                    </a:lnTo>
                    <a:lnTo>
                      <a:pt x="26" y="34"/>
                    </a:lnTo>
                    <a:lnTo>
                      <a:pt x="26" y="29"/>
                    </a:lnTo>
                    <a:lnTo>
                      <a:pt x="31" y="29"/>
                    </a:lnTo>
                    <a:lnTo>
                      <a:pt x="36" y="29"/>
                    </a:lnTo>
                    <a:lnTo>
                      <a:pt x="42" y="27"/>
                    </a:lnTo>
                    <a:lnTo>
                      <a:pt x="48" y="26"/>
                    </a:lnTo>
                    <a:lnTo>
                      <a:pt x="43" y="24"/>
                    </a:lnTo>
                    <a:lnTo>
                      <a:pt x="36" y="24"/>
                    </a:lnTo>
                    <a:lnTo>
                      <a:pt x="28" y="24"/>
                    </a:lnTo>
                    <a:lnTo>
                      <a:pt x="24" y="24"/>
                    </a:lnTo>
                    <a:lnTo>
                      <a:pt x="11" y="26"/>
                    </a:lnTo>
                    <a:lnTo>
                      <a:pt x="7" y="19"/>
                    </a:lnTo>
                    <a:lnTo>
                      <a:pt x="2" y="14"/>
                    </a:lnTo>
                    <a:lnTo>
                      <a:pt x="0" y="7"/>
                    </a:lnTo>
                    <a:lnTo>
                      <a:pt x="7" y="7"/>
                    </a:lnTo>
                    <a:lnTo>
                      <a:pt x="12" y="9"/>
                    </a:lnTo>
                    <a:lnTo>
                      <a:pt x="17" y="9"/>
                    </a:lnTo>
                    <a:lnTo>
                      <a:pt x="17" y="7"/>
                    </a:lnTo>
                    <a:lnTo>
                      <a:pt x="26" y="7"/>
                    </a:lnTo>
                    <a:lnTo>
                      <a:pt x="23" y="2"/>
                    </a:lnTo>
                    <a:lnTo>
                      <a:pt x="38" y="2"/>
                    </a:lnTo>
                    <a:lnTo>
                      <a:pt x="40" y="3"/>
                    </a:lnTo>
                    <a:lnTo>
                      <a:pt x="47" y="7"/>
                    </a:lnTo>
                    <a:lnTo>
                      <a:pt x="52" y="9"/>
                    </a:lnTo>
                    <a:lnTo>
                      <a:pt x="57" y="12"/>
                    </a:lnTo>
                    <a:lnTo>
                      <a:pt x="64" y="5"/>
                    </a:lnTo>
                    <a:lnTo>
                      <a:pt x="71" y="0"/>
                    </a:lnTo>
                    <a:lnTo>
                      <a:pt x="76" y="0"/>
                    </a:lnTo>
                    <a:lnTo>
                      <a:pt x="76" y="7"/>
                    </a:lnTo>
                    <a:lnTo>
                      <a:pt x="76" y="12"/>
                    </a:lnTo>
                    <a:lnTo>
                      <a:pt x="83" y="9"/>
                    </a:lnTo>
                    <a:lnTo>
                      <a:pt x="91" y="7"/>
                    </a:lnTo>
                    <a:lnTo>
                      <a:pt x="102" y="7"/>
                    </a:lnTo>
                    <a:lnTo>
                      <a:pt x="109" y="7"/>
                    </a:lnTo>
                    <a:lnTo>
                      <a:pt x="122" y="10"/>
                    </a:lnTo>
                    <a:lnTo>
                      <a:pt x="131"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25" name="Freeform 276"/>
              <p:cNvSpPr>
                <a:spLocks/>
              </p:cNvSpPr>
              <p:nvPr/>
            </p:nvSpPr>
            <p:spPr bwMode="auto">
              <a:xfrm>
                <a:off x="4547394" y="1654175"/>
                <a:ext cx="33338" cy="33337"/>
              </a:xfrm>
              <a:custGeom>
                <a:avLst/>
                <a:gdLst/>
                <a:ahLst/>
                <a:cxnLst>
                  <a:cxn ang="0">
                    <a:pos x="4" y="0"/>
                  </a:cxn>
                  <a:cxn ang="0">
                    <a:pos x="12" y="9"/>
                  </a:cxn>
                  <a:cxn ang="0">
                    <a:pos x="21" y="21"/>
                  </a:cxn>
                  <a:cxn ang="0">
                    <a:pos x="12" y="16"/>
                  </a:cxn>
                  <a:cxn ang="0">
                    <a:pos x="5" y="11"/>
                  </a:cxn>
                  <a:cxn ang="0">
                    <a:pos x="0" y="4"/>
                  </a:cxn>
                  <a:cxn ang="0">
                    <a:pos x="5" y="0"/>
                  </a:cxn>
                  <a:cxn ang="0">
                    <a:pos x="5" y="2"/>
                  </a:cxn>
                  <a:cxn ang="0">
                    <a:pos x="4" y="0"/>
                  </a:cxn>
                </a:cxnLst>
                <a:rect l="0" t="0" r="r" b="b"/>
                <a:pathLst>
                  <a:path w="21" h="21">
                    <a:moveTo>
                      <a:pt x="4" y="0"/>
                    </a:moveTo>
                    <a:lnTo>
                      <a:pt x="12" y="9"/>
                    </a:lnTo>
                    <a:lnTo>
                      <a:pt x="21" y="21"/>
                    </a:lnTo>
                    <a:lnTo>
                      <a:pt x="12" y="16"/>
                    </a:lnTo>
                    <a:lnTo>
                      <a:pt x="5" y="11"/>
                    </a:lnTo>
                    <a:lnTo>
                      <a:pt x="0" y="4"/>
                    </a:lnTo>
                    <a:lnTo>
                      <a:pt x="5" y="0"/>
                    </a:lnTo>
                    <a:lnTo>
                      <a:pt x="5"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26" name="Freeform 277"/>
              <p:cNvSpPr>
                <a:spLocks/>
              </p:cNvSpPr>
              <p:nvPr/>
            </p:nvSpPr>
            <p:spPr bwMode="auto">
              <a:xfrm>
                <a:off x="4087019" y="2598738"/>
                <a:ext cx="100013" cy="120650"/>
              </a:xfrm>
              <a:custGeom>
                <a:avLst/>
                <a:gdLst/>
                <a:ahLst/>
                <a:cxnLst>
                  <a:cxn ang="0">
                    <a:pos x="10" y="23"/>
                  </a:cxn>
                  <a:cxn ang="0">
                    <a:pos x="17" y="19"/>
                  </a:cxn>
                  <a:cxn ang="0">
                    <a:pos x="25" y="16"/>
                  </a:cxn>
                  <a:cxn ang="0">
                    <a:pos x="22" y="12"/>
                  </a:cxn>
                  <a:cxn ang="0">
                    <a:pos x="22" y="9"/>
                  </a:cxn>
                  <a:cxn ang="0">
                    <a:pos x="27" y="2"/>
                  </a:cxn>
                  <a:cxn ang="0">
                    <a:pos x="37" y="0"/>
                  </a:cxn>
                  <a:cxn ang="0">
                    <a:pos x="41" y="0"/>
                  </a:cxn>
                  <a:cxn ang="0">
                    <a:pos x="46" y="0"/>
                  </a:cxn>
                  <a:cxn ang="0">
                    <a:pos x="58" y="7"/>
                  </a:cxn>
                  <a:cxn ang="0">
                    <a:pos x="63" y="21"/>
                  </a:cxn>
                  <a:cxn ang="0">
                    <a:pos x="58" y="24"/>
                  </a:cxn>
                  <a:cxn ang="0">
                    <a:pos x="53" y="28"/>
                  </a:cxn>
                  <a:cxn ang="0">
                    <a:pos x="53" y="31"/>
                  </a:cxn>
                  <a:cxn ang="0">
                    <a:pos x="53" y="36"/>
                  </a:cxn>
                  <a:cxn ang="0">
                    <a:pos x="53" y="41"/>
                  </a:cxn>
                  <a:cxn ang="0">
                    <a:pos x="53" y="45"/>
                  </a:cxn>
                  <a:cxn ang="0">
                    <a:pos x="53" y="52"/>
                  </a:cxn>
                  <a:cxn ang="0">
                    <a:pos x="53" y="60"/>
                  </a:cxn>
                  <a:cxn ang="0">
                    <a:pos x="46" y="60"/>
                  </a:cxn>
                  <a:cxn ang="0">
                    <a:pos x="39" y="62"/>
                  </a:cxn>
                  <a:cxn ang="0">
                    <a:pos x="29" y="66"/>
                  </a:cxn>
                  <a:cxn ang="0">
                    <a:pos x="22" y="74"/>
                  </a:cxn>
                  <a:cxn ang="0">
                    <a:pos x="17" y="74"/>
                  </a:cxn>
                  <a:cxn ang="0">
                    <a:pos x="12" y="76"/>
                  </a:cxn>
                  <a:cxn ang="0">
                    <a:pos x="3" y="72"/>
                  </a:cxn>
                  <a:cxn ang="0">
                    <a:pos x="0" y="64"/>
                  </a:cxn>
                  <a:cxn ang="0">
                    <a:pos x="5" y="50"/>
                  </a:cxn>
                  <a:cxn ang="0">
                    <a:pos x="13" y="38"/>
                  </a:cxn>
                  <a:cxn ang="0">
                    <a:pos x="6" y="33"/>
                  </a:cxn>
                  <a:cxn ang="0">
                    <a:pos x="5" y="28"/>
                  </a:cxn>
                  <a:cxn ang="0">
                    <a:pos x="6" y="23"/>
                  </a:cxn>
                  <a:cxn ang="0">
                    <a:pos x="10" y="23"/>
                  </a:cxn>
                </a:cxnLst>
                <a:rect l="0" t="0" r="r" b="b"/>
                <a:pathLst>
                  <a:path w="63" h="76">
                    <a:moveTo>
                      <a:pt x="10" y="23"/>
                    </a:moveTo>
                    <a:lnTo>
                      <a:pt x="17" y="19"/>
                    </a:lnTo>
                    <a:lnTo>
                      <a:pt x="25" y="16"/>
                    </a:lnTo>
                    <a:lnTo>
                      <a:pt x="22" y="12"/>
                    </a:lnTo>
                    <a:lnTo>
                      <a:pt x="22" y="9"/>
                    </a:lnTo>
                    <a:lnTo>
                      <a:pt x="27" y="2"/>
                    </a:lnTo>
                    <a:lnTo>
                      <a:pt x="37" y="0"/>
                    </a:lnTo>
                    <a:lnTo>
                      <a:pt x="41" y="0"/>
                    </a:lnTo>
                    <a:lnTo>
                      <a:pt x="46" y="0"/>
                    </a:lnTo>
                    <a:lnTo>
                      <a:pt x="58" y="7"/>
                    </a:lnTo>
                    <a:lnTo>
                      <a:pt x="63" y="21"/>
                    </a:lnTo>
                    <a:lnTo>
                      <a:pt x="58" y="24"/>
                    </a:lnTo>
                    <a:lnTo>
                      <a:pt x="53" y="28"/>
                    </a:lnTo>
                    <a:lnTo>
                      <a:pt x="53" y="31"/>
                    </a:lnTo>
                    <a:lnTo>
                      <a:pt x="53" y="36"/>
                    </a:lnTo>
                    <a:lnTo>
                      <a:pt x="53" y="41"/>
                    </a:lnTo>
                    <a:lnTo>
                      <a:pt x="53" y="45"/>
                    </a:lnTo>
                    <a:lnTo>
                      <a:pt x="53" y="52"/>
                    </a:lnTo>
                    <a:lnTo>
                      <a:pt x="53" y="60"/>
                    </a:lnTo>
                    <a:lnTo>
                      <a:pt x="46" y="60"/>
                    </a:lnTo>
                    <a:lnTo>
                      <a:pt x="39" y="62"/>
                    </a:lnTo>
                    <a:lnTo>
                      <a:pt x="29" y="66"/>
                    </a:lnTo>
                    <a:lnTo>
                      <a:pt x="22" y="74"/>
                    </a:lnTo>
                    <a:lnTo>
                      <a:pt x="17" y="74"/>
                    </a:lnTo>
                    <a:lnTo>
                      <a:pt x="12" y="76"/>
                    </a:lnTo>
                    <a:lnTo>
                      <a:pt x="3" y="72"/>
                    </a:lnTo>
                    <a:lnTo>
                      <a:pt x="0" y="64"/>
                    </a:lnTo>
                    <a:lnTo>
                      <a:pt x="5" y="50"/>
                    </a:lnTo>
                    <a:lnTo>
                      <a:pt x="13" y="38"/>
                    </a:lnTo>
                    <a:lnTo>
                      <a:pt x="6" y="33"/>
                    </a:lnTo>
                    <a:lnTo>
                      <a:pt x="5" y="28"/>
                    </a:lnTo>
                    <a:lnTo>
                      <a:pt x="6" y="23"/>
                    </a:lnTo>
                    <a:lnTo>
                      <a:pt x="10"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27" name="Freeform 278"/>
              <p:cNvSpPr>
                <a:spLocks/>
              </p:cNvSpPr>
              <p:nvPr/>
            </p:nvSpPr>
            <p:spPr bwMode="auto">
              <a:xfrm>
                <a:off x="4155282" y="2495550"/>
                <a:ext cx="19050" cy="19050"/>
              </a:xfrm>
              <a:custGeom>
                <a:avLst/>
                <a:gdLst/>
                <a:ahLst/>
                <a:cxnLst>
                  <a:cxn ang="0">
                    <a:pos x="1" y="12"/>
                  </a:cxn>
                  <a:cxn ang="0">
                    <a:pos x="0" y="8"/>
                  </a:cxn>
                  <a:cxn ang="0">
                    <a:pos x="0" y="7"/>
                  </a:cxn>
                  <a:cxn ang="0">
                    <a:pos x="3" y="2"/>
                  </a:cxn>
                  <a:cxn ang="0">
                    <a:pos x="12" y="0"/>
                  </a:cxn>
                  <a:cxn ang="0">
                    <a:pos x="8" y="8"/>
                  </a:cxn>
                  <a:cxn ang="0">
                    <a:pos x="1" y="12"/>
                  </a:cxn>
                </a:cxnLst>
                <a:rect l="0" t="0" r="r" b="b"/>
                <a:pathLst>
                  <a:path w="12" h="12">
                    <a:moveTo>
                      <a:pt x="1" y="12"/>
                    </a:moveTo>
                    <a:lnTo>
                      <a:pt x="0" y="8"/>
                    </a:lnTo>
                    <a:lnTo>
                      <a:pt x="0" y="7"/>
                    </a:lnTo>
                    <a:lnTo>
                      <a:pt x="3" y="2"/>
                    </a:lnTo>
                    <a:lnTo>
                      <a:pt x="12" y="0"/>
                    </a:lnTo>
                    <a:lnTo>
                      <a:pt x="8" y="8"/>
                    </a:lnTo>
                    <a:lnTo>
                      <a:pt x="1"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28" name="Freeform 279"/>
              <p:cNvSpPr>
                <a:spLocks/>
              </p:cNvSpPr>
              <p:nvPr/>
            </p:nvSpPr>
            <p:spPr bwMode="auto">
              <a:xfrm>
                <a:off x="4164807" y="2487613"/>
                <a:ext cx="192088" cy="274637"/>
              </a:xfrm>
              <a:custGeom>
                <a:avLst/>
                <a:gdLst/>
                <a:ahLst/>
                <a:cxnLst>
                  <a:cxn ang="0">
                    <a:pos x="105" y="115"/>
                  </a:cxn>
                  <a:cxn ang="0">
                    <a:pos x="117" y="118"/>
                  </a:cxn>
                  <a:cxn ang="0">
                    <a:pos x="114" y="136"/>
                  </a:cxn>
                  <a:cxn ang="0">
                    <a:pos x="109" y="146"/>
                  </a:cxn>
                  <a:cxn ang="0">
                    <a:pos x="114" y="151"/>
                  </a:cxn>
                  <a:cxn ang="0">
                    <a:pos x="100" y="160"/>
                  </a:cxn>
                  <a:cxn ang="0">
                    <a:pos x="80" y="160"/>
                  </a:cxn>
                  <a:cxn ang="0">
                    <a:pos x="66" y="161"/>
                  </a:cxn>
                  <a:cxn ang="0">
                    <a:pos x="54" y="163"/>
                  </a:cxn>
                  <a:cxn ang="0">
                    <a:pos x="45" y="161"/>
                  </a:cxn>
                  <a:cxn ang="0">
                    <a:pos x="37" y="170"/>
                  </a:cxn>
                  <a:cxn ang="0">
                    <a:pos x="24" y="170"/>
                  </a:cxn>
                  <a:cxn ang="0">
                    <a:pos x="19" y="173"/>
                  </a:cxn>
                  <a:cxn ang="0">
                    <a:pos x="21" y="165"/>
                  </a:cxn>
                  <a:cxn ang="0">
                    <a:pos x="31" y="153"/>
                  </a:cxn>
                  <a:cxn ang="0">
                    <a:pos x="47" y="149"/>
                  </a:cxn>
                  <a:cxn ang="0">
                    <a:pos x="52" y="142"/>
                  </a:cxn>
                  <a:cxn ang="0">
                    <a:pos x="47" y="144"/>
                  </a:cxn>
                  <a:cxn ang="0">
                    <a:pos x="35" y="142"/>
                  </a:cxn>
                  <a:cxn ang="0">
                    <a:pos x="26" y="141"/>
                  </a:cxn>
                  <a:cxn ang="0">
                    <a:pos x="21" y="141"/>
                  </a:cxn>
                  <a:cxn ang="0">
                    <a:pos x="28" y="132"/>
                  </a:cxn>
                  <a:cxn ang="0">
                    <a:pos x="37" y="125"/>
                  </a:cxn>
                  <a:cxn ang="0">
                    <a:pos x="31" y="110"/>
                  </a:cxn>
                  <a:cxn ang="0">
                    <a:pos x="55" y="101"/>
                  </a:cxn>
                  <a:cxn ang="0">
                    <a:pos x="45" y="91"/>
                  </a:cxn>
                  <a:cxn ang="0">
                    <a:pos x="43" y="82"/>
                  </a:cxn>
                  <a:cxn ang="0">
                    <a:pos x="43" y="79"/>
                  </a:cxn>
                  <a:cxn ang="0">
                    <a:pos x="35" y="81"/>
                  </a:cxn>
                  <a:cxn ang="0">
                    <a:pos x="23" y="81"/>
                  </a:cxn>
                  <a:cxn ang="0">
                    <a:pos x="23" y="72"/>
                  </a:cxn>
                  <a:cxn ang="0">
                    <a:pos x="24" y="62"/>
                  </a:cxn>
                  <a:cxn ang="0">
                    <a:pos x="21" y="56"/>
                  </a:cxn>
                  <a:cxn ang="0">
                    <a:pos x="16" y="60"/>
                  </a:cxn>
                  <a:cxn ang="0">
                    <a:pos x="14" y="63"/>
                  </a:cxn>
                  <a:cxn ang="0">
                    <a:pos x="14" y="55"/>
                  </a:cxn>
                  <a:cxn ang="0">
                    <a:pos x="16" y="51"/>
                  </a:cxn>
                  <a:cxn ang="0">
                    <a:pos x="11" y="44"/>
                  </a:cxn>
                  <a:cxn ang="0">
                    <a:pos x="11" y="38"/>
                  </a:cxn>
                  <a:cxn ang="0">
                    <a:pos x="12" y="32"/>
                  </a:cxn>
                  <a:cxn ang="0">
                    <a:pos x="0" y="22"/>
                  </a:cxn>
                  <a:cxn ang="0">
                    <a:pos x="9" y="26"/>
                  </a:cxn>
                  <a:cxn ang="0">
                    <a:pos x="12" y="26"/>
                  </a:cxn>
                  <a:cxn ang="0">
                    <a:pos x="11" y="22"/>
                  </a:cxn>
                  <a:cxn ang="0">
                    <a:pos x="12" y="15"/>
                  </a:cxn>
                  <a:cxn ang="0">
                    <a:pos x="19" y="8"/>
                  </a:cxn>
                  <a:cxn ang="0">
                    <a:pos x="23" y="1"/>
                  </a:cxn>
                  <a:cxn ang="0">
                    <a:pos x="37" y="0"/>
                  </a:cxn>
                  <a:cxn ang="0">
                    <a:pos x="45" y="1"/>
                  </a:cxn>
                  <a:cxn ang="0">
                    <a:pos x="42" y="10"/>
                  </a:cxn>
                  <a:cxn ang="0">
                    <a:pos x="37" y="19"/>
                  </a:cxn>
                  <a:cxn ang="0">
                    <a:pos x="67" y="20"/>
                  </a:cxn>
                  <a:cxn ang="0">
                    <a:pos x="61" y="38"/>
                  </a:cxn>
                  <a:cxn ang="0">
                    <a:pos x="54" y="51"/>
                  </a:cxn>
                  <a:cxn ang="0">
                    <a:pos x="50" y="56"/>
                  </a:cxn>
                  <a:cxn ang="0">
                    <a:pos x="61" y="56"/>
                  </a:cxn>
                  <a:cxn ang="0">
                    <a:pos x="76" y="79"/>
                  </a:cxn>
                  <a:cxn ang="0">
                    <a:pos x="88" y="87"/>
                  </a:cxn>
                  <a:cxn ang="0">
                    <a:pos x="97" y="101"/>
                  </a:cxn>
                  <a:cxn ang="0">
                    <a:pos x="102" y="113"/>
                  </a:cxn>
                  <a:cxn ang="0">
                    <a:pos x="100" y="117"/>
                  </a:cxn>
                  <a:cxn ang="0">
                    <a:pos x="102" y="117"/>
                  </a:cxn>
                  <a:cxn ang="0">
                    <a:pos x="104" y="118"/>
                  </a:cxn>
                </a:cxnLst>
                <a:rect l="0" t="0" r="r" b="b"/>
                <a:pathLst>
                  <a:path w="121" h="173">
                    <a:moveTo>
                      <a:pt x="104" y="118"/>
                    </a:moveTo>
                    <a:lnTo>
                      <a:pt x="105" y="115"/>
                    </a:lnTo>
                    <a:lnTo>
                      <a:pt x="110" y="117"/>
                    </a:lnTo>
                    <a:lnTo>
                      <a:pt x="117" y="118"/>
                    </a:lnTo>
                    <a:lnTo>
                      <a:pt x="121" y="125"/>
                    </a:lnTo>
                    <a:lnTo>
                      <a:pt x="114" y="136"/>
                    </a:lnTo>
                    <a:lnTo>
                      <a:pt x="104" y="146"/>
                    </a:lnTo>
                    <a:lnTo>
                      <a:pt x="109" y="146"/>
                    </a:lnTo>
                    <a:lnTo>
                      <a:pt x="114" y="148"/>
                    </a:lnTo>
                    <a:lnTo>
                      <a:pt x="114" y="151"/>
                    </a:lnTo>
                    <a:lnTo>
                      <a:pt x="107" y="156"/>
                    </a:lnTo>
                    <a:lnTo>
                      <a:pt x="100" y="160"/>
                    </a:lnTo>
                    <a:lnTo>
                      <a:pt x="88" y="160"/>
                    </a:lnTo>
                    <a:lnTo>
                      <a:pt x="80" y="160"/>
                    </a:lnTo>
                    <a:lnTo>
                      <a:pt x="73" y="160"/>
                    </a:lnTo>
                    <a:lnTo>
                      <a:pt x="66" y="161"/>
                    </a:lnTo>
                    <a:lnTo>
                      <a:pt x="59" y="161"/>
                    </a:lnTo>
                    <a:lnTo>
                      <a:pt x="54" y="163"/>
                    </a:lnTo>
                    <a:lnTo>
                      <a:pt x="49" y="161"/>
                    </a:lnTo>
                    <a:lnTo>
                      <a:pt x="45" y="161"/>
                    </a:lnTo>
                    <a:lnTo>
                      <a:pt x="38" y="163"/>
                    </a:lnTo>
                    <a:lnTo>
                      <a:pt x="37" y="170"/>
                    </a:lnTo>
                    <a:lnTo>
                      <a:pt x="30" y="170"/>
                    </a:lnTo>
                    <a:lnTo>
                      <a:pt x="24" y="170"/>
                    </a:lnTo>
                    <a:lnTo>
                      <a:pt x="23" y="173"/>
                    </a:lnTo>
                    <a:lnTo>
                      <a:pt x="19" y="173"/>
                    </a:lnTo>
                    <a:lnTo>
                      <a:pt x="19" y="170"/>
                    </a:lnTo>
                    <a:lnTo>
                      <a:pt x="21" y="165"/>
                    </a:lnTo>
                    <a:lnTo>
                      <a:pt x="26" y="160"/>
                    </a:lnTo>
                    <a:lnTo>
                      <a:pt x="31" y="153"/>
                    </a:lnTo>
                    <a:lnTo>
                      <a:pt x="37" y="151"/>
                    </a:lnTo>
                    <a:lnTo>
                      <a:pt x="47" y="149"/>
                    </a:lnTo>
                    <a:lnTo>
                      <a:pt x="54" y="144"/>
                    </a:lnTo>
                    <a:lnTo>
                      <a:pt x="52" y="142"/>
                    </a:lnTo>
                    <a:lnTo>
                      <a:pt x="52" y="141"/>
                    </a:lnTo>
                    <a:lnTo>
                      <a:pt x="47" y="144"/>
                    </a:lnTo>
                    <a:lnTo>
                      <a:pt x="43" y="146"/>
                    </a:lnTo>
                    <a:lnTo>
                      <a:pt x="35" y="142"/>
                    </a:lnTo>
                    <a:lnTo>
                      <a:pt x="30" y="141"/>
                    </a:lnTo>
                    <a:lnTo>
                      <a:pt x="26" y="141"/>
                    </a:lnTo>
                    <a:lnTo>
                      <a:pt x="24" y="142"/>
                    </a:lnTo>
                    <a:lnTo>
                      <a:pt x="21" y="141"/>
                    </a:lnTo>
                    <a:lnTo>
                      <a:pt x="23" y="134"/>
                    </a:lnTo>
                    <a:lnTo>
                      <a:pt x="28" y="132"/>
                    </a:lnTo>
                    <a:lnTo>
                      <a:pt x="33" y="129"/>
                    </a:lnTo>
                    <a:lnTo>
                      <a:pt x="37" y="125"/>
                    </a:lnTo>
                    <a:lnTo>
                      <a:pt x="33" y="117"/>
                    </a:lnTo>
                    <a:lnTo>
                      <a:pt x="31" y="110"/>
                    </a:lnTo>
                    <a:lnTo>
                      <a:pt x="45" y="106"/>
                    </a:lnTo>
                    <a:lnTo>
                      <a:pt x="55" y="101"/>
                    </a:lnTo>
                    <a:lnTo>
                      <a:pt x="55" y="93"/>
                    </a:lnTo>
                    <a:lnTo>
                      <a:pt x="45" y="91"/>
                    </a:lnTo>
                    <a:lnTo>
                      <a:pt x="42" y="87"/>
                    </a:lnTo>
                    <a:lnTo>
                      <a:pt x="43" y="82"/>
                    </a:lnTo>
                    <a:lnTo>
                      <a:pt x="47" y="81"/>
                    </a:lnTo>
                    <a:lnTo>
                      <a:pt x="43" y="79"/>
                    </a:lnTo>
                    <a:lnTo>
                      <a:pt x="42" y="79"/>
                    </a:lnTo>
                    <a:lnTo>
                      <a:pt x="35" y="81"/>
                    </a:lnTo>
                    <a:lnTo>
                      <a:pt x="30" y="82"/>
                    </a:lnTo>
                    <a:lnTo>
                      <a:pt x="23" y="81"/>
                    </a:lnTo>
                    <a:lnTo>
                      <a:pt x="21" y="79"/>
                    </a:lnTo>
                    <a:lnTo>
                      <a:pt x="23" y="72"/>
                    </a:lnTo>
                    <a:lnTo>
                      <a:pt x="26" y="67"/>
                    </a:lnTo>
                    <a:lnTo>
                      <a:pt x="24" y="62"/>
                    </a:lnTo>
                    <a:lnTo>
                      <a:pt x="26" y="58"/>
                    </a:lnTo>
                    <a:lnTo>
                      <a:pt x="21" y="56"/>
                    </a:lnTo>
                    <a:lnTo>
                      <a:pt x="18" y="55"/>
                    </a:lnTo>
                    <a:lnTo>
                      <a:pt x="16" y="60"/>
                    </a:lnTo>
                    <a:lnTo>
                      <a:pt x="18" y="63"/>
                    </a:lnTo>
                    <a:lnTo>
                      <a:pt x="14" y="63"/>
                    </a:lnTo>
                    <a:lnTo>
                      <a:pt x="14" y="56"/>
                    </a:lnTo>
                    <a:lnTo>
                      <a:pt x="14" y="55"/>
                    </a:lnTo>
                    <a:lnTo>
                      <a:pt x="14" y="51"/>
                    </a:lnTo>
                    <a:lnTo>
                      <a:pt x="16" y="51"/>
                    </a:lnTo>
                    <a:lnTo>
                      <a:pt x="16" y="46"/>
                    </a:lnTo>
                    <a:lnTo>
                      <a:pt x="11" y="44"/>
                    </a:lnTo>
                    <a:lnTo>
                      <a:pt x="9" y="43"/>
                    </a:lnTo>
                    <a:lnTo>
                      <a:pt x="11" y="38"/>
                    </a:lnTo>
                    <a:lnTo>
                      <a:pt x="12" y="36"/>
                    </a:lnTo>
                    <a:lnTo>
                      <a:pt x="12" y="32"/>
                    </a:lnTo>
                    <a:lnTo>
                      <a:pt x="2" y="29"/>
                    </a:lnTo>
                    <a:lnTo>
                      <a:pt x="0" y="22"/>
                    </a:lnTo>
                    <a:lnTo>
                      <a:pt x="9" y="22"/>
                    </a:lnTo>
                    <a:lnTo>
                      <a:pt x="9" y="26"/>
                    </a:lnTo>
                    <a:lnTo>
                      <a:pt x="12" y="27"/>
                    </a:lnTo>
                    <a:lnTo>
                      <a:pt x="12" y="26"/>
                    </a:lnTo>
                    <a:lnTo>
                      <a:pt x="14" y="24"/>
                    </a:lnTo>
                    <a:lnTo>
                      <a:pt x="11" y="22"/>
                    </a:lnTo>
                    <a:lnTo>
                      <a:pt x="11" y="20"/>
                    </a:lnTo>
                    <a:lnTo>
                      <a:pt x="12" y="15"/>
                    </a:lnTo>
                    <a:lnTo>
                      <a:pt x="19" y="15"/>
                    </a:lnTo>
                    <a:lnTo>
                      <a:pt x="19" y="8"/>
                    </a:lnTo>
                    <a:lnTo>
                      <a:pt x="21" y="7"/>
                    </a:lnTo>
                    <a:lnTo>
                      <a:pt x="23" y="1"/>
                    </a:lnTo>
                    <a:lnTo>
                      <a:pt x="30" y="0"/>
                    </a:lnTo>
                    <a:lnTo>
                      <a:pt x="37" y="0"/>
                    </a:lnTo>
                    <a:lnTo>
                      <a:pt x="43" y="0"/>
                    </a:lnTo>
                    <a:lnTo>
                      <a:pt x="45" y="1"/>
                    </a:lnTo>
                    <a:lnTo>
                      <a:pt x="49" y="3"/>
                    </a:lnTo>
                    <a:lnTo>
                      <a:pt x="42" y="10"/>
                    </a:lnTo>
                    <a:lnTo>
                      <a:pt x="37" y="17"/>
                    </a:lnTo>
                    <a:lnTo>
                      <a:pt x="37" y="19"/>
                    </a:lnTo>
                    <a:lnTo>
                      <a:pt x="38" y="20"/>
                    </a:lnTo>
                    <a:lnTo>
                      <a:pt x="67" y="20"/>
                    </a:lnTo>
                    <a:lnTo>
                      <a:pt x="64" y="29"/>
                    </a:lnTo>
                    <a:lnTo>
                      <a:pt x="61" y="38"/>
                    </a:lnTo>
                    <a:lnTo>
                      <a:pt x="55" y="43"/>
                    </a:lnTo>
                    <a:lnTo>
                      <a:pt x="54" y="51"/>
                    </a:lnTo>
                    <a:lnTo>
                      <a:pt x="50" y="53"/>
                    </a:lnTo>
                    <a:lnTo>
                      <a:pt x="50" y="56"/>
                    </a:lnTo>
                    <a:lnTo>
                      <a:pt x="55" y="56"/>
                    </a:lnTo>
                    <a:lnTo>
                      <a:pt x="61" y="56"/>
                    </a:lnTo>
                    <a:lnTo>
                      <a:pt x="69" y="65"/>
                    </a:lnTo>
                    <a:lnTo>
                      <a:pt x="76" y="79"/>
                    </a:lnTo>
                    <a:lnTo>
                      <a:pt x="81" y="82"/>
                    </a:lnTo>
                    <a:lnTo>
                      <a:pt x="88" y="87"/>
                    </a:lnTo>
                    <a:lnTo>
                      <a:pt x="93" y="93"/>
                    </a:lnTo>
                    <a:lnTo>
                      <a:pt x="97" y="101"/>
                    </a:lnTo>
                    <a:lnTo>
                      <a:pt x="98" y="106"/>
                    </a:lnTo>
                    <a:lnTo>
                      <a:pt x="102" y="113"/>
                    </a:lnTo>
                    <a:lnTo>
                      <a:pt x="100" y="113"/>
                    </a:lnTo>
                    <a:lnTo>
                      <a:pt x="100" y="117"/>
                    </a:lnTo>
                    <a:lnTo>
                      <a:pt x="100" y="120"/>
                    </a:lnTo>
                    <a:lnTo>
                      <a:pt x="102" y="117"/>
                    </a:lnTo>
                    <a:lnTo>
                      <a:pt x="105" y="117"/>
                    </a:lnTo>
                    <a:lnTo>
                      <a:pt x="104"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29" name="Freeform 280"/>
              <p:cNvSpPr>
                <a:spLocks/>
              </p:cNvSpPr>
              <p:nvPr/>
            </p:nvSpPr>
            <p:spPr bwMode="auto">
              <a:xfrm>
                <a:off x="4206082" y="2628900"/>
                <a:ext cx="7938" cy="11112"/>
              </a:xfrm>
              <a:custGeom>
                <a:avLst/>
                <a:gdLst/>
                <a:ahLst/>
                <a:cxnLst>
                  <a:cxn ang="0">
                    <a:pos x="4" y="0"/>
                  </a:cxn>
                  <a:cxn ang="0">
                    <a:pos x="0" y="2"/>
                  </a:cxn>
                  <a:cxn ang="0">
                    <a:pos x="0" y="7"/>
                  </a:cxn>
                  <a:cxn ang="0">
                    <a:pos x="2" y="7"/>
                  </a:cxn>
                  <a:cxn ang="0">
                    <a:pos x="5" y="7"/>
                  </a:cxn>
                  <a:cxn ang="0">
                    <a:pos x="5" y="2"/>
                  </a:cxn>
                  <a:cxn ang="0">
                    <a:pos x="5" y="0"/>
                  </a:cxn>
                  <a:cxn ang="0">
                    <a:pos x="4" y="0"/>
                  </a:cxn>
                </a:cxnLst>
                <a:rect l="0" t="0" r="r" b="b"/>
                <a:pathLst>
                  <a:path w="5" h="7">
                    <a:moveTo>
                      <a:pt x="4" y="0"/>
                    </a:moveTo>
                    <a:lnTo>
                      <a:pt x="0" y="2"/>
                    </a:lnTo>
                    <a:lnTo>
                      <a:pt x="0" y="7"/>
                    </a:lnTo>
                    <a:lnTo>
                      <a:pt x="2" y="7"/>
                    </a:lnTo>
                    <a:lnTo>
                      <a:pt x="5" y="7"/>
                    </a:lnTo>
                    <a:lnTo>
                      <a:pt x="5" y="2"/>
                    </a:lnTo>
                    <a:lnTo>
                      <a:pt x="5"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30" name="Freeform 282"/>
              <p:cNvSpPr>
                <a:spLocks/>
              </p:cNvSpPr>
              <p:nvPr/>
            </p:nvSpPr>
            <p:spPr bwMode="auto">
              <a:xfrm>
                <a:off x="2374107" y="3482975"/>
                <a:ext cx="238125" cy="82550"/>
              </a:xfrm>
              <a:custGeom>
                <a:avLst/>
                <a:gdLst/>
                <a:ahLst/>
                <a:cxnLst>
                  <a:cxn ang="0">
                    <a:pos x="150" y="47"/>
                  </a:cxn>
                  <a:cxn ang="0">
                    <a:pos x="141" y="50"/>
                  </a:cxn>
                  <a:cxn ang="0">
                    <a:pos x="131" y="52"/>
                  </a:cxn>
                  <a:cxn ang="0">
                    <a:pos x="115" y="50"/>
                  </a:cxn>
                  <a:cxn ang="0">
                    <a:pos x="102" y="48"/>
                  </a:cxn>
                  <a:cxn ang="0">
                    <a:pos x="102" y="47"/>
                  </a:cxn>
                  <a:cxn ang="0">
                    <a:pos x="105" y="45"/>
                  </a:cxn>
                  <a:cxn ang="0">
                    <a:pos x="107" y="42"/>
                  </a:cxn>
                  <a:cxn ang="0">
                    <a:pos x="95" y="36"/>
                  </a:cxn>
                  <a:cxn ang="0">
                    <a:pos x="90" y="31"/>
                  </a:cxn>
                  <a:cxn ang="0">
                    <a:pos x="86" y="28"/>
                  </a:cxn>
                  <a:cxn ang="0">
                    <a:pos x="84" y="26"/>
                  </a:cxn>
                  <a:cxn ang="0">
                    <a:pos x="79" y="24"/>
                  </a:cxn>
                  <a:cxn ang="0">
                    <a:pos x="74" y="26"/>
                  </a:cxn>
                  <a:cxn ang="0">
                    <a:pos x="64" y="21"/>
                  </a:cxn>
                  <a:cxn ang="0">
                    <a:pos x="55" y="18"/>
                  </a:cxn>
                  <a:cxn ang="0">
                    <a:pos x="41" y="18"/>
                  </a:cxn>
                  <a:cxn ang="0">
                    <a:pos x="38" y="14"/>
                  </a:cxn>
                  <a:cxn ang="0">
                    <a:pos x="40" y="12"/>
                  </a:cxn>
                  <a:cxn ang="0">
                    <a:pos x="36" y="11"/>
                  </a:cxn>
                  <a:cxn ang="0">
                    <a:pos x="33" y="11"/>
                  </a:cxn>
                  <a:cxn ang="0">
                    <a:pos x="16" y="14"/>
                  </a:cxn>
                  <a:cxn ang="0">
                    <a:pos x="5" y="23"/>
                  </a:cxn>
                  <a:cxn ang="0">
                    <a:pos x="0" y="23"/>
                  </a:cxn>
                  <a:cxn ang="0">
                    <a:pos x="5" y="12"/>
                  </a:cxn>
                  <a:cxn ang="0">
                    <a:pos x="16" y="5"/>
                  </a:cxn>
                  <a:cxn ang="0">
                    <a:pos x="26" y="0"/>
                  </a:cxn>
                  <a:cxn ang="0">
                    <a:pos x="41" y="0"/>
                  </a:cxn>
                  <a:cxn ang="0">
                    <a:pos x="55" y="2"/>
                  </a:cxn>
                  <a:cxn ang="0">
                    <a:pos x="67" y="7"/>
                  </a:cxn>
                  <a:cxn ang="0">
                    <a:pos x="79" y="11"/>
                  </a:cxn>
                  <a:cxn ang="0">
                    <a:pos x="91" y="14"/>
                  </a:cxn>
                  <a:cxn ang="0">
                    <a:pos x="95" y="16"/>
                  </a:cxn>
                  <a:cxn ang="0">
                    <a:pos x="100" y="19"/>
                  </a:cxn>
                  <a:cxn ang="0">
                    <a:pos x="112" y="28"/>
                  </a:cxn>
                  <a:cxn ang="0">
                    <a:pos x="131" y="33"/>
                  </a:cxn>
                  <a:cxn ang="0">
                    <a:pos x="131" y="36"/>
                  </a:cxn>
                  <a:cxn ang="0">
                    <a:pos x="139" y="36"/>
                  </a:cxn>
                  <a:cxn ang="0">
                    <a:pos x="145" y="42"/>
                  </a:cxn>
                  <a:cxn ang="0">
                    <a:pos x="150" y="47"/>
                  </a:cxn>
                </a:cxnLst>
                <a:rect l="0" t="0" r="r" b="b"/>
                <a:pathLst>
                  <a:path w="150" h="52">
                    <a:moveTo>
                      <a:pt x="150" y="47"/>
                    </a:moveTo>
                    <a:lnTo>
                      <a:pt x="141" y="50"/>
                    </a:lnTo>
                    <a:lnTo>
                      <a:pt x="131" y="52"/>
                    </a:lnTo>
                    <a:lnTo>
                      <a:pt x="115" y="50"/>
                    </a:lnTo>
                    <a:lnTo>
                      <a:pt x="102" y="48"/>
                    </a:lnTo>
                    <a:lnTo>
                      <a:pt x="102" y="47"/>
                    </a:lnTo>
                    <a:lnTo>
                      <a:pt x="105" y="45"/>
                    </a:lnTo>
                    <a:lnTo>
                      <a:pt x="107" y="42"/>
                    </a:lnTo>
                    <a:lnTo>
                      <a:pt x="95" y="36"/>
                    </a:lnTo>
                    <a:lnTo>
                      <a:pt x="90" y="31"/>
                    </a:lnTo>
                    <a:lnTo>
                      <a:pt x="86" y="28"/>
                    </a:lnTo>
                    <a:lnTo>
                      <a:pt x="84" y="26"/>
                    </a:lnTo>
                    <a:lnTo>
                      <a:pt x="79" y="24"/>
                    </a:lnTo>
                    <a:lnTo>
                      <a:pt x="74" y="26"/>
                    </a:lnTo>
                    <a:lnTo>
                      <a:pt x="64" y="21"/>
                    </a:lnTo>
                    <a:lnTo>
                      <a:pt x="55" y="18"/>
                    </a:lnTo>
                    <a:lnTo>
                      <a:pt x="41" y="18"/>
                    </a:lnTo>
                    <a:lnTo>
                      <a:pt x="38" y="14"/>
                    </a:lnTo>
                    <a:lnTo>
                      <a:pt x="40" y="12"/>
                    </a:lnTo>
                    <a:lnTo>
                      <a:pt x="36" y="11"/>
                    </a:lnTo>
                    <a:lnTo>
                      <a:pt x="33" y="11"/>
                    </a:lnTo>
                    <a:lnTo>
                      <a:pt x="16" y="14"/>
                    </a:lnTo>
                    <a:lnTo>
                      <a:pt x="5" y="23"/>
                    </a:lnTo>
                    <a:lnTo>
                      <a:pt x="0" y="23"/>
                    </a:lnTo>
                    <a:lnTo>
                      <a:pt x="5" y="12"/>
                    </a:lnTo>
                    <a:lnTo>
                      <a:pt x="16" y="5"/>
                    </a:lnTo>
                    <a:lnTo>
                      <a:pt x="26" y="0"/>
                    </a:lnTo>
                    <a:lnTo>
                      <a:pt x="41" y="0"/>
                    </a:lnTo>
                    <a:lnTo>
                      <a:pt x="55" y="2"/>
                    </a:lnTo>
                    <a:lnTo>
                      <a:pt x="67" y="7"/>
                    </a:lnTo>
                    <a:lnTo>
                      <a:pt x="79" y="11"/>
                    </a:lnTo>
                    <a:lnTo>
                      <a:pt x="91" y="14"/>
                    </a:lnTo>
                    <a:lnTo>
                      <a:pt x="95" y="16"/>
                    </a:lnTo>
                    <a:lnTo>
                      <a:pt x="100" y="19"/>
                    </a:lnTo>
                    <a:lnTo>
                      <a:pt x="112" y="28"/>
                    </a:lnTo>
                    <a:lnTo>
                      <a:pt x="131" y="33"/>
                    </a:lnTo>
                    <a:lnTo>
                      <a:pt x="131" y="36"/>
                    </a:lnTo>
                    <a:lnTo>
                      <a:pt x="139" y="36"/>
                    </a:lnTo>
                    <a:lnTo>
                      <a:pt x="145" y="42"/>
                    </a:lnTo>
                    <a:lnTo>
                      <a:pt x="150" y="4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31" name="Freeform 283"/>
              <p:cNvSpPr>
                <a:spLocks/>
              </p:cNvSpPr>
              <p:nvPr/>
            </p:nvSpPr>
            <p:spPr bwMode="auto">
              <a:xfrm>
                <a:off x="2407444" y="3516313"/>
                <a:ext cx="11113" cy="11112"/>
              </a:xfrm>
              <a:custGeom>
                <a:avLst/>
                <a:gdLst/>
                <a:ahLst/>
                <a:cxnLst>
                  <a:cxn ang="0">
                    <a:pos x="7" y="0"/>
                  </a:cxn>
                  <a:cxn ang="0">
                    <a:pos x="7" y="3"/>
                  </a:cxn>
                  <a:cxn ang="0">
                    <a:pos x="7" y="7"/>
                  </a:cxn>
                  <a:cxn ang="0">
                    <a:pos x="3" y="7"/>
                  </a:cxn>
                  <a:cxn ang="0">
                    <a:pos x="0" y="7"/>
                  </a:cxn>
                  <a:cxn ang="0">
                    <a:pos x="1" y="3"/>
                  </a:cxn>
                  <a:cxn ang="0">
                    <a:pos x="5" y="3"/>
                  </a:cxn>
                  <a:cxn ang="0">
                    <a:pos x="5" y="0"/>
                  </a:cxn>
                  <a:cxn ang="0">
                    <a:pos x="5" y="0"/>
                  </a:cxn>
                  <a:cxn ang="0">
                    <a:pos x="7" y="0"/>
                  </a:cxn>
                </a:cxnLst>
                <a:rect l="0" t="0" r="r" b="b"/>
                <a:pathLst>
                  <a:path w="7" h="7">
                    <a:moveTo>
                      <a:pt x="7" y="0"/>
                    </a:moveTo>
                    <a:lnTo>
                      <a:pt x="7" y="3"/>
                    </a:lnTo>
                    <a:lnTo>
                      <a:pt x="7" y="7"/>
                    </a:lnTo>
                    <a:lnTo>
                      <a:pt x="3" y="7"/>
                    </a:lnTo>
                    <a:lnTo>
                      <a:pt x="0" y="7"/>
                    </a:lnTo>
                    <a:lnTo>
                      <a:pt x="1" y="3"/>
                    </a:lnTo>
                    <a:lnTo>
                      <a:pt x="5" y="3"/>
                    </a:lnTo>
                    <a:lnTo>
                      <a:pt x="5" y="0"/>
                    </a:lnTo>
                    <a:lnTo>
                      <a:pt x="5" y="0"/>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32" name="Freeform 284"/>
              <p:cNvSpPr>
                <a:spLocks/>
              </p:cNvSpPr>
              <p:nvPr/>
            </p:nvSpPr>
            <p:spPr bwMode="auto">
              <a:xfrm>
                <a:off x="2526507" y="3595688"/>
                <a:ext cx="39688" cy="19050"/>
              </a:xfrm>
              <a:custGeom>
                <a:avLst/>
                <a:gdLst/>
                <a:ahLst/>
                <a:cxnLst>
                  <a:cxn ang="0">
                    <a:pos x="21" y="3"/>
                  </a:cxn>
                  <a:cxn ang="0">
                    <a:pos x="23" y="5"/>
                  </a:cxn>
                  <a:cxn ang="0">
                    <a:pos x="25" y="8"/>
                  </a:cxn>
                  <a:cxn ang="0">
                    <a:pos x="16" y="10"/>
                  </a:cxn>
                  <a:cxn ang="0">
                    <a:pos x="9" y="12"/>
                  </a:cxn>
                  <a:cxn ang="0">
                    <a:pos x="2" y="8"/>
                  </a:cxn>
                  <a:cxn ang="0">
                    <a:pos x="0" y="3"/>
                  </a:cxn>
                  <a:cxn ang="0">
                    <a:pos x="2" y="0"/>
                  </a:cxn>
                  <a:cxn ang="0">
                    <a:pos x="6" y="0"/>
                  </a:cxn>
                  <a:cxn ang="0">
                    <a:pos x="14" y="2"/>
                  </a:cxn>
                  <a:cxn ang="0">
                    <a:pos x="21" y="5"/>
                  </a:cxn>
                  <a:cxn ang="0">
                    <a:pos x="21" y="3"/>
                  </a:cxn>
                </a:cxnLst>
                <a:rect l="0" t="0" r="r" b="b"/>
                <a:pathLst>
                  <a:path w="25" h="12">
                    <a:moveTo>
                      <a:pt x="21" y="3"/>
                    </a:moveTo>
                    <a:lnTo>
                      <a:pt x="23" y="5"/>
                    </a:lnTo>
                    <a:lnTo>
                      <a:pt x="25" y="8"/>
                    </a:lnTo>
                    <a:lnTo>
                      <a:pt x="16" y="10"/>
                    </a:lnTo>
                    <a:lnTo>
                      <a:pt x="9" y="12"/>
                    </a:lnTo>
                    <a:lnTo>
                      <a:pt x="2" y="8"/>
                    </a:lnTo>
                    <a:lnTo>
                      <a:pt x="0" y="3"/>
                    </a:lnTo>
                    <a:lnTo>
                      <a:pt x="2" y="0"/>
                    </a:lnTo>
                    <a:lnTo>
                      <a:pt x="6" y="0"/>
                    </a:lnTo>
                    <a:lnTo>
                      <a:pt x="14" y="2"/>
                    </a:lnTo>
                    <a:lnTo>
                      <a:pt x="21" y="5"/>
                    </a:lnTo>
                    <a:lnTo>
                      <a:pt x="21"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33" name="Freeform 285"/>
              <p:cNvSpPr>
                <a:spLocks/>
              </p:cNvSpPr>
              <p:nvPr/>
            </p:nvSpPr>
            <p:spPr bwMode="auto">
              <a:xfrm>
                <a:off x="2780507" y="3595688"/>
                <a:ext cx="33338" cy="12700"/>
              </a:xfrm>
              <a:custGeom>
                <a:avLst/>
                <a:gdLst/>
                <a:ahLst/>
                <a:cxnLst>
                  <a:cxn ang="0">
                    <a:pos x="21" y="5"/>
                  </a:cxn>
                  <a:cxn ang="0">
                    <a:pos x="16" y="7"/>
                  </a:cxn>
                  <a:cxn ang="0">
                    <a:pos x="12" y="8"/>
                  </a:cxn>
                  <a:cxn ang="0">
                    <a:pos x="4" y="7"/>
                  </a:cxn>
                  <a:cxn ang="0">
                    <a:pos x="0" y="3"/>
                  </a:cxn>
                  <a:cxn ang="0">
                    <a:pos x="2" y="0"/>
                  </a:cxn>
                  <a:cxn ang="0">
                    <a:pos x="6" y="0"/>
                  </a:cxn>
                  <a:cxn ang="0">
                    <a:pos x="12" y="0"/>
                  </a:cxn>
                  <a:cxn ang="0">
                    <a:pos x="21" y="5"/>
                  </a:cxn>
                </a:cxnLst>
                <a:rect l="0" t="0" r="r" b="b"/>
                <a:pathLst>
                  <a:path w="21" h="8">
                    <a:moveTo>
                      <a:pt x="21" y="5"/>
                    </a:moveTo>
                    <a:lnTo>
                      <a:pt x="16" y="7"/>
                    </a:lnTo>
                    <a:lnTo>
                      <a:pt x="12" y="8"/>
                    </a:lnTo>
                    <a:lnTo>
                      <a:pt x="4" y="7"/>
                    </a:lnTo>
                    <a:lnTo>
                      <a:pt x="0" y="3"/>
                    </a:lnTo>
                    <a:lnTo>
                      <a:pt x="2" y="0"/>
                    </a:lnTo>
                    <a:lnTo>
                      <a:pt x="6" y="0"/>
                    </a:lnTo>
                    <a:lnTo>
                      <a:pt x="12" y="0"/>
                    </a:lnTo>
                    <a:lnTo>
                      <a:pt x="21"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34" name="Freeform 286"/>
              <p:cNvSpPr>
                <a:spLocks/>
              </p:cNvSpPr>
              <p:nvPr/>
            </p:nvSpPr>
            <p:spPr bwMode="auto">
              <a:xfrm>
                <a:off x="2613819" y="3559175"/>
                <a:ext cx="136525" cy="55562"/>
              </a:xfrm>
              <a:custGeom>
                <a:avLst/>
                <a:gdLst/>
                <a:ahLst/>
                <a:cxnLst>
                  <a:cxn ang="0">
                    <a:pos x="73" y="14"/>
                  </a:cxn>
                  <a:cxn ang="0">
                    <a:pos x="80" y="18"/>
                  </a:cxn>
                  <a:cxn ang="0">
                    <a:pos x="86" y="25"/>
                  </a:cxn>
                  <a:cxn ang="0">
                    <a:pos x="68" y="25"/>
                  </a:cxn>
                  <a:cxn ang="0">
                    <a:pos x="62" y="28"/>
                  </a:cxn>
                  <a:cxn ang="0">
                    <a:pos x="59" y="30"/>
                  </a:cxn>
                  <a:cxn ang="0">
                    <a:pos x="56" y="28"/>
                  </a:cxn>
                  <a:cxn ang="0">
                    <a:pos x="54" y="26"/>
                  </a:cxn>
                  <a:cxn ang="0">
                    <a:pos x="47" y="30"/>
                  </a:cxn>
                  <a:cxn ang="0">
                    <a:pos x="42" y="35"/>
                  </a:cxn>
                  <a:cxn ang="0">
                    <a:pos x="38" y="31"/>
                  </a:cxn>
                  <a:cxn ang="0">
                    <a:pos x="37" y="30"/>
                  </a:cxn>
                  <a:cxn ang="0">
                    <a:pos x="25" y="26"/>
                  </a:cxn>
                  <a:cxn ang="0">
                    <a:pos x="13" y="28"/>
                  </a:cxn>
                  <a:cxn ang="0">
                    <a:pos x="9" y="28"/>
                  </a:cxn>
                  <a:cxn ang="0">
                    <a:pos x="7" y="28"/>
                  </a:cxn>
                  <a:cxn ang="0">
                    <a:pos x="7" y="30"/>
                  </a:cxn>
                  <a:cxn ang="0">
                    <a:pos x="7" y="31"/>
                  </a:cxn>
                  <a:cxn ang="0">
                    <a:pos x="2" y="28"/>
                  </a:cxn>
                  <a:cxn ang="0">
                    <a:pos x="0" y="23"/>
                  </a:cxn>
                  <a:cxn ang="0">
                    <a:pos x="2" y="21"/>
                  </a:cxn>
                  <a:cxn ang="0">
                    <a:pos x="4" y="21"/>
                  </a:cxn>
                  <a:cxn ang="0">
                    <a:pos x="16" y="21"/>
                  </a:cxn>
                  <a:cxn ang="0">
                    <a:pos x="26" y="21"/>
                  </a:cxn>
                  <a:cxn ang="0">
                    <a:pos x="23" y="16"/>
                  </a:cxn>
                  <a:cxn ang="0">
                    <a:pos x="23" y="11"/>
                  </a:cxn>
                  <a:cxn ang="0">
                    <a:pos x="18" y="7"/>
                  </a:cxn>
                  <a:cxn ang="0">
                    <a:pos x="16" y="4"/>
                  </a:cxn>
                  <a:cxn ang="0">
                    <a:pos x="18" y="2"/>
                  </a:cxn>
                  <a:cxn ang="0">
                    <a:pos x="19" y="0"/>
                  </a:cxn>
                  <a:cxn ang="0">
                    <a:pos x="25" y="2"/>
                  </a:cxn>
                  <a:cxn ang="0">
                    <a:pos x="31" y="4"/>
                  </a:cxn>
                  <a:cxn ang="0">
                    <a:pos x="38" y="2"/>
                  </a:cxn>
                  <a:cxn ang="0">
                    <a:pos x="47" y="2"/>
                  </a:cxn>
                  <a:cxn ang="0">
                    <a:pos x="57" y="2"/>
                  </a:cxn>
                  <a:cxn ang="0">
                    <a:pos x="64" y="6"/>
                  </a:cxn>
                  <a:cxn ang="0">
                    <a:pos x="69" y="11"/>
                  </a:cxn>
                  <a:cxn ang="0">
                    <a:pos x="76" y="16"/>
                  </a:cxn>
                  <a:cxn ang="0">
                    <a:pos x="73" y="14"/>
                  </a:cxn>
                </a:cxnLst>
                <a:rect l="0" t="0" r="r" b="b"/>
                <a:pathLst>
                  <a:path w="86" h="35">
                    <a:moveTo>
                      <a:pt x="73" y="14"/>
                    </a:moveTo>
                    <a:lnTo>
                      <a:pt x="80" y="18"/>
                    </a:lnTo>
                    <a:lnTo>
                      <a:pt x="86" y="25"/>
                    </a:lnTo>
                    <a:lnTo>
                      <a:pt x="68" y="25"/>
                    </a:lnTo>
                    <a:lnTo>
                      <a:pt x="62" y="28"/>
                    </a:lnTo>
                    <a:lnTo>
                      <a:pt x="59" y="30"/>
                    </a:lnTo>
                    <a:lnTo>
                      <a:pt x="56" y="28"/>
                    </a:lnTo>
                    <a:lnTo>
                      <a:pt x="54" y="26"/>
                    </a:lnTo>
                    <a:lnTo>
                      <a:pt x="47" y="30"/>
                    </a:lnTo>
                    <a:lnTo>
                      <a:pt x="42" y="35"/>
                    </a:lnTo>
                    <a:lnTo>
                      <a:pt x="38" y="31"/>
                    </a:lnTo>
                    <a:lnTo>
                      <a:pt x="37" y="30"/>
                    </a:lnTo>
                    <a:lnTo>
                      <a:pt x="25" y="26"/>
                    </a:lnTo>
                    <a:lnTo>
                      <a:pt x="13" y="28"/>
                    </a:lnTo>
                    <a:lnTo>
                      <a:pt x="9" y="28"/>
                    </a:lnTo>
                    <a:lnTo>
                      <a:pt x="7" y="28"/>
                    </a:lnTo>
                    <a:lnTo>
                      <a:pt x="7" y="30"/>
                    </a:lnTo>
                    <a:lnTo>
                      <a:pt x="7" y="31"/>
                    </a:lnTo>
                    <a:lnTo>
                      <a:pt x="2" y="28"/>
                    </a:lnTo>
                    <a:lnTo>
                      <a:pt x="0" y="23"/>
                    </a:lnTo>
                    <a:lnTo>
                      <a:pt x="2" y="21"/>
                    </a:lnTo>
                    <a:lnTo>
                      <a:pt x="4" y="21"/>
                    </a:lnTo>
                    <a:lnTo>
                      <a:pt x="16" y="21"/>
                    </a:lnTo>
                    <a:lnTo>
                      <a:pt x="26" y="21"/>
                    </a:lnTo>
                    <a:lnTo>
                      <a:pt x="23" y="16"/>
                    </a:lnTo>
                    <a:lnTo>
                      <a:pt x="23" y="11"/>
                    </a:lnTo>
                    <a:lnTo>
                      <a:pt x="18" y="7"/>
                    </a:lnTo>
                    <a:lnTo>
                      <a:pt x="16" y="4"/>
                    </a:lnTo>
                    <a:lnTo>
                      <a:pt x="18" y="2"/>
                    </a:lnTo>
                    <a:lnTo>
                      <a:pt x="19" y="0"/>
                    </a:lnTo>
                    <a:lnTo>
                      <a:pt x="25" y="2"/>
                    </a:lnTo>
                    <a:lnTo>
                      <a:pt x="31" y="4"/>
                    </a:lnTo>
                    <a:lnTo>
                      <a:pt x="38" y="2"/>
                    </a:lnTo>
                    <a:lnTo>
                      <a:pt x="47" y="2"/>
                    </a:lnTo>
                    <a:lnTo>
                      <a:pt x="57" y="2"/>
                    </a:lnTo>
                    <a:lnTo>
                      <a:pt x="64" y="6"/>
                    </a:lnTo>
                    <a:lnTo>
                      <a:pt x="69" y="11"/>
                    </a:lnTo>
                    <a:lnTo>
                      <a:pt x="76" y="16"/>
                    </a:lnTo>
                    <a:lnTo>
                      <a:pt x="73"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35" name="Freeform 287"/>
              <p:cNvSpPr>
                <a:spLocks/>
              </p:cNvSpPr>
              <p:nvPr/>
            </p:nvSpPr>
            <p:spPr bwMode="auto">
              <a:xfrm>
                <a:off x="2907507" y="3781425"/>
                <a:ext cx="15875" cy="15875"/>
              </a:xfrm>
              <a:custGeom>
                <a:avLst/>
                <a:gdLst/>
                <a:ahLst/>
                <a:cxnLst>
                  <a:cxn ang="0">
                    <a:pos x="10" y="3"/>
                  </a:cxn>
                  <a:cxn ang="0">
                    <a:pos x="10" y="0"/>
                  </a:cxn>
                  <a:cxn ang="0">
                    <a:pos x="6" y="0"/>
                  </a:cxn>
                  <a:cxn ang="0">
                    <a:pos x="5" y="0"/>
                  </a:cxn>
                  <a:cxn ang="0">
                    <a:pos x="0" y="1"/>
                  </a:cxn>
                  <a:cxn ang="0">
                    <a:pos x="0" y="10"/>
                  </a:cxn>
                  <a:cxn ang="0">
                    <a:pos x="3" y="10"/>
                  </a:cxn>
                  <a:cxn ang="0">
                    <a:pos x="6" y="7"/>
                  </a:cxn>
                  <a:cxn ang="0">
                    <a:pos x="10" y="3"/>
                  </a:cxn>
                </a:cxnLst>
                <a:rect l="0" t="0" r="r" b="b"/>
                <a:pathLst>
                  <a:path w="10" h="10">
                    <a:moveTo>
                      <a:pt x="10" y="3"/>
                    </a:moveTo>
                    <a:lnTo>
                      <a:pt x="10" y="0"/>
                    </a:lnTo>
                    <a:lnTo>
                      <a:pt x="6" y="0"/>
                    </a:lnTo>
                    <a:lnTo>
                      <a:pt x="5" y="0"/>
                    </a:lnTo>
                    <a:lnTo>
                      <a:pt x="0" y="1"/>
                    </a:lnTo>
                    <a:lnTo>
                      <a:pt x="0" y="10"/>
                    </a:lnTo>
                    <a:lnTo>
                      <a:pt x="3" y="10"/>
                    </a:lnTo>
                    <a:lnTo>
                      <a:pt x="6" y="7"/>
                    </a:lnTo>
                    <a:lnTo>
                      <a:pt x="10"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36" name="Freeform 288"/>
              <p:cNvSpPr>
                <a:spLocks/>
              </p:cNvSpPr>
              <p:nvPr/>
            </p:nvSpPr>
            <p:spPr bwMode="auto">
              <a:xfrm>
                <a:off x="3155157" y="4024313"/>
                <a:ext cx="53975" cy="41275"/>
              </a:xfrm>
              <a:custGeom>
                <a:avLst/>
                <a:gdLst/>
                <a:ahLst/>
                <a:cxnLst>
                  <a:cxn ang="0">
                    <a:pos x="14" y="0"/>
                  </a:cxn>
                  <a:cxn ang="0">
                    <a:pos x="17" y="2"/>
                  </a:cxn>
                  <a:cxn ang="0">
                    <a:pos x="24" y="5"/>
                  </a:cxn>
                  <a:cxn ang="0">
                    <a:pos x="26" y="7"/>
                  </a:cxn>
                  <a:cxn ang="0">
                    <a:pos x="31" y="5"/>
                  </a:cxn>
                  <a:cxn ang="0">
                    <a:pos x="33" y="7"/>
                  </a:cxn>
                  <a:cxn ang="0">
                    <a:pos x="34" y="10"/>
                  </a:cxn>
                  <a:cxn ang="0">
                    <a:pos x="29" y="19"/>
                  </a:cxn>
                  <a:cxn ang="0">
                    <a:pos x="21" y="26"/>
                  </a:cxn>
                  <a:cxn ang="0">
                    <a:pos x="14" y="22"/>
                  </a:cxn>
                  <a:cxn ang="0">
                    <a:pos x="7" y="20"/>
                  </a:cxn>
                  <a:cxn ang="0">
                    <a:pos x="2" y="15"/>
                  </a:cxn>
                  <a:cxn ang="0">
                    <a:pos x="0" y="12"/>
                  </a:cxn>
                  <a:cxn ang="0">
                    <a:pos x="2" y="3"/>
                  </a:cxn>
                  <a:cxn ang="0">
                    <a:pos x="10" y="0"/>
                  </a:cxn>
                  <a:cxn ang="0">
                    <a:pos x="12" y="0"/>
                  </a:cxn>
                  <a:cxn ang="0">
                    <a:pos x="14" y="0"/>
                  </a:cxn>
                </a:cxnLst>
                <a:rect l="0" t="0" r="r" b="b"/>
                <a:pathLst>
                  <a:path w="34" h="26">
                    <a:moveTo>
                      <a:pt x="14" y="0"/>
                    </a:moveTo>
                    <a:lnTo>
                      <a:pt x="17" y="2"/>
                    </a:lnTo>
                    <a:lnTo>
                      <a:pt x="24" y="5"/>
                    </a:lnTo>
                    <a:lnTo>
                      <a:pt x="26" y="7"/>
                    </a:lnTo>
                    <a:lnTo>
                      <a:pt x="31" y="5"/>
                    </a:lnTo>
                    <a:lnTo>
                      <a:pt x="33" y="7"/>
                    </a:lnTo>
                    <a:lnTo>
                      <a:pt x="34" y="10"/>
                    </a:lnTo>
                    <a:lnTo>
                      <a:pt x="29" y="19"/>
                    </a:lnTo>
                    <a:lnTo>
                      <a:pt x="21" y="26"/>
                    </a:lnTo>
                    <a:lnTo>
                      <a:pt x="14" y="22"/>
                    </a:lnTo>
                    <a:lnTo>
                      <a:pt x="7" y="20"/>
                    </a:lnTo>
                    <a:lnTo>
                      <a:pt x="2" y="15"/>
                    </a:lnTo>
                    <a:lnTo>
                      <a:pt x="0" y="12"/>
                    </a:lnTo>
                    <a:lnTo>
                      <a:pt x="2" y="3"/>
                    </a:lnTo>
                    <a:lnTo>
                      <a:pt x="10" y="0"/>
                    </a:lnTo>
                    <a:lnTo>
                      <a:pt x="12"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37" name="Freeform 289"/>
              <p:cNvSpPr>
                <a:spLocks/>
              </p:cNvSpPr>
              <p:nvPr/>
            </p:nvSpPr>
            <p:spPr bwMode="auto">
              <a:xfrm>
                <a:off x="2961482" y="5340350"/>
                <a:ext cx="38100" cy="23812"/>
              </a:xfrm>
              <a:custGeom>
                <a:avLst/>
                <a:gdLst/>
                <a:ahLst/>
                <a:cxnLst>
                  <a:cxn ang="0">
                    <a:pos x="5" y="3"/>
                  </a:cxn>
                  <a:cxn ang="0">
                    <a:pos x="8" y="1"/>
                  </a:cxn>
                  <a:cxn ang="0">
                    <a:pos x="14" y="0"/>
                  </a:cxn>
                  <a:cxn ang="0">
                    <a:pos x="19" y="0"/>
                  </a:cxn>
                  <a:cxn ang="0">
                    <a:pos x="24" y="0"/>
                  </a:cxn>
                  <a:cxn ang="0">
                    <a:pos x="24" y="1"/>
                  </a:cxn>
                  <a:cxn ang="0">
                    <a:pos x="24" y="3"/>
                  </a:cxn>
                  <a:cxn ang="0">
                    <a:pos x="19" y="8"/>
                  </a:cxn>
                  <a:cxn ang="0">
                    <a:pos x="10" y="10"/>
                  </a:cxn>
                  <a:cxn ang="0">
                    <a:pos x="7" y="13"/>
                  </a:cxn>
                  <a:cxn ang="0">
                    <a:pos x="3" y="15"/>
                  </a:cxn>
                  <a:cxn ang="0">
                    <a:pos x="2" y="15"/>
                  </a:cxn>
                  <a:cxn ang="0">
                    <a:pos x="0" y="15"/>
                  </a:cxn>
                  <a:cxn ang="0">
                    <a:pos x="0" y="10"/>
                  </a:cxn>
                  <a:cxn ang="0">
                    <a:pos x="2" y="6"/>
                  </a:cxn>
                  <a:cxn ang="0">
                    <a:pos x="5" y="3"/>
                  </a:cxn>
                </a:cxnLst>
                <a:rect l="0" t="0" r="r" b="b"/>
                <a:pathLst>
                  <a:path w="24" h="15">
                    <a:moveTo>
                      <a:pt x="5" y="3"/>
                    </a:moveTo>
                    <a:lnTo>
                      <a:pt x="8" y="1"/>
                    </a:lnTo>
                    <a:lnTo>
                      <a:pt x="14" y="0"/>
                    </a:lnTo>
                    <a:lnTo>
                      <a:pt x="19" y="0"/>
                    </a:lnTo>
                    <a:lnTo>
                      <a:pt x="24" y="0"/>
                    </a:lnTo>
                    <a:lnTo>
                      <a:pt x="24" y="1"/>
                    </a:lnTo>
                    <a:lnTo>
                      <a:pt x="24" y="3"/>
                    </a:lnTo>
                    <a:lnTo>
                      <a:pt x="19" y="8"/>
                    </a:lnTo>
                    <a:lnTo>
                      <a:pt x="10" y="10"/>
                    </a:lnTo>
                    <a:lnTo>
                      <a:pt x="7" y="13"/>
                    </a:lnTo>
                    <a:lnTo>
                      <a:pt x="3" y="15"/>
                    </a:lnTo>
                    <a:lnTo>
                      <a:pt x="2" y="15"/>
                    </a:lnTo>
                    <a:lnTo>
                      <a:pt x="0" y="15"/>
                    </a:lnTo>
                    <a:lnTo>
                      <a:pt x="0" y="10"/>
                    </a:lnTo>
                    <a:lnTo>
                      <a:pt x="2" y="6"/>
                    </a:lnTo>
                    <a:lnTo>
                      <a:pt x="5"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38" name="Freeform 290"/>
              <p:cNvSpPr>
                <a:spLocks/>
              </p:cNvSpPr>
              <p:nvPr/>
            </p:nvSpPr>
            <p:spPr bwMode="auto">
              <a:xfrm>
                <a:off x="2934494" y="5334000"/>
                <a:ext cx="31750" cy="26987"/>
              </a:xfrm>
              <a:custGeom>
                <a:avLst/>
                <a:gdLst/>
                <a:ahLst/>
                <a:cxnLst>
                  <a:cxn ang="0">
                    <a:pos x="7" y="5"/>
                  </a:cxn>
                  <a:cxn ang="0">
                    <a:pos x="3" y="2"/>
                  </a:cxn>
                  <a:cxn ang="0">
                    <a:pos x="3" y="0"/>
                  </a:cxn>
                  <a:cxn ang="0">
                    <a:pos x="12" y="0"/>
                  </a:cxn>
                  <a:cxn ang="0">
                    <a:pos x="20" y="0"/>
                  </a:cxn>
                  <a:cxn ang="0">
                    <a:pos x="20" y="2"/>
                  </a:cxn>
                  <a:cxn ang="0">
                    <a:pos x="20" y="5"/>
                  </a:cxn>
                  <a:cxn ang="0">
                    <a:pos x="10" y="10"/>
                  </a:cxn>
                  <a:cxn ang="0">
                    <a:pos x="1" y="17"/>
                  </a:cxn>
                  <a:cxn ang="0">
                    <a:pos x="0" y="16"/>
                  </a:cxn>
                  <a:cxn ang="0">
                    <a:pos x="3" y="10"/>
                  </a:cxn>
                  <a:cxn ang="0">
                    <a:pos x="7" y="5"/>
                  </a:cxn>
                </a:cxnLst>
                <a:rect l="0" t="0" r="r" b="b"/>
                <a:pathLst>
                  <a:path w="20" h="17">
                    <a:moveTo>
                      <a:pt x="7" y="5"/>
                    </a:moveTo>
                    <a:lnTo>
                      <a:pt x="3" y="2"/>
                    </a:lnTo>
                    <a:lnTo>
                      <a:pt x="3" y="0"/>
                    </a:lnTo>
                    <a:lnTo>
                      <a:pt x="12" y="0"/>
                    </a:lnTo>
                    <a:lnTo>
                      <a:pt x="20" y="0"/>
                    </a:lnTo>
                    <a:lnTo>
                      <a:pt x="20" y="2"/>
                    </a:lnTo>
                    <a:lnTo>
                      <a:pt x="20" y="5"/>
                    </a:lnTo>
                    <a:lnTo>
                      <a:pt x="10" y="10"/>
                    </a:lnTo>
                    <a:lnTo>
                      <a:pt x="1" y="17"/>
                    </a:lnTo>
                    <a:lnTo>
                      <a:pt x="0" y="16"/>
                    </a:lnTo>
                    <a:lnTo>
                      <a:pt x="3"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39" name="Freeform 291"/>
              <p:cNvSpPr>
                <a:spLocks/>
              </p:cNvSpPr>
              <p:nvPr/>
            </p:nvSpPr>
            <p:spPr bwMode="auto">
              <a:xfrm>
                <a:off x="2620169" y="5057775"/>
                <a:ext cx="19050" cy="47625"/>
              </a:xfrm>
              <a:custGeom>
                <a:avLst/>
                <a:gdLst/>
                <a:ahLst/>
                <a:cxnLst>
                  <a:cxn ang="0">
                    <a:pos x="0" y="16"/>
                  </a:cxn>
                  <a:cxn ang="0">
                    <a:pos x="0" y="13"/>
                  </a:cxn>
                  <a:cxn ang="0">
                    <a:pos x="2" y="7"/>
                  </a:cxn>
                  <a:cxn ang="0">
                    <a:pos x="2" y="2"/>
                  </a:cxn>
                  <a:cxn ang="0">
                    <a:pos x="5" y="0"/>
                  </a:cxn>
                  <a:cxn ang="0">
                    <a:pos x="10" y="2"/>
                  </a:cxn>
                  <a:cxn ang="0">
                    <a:pos x="12" y="9"/>
                  </a:cxn>
                  <a:cxn ang="0">
                    <a:pos x="10" y="13"/>
                  </a:cxn>
                  <a:cxn ang="0">
                    <a:pos x="10" y="14"/>
                  </a:cxn>
                  <a:cxn ang="0">
                    <a:pos x="10" y="30"/>
                  </a:cxn>
                  <a:cxn ang="0">
                    <a:pos x="5" y="30"/>
                  </a:cxn>
                  <a:cxn ang="0">
                    <a:pos x="0" y="26"/>
                  </a:cxn>
                  <a:cxn ang="0">
                    <a:pos x="0" y="23"/>
                  </a:cxn>
                  <a:cxn ang="0">
                    <a:pos x="0" y="18"/>
                  </a:cxn>
                  <a:cxn ang="0">
                    <a:pos x="0" y="16"/>
                  </a:cxn>
                </a:cxnLst>
                <a:rect l="0" t="0" r="r" b="b"/>
                <a:pathLst>
                  <a:path w="12" h="30">
                    <a:moveTo>
                      <a:pt x="0" y="16"/>
                    </a:moveTo>
                    <a:lnTo>
                      <a:pt x="0" y="13"/>
                    </a:lnTo>
                    <a:lnTo>
                      <a:pt x="2" y="7"/>
                    </a:lnTo>
                    <a:lnTo>
                      <a:pt x="2" y="2"/>
                    </a:lnTo>
                    <a:lnTo>
                      <a:pt x="5" y="0"/>
                    </a:lnTo>
                    <a:lnTo>
                      <a:pt x="10" y="2"/>
                    </a:lnTo>
                    <a:lnTo>
                      <a:pt x="12" y="9"/>
                    </a:lnTo>
                    <a:lnTo>
                      <a:pt x="10" y="13"/>
                    </a:lnTo>
                    <a:lnTo>
                      <a:pt x="10" y="14"/>
                    </a:lnTo>
                    <a:lnTo>
                      <a:pt x="10" y="30"/>
                    </a:lnTo>
                    <a:lnTo>
                      <a:pt x="5" y="30"/>
                    </a:lnTo>
                    <a:lnTo>
                      <a:pt x="0" y="26"/>
                    </a:lnTo>
                    <a:lnTo>
                      <a:pt x="0" y="23"/>
                    </a:lnTo>
                    <a:lnTo>
                      <a:pt x="0" y="18"/>
                    </a:lnTo>
                    <a:lnTo>
                      <a:pt x="0"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40" name="Freeform 292"/>
              <p:cNvSpPr>
                <a:spLocks/>
              </p:cNvSpPr>
              <p:nvPr/>
            </p:nvSpPr>
            <p:spPr bwMode="auto">
              <a:xfrm>
                <a:off x="2453482" y="3743325"/>
                <a:ext cx="1069975" cy="1722437"/>
              </a:xfrm>
              <a:custGeom>
                <a:avLst/>
                <a:gdLst/>
                <a:ahLst/>
                <a:cxnLst>
                  <a:cxn ang="0">
                    <a:pos x="52" y="79"/>
                  </a:cxn>
                  <a:cxn ang="0">
                    <a:pos x="65" y="55"/>
                  </a:cxn>
                  <a:cxn ang="0">
                    <a:pos x="86" y="22"/>
                  </a:cxn>
                  <a:cxn ang="0">
                    <a:pos x="143" y="0"/>
                  </a:cxn>
                  <a:cxn ang="0">
                    <a:pos x="139" y="41"/>
                  </a:cxn>
                  <a:cxn ang="0">
                    <a:pos x="158" y="13"/>
                  </a:cxn>
                  <a:cxn ang="0">
                    <a:pos x="191" y="22"/>
                  </a:cxn>
                  <a:cxn ang="0">
                    <a:pos x="234" y="32"/>
                  </a:cxn>
                  <a:cxn ang="0">
                    <a:pos x="272" y="24"/>
                  </a:cxn>
                  <a:cxn ang="0">
                    <a:pos x="313" y="56"/>
                  </a:cxn>
                  <a:cxn ang="0">
                    <a:pos x="344" y="87"/>
                  </a:cxn>
                  <a:cxn ang="0">
                    <a:pos x="409" y="101"/>
                  </a:cxn>
                  <a:cxn ang="0">
                    <a:pos x="442" y="134"/>
                  </a:cxn>
                  <a:cxn ang="0">
                    <a:pos x="437" y="177"/>
                  </a:cxn>
                  <a:cxn ang="0">
                    <a:pos x="463" y="208"/>
                  </a:cxn>
                  <a:cxn ang="0">
                    <a:pos x="507" y="192"/>
                  </a:cxn>
                  <a:cxn ang="0">
                    <a:pos x="538" y="218"/>
                  </a:cxn>
                  <a:cxn ang="0">
                    <a:pos x="616" y="227"/>
                  </a:cxn>
                  <a:cxn ang="0">
                    <a:pos x="671" y="261"/>
                  </a:cxn>
                  <a:cxn ang="0">
                    <a:pos x="642" y="345"/>
                  </a:cxn>
                  <a:cxn ang="0">
                    <a:pos x="614" y="395"/>
                  </a:cxn>
                  <a:cxn ang="0">
                    <a:pos x="604" y="447"/>
                  </a:cxn>
                  <a:cxn ang="0">
                    <a:pos x="571" y="510"/>
                  </a:cxn>
                  <a:cxn ang="0">
                    <a:pos x="509" y="533"/>
                  </a:cxn>
                  <a:cxn ang="0">
                    <a:pos x="475" y="602"/>
                  </a:cxn>
                  <a:cxn ang="0">
                    <a:pos x="433" y="655"/>
                  </a:cxn>
                  <a:cxn ang="0">
                    <a:pos x="368" y="706"/>
                  </a:cxn>
                  <a:cxn ang="0">
                    <a:pos x="342" y="710"/>
                  </a:cxn>
                  <a:cxn ang="0">
                    <a:pos x="349" y="758"/>
                  </a:cxn>
                  <a:cxn ang="0">
                    <a:pos x="282" y="777"/>
                  </a:cxn>
                  <a:cxn ang="0">
                    <a:pos x="277" y="811"/>
                  </a:cxn>
                  <a:cxn ang="0">
                    <a:pos x="237" y="822"/>
                  </a:cxn>
                  <a:cxn ang="0">
                    <a:pos x="260" y="839"/>
                  </a:cxn>
                  <a:cxn ang="0">
                    <a:pos x="237" y="861"/>
                  </a:cxn>
                  <a:cxn ang="0">
                    <a:pos x="217" y="918"/>
                  </a:cxn>
                  <a:cxn ang="0">
                    <a:pos x="205" y="961"/>
                  </a:cxn>
                  <a:cxn ang="0">
                    <a:pos x="186" y="1014"/>
                  </a:cxn>
                  <a:cxn ang="0">
                    <a:pos x="229" y="1068"/>
                  </a:cxn>
                  <a:cxn ang="0">
                    <a:pos x="201" y="1083"/>
                  </a:cxn>
                  <a:cxn ang="0">
                    <a:pos x="169" y="1071"/>
                  </a:cxn>
                  <a:cxn ang="0">
                    <a:pos x="132" y="1050"/>
                  </a:cxn>
                  <a:cxn ang="0">
                    <a:pos x="107" y="1026"/>
                  </a:cxn>
                  <a:cxn ang="0">
                    <a:pos x="105" y="1000"/>
                  </a:cxn>
                  <a:cxn ang="0">
                    <a:pos x="91" y="954"/>
                  </a:cxn>
                  <a:cxn ang="0">
                    <a:pos x="96" y="904"/>
                  </a:cxn>
                  <a:cxn ang="0">
                    <a:pos x="127" y="823"/>
                  </a:cxn>
                  <a:cxn ang="0">
                    <a:pos x="115" y="789"/>
                  </a:cxn>
                  <a:cxn ang="0">
                    <a:pos x="115" y="767"/>
                  </a:cxn>
                  <a:cxn ang="0">
                    <a:pos x="138" y="715"/>
                  </a:cxn>
                  <a:cxn ang="0">
                    <a:pos x="151" y="595"/>
                  </a:cxn>
                  <a:cxn ang="0">
                    <a:pos x="162" y="538"/>
                  </a:cxn>
                  <a:cxn ang="0">
                    <a:pos x="165" y="498"/>
                  </a:cxn>
                  <a:cxn ang="0">
                    <a:pos x="129" y="428"/>
                  </a:cxn>
                  <a:cxn ang="0">
                    <a:pos x="74" y="393"/>
                  </a:cxn>
                  <a:cxn ang="0">
                    <a:pos x="40" y="311"/>
                  </a:cxn>
                  <a:cxn ang="0">
                    <a:pos x="14" y="277"/>
                  </a:cxn>
                  <a:cxn ang="0">
                    <a:pos x="17" y="216"/>
                  </a:cxn>
                  <a:cxn ang="0">
                    <a:pos x="17" y="170"/>
                  </a:cxn>
                  <a:cxn ang="0">
                    <a:pos x="55" y="132"/>
                  </a:cxn>
                </a:cxnLst>
                <a:rect l="0" t="0" r="r" b="b"/>
                <a:pathLst>
                  <a:path w="674" h="1085">
                    <a:moveTo>
                      <a:pt x="57" y="118"/>
                    </a:moveTo>
                    <a:lnTo>
                      <a:pt x="57" y="115"/>
                    </a:lnTo>
                    <a:lnTo>
                      <a:pt x="55" y="108"/>
                    </a:lnTo>
                    <a:lnTo>
                      <a:pt x="53" y="103"/>
                    </a:lnTo>
                    <a:lnTo>
                      <a:pt x="55" y="96"/>
                    </a:lnTo>
                    <a:lnTo>
                      <a:pt x="57" y="91"/>
                    </a:lnTo>
                    <a:lnTo>
                      <a:pt x="52" y="79"/>
                    </a:lnTo>
                    <a:lnTo>
                      <a:pt x="48" y="72"/>
                    </a:lnTo>
                    <a:lnTo>
                      <a:pt x="53" y="63"/>
                    </a:lnTo>
                    <a:lnTo>
                      <a:pt x="60" y="58"/>
                    </a:lnTo>
                    <a:lnTo>
                      <a:pt x="62" y="58"/>
                    </a:lnTo>
                    <a:lnTo>
                      <a:pt x="65" y="58"/>
                    </a:lnTo>
                    <a:lnTo>
                      <a:pt x="65" y="56"/>
                    </a:lnTo>
                    <a:lnTo>
                      <a:pt x="65" y="55"/>
                    </a:lnTo>
                    <a:lnTo>
                      <a:pt x="67" y="53"/>
                    </a:lnTo>
                    <a:lnTo>
                      <a:pt x="69" y="53"/>
                    </a:lnTo>
                    <a:lnTo>
                      <a:pt x="71" y="46"/>
                    </a:lnTo>
                    <a:lnTo>
                      <a:pt x="77" y="43"/>
                    </a:lnTo>
                    <a:lnTo>
                      <a:pt x="79" y="36"/>
                    </a:lnTo>
                    <a:lnTo>
                      <a:pt x="83" y="31"/>
                    </a:lnTo>
                    <a:lnTo>
                      <a:pt x="86" y="22"/>
                    </a:lnTo>
                    <a:lnTo>
                      <a:pt x="96" y="19"/>
                    </a:lnTo>
                    <a:lnTo>
                      <a:pt x="103" y="15"/>
                    </a:lnTo>
                    <a:lnTo>
                      <a:pt x="112" y="13"/>
                    </a:lnTo>
                    <a:lnTo>
                      <a:pt x="119" y="10"/>
                    </a:lnTo>
                    <a:lnTo>
                      <a:pt x="129" y="8"/>
                    </a:lnTo>
                    <a:lnTo>
                      <a:pt x="136" y="3"/>
                    </a:lnTo>
                    <a:lnTo>
                      <a:pt x="143" y="0"/>
                    </a:lnTo>
                    <a:lnTo>
                      <a:pt x="146" y="1"/>
                    </a:lnTo>
                    <a:lnTo>
                      <a:pt x="148" y="5"/>
                    </a:lnTo>
                    <a:lnTo>
                      <a:pt x="144" y="10"/>
                    </a:lnTo>
                    <a:lnTo>
                      <a:pt x="143" y="12"/>
                    </a:lnTo>
                    <a:lnTo>
                      <a:pt x="139" y="22"/>
                    </a:lnTo>
                    <a:lnTo>
                      <a:pt x="138" y="32"/>
                    </a:lnTo>
                    <a:lnTo>
                      <a:pt x="139" y="41"/>
                    </a:lnTo>
                    <a:lnTo>
                      <a:pt x="146" y="48"/>
                    </a:lnTo>
                    <a:lnTo>
                      <a:pt x="148" y="43"/>
                    </a:lnTo>
                    <a:lnTo>
                      <a:pt x="151" y="39"/>
                    </a:lnTo>
                    <a:lnTo>
                      <a:pt x="148" y="31"/>
                    </a:lnTo>
                    <a:lnTo>
                      <a:pt x="144" y="24"/>
                    </a:lnTo>
                    <a:lnTo>
                      <a:pt x="148" y="15"/>
                    </a:lnTo>
                    <a:lnTo>
                      <a:pt x="158" y="13"/>
                    </a:lnTo>
                    <a:lnTo>
                      <a:pt x="170" y="13"/>
                    </a:lnTo>
                    <a:lnTo>
                      <a:pt x="163" y="8"/>
                    </a:lnTo>
                    <a:lnTo>
                      <a:pt x="160" y="5"/>
                    </a:lnTo>
                    <a:lnTo>
                      <a:pt x="170" y="5"/>
                    </a:lnTo>
                    <a:lnTo>
                      <a:pt x="177" y="13"/>
                    </a:lnTo>
                    <a:lnTo>
                      <a:pt x="191" y="17"/>
                    </a:lnTo>
                    <a:lnTo>
                      <a:pt x="191" y="22"/>
                    </a:lnTo>
                    <a:lnTo>
                      <a:pt x="196" y="25"/>
                    </a:lnTo>
                    <a:lnTo>
                      <a:pt x="203" y="25"/>
                    </a:lnTo>
                    <a:lnTo>
                      <a:pt x="212" y="25"/>
                    </a:lnTo>
                    <a:lnTo>
                      <a:pt x="218" y="25"/>
                    </a:lnTo>
                    <a:lnTo>
                      <a:pt x="224" y="25"/>
                    </a:lnTo>
                    <a:lnTo>
                      <a:pt x="227" y="31"/>
                    </a:lnTo>
                    <a:lnTo>
                      <a:pt x="234" y="32"/>
                    </a:lnTo>
                    <a:lnTo>
                      <a:pt x="244" y="29"/>
                    </a:lnTo>
                    <a:lnTo>
                      <a:pt x="249" y="25"/>
                    </a:lnTo>
                    <a:lnTo>
                      <a:pt x="256" y="24"/>
                    </a:lnTo>
                    <a:lnTo>
                      <a:pt x="263" y="22"/>
                    </a:lnTo>
                    <a:lnTo>
                      <a:pt x="272" y="22"/>
                    </a:lnTo>
                    <a:lnTo>
                      <a:pt x="277" y="24"/>
                    </a:lnTo>
                    <a:lnTo>
                      <a:pt x="272" y="24"/>
                    </a:lnTo>
                    <a:lnTo>
                      <a:pt x="268" y="25"/>
                    </a:lnTo>
                    <a:lnTo>
                      <a:pt x="268" y="29"/>
                    </a:lnTo>
                    <a:lnTo>
                      <a:pt x="279" y="36"/>
                    </a:lnTo>
                    <a:lnTo>
                      <a:pt x="291" y="39"/>
                    </a:lnTo>
                    <a:lnTo>
                      <a:pt x="296" y="46"/>
                    </a:lnTo>
                    <a:lnTo>
                      <a:pt x="298" y="56"/>
                    </a:lnTo>
                    <a:lnTo>
                      <a:pt x="313" y="56"/>
                    </a:lnTo>
                    <a:lnTo>
                      <a:pt x="318" y="60"/>
                    </a:lnTo>
                    <a:lnTo>
                      <a:pt x="323" y="63"/>
                    </a:lnTo>
                    <a:lnTo>
                      <a:pt x="327" y="68"/>
                    </a:lnTo>
                    <a:lnTo>
                      <a:pt x="332" y="77"/>
                    </a:lnTo>
                    <a:lnTo>
                      <a:pt x="335" y="79"/>
                    </a:lnTo>
                    <a:lnTo>
                      <a:pt x="341" y="81"/>
                    </a:lnTo>
                    <a:lnTo>
                      <a:pt x="344" y="87"/>
                    </a:lnTo>
                    <a:lnTo>
                      <a:pt x="354" y="91"/>
                    </a:lnTo>
                    <a:lnTo>
                      <a:pt x="366" y="93"/>
                    </a:lnTo>
                    <a:lnTo>
                      <a:pt x="378" y="94"/>
                    </a:lnTo>
                    <a:lnTo>
                      <a:pt x="392" y="94"/>
                    </a:lnTo>
                    <a:lnTo>
                      <a:pt x="399" y="98"/>
                    </a:lnTo>
                    <a:lnTo>
                      <a:pt x="409" y="101"/>
                    </a:lnTo>
                    <a:lnTo>
                      <a:pt x="409" y="101"/>
                    </a:lnTo>
                    <a:lnTo>
                      <a:pt x="411" y="101"/>
                    </a:lnTo>
                    <a:lnTo>
                      <a:pt x="416" y="103"/>
                    </a:lnTo>
                    <a:lnTo>
                      <a:pt x="425" y="110"/>
                    </a:lnTo>
                    <a:lnTo>
                      <a:pt x="430" y="115"/>
                    </a:lnTo>
                    <a:lnTo>
                      <a:pt x="439" y="120"/>
                    </a:lnTo>
                    <a:lnTo>
                      <a:pt x="439" y="125"/>
                    </a:lnTo>
                    <a:lnTo>
                      <a:pt x="442" y="134"/>
                    </a:lnTo>
                    <a:lnTo>
                      <a:pt x="445" y="141"/>
                    </a:lnTo>
                    <a:lnTo>
                      <a:pt x="449" y="149"/>
                    </a:lnTo>
                    <a:lnTo>
                      <a:pt x="452" y="153"/>
                    </a:lnTo>
                    <a:lnTo>
                      <a:pt x="457" y="158"/>
                    </a:lnTo>
                    <a:lnTo>
                      <a:pt x="449" y="163"/>
                    </a:lnTo>
                    <a:lnTo>
                      <a:pt x="442" y="170"/>
                    </a:lnTo>
                    <a:lnTo>
                      <a:pt x="437" y="177"/>
                    </a:lnTo>
                    <a:lnTo>
                      <a:pt x="435" y="189"/>
                    </a:lnTo>
                    <a:lnTo>
                      <a:pt x="437" y="192"/>
                    </a:lnTo>
                    <a:lnTo>
                      <a:pt x="442" y="194"/>
                    </a:lnTo>
                    <a:lnTo>
                      <a:pt x="447" y="199"/>
                    </a:lnTo>
                    <a:lnTo>
                      <a:pt x="451" y="206"/>
                    </a:lnTo>
                    <a:lnTo>
                      <a:pt x="463" y="206"/>
                    </a:lnTo>
                    <a:lnTo>
                      <a:pt x="463" y="208"/>
                    </a:lnTo>
                    <a:lnTo>
                      <a:pt x="464" y="211"/>
                    </a:lnTo>
                    <a:lnTo>
                      <a:pt x="468" y="208"/>
                    </a:lnTo>
                    <a:lnTo>
                      <a:pt x="471" y="206"/>
                    </a:lnTo>
                    <a:lnTo>
                      <a:pt x="478" y="192"/>
                    </a:lnTo>
                    <a:lnTo>
                      <a:pt x="490" y="187"/>
                    </a:lnTo>
                    <a:lnTo>
                      <a:pt x="497" y="187"/>
                    </a:lnTo>
                    <a:lnTo>
                      <a:pt x="507" y="192"/>
                    </a:lnTo>
                    <a:lnTo>
                      <a:pt x="516" y="196"/>
                    </a:lnTo>
                    <a:lnTo>
                      <a:pt x="525" y="201"/>
                    </a:lnTo>
                    <a:lnTo>
                      <a:pt x="530" y="203"/>
                    </a:lnTo>
                    <a:lnTo>
                      <a:pt x="533" y="206"/>
                    </a:lnTo>
                    <a:lnTo>
                      <a:pt x="533" y="211"/>
                    </a:lnTo>
                    <a:lnTo>
                      <a:pt x="535" y="218"/>
                    </a:lnTo>
                    <a:lnTo>
                      <a:pt x="538" y="218"/>
                    </a:lnTo>
                    <a:lnTo>
                      <a:pt x="543" y="215"/>
                    </a:lnTo>
                    <a:lnTo>
                      <a:pt x="549" y="213"/>
                    </a:lnTo>
                    <a:lnTo>
                      <a:pt x="561" y="216"/>
                    </a:lnTo>
                    <a:lnTo>
                      <a:pt x="573" y="222"/>
                    </a:lnTo>
                    <a:lnTo>
                      <a:pt x="592" y="218"/>
                    </a:lnTo>
                    <a:lnTo>
                      <a:pt x="604" y="222"/>
                    </a:lnTo>
                    <a:lnTo>
                      <a:pt x="616" y="227"/>
                    </a:lnTo>
                    <a:lnTo>
                      <a:pt x="619" y="232"/>
                    </a:lnTo>
                    <a:lnTo>
                      <a:pt x="626" y="240"/>
                    </a:lnTo>
                    <a:lnTo>
                      <a:pt x="635" y="246"/>
                    </a:lnTo>
                    <a:lnTo>
                      <a:pt x="643" y="251"/>
                    </a:lnTo>
                    <a:lnTo>
                      <a:pt x="652" y="251"/>
                    </a:lnTo>
                    <a:lnTo>
                      <a:pt x="662" y="252"/>
                    </a:lnTo>
                    <a:lnTo>
                      <a:pt x="671" y="261"/>
                    </a:lnTo>
                    <a:lnTo>
                      <a:pt x="674" y="277"/>
                    </a:lnTo>
                    <a:lnTo>
                      <a:pt x="672" y="289"/>
                    </a:lnTo>
                    <a:lnTo>
                      <a:pt x="671" y="299"/>
                    </a:lnTo>
                    <a:lnTo>
                      <a:pt x="666" y="307"/>
                    </a:lnTo>
                    <a:lnTo>
                      <a:pt x="662" y="316"/>
                    </a:lnTo>
                    <a:lnTo>
                      <a:pt x="652" y="330"/>
                    </a:lnTo>
                    <a:lnTo>
                      <a:pt x="642" y="345"/>
                    </a:lnTo>
                    <a:lnTo>
                      <a:pt x="636" y="349"/>
                    </a:lnTo>
                    <a:lnTo>
                      <a:pt x="633" y="356"/>
                    </a:lnTo>
                    <a:lnTo>
                      <a:pt x="624" y="363"/>
                    </a:lnTo>
                    <a:lnTo>
                      <a:pt x="617" y="369"/>
                    </a:lnTo>
                    <a:lnTo>
                      <a:pt x="612" y="375"/>
                    </a:lnTo>
                    <a:lnTo>
                      <a:pt x="612" y="385"/>
                    </a:lnTo>
                    <a:lnTo>
                      <a:pt x="614" y="395"/>
                    </a:lnTo>
                    <a:lnTo>
                      <a:pt x="616" y="405"/>
                    </a:lnTo>
                    <a:lnTo>
                      <a:pt x="614" y="418"/>
                    </a:lnTo>
                    <a:lnTo>
                      <a:pt x="614" y="430"/>
                    </a:lnTo>
                    <a:lnTo>
                      <a:pt x="612" y="431"/>
                    </a:lnTo>
                    <a:lnTo>
                      <a:pt x="611" y="435"/>
                    </a:lnTo>
                    <a:lnTo>
                      <a:pt x="605" y="440"/>
                    </a:lnTo>
                    <a:lnTo>
                      <a:pt x="604" y="447"/>
                    </a:lnTo>
                    <a:lnTo>
                      <a:pt x="602" y="455"/>
                    </a:lnTo>
                    <a:lnTo>
                      <a:pt x="602" y="464"/>
                    </a:lnTo>
                    <a:lnTo>
                      <a:pt x="592" y="478"/>
                    </a:lnTo>
                    <a:lnTo>
                      <a:pt x="583" y="491"/>
                    </a:lnTo>
                    <a:lnTo>
                      <a:pt x="581" y="497"/>
                    </a:lnTo>
                    <a:lnTo>
                      <a:pt x="581" y="502"/>
                    </a:lnTo>
                    <a:lnTo>
                      <a:pt x="571" y="510"/>
                    </a:lnTo>
                    <a:lnTo>
                      <a:pt x="559" y="516"/>
                    </a:lnTo>
                    <a:lnTo>
                      <a:pt x="545" y="516"/>
                    </a:lnTo>
                    <a:lnTo>
                      <a:pt x="535" y="519"/>
                    </a:lnTo>
                    <a:lnTo>
                      <a:pt x="530" y="521"/>
                    </a:lnTo>
                    <a:lnTo>
                      <a:pt x="528" y="524"/>
                    </a:lnTo>
                    <a:lnTo>
                      <a:pt x="518" y="529"/>
                    </a:lnTo>
                    <a:lnTo>
                      <a:pt x="509" y="533"/>
                    </a:lnTo>
                    <a:lnTo>
                      <a:pt x="500" y="534"/>
                    </a:lnTo>
                    <a:lnTo>
                      <a:pt x="495" y="543"/>
                    </a:lnTo>
                    <a:lnTo>
                      <a:pt x="487" y="548"/>
                    </a:lnTo>
                    <a:lnTo>
                      <a:pt x="480" y="553"/>
                    </a:lnTo>
                    <a:lnTo>
                      <a:pt x="475" y="564"/>
                    </a:lnTo>
                    <a:lnTo>
                      <a:pt x="475" y="577"/>
                    </a:lnTo>
                    <a:lnTo>
                      <a:pt x="475" y="602"/>
                    </a:lnTo>
                    <a:lnTo>
                      <a:pt x="461" y="610"/>
                    </a:lnTo>
                    <a:lnTo>
                      <a:pt x="454" y="626"/>
                    </a:lnTo>
                    <a:lnTo>
                      <a:pt x="454" y="626"/>
                    </a:lnTo>
                    <a:lnTo>
                      <a:pt x="451" y="632"/>
                    </a:lnTo>
                    <a:lnTo>
                      <a:pt x="447" y="641"/>
                    </a:lnTo>
                    <a:lnTo>
                      <a:pt x="439" y="648"/>
                    </a:lnTo>
                    <a:lnTo>
                      <a:pt x="433" y="655"/>
                    </a:lnTo>
                    <a:lnTo>
                      <a:pt x="425" y="660"/>
                    </a:lnTo>
                    <a:lnTo>
                      <a:pt x="420" y="670"/>
                    </a:lnTo>
                    <a:lnTo>
                      <a:pt x="413" y="682"/>
                    </a:lnTo>
                    <a:lnTo>
                      <a:pt x="406" y="694"/>
                    </a:lnTo>
                    <a:lnTo>
                      <a:pt x="396" y="705"/>
                    </a:lnTo>
                    <a:lnTo>
                      <a:pt x="382" y="710"/>
                    </a:lnTo>
                    <a:lnTo>
                      <a:pt x="368" y="706"/>
                    </a:lnTo>
                    <a:lnTo>
                      <a:pt x="359" y="705"/>
                    </a:lnTo>
                    <a:lnTo>
                      <a:pt x="347" y="701"/>
                    </a:lnTo>
                    <a:lnTo>
                      <a:pt x="337" y="700"/>
                    </a:lnTo>
                    <a:lnTo>
                      <a:pt x="334" y="700"/>
                    </a:lnTo>
                    <a:lnTo>
                      <a:pt x="334" y="701"/>
                    </a:lnTo>
                    <a:lnTo>
                      <a:pt x="337" y="706"/>
                    </a:lnTo>
                    <a:lnTo>
                      <a:pt x="342" y="710"/>
                    </a:lnTo>
                    <a:lnTo>
                      <a:pt x="346" y="717"/>
                    </a:lnTo>
                    <a:lnTo>
                      <a:pt x="349" y="725"/>
                    </a:lnTo>
                    <a:lnTo>
                      <a:pt x="353" y="730"/>
                    </a:lnTo>
                    <a:lnTo>
                      <a:pt x="358" y="737"/>
                    </a:lnTo>
                    <a:lnTo>
                      <a:pt x="356" y="744"/>
                    </a:lnTo>
                    <a:lnTo>
                      <a:pt x="356" y="751"/>
                    </a:lnTo>
                    <a:lnTo>
                      <a:pt x="349" y="758"/>
                    </a:lnTo>
                    <a:lnTo>
                      <a:pt x="342" y="767"/>
                    </a:lnTo>
                    <a:lnTo>
                      <a:pt x="327" y="772"/>
                    </a:lnTo>
                    <a:lnTo>
                      <a:pt x="311" y="777"/>
                    </a:lnTo>
                    <a:lnTo>
                      <a:pt x="303" y="775"/>
                    </a:lnTo>
                    <a:lnTo>
                      <a:pt x="294" y="775"/>
                    </a:lnTo>
                    <a:lnTo>
                      <a:pt x="286" y="775"/>
                    </a:lnTo>
                    <a:lnTo>
                      <a:pt x="282" y="777"/>
                    </a:lnTo>
                    <a:lnTo>
                      <a:pt x="277" y="782"/>
                    </a:lnTo>
                    <a:lnTo>
                      <a:pt x="277" y="791"/>
                    </a:lnTo>
                    <a:lnTo>
                      <a:pt x="277" y="798"/>
                    </a:lnTo>
                    <a:lnTo>
                      <a:pt x="277" y="806"/>
                    </a:lnTo>
                    <a:lnTo>
                      <a:pt x="277" y="806"/>
                    </a:lnTo>
                    <a:lnTo>
                      <a:pt x="277" y="808"/>
                    </a:lnTo>
                    <a:lnTo>
                      <a:pt x="277" y="811"/>
                    </a:lnTo>
                    <a:lnTo>
                      <a:pt x="272" y="815"/>
                    </a:lnTo>
                    <a:lnTo>
                      <a:pt x="265" y="818"/>
                    </a:lnTo>
                    <a:lnTo>
                      <a:pt x="253" y="815"/>
                    </a:lnTo>
                    <a:lnTo>
                      <a:pt x="243" y="811"/>
                    </a:lnTo>
                    <a:lnTo>
                      <a:pt x="237" y="813"/>
                    </a:lnTo>
                    <a:lnTo>
                      <a:pt x="237" y="816"/>
                    </a:lnTo>
                    <a:lnTo>
                      <a:pt x="237" y="822"/>
                    </a:lnTo>
                    <a:lnTo>
                      <a:pt x="239" y="828"/>
                    </a:lnTo>
                    <a:lnTo>
                      <a:pt x="243" y="834"/>
                    </a:lnTo>
                    <a:lnTo>
                      <a:pt x="248" y="837"/>
                    </a:lnTo>
                    <a:lnTo>
                      <a:pt x="251" y="835"/>
                    </a:lnTo>
                    <a:lnTo>
                      <a:pt x="255" y="834"/>
                    </a:lnTo>
                    <a:lnTo>
                      <a:pt x="256" y="835"/>
                    </a:lnTo>
                    <a:lnTo>
                      <a:pt x="260" y="839"/>
                    </a:lnTo>
                    <a:lnTo>
                      <a:pt x="256" y="842"/>
                    </a:lnTo>
                    <a:lnTo>
                      <a:pt x="255" y="846"/>
                    </a:lnTo>
                    <a:lnTo>
                      <a:pt x="246" y="842"/>
                    </a:lnTo>
                    <a:lnTo>
                      <a:pt x="241" y="841"/>
                    </a:lnTo>
                    <a:lnTo>
                      <a:pt x="243" y="846"/>
                    </a:lnTo>
                    <a:lnTo>
                      <a:pt x="248" y="847"/>
                    </a:lnTo>
                    <a:lnTo>
                      <a:pt x="237" y="861"/>
                    </a:lnTo>
                    <a:lnTo>
                      <a:pt x="234" y="878"/>
                    </a:lnTo>
                    <a:lnTo>
                      <a:pt x="227" y="884"/>
                    </a:lnTo>
                    <a:lnTo>
                      <a:pt x="220" y="885"/>
                    </a:lnTo>
                    <a:lnTo>
                      <a:pt x="210" y="890"/>
                    </a:lnTo>
                    <a:lnTo>
                      <a:pt x="206" y="904"/>
                    </a:lnTo>
                    <a:lnTo>
                      <a:pt x="208" y="913"/>
                    </a:lnTo>
                    <a:lnTo>
                      <a:pt x="217" y="918"/>
                    </a:lnTo>
                    <a:lnTo>
                      <a:pt x="224" y="921"/>
                    </a:lnTo>
                    <a:lnTo>
                      <a:pt x="229" y="932"/>
                    </a:lnTo>
                    <a:lnTo>
                      <a:pt x="225" y="939"/>
                    </a:lnTo>
                    <a:lnTo>
                      <a:pt x="220" y="945"/>
                    </a:lnTo>
                    <a:lnTo>
                      <a:pt x="213" y="949"/>
                    </a:lnTo>
                    <a:lnTo>
                      <a:pt x="208" y="954"/>
                    </a:lnTo>
                    <a:lnTo>
                      <a:pt x="205" y="961"/>
                    </a:lnTo>
                    <a:lnTo>
                      <a:pt x="203" y="971"/>
                    </a:lnTo>
                    <a:lnTo>
                      <a:pt x="194" y="976"/>
                    </a:lnTo>
                    <a:lnTo>
                      <a:pt x="187" y="980"/>
                    </a:lnTo>
                    <a:lnTo>
                      <a:pt x="181" y="990"/>
                    </a:lnTo>
                    <a:lnTo>
                      <a:pt x="179" y="1004"/>
                    </a:lnTo>
                    <a:lnTo>
                      <a:pt x="181" y="1009"/>
                    </a:lnTo>
                    <a:lnTo>
                      <a:pt x="186" y="1014"/>
                    </a:lnTo>
                    <a:lnTo>
                      <a:pt x="189" y="1019"/>
                    </a:lnTo>
                    <a:lnTo>
                      <a:pt x="193" y="1031"/>
                    </a:lnTo>
                    <a:lnTo>
                      <a:pt x="196" y="1042"/>
                    </a:lnTo>
                    <a:lnTo>
                      <a:pt x="201" y="1050"/>
                    </a:lnTo>
                    <a:lnTo>
                      <a:pt x="208" y="1055"/>
                    </a:lnTo>
                    <a:lnTo>
                      <a:pt x="218" y="1062"/>
                    </a:lnTo>
                    <a:lnTo>
                      <a:pt x="229" y="1068"/>
                    </a:lnTo>
                    <a:lnTo>
                      <a:pt x="239" y="1073"/>
                    </a:lnTo>
                    <a:lnTo>
                      <a:pt x="236" y="1073"/>
                    </a:lnTo>
                    <a:lnTo>
                      <a:pt x="232" y="1073"/>
                    </a:lnTo>
                    <a:lnTo>
                      <a:pt x="217" y="1078"/>
                    </a:lnTo>
                    <a:lnTo>
                      <a:pt x="206" y="1083"/>
                    </a:lnTo>
                    <a:lnTo>
                      <a:pt x="203" y="1083"/>
                    </a:lnTo>
                    <a:lnTo>
                      <a:pt x="201" y="1083"/>
                    </a:lnTo>
                    <a:lnTo>
                      <a:pt x="198" y="1083"/>
                    </a:lnTo>
                    <a:lnTo>
                      <a:pt x="196" y="1085"/>
                    </a:lnTo>
                    <a:lnTo>
                      <a:pt x="189" y="1085"/>
                    </a:lnTo>
                    <a:lnTo>
                      <a:pt x="182" y="1085"/>
                    </a:lnTo>
                    <a:lnTo>
                      <a:pt x="174" y="1081"/>
                    </a:lnTo>
                    <a:lnTo>
                      <a:pt x="172" y="1076"/>
                    </a:lnTo>
                    <a:lnTo>
                      <a:pt x="169" y="1071"/>
                    </a:lnTo>
                    <a:lnTo>
                      <a:pt x="167" y="1069"/>
                    </a:lnTo>
                    <a:lnTo>
                      <a:pt x="153" y="1064"/>
                    </a:lnTo>
                    <a:lnTo>
                      <a:pt x="148" y="1057"/>
                    </a:lnTo>
                    <a:lnTo>
                      <a:pt x="141" y="1057"/>
                    </a:lnTo>
                    <a:lnTo>
                      <a:pt x="138" y="1057"/>
                    </a:lnTo>
                    <a:lnTo>
                      <a:pt x="132" y="1054"/>
                    </a:lnTo>
                    <a:lnTo>
                      <a:pt x="132" y="1050"/>
                    </a:lnTo>
                    <a:lnTo>
                      <a:pt x="120" y="1049"/>
                    </a:lnTo>
                    <a:lnTo>
                      <a:pt x="115" y="1045"/>
                    </a:lnTo>
                    <a:lnTo>
                      <a:pt x="110" y="1040"/>
                    </a:lnTo>
                    <a:lnTo>
                      <a:pt x="107" y="1037"/>
                    </a:lnTo>
                    <a:lnTo>
                      <a:pt x="105" y="1033"/>
                    </a:lnTo>
                    <a:lnTo>
                      <a:pt x="103" y="1031"/>
                    </a:lnTo>
                    <a:lnTo>
                      <a:pt x="107" y="1026"/>
                    </a:lnTo>
                    <a:lnTo>
                      <a:pt x="112" y="1023"/>
                    </a:lnTo>
                    <a:lnTo>
                      <a:pt x="110" y="1021"/>
                    </a:lnTo>
                    <a:lnTo>
                      <a:pt x="108" y="1021"/>
                    </a:lnTo>
                    <a:lnTo>
                      <a:pt x="110" y="1016"/>
                    </a:lnTo>
                    <a:lnTo>
                      <a:pt x="112" y="1012"/>
                    </a:lnTo>
                    <a:lnTo>
                      <a:pt x="108" y="1004"/>
                    </a:lnTo>
                    <a:lnTo>
                      <a:pt x="105" y="1000"/>
                    </a:lnTo>
                    <a:lnTo>
                      <a:pt x="100" y="997"/>
                    </a:lnTo>
                    <a:lnTo>
                      <a:pt x="98" y="992"/>
                    </a:lnTo>
                    <a:lnTo>
                      <a:pt x="98" y="987"/>
                    </a:lnTo>
                    <a:lnTo>
                      <a:pt x="98" y="985"/>
                    </a:lnTo>
                    <a:lnTo>
                      <a:pt x="96" y="975"/>
                    </a:lnTo>
                    <a:lnTo>
                      <a:pt x="95" y="964"/>
                    </a:lnTo>
                    <a:lnTo>
                      <a:pt x="91" y="954"/>
                    </a:lnTo>
                    <a:lnTo>
                      <a:pt x="91" y="947"/>
                    </a:lnTo>
                    <a:lnTo>
                      <a:pt x="96" y="937"/>
                    </a:lnTo>
                    <a:lnTo>
                      <a:pt x="101" y="927"/>
                    </a:lnTo>
                    <a:lnTo>
                      <a:pt x="98" y="916"/>
                    </a:lnTo>
                    <a:lnTo>
                      <a:pt x="95" y="908"/>
                    </a:lnTo>
                    <a:lnTo>
                      <a:pt x="95" y="904"/>
                    </a:lnTo>
                    <a:lnTo>
                      <a:pt x="96" y="904"/>
                    </a:lnTo>
                    <a:lnTo>
                      <a:pt x="96" y="899"/>
                    </a:lnTo>
                    <a:lnTo>
                      <a:pt x="100" y="897"/>
                    </a:lnTo>
                    <a:lnTo>
                      <a:pt x="107" y="902"/>
                    </a:lnTo>
                    <a:lnTo>
                      <a:pt x="114" y="908"/>
                    </a:lnTo>
                    <a:lnTo>
                      <a:pt x="131" y="832"/>
                    </a:lnTo>
                    <a:lnTo>
                      <a:pt x="131" y="825"/>
                    </a:lnTo>
                    <a:lnTo>
                      <a:pt x="127" y="823"/>
                    </a:lnTo>
                    <a:lnTo>
                      <a:pt x="126" y="825"/>
                    </a:lnTo>
                    <a:lnTo>
                      <a:pt x="120" y="827"/>
                    </a:lnTo>
                    <a:lnTo>
                      <a:pt x="117" y="830"/>
                    </a:lnTo>
                    <a:lnTo>
                      <a:pt x="112" y="823"/>
                    </a:lnTo>
                    <a:lnTo>
                      <a:pt x="110" y="813"/>
                    </a:lnTo>
                    <a:lnTo>
                      <a:pt x="112" y="801"/>
                    </a:lnTo>
                    <a:lnTo>
                      <a:pt x="115" y="789"/>
                    </a:lnTo>
                    <a:lnTo>
                      <a:pt x="119" y="787"/>
                    </a:lnTo>
                    <a:lnTo>
                      <a:pt x="120" y="787"/>
                    </a:lnTo>
                    <a:lnTo>
                      <a:pt x="119" y="782"/>
                    </a:lnTo>
                    <a:lnTo>
                      <a:pt x="117" y="780"/>
                    </a:lnTo>
                    <a:lnTo>
                      <a:pt x="115" y="777"/>
                    </a:lnTo>
                    <a:lnTo>
                      <a:pt x="115" y="772"/>
                    </a:lnTo>
                    <a:lnTo>
                      <a:pt x="115" y="767"/>
                    </a:lnTo>
                    <a:lnTo>
                      <a:pt x="115" y="763"/>
                    </a:lnTo>
                    <a:lnTo>
                      <a:pt x="119" y="744"/>
                    </a:lnTo>
                    <a:lnTo>
                      <a:pt x="127" y="732"/>
                    </a:lnTo>
                    <a:lnTo>
                      <a:pt x="129" y="725"/>
                    </a:lnTo>
                    <a:lnTo>
                      <a:pt x="132" y="718"/>
                    </a:lnTo>
                    <a:lnTo>
                      <a:pt x="134" y="717"/>
                    </a:lnTo>
                    <a:lnTo>
                      <a:pt x="138" y="715"/>
                    </a:lnTo>
                    <a:lnTo>
                      <a:pt x="141" y="698"/>
                    </a:lnTo>
                    <a:lnTo>
                      <a:pt x="144" y="682"/>
                    </a:lnTo>
                    <a:lnTo>
                      <a:pt x="143" y="645"/>
                    </a:lnTo>
                    <a:lnTo>
                      <a:pt x="143" y="632"/>
                    </a:lnTo>
                    <a:lnTo>
                      <a:pt x="146" y="620"/>
                    </a:lnTo>
                    <a:lnTo>
                      <a:pt x="146" y="605"/>
                    </a:lnTo>
                    <a:lnTo>
                      <a:pt x="151" y="595"/>
                    </a:lnTo>
                    <a:lnTo>
                      <a:pt x="155" y="583"/>
                    </a:lnTo>
                    <a:lnTo>
                      <a:pt x="158" y="571"/>
                    </a:lnTo>
                    <a:lnTo>
                      <a:pt x="158" y="569"/>
                    </a:lnTo>
                    <a:lnTo>
                      <a:pt x="158" y="567"/>
                    </a:lnTo>
                    <a:lnTo>
                      <a:pt x="158" y="557"/>
                    </a:lnTo>
                    <a:lnTo>
                      <a:pt x="162" y="548"/>
                    </a:lnTo>
                    <a:lnTo>
                      <a:pt x="162" y="538"/>
                    </a:lnTo>
                    <a:lnTo>
                      <a:pt x="162" y="533"/>
                    </a:lnTo>
                    <a:lnTo>
                      <a:pt x="162" y="529"/>
                    </a:lnTo>
                    <a:lnTo>
                      <a:pt x="162" y="526"/>
                    </a:lnTo>
                    <a:lnTo>
                      <a:pt x="162" y="519"/>
                    </a:lnTo>
                    <a:lnTo>
                      <a:pt x="163" y="512"/>
                    </a:lnTo>
                    <a:lnTo>
                      <a:pt x="163" y="504"/>
                    </a:lnTo>
                    <a:lnTo>
                      <a:pt x="165" y="498"/>
                    </a:lnTo>
                    <a:lnTo>
                      <a:pt x="163" y="490"/>
                    </a:lnTo>
                    <a:lnTo>
                      <a:pt x="163" y="478"/>
                    </a:lnTo>
                    <a:lnTo>
                      <a:pt x="162" y="464"/>
                    </a:lnTo>
                    <a:lnTo>
                      <a:pt x="162" y="457"/>
                    </a:lnTo>
                    <a:lnTo>
                      <a:pt x="151" y="442"/>
                    </a:lnTo>
                    <a:lnTo>
                      <a:pt x="139" y="433"/>
                    </a:lnTo>
                    <a:lnTo>
                      <a:pt x="129" y="428"/>
                    </a:lnTo>
                    <a:lnTo>
                      <a:pt x="120" y="424"/>
                    </a:lnTo>
                    <a:lnTo>
                      <a:pt x="112" y="418"/>
                    </a:lnTo>
                    <a:lnTo>
                      <a:pt x="105" y="414"/>
                    </a:lnTo>
                    <a:lnTo>
                      <a:pt x="95" y="409"/>
                    </a:lnTo>
                    <a:lnTo>
                      <a:pt x="86" y="405"/>
                    </a:lnTo>
                    <a:lnTo>
                      <a:pt x="79" y="399"/>
                    </a:lnTo>
                    <a:lnTo>
                      <a:pt x="74" y="393"/>
                    </a:lnTo>
                    <a:lnTo>
                      <a:pt x="71" y="387"/>
                    </a:lnTo>
                    <a:lnTo>
                      <a:pt x="72" y="378"/>
                    </a:lnTo>
                    <a:lnTo>
                      <a:pt x="67" y="368"/>
                    </a:lnTo>
                    <a:lnTo>
                      <a:pt x="62" y="359"/>
                    </a:lnTo>
                    <a:lnTo>
                      <a:pt x="53" y="342"/>
                    </a:lnTo>
                    <a:lnTo>
                      <a:pt x="45" y="326"/>
                    </a:lnTo>
                    <a:lnTo>
                      <a:pt x="40" y="311"/>
                    </a:lnTo>
                    <a:lnTo>
                      <a:pt x="34" y="299"/>
                    </a:lnTo>
                    <a:lnTo>
                      <a:pt x="31" y="295"/>
                    </a:lnTo>
                    <a:lnTo>
                      <a:pt x="28" y="295"/>
                    </a:lnTo>
                    <a:lnTo>
                      <a:pt x="22" y="287"/>
                    </a:lnTo>
                    <a:lnTo>
                      <a:pt x="21" y="280"/>
                    </a:lnTo>
                    <a:lnTo>
                      <a:pt x="17" y="278"/>
                    </a:lnTo>
                    <a:lnTo>
                      <a:pt x="14" y="277"/>
                    </a:lnTo>
                    <a:lnTo>
                      <a:pt x="3" y="264"/>
                    </a:lnTo>
                    <a:lnTo>
                      <a:pt x="0" y="252"/>
                    </a:lnTo>
                    <a:lnTo>
                      <a:pt x="2" y="242"/>
                    </a:lnTo>
                    <a:lnTo>
                      <a:pt x="7" y="237"/>
                    </a:lnTo>
                    <a:lnTo>
                      <a:pt x="14" y="227"/>
                    </a:lnTo>
                    <a:lnTo>
                      <a:pt x="22" y="218"/>
                    </a:lnTo>
                    <a:lnTo>
                      <a:pt x="17" y="216"/>
                    </a:lnTo>
                    <a:lnTo>
                      <a:pt x="14" y="218"/>
                    </a:lnTo>
                    <a:lnTo>
                      <a:pt x="7" y="211"/>
                    </a:lnTo>
                    <a:lnTo>
                      <a:pt x="7" y="201"/>
                    </a:lnTo>
                    <a:lnTo>
                      <a:pt x="7" y="192"/>
                    </a:lnTo>
                    <a:lnTo>
                      <a:pt x="12" y="187"/>
                    </a:lnTo>
                    <a:lnTo>
                      <a:pt x="15" y="180"/>
                    </a:lnTo>
                    <a:lnTo>
                      <a:pt x="17" y="170"/>
                    </a:lnTo>
                    <a:lnTo>
                      <a:pt x="24" y="166"/>
                    </a:lnTo>
                    <a:lnTo>
                      <a:pt x="31" y="161"/>
                    </a:lnTo>
                    <a:lnTo>
                      <a:pt x="34" y="153"/>
                    </a:lnTo>
                    <a:lnTo>
                      <a:pt x="38" y="148"/>
                    </a:lnTo>
                    <a:lnTo>
                      <a:pt x="43" y="139"/>
                    </a:lnTo>
                    <a:lnTo>
                      <a:pt x="50" y="136"/>
                    </a:lnTo>
                    <a:lnTo>
                      <a:pt x="55" y="132"/>
                    </a:lnTo>
                    <a:lnTo>
                      <a:pt x="60" y="125"/>
                    </a:lnTo>
                    <a:lnTo>
                      <a:pt x="57" y="123"/>
                    </a:lnTo>
                    <a:lnTo>
                      <a:pt x="55" y="122"/>
                    </a:lnTo>
                    <a:lnTo>
                      <a:pt x="57" y="117"/>
                    </a:lnTo>
                    <a:lnTo>
                      <a:pt x="57"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41" name="Freeform 293"/>
              <p:cNvSpPr>
                <a:spLocks/>
              </p:cNvSpPr>
              <p:nvPr/>
            </p:nvSpPr>
            <p:spPr bwMode="auto">
              <a:xfrm>
                <a:off x="2518569" y="3440113"/>
                <a:ext cx="14288" cy="15875"/>
              </a:xfrm>
              <a:custGeom>
                <a:avLst/>
                <a:gdLst/>
                <a:ahLst/>
                <a:cxnLst>
                  <a:cxn ang="0">
                    <a:pos x="4" y="0"/>
                  </a:cxn>
                  <a:cxn ang="0">
                    <a:pos x="7" y="2"/>
                  </a:cxn>
                  <a:cxn ang="0">
                    <a:pos x="9" y="7"/>
                  </a:cxn>
                  <a:cxn ang="0">
                    <a:pos x="7" y="8"/>
                  </a:cxn>
                  <a:cxn ang="0">
                    <a:pos x="5" y="10"/>
                  </a:cxn>
                  <a:cxn ang="0">
                    <a:pos x="0" y="7"/>
                  </a:cxn>
                  <a:cxn ang="0">
                    <a:pos x="0" y="0"/>
                  </a:cxn>
                  <a:cxn ang="0">
                    <a:pos x="4" y="0"/>
                  </a:cxn>
                </a:cxnLst>
                <a:rect l="0" t="0" r="r" b="b"/>
                <a:pathLst>
                  <a:path w="9" h="10">
                    <a:moveTo>
                      <a:pt x="4" y="0"/>
                    </a:moveTo>
                    <a:lnTo>
                      <a:pt x="7" y="2"/>
                    </a:lnTo>
                    <a:lnTo>
                      <a:pt x="9" y="7"/>
                    </a:lnTo>
                    <a:lnTo>
                      <a:pt x="7" y="8"/>
                    </a:lnTo>
                    <a:lnTo>
                      <a:pt x="5" y="10"/>
                    </a:lnTo>
                    <a:lnTo>
                      <a:pt x="0" y="7"/>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42" name="Freeform 294"/>
              <p:cNvSpPr>
                <a:spLocks/>
              </p:cNvSpPr>
              <p:nvPr/>
            </p:nvSpPr>
            <p:spPr bwMode="auto">
              <a:xfrm>
                <a:off x="2507457" y="3394075"/>
                <a:ext cx="22225" cy="7937"/>
              </a:xfrm>
              <a:custGeom>
                <a:avLst/>
                <a:gdLst/>
                <a:ahLst/>
                <a:cxnLst>
                  <a:cxn ang="0">
                    <a:pos x="0" y="5"/>
                  </a:cxn>
                  <a:cxn ang="0">
                    <a:pos x="2" y="1"/>
                  </a:cxn>
                  <a:cxn ang="0">
                    <a:pos x="7" y="0"/>
                  </a:cxn>
                  <a:cxn ang="0">
                    <a:pos x="11" y="1"/>
                  </a:cxn>
                  <a:cxn ang="0">
                    <a:pos x="14" y="5"/>
                  </a:cxn>
                  <a:cxn ang="0">
                    <a:pos x="6" y="5"/>
                  </a:cxn>
                  <a:cxn ang="0">
                    <a:pos x="0" y="5"/>
                  </a:cxn>
                </a:cxnLst>
                <a:rect l="0" t="0" r="r" b="b"/>
                <a:pathLst>
                  <a:path w="14" h="5">
                    <a:moveTo>
                      <a:pt x="0" y="5"/>
                    </a:moveTo>
                    <a:lnTo>
                      <a:pt x="2" y="1"/>
                    </a:lnTo>
                    <a:lnTo>
                      <a:pt x="7" y="0"/>
                    </a:lnTo>
                    <a:lnTo>
                      <a:pt x="11" y="1"/>
                    </a:lnTo>
                    <a:lnTo>
                      <a:pt x="14" y="5"/>
                    </a:lnTo>
                    <a:lnTo>
                      <a:pt x="6" y="5"/>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43" name="Freeform 295"/>
              <p:cNvSpPr>
                <a:spLocks/>
              </p:cNvSpPr>
              <p:nvPr/>
            </p:nvSpPr>
            <p:spPr bwMode="auto">
              <a:xfrm>
                <a:off x="2543969" y="3403600"/>
                <a:ext cx="4763" cy="6350"/>
              </a:xfrm>
              <a:custGeom>
                <a:avLst/>
                <a:gdLst/>
                <a:ahLst/>
                <a:cxnLst>
                  <a:cxn ang="0">
                    <a:pos x="3" y="4"/>
                  </a:cxn>
                  <a:cxn ang="0">
                    <a:pos x="0" y="2"/>
                  </a:cxn>
                  <a:cxn ang="0">
                    <a:pos x="0" y="0"/>
                  </a:cxn>
                  <a:cxn ang="0">
                    <a:pos x="3" y="4"/>
                  </a:cxn>
                </a:cxnLst>
                <a:rect l="0" t="0" r="r" b="b"/>
                <a:pathLst>
                  <a:path w="3" h="4">
                    <a:moveTo>
                      <a:pt x="3" y="4"/>
                    </a:moveTo>
                    <a:lnTo>
                      <a:pt x="0" y="2"/>
                    </a:lnTo>
                    <a:lnTo>
                      <a:pt x="0" y="0"/>
                    </a:lnTo>
                    <a:lnTo>
                      <a:pt x="3"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44" name="Freeform 296"/>
              <p:cNvSpPr>
                <a:spLocks/>
              </p:cNvSpPr>
              <p:nvPr/>
            </p:nvSpPr>
            <p:spPr bwMode="auto">
              <a:xfrm>
                <a:off x="2624932" y="3524250"/>
                <a:ext cx="17463" cy="14287"/>
              </a:xfrm>
              <a:custGeom>
                <a:avLst/>
                <a:gdLst/>
                <a:ahLst/>
                <a:cxnLst>
                  <a:cxn ang="0">
                    <a:pos x="0" y="5"/>
                  </a:cxn>
                  <a:cxn ang="0">
                    <a:pos x="0" y="9"/>
                  </a:cxn>
                  <a:cxn ang="0">
                    <a:pos x="2" y="9"/>
                  </a:cxn>
                  <a:cxn ang="0">
                    <a:pos x="6" y="7"/>
                  </a:cxn>
                  <a:cxn ang="0">
                    <a:pos x="11" y="5"/>
                  </a:cxn>
                  <a:cxn ang="0">
                    <a:pos x="11" y="0"/>
                  </a:cxn>
                  <a:cxn ang="0">
                    <a:pos x="6" y="4"/>
                  </a:cxn>
                  <a:cxn ang="0">
                    <a:pos x="0" y="5"/>
                  </a:cxn>
                </a:cxnLst>
                <a:rect l="0" t="0" r="r" b="b"/>
                <a:pathLst>
                  <a:path w="11" h="9">
                    <a:moveTo>
                      <a:pt x="0" y="5"/>
                    </a:moveTo>
                    <a:lnTo>
                      <a:pt x="0" y="9"/>
                    </a:lnTo>
                    <a:lnTo>
                      <a:pt x="2" y="9"/>
                    </a:lnTo>
                    <a:lnTo>
                      <a:pt x="6" y="7"/>
                    </a:lnTo>
                    <a:lnTo>
                      <a:pt x="11" y="5"/>
                    </a:lnTo>
                    <a:lnTo>
                      <a:pt x="11" y="0"/>
                    </a:lnTo>
                    <a:lnTo>
                      <a:pt x="6" y="4"/>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45" name="Freeform 297"/>
              <p:cNvSpPr>
                <a:spLocks/>
              </p:cNvSpPr>
              <p:nvPr/>
            </p:nvSpPr>
            <p:spPr bwMode="auto">
              <a:xfrm>
                <a:off x="1456532" y="2787650"/>
                <a:ext cx="1323975" cy="649287"/>
              </a:xfrm>
              <a:custGeom>
                <a:avLst/>
                <a:gdLst/>
                <a:ahLst/>
                <a:cxnLst>
                  <a:cxn ang="0">
                    <a:pos x="642" y="289"/>
                  </a:cxn>
                  <a:cxn ang="0">
                    <a:pos x="626" y="337"/>
                  </a:cxn>
                  <a:cxn ang="0">
                    <a:pos x="638" y="368"/>
                  </a:cxn>
                  <a:cxn ang="0">
                    <a:pos x="626" y="404"/>
                  </a:cxn>
                  <a:cxn ang="0">
                    <a:pos x="600" y="347"/>
                  </a:cxn>
                  <a:cxn ang="0">
                    <a:pos x="559" y="330"/>
                  </a:cxn>
                  <a:cxn ang="0">
                    <a:pos x="530" y="325"/>
                  </a:cxn>
                  <a:cxn ang="0">
                    <a:pos x="506" y="339"/>
                  </a:cxn>
                  <a:cxn ang="0">
                    <a:pos x="473" y="335"/>
                  </a:cxn>
                  <a:cxn ang="0">
                    <a:pos x="441" y="335"/>
                  </a:cxn>
                  <a:cxn ang="0">
                    <a:pos x="410" y="356"/>
                  </a:cxn>
                  <a:cxn ang="0">
                    <a:pos x="392" y="390"/>
                  </a:cxn>
                  <a:cxn ang="0">
                    <a:pos x="358" y="370"/>
                  </a:cxn>
                  <a:cxn ang="0">
                    <a:pos x="332" y="332"/>
                  </a:cxn>
                  <a:cxn ang="0">
                    <a:pos x="306" y="347"/>
                  </a:cxn>
                  <a:cxn ang="0">
                    <a:pos x="275" y="313"/>
                  </a:cxn>
                  <a:cxn ang="0">
                    <a:pos x="238" y="308"/>
                  </a:cxn>
                  <a:cxn ang="0">
                    <a:pos x="86" y="270"/>
                  </a:cxn>
                  <a:cxn ang="0">
                    <a:pos x="47" y="234"/>
                  </a:cxn>
                  <a:cxn ang="0">
                    <a:pos x="17" y="186"/>
                  </a:cxn>
                  <a:cxn ang="0">
                    <a:pos x="5" y="141"/>
                  </a:cxn>
                  <a:cxn ang="0">
                    <a:pos x="5" y="82"/>
                  </a:cxn>
                  <a:cxn ang="0">
                    <a:pos x="2" y="22"/>
                  </a:cxn>
                  <a:cxn ang="0">
                    <a:pos x="29" y="17"/>
                  </a:cxn>
                  <a:cxn ang="0">
                    <a:pos x="435" y="5"/>
                  </a:cxn>
                  <a:cxn ang="0">
                    <a:pos x="494" y="20"/>
                  </a:cxn>
                  <a:cxn ang="0">
                    <a:pos x="470" y="51"/>
                  </a:cxn>
                  <a:cxn ang="0">
                    <a:pos x="494" y="53"/>
                  </a:cxn>
                  <a:cxn ang="0">
                    <a:pos x="527" y="41"/>
                  </a:cxn>
                  <a:cxn ang="0">
                    <a:pos x="551" y="50"/>
                  </a:cxn>
                  <a:cxn ang="0">
                    <a:pos x="573" y="62"/>
                  </a:cxn>
                  <a:cxn ang="0">
                    <a:pos x="530" y="86"/>
                  </a:cxn>
                  <a:cxn ang="0">
                    <a:pos x="530" y="115"/>
                  </a:cxn>
                  <a:cxn ang="0">
                    <a:pos x="549" y="131"/>
                  </a:cxn>
                  <a:cxn ang="0">
                    <a:pos x="552" y="94"/>
                  </a:cxn>
                  <a:cxn ang="0">
                    <a:pos x="570" y="70"/>
                  </a:cxn>
                  <a:cxn ang="0">
                    <a:pos x="595" y="74"/>
                  </a:cxn>
                  <a:cxn ang="0">
                    <a:pos x="604" y="96"/>
                  </a:cxn>
                  <a:cxn ang="0">
                    <a:pos x="599" y="136"/>
                  </a:cxn>
                  <a:cxn ang="0">
                    <a:pos x="654" y="124"/>
                  </a:cxn>
                  <a:cxn ang="0">
                    <a:pos x="668" y="110"/>
                  </a:cxn>
                  <a:cxn ang="0">
                    <a:pos x="712" y="86"/>
                  </a:cxn>
                  <a:cxn ang="0">
                    <a:pos x="757" y="74"/>
                  </a:cxn>
                  <a:cxn ang="0">
                    <a:pos x="783" y="67"/>
                  </a:cxn>
                  <a:cxn ang="0">
                    <a:pos x="814" y="34"/>
                  </a:cxn>
                  <a:cxn ang="0">
                    <a:pos x="834" y="82"/>
                  </a:cxn>
                  <a:cxn ang="0">
                    <a:pos x="798" y="96"/>
                  </a:cxn>
                  <a:cxn ang="0">
                    <a:pos x="783" y="129"/>
                  </a:cxn>
                  <a:cxn ang="0">
                    <a:pos x="795" y="139"/>
                  </a:cxn>
                  <a:cxn ang="0">
                    <a:pos x="748" y="146"/>
                  </a:cxn>
                  <a:cxn ang="0">
                    <a:pos x="747" y="151"/>
                  </a:cxn>
                  <a:cxn ang="0">
                    <a:pos x="733" y="160"/>
                  </a:cxn>
                  <a:cxn ang="0">
                    <a:pos x="721" y="184"/>
                  </a:cxn>
                  <a:cxn ang="0">
                    <a:pos x="719" y="192"/>
                  </a:cxn>
                  <a:cxn ang="0">
                    <a:pos x="705" y="211"/>
                  </a:cxn>
                  <a:cxn ang="0">
                    <a:pos x="700" y="187"/>
                  </a:cxn>
                  <a:cxn ang="0">
                    <a:pos x="700" y="217"/>
                  </a:cxn>
                  <a:cxn ang="0">
                    <a:pos x="705" y="225"/>
                  </a:cxn>
                  <a:cxn ang="0">
                    <a:pos x="704" y="239"/>
                  </a:cxn>
                  <a:cxn ang="0">
                    <a:pos x="699" y="254"/>
                  </a:cxn>
                  <a:cxn ang="0">
                    <a:pos x="678" y="268"/>
                  </a:cxn>
                </a:cxnLst>
                <a:rect l="0" t="0" r="r" b="b"/>
                <a:pathLst>
                  <a:path w="834" h="409">
                    <a:moveTo>
                      <a:pt x="678" y="268"/>
                    </a:moveTo>
                    <a:lnTo>
                      <a:pt x="668" y="272"/>
                    </a:lnTo>
                    <a:lnTo>
                      <a:pt x="659" y="277"/>
                    </a:lnTo>
                    <a:lnTo>
                      <a:pt x="649" y="282"/>
                    </a:lnTo>
                    <a:lnTo>
                      <a:pt x="642" y="289"/>
                    </a:lnTo>
                    <a:lnTo>
                      <a:pt x="633" y="294"/>
                    </a:lnTo>
                    <a:lnTo>
                      <a:pt x="628" y="304"/>
                    </a:lnTo>
                    <a:lnTo>
                      <a:pt x="625" y="315"/>
                    </a:lnTo>
                    <a:lnTo>
                      <a:pt x="625" y="328"/>
                    </a:lnTo>
                    <a:lnTo>
                      <a:pt x="626" y="337"/>
                    </a:lnTo>
                    <a:lnTo>
                      <a:pt x="631" y="345"/>
                    </a:lnTo>
                    <a:lnTo>
                      <a:pt x="635" y="354"/>
                    </a:lnTo>
                    <a:lnTo>
                      <a:pt x="638" y="366"/>
                    </a:lnTo>
                    <a:lnTo>
                      <a:pt x="638" y="364"/>
                    </a:lnTo>
                    <a:lnTo>
                      <a:pt x="638" y="368"/>
                    </a:lnTo>
                    <a:lnTo>
                      <a:pt x="642" y="376"/>
                    </a:lnTo>
                    <a:lnTo>
                      <a:pt x="645" y="388"/>
                    </a:lnTo>
                    <a:lnTo>
                      <a:pt x="642" y="402"/>
                    </a:lnTo>
                    <a:lnTo>
                      <a:pt x="633" y="409"/>
                    </a:lnTo>
                    <a:lnTo>
                      <a:pt x="626" y="404"/>
                    </a:lnTo>
                    <a:lnTo>
                      <a:pt x="623" y="395"/>
                    </a:lnTo>
                    <a:lnTo>
                      <a:pt x="614" y="385"/>
                    </a:lnTo>
                    <a:lnTo>
                      <a:pt x="607" y="376"/>
                    </a:lnTo>
                    <a:lnTo>
                      <a:pt x="602" y="361"/>
                    </a:lnTo>
                    <a:lnTo>
                      <a:pt x="600" y="347"/>
                    </a:lnTo>
                    <a:lnTo>
                      <a:pt x="594" y="333"/>
                    </a:lnTo>
                    <a:lnTo>
                      <a:pt x="583" y="330"/>
                    </a:lnTo>
                    <a:lnTo>
                      <a:pt x="578" y="333"/>
                    </a:lnTo>
                    <a:lnTo>
                      <a:pt x="573" y="337"/>
                    </a:lnTo>
                    <a:lnTo>
                      <a:pt x="559" y="330"/>
                    </a:lnTo>
                    <a:lnTo>
                      <a:pt x="545" y="325"/>
                    </a:lnTo>
                    <a:lnTo>
                      <a:pt x="537" y="327"/>
                    </a:lnTo>
                    <a:lnTo>
                      <a:pt x="533" y="328"/>
                    </a:lnTo>
                    <a:lnTo>
                      <a:pt x="530" y="327"/>
                    </a:lnTo>
                    <a:lnTo>
                      <a:pt x="530" y="325"/>
                    </a:lnTo>
                    <a:lnTo>
                      <a:pt x="516" y="327"/>
                    </a:lnTo>
                    <a:lnTo>
                      <a:pt x="502" y="328"/>
                    </a:lnTo>
                    <a:lnTo>
                      <a:pt x="506" y="328"/>
                    </a:lnTo>
                    <a:lnTo>
                      <a:pt x="509" y="328"/>
                    </a:lnTo>
                    <a:lnTo>
                      <a:pt x="506" y="339"/>
                    </a:lnTo>
                    <a:lnTo>
                      <a:pt x="509" y="345"/>
                    </a:lnTo>
                    <a:lnTo>
                      <a:pt x="499" y="345"/>
                    </a:lnTo>
                    <a:lnTo>
                      <a:pt x="489" y="342"/>
                    </a:lnTo>
                    <a:lnTo>
                      <a:pt x="480" y="337"/>
                    </a:lnTo>
                    <a:lnTo>
                      <a:pt x="473" y="335"/>
                    </a:lnTo>
                    <a:lnTo>
                      <a:pt x="468" y="337"/>
                    </a:lnTo>
                    <a:lnTo>
                      <a:pt x="466" y="339"/>
                    </a:lnTo>
                    <a:lnTo>
                      <a:pt x="458" y="335"/>
                    </a:lnTo>
                    <a:lnTo>
                      <a:pt x="451" y="333"/>
                    </a:lnTo>
                    <a:lnTo>
                      <a:pt x="441" y="335"/>
                    </a:lnTo>
                    <a:lnTo>
                      <a:pt x="434" y="340"/>
                    </a:lnTo>
                    <a:lnTo>
                      <a:pt x="428" y="345"/>
                    </a:lnTo>
                    <a:lnTo>
                      <a:pt x="423" y="352"/>
                    </a:lnTo>
                    <a:lnTo>
                      <a:pt x="416" y="354"/>
                    </a:lnTo>
                    <a:lnTo>
                      <a:pt x="410" y="356"/>
                    </a:lnTo>
                    <a:lnTo>
                      <a:pt x="401" y="359"/>
                    </a:lnTo>
                    <a:lnTo>
                      <a:pt x="396" y="366"/>
                    </a:lnTo>
                    <a:lnTo>
                      <a:pt x="392" y="376"/>
                    </a:lnTo>
                    <a:lnTo>
                      <a:pt x="392" y="388"/>
                    </a:lnTo>
                    <a:lnTo>
                      <a:pt x="392" y="390"/>
                    </a:lnTo>
                    <a:lnTo>
                      <a:pt x="394" y="394"/>
                    </a:lnTo>
                    <a:lnTo>
                      <a:pt x="379" y="390"/>
                    </a:lnTo>
                    <a:lnTo>
                      <a:pt x="370" y="387"/>
                    </a:lnTo>
                    <a:lnTo>
                      <a:pt x="363" y="378"/>
                    </a:lnTo>
                    <a:lnTo>
                      <a:pt x="358" y="370"/>
                    </a:lnTo>
                    <a:lnTo>
                      <a:pt x="355" y="361"/>
                    </a:lnTo>
                    <a:lnTo>
                      <a:pt x="351" y="352"/>
                    </a:lnTo>
                    <a:lnTo>
                      <a:pt x="346" y="342"/>
                    </a:lnTo>
                    <a:lnTo>
                      <a:pt x="341" y="337"/>
                    </a:lnTo>
                    <a:lnTo>
                      <a:pt x="332" y="332"/>
                    </a:lnTo>
                    <a:lnTo>
                      <a:pt x="324" y="332"/>
                    </a:lnTo>
                    <a:lnTo>
                      <a:pt x="317" y="333"/>
                    </a:lnTo>
                    <a:lnTo>
                      <a:pt x="313" y="339"/>
                    </a:lnTo>
                    <a:lnTo>
                      <a:pt x="310" y="344"/>
                    </a:lnTo>
                    <a:lnTo>
                      <a:pt x="306" y="347"/>
                    </a:lnTo>
                    <a:lnTo>
                      <a:pt x="298" y="344"/>
                    </a:lnTo>
                    <a:lnTo>
                      <a:pt x="291" y="337"/>
                    </a:lnTo>
                    <a:lnTo>
                      <a:pt x="286" y="328"/>
                    </a:lnTo>
                    <a:lnTo>
                      <a:pt x="282" y="323"/>
                    </a:lnTo>
                    <a:lnTo>
                      <a:pt x="275" y="313"/>
                    </a:lnTo>
                    <a:lnTo>
                      <a:pt x="269" y="308"/>
                    </a:lnTo>
                    <a:lnTo>
                      <a:pt x="258" y="302"/>
                    </a:lnTo>
                    <a:lnTo>
                      <a:pt x="248" y="301"/>
                    </a:lnTo>
                    <a:lnTo>
                      <a:pt x="238" y="301"/>
                    </a:lnTo>
                    <a:lnTo>
                      <a:pt x="238" y="308"/>
                    </a:lnTo>
                    <a:lnTo>
                      <a:pt x="196" y="308"/>
                    </a:lnTo>
                    <a:lnTo>
                      <a:pt x="141" y="290"/>
                    </a:lnTo>
                    <a:lnTo>
                      <a:pt x="109" y="290"/>
                    </a:lnTo>
                    <a:lnTo>
                      <a:pt x="100" y="278"/>
                    </a:lnTo>
                    <a:lnTo>
                      <a:pt x="86" y="270"/>
                    </a:lnTo>
                    <a:lnTo>
                      <a:pt x="71" y="261"/>
                    </a:lnTo>
                    <a:lnTo>
                      <a:pt x="57" y="256"/>
                    </a:lnTo>
                    <a:lnTo>
                      <a:pt x="54" y="251"/>
                    </a:lnTo>
                    <a:lnTo>
                      <a:pt x="54" y="246"/>
                    </a:lnTo>
                    <a:lnTo>
                      <a:pt x="47" y="234"/>
                    </a:lnTo>
                    <a:lnTo>
                      <a:pt x="40" y="223"/>
                    </a:lnTo>
                    <a:lnTo>
                      <a:pt x="35" y="213"/>
                    </a:lnTo>
                    <a:lnTo>
                      <a:pt x="35" y="201"/>
                    </a:lnTo>
                    <a:lnTo>
                      <a:pt x="26" y="196"/>
                    </a:lnTo>
                    <a:lnTo>
                      <a:pt x="17" y="186"/>
                    </a:lnTo>
                    <a:lnTo>
                      <a:pt x="9" y="174"/>
                    </a:lnTo>
                    <a:lnTo>
                      <a:pt x="4" y="161"/>
                    </a:lnTo>
                    <a:lnTo>
                      <a:pt x="4" y="156"/>
                    </a:lnTo>
                    <a:lnTo>
                      <a:pt x="9" y="153"/>
                    </a:lnTo>
                    <a:lnTo>
                      <a:pt x="5" y="141"/>
                    </a:lnTo>
                    <a:lnTo>
                      <a:pt x="5" y="131"/>
                    </a:lnTo>
                    <a:lnTo>
                      <a:pt x="4" y="119"/>
                    </a:lnTo>
                    <a:lnTo>
                      <a:pt x="4" y="110"/>
                    </a:lnTo>
                    <a:lnTo>
                      <a:pt x="2" y="96"/>
                    </a:lnTo>
                    <a:lnTo>
                      <a:pt x="5" y="82"/>
                    </a:lnTo>
                    <a:lnTo>
                      <a:pt x="9" y="65"/>
                    </a:lnTo>
                    <a:lnTo>
                      <a:pt x="12" y="53"/>
                    </a:lnTo>
                    <a:lnTo>
                      <a:pt x="5" y="39"/>
                    </a:lnTo>
                    <a:lnTo>
                      <a:pt x="0" y="26"/>
                    </a:lnTo>
                    <a:lnTo>
                      <a:pt x="2" y="22"/>
                    </a:lnTo>
                    <a:lnTo>
                      <a:pt x="7" y="22"/>
                    </a:lnTo>
                    <a:lnTo>
                      <a:pt x="16" y="24"/>
                    </a:lnTo>
                    <a:lnTo>
                      <a:pt x="23" y="31"/>
                    </a:lnTo>
                    <a:lnTo>
                      <a:pt x="26" y="24"/>
                    </a:lnTo>
                    <a:lnTo>
                      <a:pt x="29" y="17"/>
                    </a:lnTo>
                    <a:lnTo>
                      <a:pt x="26" y="10"/>
                    </a:lnTo>
                    <a:lnTo>
                      <a:pt x="23" y="5"/>
                    </a:lnTo>
                    <a:lnTo>
                      <a:pt x="428" y="5"/>
                    </a:lnTo>
                    <a:lnTo>
                      <a:pt x="428" y="0"/>
                    </a:lnTo>
                    <a:lnTo>
                      <a:pt x="435" y="5"/>
                    </a:lnTo>
                    <a:lnTo>
                      <a:pt x="442" y="12"/>
                    </a:lnTo>
                    <a:lnTo>
                      <a:pt x="466" y="12"/>
                    </a:lnTo>
                    <a:lnTo>
                      <a:pt x="473" y="17"/>
                    </a:lnTo>
                    <a:lnTo>
                      <a:pt x="484" y="20"/>
                    </a:lnTo>
                    <a:lnTo>
                      <a:pt x="494" y="20"/>
                    </a:lnTo>
                    <a:lnTo>
                      <a:pt x="509" y="22"/>
                    </a:lnTo>
                    <a:lnTo>
                      <a:pt x="499" y="27"/>
                    </a:lnTo>
                    <a:lnTo>
                      <a:pt x="489" y="34"/>
                    </a:lnTo>
                    <a:lnTo>
                      <a:pt x="478" y="39"/>
                    </a:lnTo>
                    <a:lnTo>
                      <a:pt x="470" y="51"/>
                    </a:lnTo>
                    <a:lnTo>
                      <a:pt x="477" y="51"/>
                    </a:lnTo>
                    <a:lnTo>
                      <a:pt x="480" y="48"/>
                    </a:lnTo>
                    <a:lnTo>
                      <a:pt x="487" y="48"/>
                    </a:lnTo>
                    <a:lnTo>
                      <a:pt x="489" y="51"/>
                    </a:lnTo>
                    <a:lnTo>
                      <a:pt x="494" y="53"/>
                    </a:lnTo>
                    <a:lnTo>
                      <a:pt x="501" y="50"/>
                    </a:lnTo>
                    <a:lnTo>
                      <a:pt x="508" y="46"/>
                    </a:lnTo>
                    <a:lnTo>
                      <a:pt x="516" y="39"/>
                    </a:lnTo>
                    <a:lnTo>
                      <a:pt x="530" y="34"/>
                    </a:lnTo>
                    <a:lnTo>
                      <a:pt x="527" y="41"/>
                    </a:lnTo>
                    <a:lnTo>
                      <a:pt x="525" y="48"/>
                    </a:lnTo>
                    <a:lnTo>
                      <a:pt x="535" y="48"/>
                    </a:lnTo>
                    <a:lnTo>
                      <a:pt x="537" y="51"/>
                    </a:lnTo>
                    <a:lnTo>
                      <a:pt x="544" y="53"/>
                    </a:lnTo>
                    <a:lnTo>
                      <a:pt x="551" y="50"/>
                    </a:lnTo>
                    <a:lnTo>
                      <a:pt x="557" y="48"/>
                    </a:lnTo>
                    <a:lnTo>
                      <a:pt x="571" y="51"/>
                    </a:lnTo>
                    <a:lnTo>
                      <a:pt x="587" y="55"/>
                    </a:lnTo>
                    <a:lnTo>
                      <a:pt x="587" y="62"/>
                    </a:lnTo>
                    <a:lnTo>
                      <a:pt x="573" y="62"/>
                    </a:lnTo>
                    <a:lnTo>
                      <a:pt x="563" y="62"/>
                    </a:lnTo>
                    <a:lnTo>
                      <a:pt x="552" y="63"/>
                    </a:lnTo>
                    <a:lnTo>
                      <a:pt x="542" y="69"/>
                    </a:lnTo>
                    <a:lnTo>
                      <a:pt x="533" y="77"/>
                    </a:lnTo>
                    <a:lnTo>
                      <a:pt x="530" y="86"/>
                    </a:lnTo>
                    <a:lnTo>
                      <a:pt x="537" y="81"/>
                    </a:lnTo>
                    <a:lnTo>
                      <a:pt x="544" y="79"/>
                    </a:lnTo>
                    <a:lnTo>
                      <a:pt x="537" y="88"/>
                    </a:lnTo>
                    <a:lnTo>
                      <a:pt x="533" y="101"/>
                    </a:lnTo>
                    <a:lnTo>
                      <a:pt x="530" y="115"/>
                    </a:lnTo>
                    <a:lnTo>
                      <a:pt x="530" y="129"/>
                    </a:lnTo>
                    <a:lnTo>
                      <a:pt x="533" y="136"/>
                    </a:lnTo>
                    <a:lnTo>
                      <a:pt x="542" y="139"/>
                    </a:lnTo>
                    <a:lnTo>
                      <a:pt x="545" y="136"/>
                    </a:lnTo>
                    <a:lnTo>
                      <a:pt x="549" y="131"/>
                    </a:lnTo>
                    <a:lnTo>
                      <a:pt x="551" y="122"/>
                    </a:lnTo>
                    <a:lnTo>
                      <a:pt x="552" y="117"/>
                    </a:lnTo>
                    <a:lnTo>
                      <a:pt x="552" y="106"/>
                    </a:lnTo>
                    <a:lnTo>
                      <a:pt x="552" y="101"/>
                    </a:lnTo>
                    <a:lnTo>
                      <a:pt x="552" y="94"/>
                    </a:lnTo>
                    <a:lnTo>
                      <a:pt x="552" y="88"/>
                    </a:lnTo>
                    <a:lnTo>
                      <a:pt x="552" y="81"/>
                    </a:lnTo>
                    <a:lnTo>
                      <a:pt x="557" y="79"/>
                    </a:lnTo>
                    <a:lnTo>
                      <a:pt x="566" y="74"/>
                    </a:lnTo>
                    <a:lnTo>
                      <a:pt x="570" y="70"/>
                    </a:lnTo>
                    <a:lnTo>
                      <a:pt x="571" y="65"/>
                    </a:lnTo>
                    <a:lnTo>
                      <a:pt x="576" y="65"/>
                    </a:lnTo>
                    <a:lnTo>
                      <a:pt x="580" y="65"/>
                    </a:lnTo>
                    <a:lnTo>
                      <a:pt x="588" y="70"/>
                    </a:lnTo>
                    <a:lnTo>
                      <a:pt x="595" y="74"/>
                    </a:lnTo>
                    <a:lnTo>
                      <a:pt x="599" y="81"/>
                    </a:lnTo>
                    <a:lnTo>
                      <a:pt x="595" y="89"/>
                    </a:lnTo>
                    <a:lnTo>
                      <a:pt x="594" y="100"/>
                    </a:lnTo>
                    <a:lnTo>
                      <a:pt x="599" y="98"/>
                    </a:lnTo>
                    <a:lnTo>
                      <a:pt x="604" y="96"/>
                    </a:lnTo>
                    <a:lnTo>
                      <a:pt x="606" y="105"/>
                    </a:lnTo>
                    <a:lnTo>
                      <a:pt x="611" y="112"/>
                    </a:lnTo>
                    <a:lnTo>
                      <a:pt x="602" y="120"/>
                    </a:lnTo>
                    <a:lnTo>
                      <a:pt x="599" y="129"/>
                    </a:lnTo>
                    <a:lnTo>
                      <a:pt x="599" y="136"/>
                    </a:lnTo>
                    <a:lnTo>
                      <a:pt x="606" y="141"/>
                    </a:lnTo>
                    <a:lnTo>
                      <a:pt x="616" y="137"/>
                    </a:lnTo>
                    <a:lnTo>
                      <a:pt x="630" y="134"/>
                    </a:lnTo>
                    <a:lnTo>
                      <a:pt x="643" y="127"/>
                    </a:lnTo>
                    <a:lnTo>
                      <a:pt x="654" y="124"/>
                    </a:lnTo>
                    <a:lnTo>
                      <a:pt x="650" y="115"/>
                    </a:lnTo>
                    <a:lnTo>
                      <a:pt x="649" y="112"/>
                    </a:lnTo>
                    <a:lnTo>
                      <a:pt x="652" y="112"/>
                    </a:lnTo>
                    <a:lnTo>
                      <a:pt x="656" y="112"/>
                    </a:lnTo>
                    <a:lnTo>
                      <a:pt x="668" y="110"/>
                    </a:lnTo>
                    <a:lnTo>
                      <a:pt x="683" y="110"/>
                    </a:lnTo>
                    <a:lnTo>
                      <a:pt x="695" y="105"/>
                    </a:lnTo>
                    <a:lnTo>
                      <a:pt x="702" y="96"/>
                    </a:lnTo>
                    <a:lnTo>
                      <a:pt x="704" y="93"/>
                    </a:lnTo>
                    <a:lnTo>
                      <a:pt x="712" y="86"/>
                    </a:lnTo>
                    <a:lnTo>
                      <a:pt x="719" y="77"/>
                    </a:lnTo>
                    <a:lnTo>
                      <a:pt x="724" y="76"/>
                    </a:lnTo>
                    <a:lnTo>
                      <a:pt x="735" y="74"/>
                    </a:lnTo>
                    <a:lnTo>
                      <a:pt x="752" y="74"/>
                    </a:lnTo>
                    <a:lnTo>
                      <a:pt x="757" y="74"/>
                    </a:lnTo>
                    <a:lnTo>
                      <a:pt x="764" y="74"/>
                    </a:lnTo>
                    <a:lnTo>
                      <a:pt x="769" y="72"/>
                    </a:lnTo>
                    <a:lnTo>
                      <a:pt x="776" y="72"/>
                    </a:lnTo>
                    <a:lnTo>
                      <a:pt x="779" y="70"/>
                    </a:lnTo>
                    <a:lnTo>
                      <a:pt x="783" y="67"/>
                    </a:lnTo>
                    <a:lnTo>
                      <a:pt x="786" y="58"/>
                    </a:lnTo>
                    <a:lnTo>
                      <a:pt x="791" y="50"/>
                    </a:lnTo>
                    <a:lnTo>
                      <a:pt x="795" y="39"/>
                    </a:lnTo>
                    <a:lnTo>
                      <a:pt x="803" y="33"/>
                    </a:lnTo>
                    <a:lnTo>
                      <a:pt x="814" y="34"/>
                    </a:lnTo>
                    <a:lnTo>
                      <a:pt x="824" y="36"/>
                    </a:lnTo>
                    <a:lnTo>
                      <a:pt x="826" y="46"/>
                    </a:lnTo>
                    <a:lnTo>
                      <a:pt x="828" y="58"/>
                    </a:lnTo>
                    <a:lnTo>
                      <a:pt x="829" y="70"/>
                    </a:lnTo>
                    <a:lnTo>
                      <a:pt x="834" y="82"/>
                    </a:lnTo>
                    <a:lnTo>
                      <a:pt x="828" y="89"/>
                    </a:lnTo>
                    <a:lnTo>
                      <a:pt x="819" y="91"/>
                    </a:lnTo>
                    <a:lnTo>
                      <a:pt x="812" y="89"/>
                    </a:lnTo>
                    <a:lnTo>
                      <a:pt x="807" y="91"/>
                    </a:lnTo>
                    <a:lnTo>
                      <a:pt x="798" y="96"/>
                    </a:lnTo>
                    <a:lnTo>
                      <a:pt x="790" y="103"/>
                    </a:lnTo>
                    <a:lnTo>
                      <a:pt x="783" y="112"/>
                    </a:lnTo>
                    <a:lnTo>
                      <a:pt x="781" y="125"/>
                    </a:lnTo>
                    <a:lnTo>
                      <a:pt x="781" y="127"/>
                    </a:lnTo>
                    <a:lnTo>
                      <a:pt x="783" y="129"/>
                    </a:lnTo>
                    <a:lnTo>
                      <a:pt x="785" y="134"/>
                    </a:lnTo>
                    <a:lnTo>
                      <a:pt x="788" y="139"/>
                    </a:lnTo>
                    <a:lnTo>
                      <a:pt x="791" y="137"/>
                    </a:lnTo>
                    <a:lnTo>
                      <a:pt x="795" y="136"/>
                    </a:lnTo>
                    <a:lnTo>
                      <a:pt x="795" y="139"/>
                    </a:lnTo>
                    <a:lnTo>
                      <a:pt x="783" y="139"/>
                    </a:lnTo>
                    <a:lnTo>
                      <a:pt x="778" y="139"/>
                    </a:lnTo>
                    <a:lnTo>
                      <a:pt x="767" y="143"/>
                    </a:lnTo>
                    <a:lnTo>
                      <a:pt x="759" y="144"/>
                    </a:lnTo>
                    <a:lnTo>
                      <a:pt x="748" y="146"/>
                    </a:lnTo>
                    <a:lnTo>
                      <a:pt x="740" y="151"/>
                    </a:lnTo>
                    <a:lnTo>
                      <a:pt x="745" y="151"/>
                    </a:lnTo>
                    <a:lnTo>
                      <a:pt x="750" y="149"/>
                    </a:lnTo>
                    <a:lnTo>
                      <a:pt x="757" y="151"/>
                    </a:lnTo>
                    <a:lnTo>
                      <a:pt x="747" y="151"/>
                    </a:lnTo>
                    <a:lnTo>
                      <a:pt x="738" y="153"/>
                    </a:lnTo>
                    <a:lnTo>
                      <a:pt x="735" y="153"/>
                    </a:lnTo>
                    <a:lnTo>
                      <a:pt x="731" y="153"/>
                    </a:lnTo>
                    <a:lnTo>
                      <a:pt x="731" y="156"/>
                    </a:lnTo>
                    <a:lnTo>
                      <a:pt x="733" y="160"/>
                    </a:lnTo>
                    <a:lnTo>
                      <a:pt x="735" y="163"/>
                    </a:lnTo>
                    <a:lnTo>
                      <a:pt x="731" y="167"/>
                    </a:lnTo>
                    <a:lnTo>
                      <a:pt x="728" y="174"/>
                    </a:lnTo>
                    <a:lnTo>
                      <a:pt x="724" y="180"/>
                    </a:lnTo>
                    <a:lnTo>
                      <a:pt x="721" y="184"/>
                    </a:lnTo>
                    <a:lnTo>
                      <a:pt x="719" y="182"/>
                    </a:lnTo>
                    <a:lnTo>
                      <a:pt x="717" y="180"/>
                    </a:lnTo>
                    <a:lnTo>
                      <a:pt x="716" y="184"/>
                    </a:lnTo>
                    <a:lnTo>
                      <a:pt x="717" y="187"/>
                    </a:lnTo>
                    <a:lnTo>
                      <a:pt x="719" y="192"/>
                    </a:lnTo>
                    <a:lnTo>
                      <a:pt x="716" y="196"/>
                    </a:lnTo>
                    <a:lnTo>
                      <a:pt x="712" y="203"/>
                    </a:lnTo>
                    <a:lnTo>
                      <a:pt x="709" y="210"/>
                    </a:lnTo>
                    <a:lnTo>
                      <a:pt x="707" y="213"/>
                    </a:lnTo>
                    <a:lnTo>
                      <a:pt x="705" y="211"/>
                    </a:lnTo>
                    <a:lnTo>
                      <a:pt x="705" y="210"/>
                    </a:lnTo>
                    <a:lnTo>
                      <a:pt x="705" y="206"/>
                    </a:lnTo>
                    <a:lnTo>
                      <a:pt x="705" y="204"/>
                    </a:lnTo>
                    <a:lnTo>
                      <a:pt x="702" y="196"/>
                    </a:lnTo>
                    <a:lnTo>
                      <a:pt x="700" y="187"/>
                    </a:lnTo>
                    <a:lnTo>
                      <a:pt x="699" y="191"/>
                    </a:lnTo>
                    <a:lnTo>
                      <a:pt x="700" y="194"/>
                    </a:lnTo>
                    <a:lnTo>
                      <a:pt x="700" y="203"/>
                    </a:lnTo>
                    <a:lnTo>
                      <a:pt x="702" y="213"/>
                    </a:lnTo>
                    <a:lnTo>
                      <a:pt x="700" y="217"/>
                    </a:lnTo>
                    <a:lnTo>
                      <a:pt x="702" y="220"/>
                    </a:lnTo>
                    <a:lnTo>
                      <a:pt x="704" y="220"/>
                    </a:lnTo>
                    <a:lnTo>
                      <a:pt x="705" y="220"/>
                    </a:lnTo>
                    <a:lnTo>
                      <a:pt x="705" y="222"/>
                    </a:lnTo>
                    <a:lnTo>
                      <a:pt x="705" y="225"/>
                    </a:lnTo>
                    <a:lnTo>
                      <a:pt x="702" y="229"/>
                    </a:lnTo>
                    <a:lnTo>
                      <a:pt x="699" y="232"/>
                    </a:lnTo>
                    <a:lnTo>
                      <a:pt x="702" y="234"/>
                    </a:lnTo>
                    <a:lnTo>
                      <a:pt x="705" y="235"/>
                    </a:lnTo>
                    <a:lnTo>
                      <a:pt x="704" y="239"/>
                    </a:lnTo>
                    <a:lnTo>
                      <a:pt x="699" y="241"/>
                    </a:lnTo>
                    <a:lnTo>
                      <a:pt x="699" y="246"/>
                    </a:lnTo>
                    <a:lnTo>
                      <a:pt x="704" y="249"/>
                    </a:lnTo>
                    <a:lnTo>
                      <a:pt x="700" y="251"/>
                    </a:lnTo>
                    <a:lnTo>
                      <a:pt x="699" y="254"/>
                    </a:lnTo>
                    <a:lnTo>
                      <a:pt x="690" y="256"/>
                    </a:lnTo>
                    <a:lnTo>
                      <a:pt x="686" y="260"/>
                    </a:lnTo>
                    <a:lnTo>
                      <a:pt x="680" y="263"/>
                    </a:lnTo>
                    <a:lnTo>
                      <a:pt x="676" y="266"/>
                    </a:lnTo>
                    <a:lnTo>
                      <a:pt x="678" y="26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46" name="Freeform 298"/>
              <p:cNvSpPr>
                <a:spLocks/>
              </p:cNvSpPr>
              <p:nvPr/>
            </p:nvSpPr>
            <p:spPr bwMode="auto">
              <a:xfrm>
                <a:off x="1085057" y="1992313"/>
                <a:ext cx="1955800" cy="1011237"/>
              </a:xfrm>
              <a:custGeom>
                <a:avLst/>
                <a:gdLst/>
                <a:ahLst/>
                <a:cxnLst>
                  <a:cxn ang="0">
                    <a:pos x="1096" y="570"/>
                  </a:cxn>
                  <a:cxn ang="0">
                    <a:pos x="1091" y="607"/>
                  </a:cxn>
                  <a:cxn ang="0">
                    <a:pos x="1149" y="568"/>
                  </a:cxn>
                  <a:cxn ang="0">
                    <a:pos x="1103" y="527"/>
                  </a:cxn>
                  <a:cxn ang="0">
                    <a:pos x="1092" y="499"/>
                  </a:cxn>
                  <a:cxn ang="0">
                    <a:pos x="1067" y="499"/>
                  </a:cxn>
                  <a:cxn ang="0">
                    <a:pos x="1172" y="479"/>
                  </a:cxn>
                  <a:cxn ang="0">
                    <a:pos x="1218" y="410"/>
                  </a:cxn>
                  <a:cxn ang="0">
                    <a:pos x="1187" y="408"/>
                  </a:cxn>
                  <a:cxn ang="0">
                    <a:pos x="1165" y="370"/>
                  </a:cxn>
                  <a:cxn ang="0">
                    <a:pos x="1127" y="319"/>
                  </a:cxn>
                  <a:cxn ang="0">
                    <a:pos x="1089" y="293"/>
                  </a:cxn>
                  <a:cxn ang="0">
                    <a:pos x="1031" y="281"/>
                  </a:cxn>
                  <a:cxn ang="0">
                    <a:pos x="969" y="231"/>
                  </a:cxn>
                  <a:cxn ang="0">
                    <a:pos x="903" y="243"/>
                  </a:cxn>
                  <a:cxn ang="0">
                    <a:pos x="907" y="300"/>
                  </a:cxn>
                  <a:cxn ang="0">
                    <a:pos x="917" y="374"/>
                  </a:cxn>
                  <a:cxn ang="0">
                    <a:pos x="891" y="458"/>
                  </a:cxn>
                  <a:cxn ang="0">
                    <a:pos x="841" y="391"/>
                  </a:cxn>
                  <a:cxn ang="0">
                    <a:pos x="705" y="348"/>
                  </a:cxn>
                  <a:cxn ang="0">
                    <a:pos x="666" y="308"/>
                  </a:cxn>
                  <a:cxn ang="0">
                    <a:pos x="695" y="227"/>
                  </a:cxn>
                  <a:cxn ang="0">
                    <a:pos x="697" y="202"/>
                  </a:cxn>
                  <a:cxn ang="0">
                    <a:pos x="738" y="195"/>
                  </a:cxn>
                  <a:cxn ang="0">
                    <a:pos x="733" y="152"/>
                  </a:cxn>
                  <a:cxn ang="0">
                    <a:pos x="785" y="140"/>
                  </a:cxn>
                  <a:cxn ang="0">
                    <a:pos x="845" y="131"/>
                  </a:cxn>
                  <a:cxn ang="0">
                    <a:pos x="857" y="78"/>
                  </a:cxn>
                  <a:cxn ang="0">
                    <a:pos x="798" y="64"/>
                  </a:cxn>
                  <a:cxn ang="0">
                    <a:pos x="757" y="104"/>
                  </a:cxn>
                  <a:cxn ang="0">
                    <a:pos x="735" y="78"/>
                  </a:cxn>
                  <a:cxn ang="0">
                    <a:pos x="700" y="50"/>
                  </a:cxn>
                  <a:cxn ang="0">
                    <a:pos x="659" y="0"/>
                  </a:cxn>
                  <a:cxn ang="0">
                    <a:pos x="642" y="52"/>
                  </a:cxn>
                  <a:cxn ang="0">
                    <a:pos x="668" y="93"/>
                  </a:cxn>
                  <a:cxn ang="0">
                    <a:pos x="638" y="92"/>
                  </a:cxn>
                  <a:cxn ang="0">
                    <a:pos x="582" y="105"/>
                  </a:cxn>
                  <a:cxn ang="0">
                    <a:pos x="487" y="76"/>
                  </a:cxn>
                  <a:cxn ang="0">
                    <a:pos x="482" y="97"/>
                  </a:cxn>
                  <a:cxn ang="0">
                    <a:pos x="427" y="102"/>
                  </a:cxn>
                  <a:cxn ang="0">
                    <a:pos x="367" y="95"/>
                  </a:cxn>
                  <a:cxn ang="0">
                    <a:pos x="343" y="80"/>
                  </a:cxn>
                  <a:cxn ang="0">
                    <a:pos x="253" y="59"/>
                  </a:cxn>
                  <a:cxn ang="0">
                    <a:pos x="184" y="40"/>
                  </a:cxn>
                  <a:cxn ang="0">
                    <a:pos x="131" y="52"/>
                  </a:cxn>
                  <a:cxn ang="0">
                    <a:pos x="85" y="68"/>
                  </a:cxn>
                  <a:cxn ang="0">
                    <a:pos x="28" y="71"/>
                  </a:cxn>
                  <a:cxn ang="0">
                    <a:pos x="19" y="281"/>
                  </a:cxn>
                  <a:cxn ang="0">
                    <a:pos x="78" y="291"/>
                  </a:cxn>
                  <a:cxn ang="0">
                    <a:pos x="134" y="360"/>
                  </a:cxn>
                  <a:cxn ang="0">
                    <a:pos x="150" y="411"/>
                  </a:cxn>
                  <a:cxn ang="0">
                    <a:pos x="183" y="448"/>
                  </a:cxn>
                  <a:cxn ang="0">
                    <a:pos x="232" y="492"/>
                  </a:cxn>
                  <a:cxn ang="0">
                    <a:pos x="700" y="513"/>
                  </a:cxn>
                  <a:cxn ang="0">
                    <a:pos x="771" y="515"/>
                  </a:cxn>
                  <a:cxn ang="0">
                    <a:pos x="807" y="540"/>
                  </a:cxn>
                  <a:cxn ang="0">
                    <a:pos x="876" y="587"/>
                  </a:cxn>
                  <a:cxn ang="0">
                    <a:pos x="833" y="630"/>
                  </a:cxn>
                  <a:cxn ang="0">
                    <a:pos x="883" y="626"/>
                  </a:cxn>
                  <a:cxn ang="0">
                    <a:pos x="912" y="601"/>
                  </a:cxn>
                  <a:cxn ang="0">
                    <a:pos x="991" y="575"/>
                  </a:cxn>
                  <a:cxn ang="0">
                    <a:pos x="1037" y="534"/>
                  </a:cxn>
                </a:cxnLst>
                <a:rect l="0" t="0" r="r" b="b"/>
                <a:pathLst>
                  <a:path w="1232" h="637">
                    <a:moveTo>
                      <a:pt x="1067" y="580"/>
                    </a:moveTo>
                    <a:lnTo>
                      <a:pt x="1067" y="578"/>
                    </a:lnTo>
                    <a:lnTo>
                      <a:pt x="1068" y="578"/>
                    </a:lnTo>
                    <a:lnTo>
                      <a:pt x="1072" y="578"/>
                    </a:lnTo>
                    <a:lnTo>
                      <a:pt x="1074" y="578"/>
                    </a:lnTo>
                    <a:lnTo>
                      <a:pt x="1080" y="578"/>
                    </a:lnTo>
                    <a:lnTo>
                      <a:pt x="1086" y="577"/>
                    </a:lnTo>
                    <a:lnTo>
                      <a:pt x="1091" y="577"/>
                    </a:lnTo>
                    <a:lnTo>
                      <a:pt x="1096" y="570"/>
                    </a:lnTo>
                    <a:lnTo>
                      <a:pt x="1105" y="566"/>
                    </a:lnTo>
                    <a:lnTo>
                      <a:pt x="1105" y="573"/>
                    </a:lnTo>
                    <a:lnTo>
                      <a:pt x="1111" y="575"/>
                    </a:lnTo>
                    <a:lnTo>
                      <a:pt x="1101" y="575"/>
                    </a:lnTo>
                    <a:lnTo>
                      <a:pt x="1091" y="580"/>
                    </a:lnTo>
                    <a:lnTo>
                      <a:pt x="1084" y="585"/>
                    </a:lnTo>
                    <a:lnTo>
                      <a:pt x="1082" y="594"/>
                    </a:lnTo>
                    <a:lnTo>
                      <a:pt x="1086" y="602"/>
                    </a:lnTo>
                    <a:lnTo>
                      <a:pt x="1091" y="607"/>
                    </a:lnTo>
                    <a:lnTo>
                      <a:pt x="1094" y="604"/>
                    </a:lnTo>
                    <a:lnTo>
                      <a:pt x="1099" y="599"/>
                    </a:lnTo>
                    <a:lnTo>
                      <a:pt x="1106" y="594"/>
                    </a:lnTo>
                    <a:lnTo>
                      <a:pt x="1115" y="590"/>
                    </a:lnTo>
                    <a:lnTo>
                      <a:pt x="1122" y="587"/>
                    </a:lnTo>
                    <a:lnTo>
                      <a:pt x="1134" y="582"/>
                    </a:lnTo>
                    <a:lnTo>
                      <a:pt x="1146" y="577"/>
                    </a:lnTo>
                    <a:lnTo>
                      <a:pt x="1153" y="573"/>
                    </a:lnTo>
                    <a:lnTo>
                      <a:pt x="1149" y="568"/>
                    </a:lnTo>
                    <a:lnTo>
                      <a:pt x="1144" y="566"/>
                    </a:lnTo>
                    <a:lnTo>
                      <a:pt x="1139" y="566"/>
                    </a:lnTo>
                    <a:lnTo>
                      <a:pt x="1135" y="566"/>
                    </a:lnTo>
                    <a:lnTo>
                      <a:pt x="1123" y="563"/>
                    </a:lnTo>
                    <a:lnTo>
                      <a:pt x="1111" y="558"/>
                    </a:lnTo>
                    <a:lnTo>
                      <a:pt x="1101" y="549"/>
                    </a:lnTo>
                    <a:lnTo>
                      <a:pt x="1098" y="540"/>
                    </a:lnTo>
                    <a:lnTo>
                      <a:pt x="1099" y="534"/>
                    </a:lnTo>
                    <a:lnTo>
                      <a:pt x="1103" y="527"/>
                    </a:lnTo>
                    <a:lnTo>
                      <a:pt x="1098" y="527"/>
                    </a:lnTo>
                    <a:lnTo>
                      <a:pt x="1091" y="527"/>
                    </a:lnTo>
                    <a:lnTo>
                      <a:pt x="1094" y="521"/>
                    </a:lnTo>
                    <a:lnTo>
                      <a:pt x="1101" y="520"/>
                    </a:lnTo>
                    <a:lnTo>
                      <a:pt x="1108" y="515"/>
                    </a:lnTo>
                    <a:lnTo>
                      <a:pt x="1111" y="509"/>
                    </a:lnTo>
                    <a:lnTo>
                      <a:pt x="1108" y="503"/>
                    </a:lnTo>
                    <a:lnTo>
                      <a:pt x="1101" y="501"/>
                    </a:lnTo>
                    <a:lnTo>
                      <a:pt x="1092" y="499"/>
                    </a:lnTo>
                    <a:lnTo>
                      <a:pt x="1086" y="501"/>
                    </a:lnTo>
                    <a:lnTo>
                      <a:pt x="1068" y="503"/>
                    </a:lnTo>
                    <a:lnTo>
                      <a:pt x="1058" y="509"/>
                    </a:lnTo>
                    <a:lnTo>
                      <a:pt x="1048" y="515"/>
                    </a:lnTo>
                    <a:lnTo>
                      <a:pt x="1037" y="520"/>
                    </a:lnTo>
                    <a:lnTo>
                      <a:pt x="1043" y="511"/>
                    </a:lnTo>
                    <a:lnTo>
                      <a:pt x="1049" y="508"/>
                    </a:lnTo>
                    <a:lnTo>
                      <a:pt x="1056" y="504"/>
                    </a:lnTo>
                    <a:lnTo>
                      <a:pt x="1067" y="499"/>
                    </a:lnTo>
                    <a:lnTo>
                      <a:pt x="1070" y="489"/>
                    </a:lnTo>
                    <a:lnTo>
                      <a:pt x="1079" y="484"/>
                    </a:lnTo>
                    <a:lnTo>
                      <a:pt x="1091" y="480"/>
                    </a:lnTo>
                    <a:lnTo>
                      <a:pt x="1103" y="480"/>
                    </a:lnTo>
                    <a:lnTo>
                      <a:pt x="1115" y="480"/>
                    </a:lnTo>
                    <a:lnTo>
                      <a:pt x="1129" y="482"/>
                    </a:lnTo>
                    <a:lnTo>
                      <a:pt x="1144" y="482"/>
                    </a:lnTo>
                    <a:lnTo>
                      <a:pt x="1160" y="482"/>
                    </a:lnTo>
                    <a:lnTo>
                      <a:pt x="1172" y="479"/>
                    </a:lnTo>
                    <a:lnTo>
                      <a:pt x="1184" y="470"/>
                    </a:lnTo>
                    <a:lnTo>
                      <a:pt x="1194" y="463"/>
                    </a:lnTo>
                    <a:lnTo>
                      <a:pt x="1209" y="458"/>
                    </a:lnTo>
                    <a:lnTo>
                      <a:pt x="1225" y="451"/>
                    </a:lnTo>
                    <a:lnTo>
                      <a:pt x="1232" y="442"/>
                    </a:lnTo>
                    <a:lnTo>
                      <a:pt x="1228" y="427"/>
                    </a:lnTo>
                    <a:lnTo>
                      <a:pt x="1223" y="418"/>
                    </a:lnTo>
                    <a:lnTo>
                      <a:pt x="1220" y="415"/>
                    </a:lnTo>
                    <a:lnTo>
                      <a:pt x="1218" y="410"/>
                    </a:lnTo>
                    <a:lnTo>
                      <a:pt x="1218" y="405"/>
                    </a:lnTo>
                    <a:lnTo>
                      <a:pt x="1206" y="410"/>
                    </a:lnTo>
                    <a:lnTo>
                      <a:pt x="1194" y="415"/>
                    </a:lnTo>
                    <a:lnTo>
                      <a:pt x="1178" y="417"/>
                    </a:lnTo>
                    <a:lnTo>
                      <a:pt x="1170" y="420"/>
                    </a:lnTo>
                    <a:lnTo>
                      <a:pt x="1166" y="418"/>
                    </a:lnTo>
                    <a:lnTo>
                      <a:pt x="1165" y="417"/>
                    </a:lnTo>
                    <a:lnTo>
                      <a:pt x="1173" y="411"/>
                    </a:lnTo>
                    <a:lnTo>
                      <a:pt x="1187" y="408"/>
                    </a:lnTo>
                    <a:lnTo>
                      <a:pt x="1199" y="403"/>
                    </a:lnTo>
                    <a:lnTo>
                      <a:pt x="1206" y="398"/>
                    </a:lnTo>
                    <a:lnTo>
                      <a:pt x="1204" y="394"/>
                    </a:lnTo>
                    <a:lnTo>
                      <a:pt x="1203" y="393"/>
                    </a:lnTo>
                    <a:lnTo>
                      <a:pt x="1190" y="391"/>
                    </a:lnTo>
                    <a:lnTo>
                      <a:pt x="1178" y="389"/>
                    </a:lnTo>
                    <a:lnTo>
                      <a:pt x="1168" y="382"/>
                    </a:lnTo>
                    <a:lnTo>
                      <a:pt x="1165" y="372"/>
                    </a:lnTo>
                    <a:lnTo>
                      <a:pt x="1165" y="370"/>
                    </a:lnTo>
                    <a:lnTo>
                      <a:pt x="1149" y="365"/>
                    </a:lnTo>
                    <a:lnTo>
                      <a:pt x="1139" y="358"/>
                    </a:lnTo>
                    <a:lnTo>
                      <a:pt x="1144" y="355"/>
                    </a:lnTo>
                    <a:lnTo>
                      <a:pt x="1148" y="348"/>
                    </a:lnTo>
                    <a:lnTo>
                      <a:pt x="1144" y="341"/>
                    </a:lnTo>
                    <a:lnTo>
                      <a:pt x="1144" y="334"/>
                    </a:lnTo>
                    <a:lnTo>
                      <a:pt x="1137" y="329"/>
                    </a:lnTo>
                    <a:lnTo>
                      <a:pt x="1132" y="325"/>
                    </a:lnTo>
                    <a:lnTo>
                      <a:pt x="1127" y="319"/>
                    </a:lnTo>
                    <a:lnTo>
                      <a:pt x="1127" y="313"/>
                    </a:lnTo>
                    <a:lnTo>
                      <a:pt x="1125" y="305"/>
                    </a:lnTo>
                    <a:lnTo>
                      <a:pt x="1120" y="298"/>
                    </a:lnTo>
                    <a:lnTo>
                      <a:pt x="1111" y="291"/>
                    </a:lnTo>
                    <a:lnTo>
                      <a:pt x="1110" y="284"/>
                    </a:lnTo>
                    <a:lnTo>
                      <a:pt x="1105" y="281"/>
                    </a:lnTo>
                    <a:lnTo>
                      <a:pt x="1101" y="279"/>
                    </a:lnTo>
                    <a:lnTo>
                      <a:pt x="1092" y="282"/>
                    </a:lnTo>
                    <a:lnTo>
                      <a:pt x="1089" y="293"/>
                    </a:lnTo>
                    <a:lnTo>
                      <a:pt x="1086" y="298"/>
                    </a:lnTo>
                    <a:lnTo>
                      <a:pt x="1079" y="308"/>
                    </a:lnTo>
                    <a:lnTo>
                      <a:pt x="1068" y="315"/>
                    </a:lnTo>
                    <a:lnTo>
                      <a:pt x="1060" y="319"/>
                    </a:lnTo>
                    <a:lnTo>
                      <a:pt x="1049" y="313"/>
                    </a:lnTo>
                    <a:lnTo>
                      <a:pt x="1043" y="308"/>
                    </a:lnTo>
                    <a:lnTo>
                      <a:pt x="1036" y="303"/>
                    </a:lnTo>
                    <a:lnTo>
                      <a:pt x="1032" y="293"/>
                    </a:lnTo>
                    <a:lnTo>
                      <a:pt x="1031" y="281"/>
                    </a:lnTo>
                    <a:lnTo>
                      <a:pt x="1031" y="272"/>
                    </a:lnTo>
                    <a:lnTo>
                      <a:pt x="1024" y="264"/>
                    </a:lnTo>
                    <a:lnTo>
                      <a:pt x="1013" y="262"/>
                    </a:lnTo>
                    <a:lnTo>
                      <a:pt x="1003" y="258"/>
                    </a:lnTo>
                    <a:lnTo>
                      <a:pt x="1000" y="250"/>
                    </a:lnTo>
                    <a:lnTo>
                      <a:pt x="989" y="245"/>
                    </a:lnTo>
                    <a:lnTo>
                      <a:pt x="984" y="239"/>
                    </a:lnTo>
                    <a:lnTo>
                      <a:pt x="976" y="233"/>
                    </a:lnTo>
                    <a:lnTo>
                      <a:pt x="969" y="231"/>
                    </a:lnTo>
                    <a:lnTo>
                      <a:pt x="962" y="233"/>
                    </a:lnTo>
                    <a:lnTo>
                      <a:pt x="955" y="236"/>
                    </a:lnTo>
                    <a:lnTo>
                      <a:pt x="943" y="233"/>
                    </a:lnTo>
                    <a:lnTo>
                      <a:pt x="934" y="231"/>
                    </a:lnTo>
                    <a:lnTo>
                      <a:pt x="926" y="227"/>
                    </a:lnTo>
                    <a:lnTo>
                      <a:pt x="917" y="227"/>
                    </a:lnTo>
                    <a:lnTo>
                      <a:pt x="905" y="229"/>
                    </a:lnTo>
                    <a:lnTo>
                      <a:pt x="902" y="239"/>
                    </a:lnTo>
                    <a:lnTo>
                      <a:pt x="903" y="243"/>
                    </a:lnTo>
                    <a:lnTo>
                      <a:pt x="907" y="248"/>
                    </a:lnTo>
                    <a:lnTo>
                      <a:pt x="908" y="253"/>
                    </a:lnTo>
                    <a:lnTo>
                      <a:pt x="903" y="262"/>
                    </a:lnTo>
                    <a:lnTo>
                      <a:pt x="902" y="265"/>
                    </a:lnTo>
                    <a:lnTo>
                      <a:pt x="905" y="272"/>
                    </a:lnTo>
                    <a:lnTo>
                      <a:pt x="908" y="277"/>
                    </a:lnTo>
                    <a:lnTo>
                      <a:pt x="914" y="284"/>
                    </a:lnTo>
                    <a:lnTo>
                      <a:pt x="910" y="293"/>
                    </a:lnTo>
                    <a:lnTo>
                      <a:pt x="907" y="300"/>
                    </a:lnTo>
                    <a:lnTo>
                      <a:pt x="898" y="303"/>
                    </a:lnTo>
                    <a:lnTo>
                      <a:pt x="895" y="307"/>
                    </a:lnTo>
                    <a:lnTo>
                      <a:pt x="903" y="319"/>
                    </a:lnTo>
                    <a:lnTo>
                      <a:pt x="912" y="331"/>
                    </a:lnTo>
                    <a:lnTo>
                      <a:pt x="915" y="336"/>
                    </a:lnTo>
                    <a:lnTo>
                      <a:pt x="920" y="344"/>
                    </a:lnTo>
                    <a:lnTo>
                      <a:pt x="922" y="355"/>
                    </a:lnTo>
                    <a:lnTo>
                      <a:pt x="924" y="367"/>
                    </a:lnTo>
                    <a:lnTo>
                      <a:pt x="917" y="374"/>
                    </a:lnTo>
                    <a:lnTo>
                      <a:pt x="907" y="386"/>
                    </a:lnTo>
                    <a:lnTo>
                      <a:pt x="893" y="394"/>
                    </a:lnTo>
                    <a:lnTo>
                      <a:pt x="883" y="399"/>
                    </a:lnTo>
                    <a:lnTo>
                      <a:pt x="891" y="408"/>
                    </a:lnTo>
                    <a:lnTo>
                      <a:pt x="895" y="422"/>
                    </a:lnTo>
                    <a:lnTo>
                      <a:pt x="896" y="436"/>
                    </a:lnTo>
                    <a:lnTo>
                      <a:pt x="900" y="446"/>
                    </a:lnTo>
                    <a:lnTo>
                      <a:pt x="895" y="449"/>
                    </a:lnTo>
                    <a:lnTo>
                      <a:pt x="891" y="458"/>
                    </a:lnTo>
                    <a:lnTo>
                      <a:pt x="883" y="461"/>
                    </a:lnTo>
                    <a:lnTo>
                      <a:pt x="876" y="463"/>
                    </a:lnTo>
                    <a:lnTo>
                      <a:pt x="865" y="453"/>
                    </a:lnTo>
                    <a:lnTo>
                      <a:pt x="855" y="444"/>
                    </a:lnTo>
                    <a:lnTo>
                      <a:pt x="847" y="434"/>
                    </a:lnTo>
                    <a:lnTo>
                      <a:pt x="845" y="423"/>
                    </a:lnTo>
                    <a:lnTo>
                      <a:pt x="845" y="410"/>
                    </a:lnTo>
                    <a:lnTo>
                      <a:pt x="845" y="401"/>
                    </a:lnTo>
                    <a:lnTo>
                      <a:pt x="841" y="391"/>
                    </a:lnTo>
                    <a:lnTo>
                      <a:pt x="834" y="386"/>
                    </a:lnTo>
                    <a:lnTo>
                      <a:pt x="802" y="386"/>
                    </a:lnTo>
                    <a:lnTo>
                      <a:pt x="786" y="375"/>
                    </a:lnTo>
                    <a:lnTo>
                      <a:pt x="771" y="367"/>
                    </a:lnTo>
                    <a:lnTo>
                      <a:pt x="754" y="360"/>
                    </a:lnTo>
                    <a:lnTo>
                      <a:pt x="738" y="355"/>
                    </a:lnTo>
                    <a:lnTo>
                      <a:pt x="728" y="348"/>
                    </a:lnTo>
                    <a:lnTo>
                      <a:pt x="716" y="344"/>
                    </a:lnTo>
                    <a:lnTo>
                      <a:pt x="705" y="348"/>
                    </a:lnTo>
                    <a:lnTo>
                      <a:pt x="697" y="351"/>
                    </a:lnTo>
                    <a:lnTo>
                      <a:pt x="695" y="338"/>
                    </a:lnTo>
                    <a:lnTo>
                      <a:pt x="692" y="325"/>
                    </a:lnTo>
                    <a:lnTo>
                      <a:pt x="685" y="315"/>
                    </a:lnTo>
                    <a:lnTo>
                      <a:pt x="678" y="312"/>
                    </a:lnTo>
                    <a:lnTo>
                      <a:pt x="671" y="313"/>
                    </a:lnTo>
                    <a:lnTo>
                      <a:pt x="666" y="317"/>
                    </a:lnTo>
                    <a:lnTo>
                      <a:pt x="666" y="312"/>
                    </a:lnTo>
                    <a:lnTo>
                      <a:pt x="666" y="308"/>
                    </a:lnTo>
                    <a:lnTo>
                      <a:pt x="666" y="301"/>
                    </a:lnTo>
                    <a:lnTo>
                      <a:pt x="666" y="295"/>
                    </a:lnTo>
                    <a:lnTo>
                      <a:pt x="666" y="279"/>
                    </a:lnTo>
                    <a:lnTo>
                      <a:pt x="669" y="269"/>
                    </a:lnTo>
                    <a:lnTo>
                      <a:pt x="675" y="258"/>
                    </a:lnTo>
                    <a:lnTo>
                      <a:pt x="683" y="250"/>
                    </a:lnTo>
                    <a:lnTo>
                      <a:pt x="685" y="243"/>
                    </a:lnTo>
                    <a:lnTo>
                      <a:pt x="690" y="236"/>
                    </a:lnTo>
                    <a:lnTo>
                      <a:pt x="695" y="227"/>
                    </a:lnTo>
                    <a:lnTo>
                      <a:pt x="700" y="224"/>
                    </a:lnTo>
                    <a:lnTo>
                      <a:pt x="707" y="222"/>
                    </a:lnTo>
                    <a:lnTo>
                      <a:pt x="714" y="221"/>
                    </a:lnTo>
                    <a:lnTo>
                      <a:pt x="721" y="219"/>
                    </a:lnTo>
                    <a:lnTo>
                      <a:pt x="724" y="214"/>
                    </a:lnTo>
                    <a:lnTo>
                      <a:pt x="721" y="209"/>
                    </a:lnTo>
                    <a:lnTo>
                      <a:pt x="712" y="205"/>
                    </a:lnTo>
                    <a:lnTo>
                      <a:pt x="704" y="203"/>
                    </a:lnTo>
                    <a:lnTo>
                      <a:pt x="697" y="202"/>
                    </a:lnTo>
                    <a:lnTo>
                      <a:pt x="697" y="200"/>
                    </a:lnTo>
                    <a:lnTo>
                      <a:pt x="699" y="198"/>
                    </a:lnTo>
                    <a:lnTo>
                      <a:pt x="705" y="198"/>
                    </a:lnTo>
                    <a:lnTo>
                      <a:pt x="714" y="200"/>
                    </a:lnTo>
                    <a:lnTo>
                      <a:pt x="728" y="205"/>
                    </a:lnTo>
                    <a:lnTo>
                      <a:pt x="731" y="203"/>
                    </a:lnTo>
                    <a:lnTo>
                      <a:pt x="733" y="200"/>
                    </a:lnTo>
                    <a:lnTo>
                      <a:pt x="735" y="197"/>
                    </a:lnTo>
                    <a:lnTo>
                      <a:pt x="738" y="195"/>
                    </a:lnTo>
                    <a:lnTo>
                      <a:pt x="740" y="195"/>
                    </a:lnTo>
                    <a:lnTo>
                      <a:pt x="748" y="195"/>
                    </a:lnTo>
                    <a:lnTo>
                      <a:pt x="762" y="188"/>
                    </a:lnTo>
                    <a:lnTo>
                      <a:pt x="776" y="176"/>
                    </a:lnTo>
                    <a:lnTo>
                      <a:pt x="776" y="169"/>
                    </a:lnTo>
                    <a:lnTo>
                      <a:pt x="762" y="166"/>
                    </a:lnTo>
                    <a:lnTo>
                      <a:pt x="750" y="164"/>
                    </a:lnTo>
                    <a:lnTo>
                      <a:pt x="740" y="159"/>
                    </a:lnTo>
                    <a:lnTo>
                      <a:pt x="733" y="152"/>
                    </a:lnTo>
                    <a:lnTo>
                      <a:pt x="736" y="152"/>
                    </a:lnTo>
                    <a:lnTo>
                      <a:pt x="743" y="152"/>
                    </a:lnTo>
                    <a:lnTo>
                      <a:pt x="752" y="159"/>
                    </a:lnTo>
                    <a:lnTo>
                      <a:pt x="766" y="164"/>
                    </a:lnTo>
                    <a:lnTo>
                      <a:pt x="771" y="160"/>
                    </a:lnTo>
                    <a:lnTo>
                      <a:pt x="779" y="157"/>
                    </a:lnTo>
                    <a:lnTo>
                      <a:pt x="785" y="152"/>
                    </a:lnTo>
                    <a:lnTo>
                      <a:pt x="788" y="147"/>
                    </a:lnTo>
                    <a:lnTo>
                      <a:pt x="785" y="140"/>
                    </a:lnTo>
                    <a:lnTo>
                      <a:pt x="785" y="136"/>
                    </a:lnTo>
                    <a:lnTo>
                      <a:pt x="797" y="141"/>
                    </a:lnTo>
                    <a:lnTo>
                      <a:pt x="807" y="147"/>
                    </a:lnTo>
                    <a:lnTo>
                      <a:pt x="814" y="143"/>
                    </a:lnTo>
                    <a:lnTo>
                      <a:pt x="824" y="141"/>
                    </a:lnTo>
                    <a:lnTo>
                      <a:pt x="824" y="135"/>
                    </a:lnTo>
                    <a:lnTo>
                      <a:pt x="831" y="140"/>
                    </a:lnTo>
                    <a:lnTo>
                      <a:pt x="834" y="138"/>
                    </a:lnTo>
                    <a:lnTo>
                      <a:pt x="845" y="131"/>
                    </a:lnTo>
                    <a:lnTo>
                      <a:pt x="855" y="123"/>
                    </a:lnTo>
                    <a:lnTo>
                      <a:pt x="860" y="116"/>
                    </a:lnTo>
                    <a:lnTo>
                      <a:pt x="853" y="107"/>
                    </a:lnTo>
                    <a:lnTo>
                      <a:pt x="848" y="102"/>
                    </a:lnTo>
                    <a:lnTo>
                      <a:pt x="847" y="97"/>
                    </a:lnTo>
                    <a:lnTo>
                      <a:pt x="847" y="93"/>
                    </a:lnTo>
                    <a:lnTo>
                      <a:pt x="848" y="88"/>
                    </a:lnTo>
                    <a:lnTo>
                      <a:pt x="857" y="83"/>
                    </a:lnTo>
                    <a:lnTo>
                      <a:pt x="857" y="78"/>
                    </a:lnTo>
                    <a:lnTo>
                      <a:pt x="857" y="71"/>
                    </a:lnTo>
                    <a:lnTo>
                      <a:pt x="847" y="68"/>
                    </a:lnTo>
                    <a:lnTo>
                      <a:pt x="841" y="64"/>
                    </a:lnTo>
                    <a:lnTo>
                      <a:pt x="834" y="59"/>
                    </a:lnTo>
                    <a:lnTo>
                      <a:pt x="824" y="57"/>
                    </a:lnTo>
                    <a:lnTo>
                      <a:pt x="817" y="56"/>
                    </a:lnTo>
                    <a:lnTo>
                      <a:pt x="812" y="54"/>
                    </a:lnTo>
                    <a:lnTo>
                      <a:pt x="802" y="56"/>
                    </a:lnTo>
                    <a:lnTo>
                      <a:pt x="798" y="64"/>
                    </a:lnTo>
                    <a:lnTo>
                      <a:pt x="802" y="71"/>
                    </a:lnTo>
                    <a:lnTo>
                      <a:pt x="807" y="78"/>
                    </a:lnTo>
                    <a:lnTo>
                      <a:pt x="800" y="83"/>
                    </a:lnTo>
                    <a:lnTo>
                      <a:pt x="791" y="88"/>
                    </a:lnTo>
                    <a:lnTo>
                      <a:pt x="788" y="100"/>
                    </a:lnTo>
                    <a:lnTo>
                      <a:pt x="783" y="114"/>
                    </a:lnTo>
                    <a:lnTo>
                      <a:pt x="773" y="117"/>
                    </a:lnTo>
                    <a:lnTo>
                      <a:pt x="764" y="112"/>
                    </a:lnTo>
                    <a:lnTo>
                      <a:pt x="757" y="104"/>
                    </a:lnTo>
                    <a:lnTo>
                      <a:pt x="755" y="98"/>
                    </a:lnTo>
                    <a:lnTo>
                      <a:pt x="759" y="92"/>
                    </a:lnTo>
                    <a:lnTo>
                      <a:pt x="764" y="86"/>
                    </a:lnTo>
                    <a:lnTo>
                      <a:pt x="761" y="81"/>
                    </a:lnTo>
                    <a:lnTo>
                      <a:pt x="755" y="74"/>
                    </a:lnTo>
                    <a:lnTo>
                      <a:pt x="748" y="69"/>
                    </a:lnTo>
                    <a:lnTo>
                      <a:pt x="745" y="68"/>
                    </a:lnTo>
                    <a:lnTo>
                      <a:pt x="736" y="69"/>
                    </a:lnTo>
                    <a:lnTo>
                      <a:pt x="735" y="78"/>
                    </a:lnTo>
                    <a:lnTo>
                      <a:pt x="731" y="85"/>
                    </a:lnTo>
                    <a:lnTo>
                      <a:pt x="724" y="90"/>
                    </a:lnTo>
                    <a:lnTo>
                      <a:pt x="723" y="78"/>
                    </a:lnTo>
                    <a:lnTo>
                      <a:pt x="714" y="71"/>
                    </a:lnTo>
                    <a:lnTo>
                      <a:pt x="716" y="66"/>
                    </a:lnTo>
                    <a:lnTo>
                      <a:pt x="719" y="64"/>
                    </a:lnTo>
                    <a:lnTo>
                      <a:pt x="704" y="61"/>
                    </a:lnTo>
                    <a:lnTo>
                      <a:pt x="693" y="57"/>
                    </a:lnTo>
                    <a:lnTo>
                      <a:pt x="700" y="50"/>
                    </a:lnTo>
                    <a:lnTo>
                      <a:pt x="705" y="43"/>
                    </a:lnTo>
                    <a:lnTo>
                      <a:pt x="702" y="37"/>
                    </a:lnTo>
                    <a:lnTo>
                      <a:pt x="697" y="35"/>
                    </a:lnTo>
                    <a:lnTo>
                      <a:pt x="692" y="31"/>
                    </a:lnTo>
                    <a:lnTo>
                      <a:pt x="690" y="28"/>
                    </a:lnTo>
                    <a:lnTo>
                      <a:pt x="687" y="16"/>
                    </a:lnTo>
                    <a:lnTo>
                      <a:pt x="681" y="9"/>
                    </a:lnTo>
                    <a:lnTo>
                      <a:pt x="671" y="2"/>
                    </a:lnTo>
                    <a:lnTo>
                      <a:pt x="659" y="0"/>
                    </a:lnTo>
                    <a:lnTo>
                      <a:pt x="652" y="4"/>
                    </a:lnTo>
                    <a:lnTo>
                      <a:pt x="654" y="13"/>
                    </a:lnTo>
                    <a:lnTo>
                      <a:pt x="644" y="13"/>
                    </a:lnTo>
                    <a:lnTo>
                      <a:pt x="640" y="19"/>
                    </a:lnTo>
                    <a:lnTo>
                      <a:pt x="642" y="26"/>
                    </a:lnTo>
                    <a:lnTo>
                      <a:pt x="644" y="33"/>
                    </a:lnTo>
                    <a:lnTo>
                      <a:pt x="640" y="37"/>
                    </a:lnTo>
                    <a:lnTo>
                      <a:pt x="637" y="43"/>
                    </a:lnTo>
                    <a:lnTo>
                      <a:pt x="642" y="52"/>
                    </a:lnTo>
                    <a:lnTo>
                      <a:pt x="654" y="56"/>
                    </a:lnTo>
                    <a:lnTo>
                      <a:pt x="664" y="59"/>
                    </a:lnTo>
                    <a:lnTo>
                      <a:pt x="671" y="68"/>
                    </a:lnTo>
                    <a:lnTo>
                      <a:pt x="669" y="76"/>
                    </a:lnTo>
                    <a:lnTo>
                      <a:pt x="668" y="83"/>
                    </a:lnTo>
                    <a:lnTo>
                      <a:pt x="673" y="80"/>
                    </a:lnTo>
                    <a:lnTo>
                      <a:pt x="678" y="78"/>
                    </a:lnTo>
                    <a:lnTo>
                      <a:pt x="676" y="88"/>
                    </a:lnTo>
                    <a:lnTo>
                      <a:pt x="668" y="93"/>
                    </a:lnTo>
                    <a:lnTo>
                      <a:pt x="661" y="95"/>
                    </a:lnTo>
                    <a:lnTo>
                      <a:pt x="656" y="98"/>
                    </a:lnTo>
                    <a:lnTo>
                      <a:pt x="652" y="104"/>
                    </a:lnTo>
                    <a:lnTo>
                      <a:pt x="652" y="114"/>
                    </a:lnTo>
                    <a:lnTo>
                      <a:pt x="644" y="112"/>
                    </a:lnTo>
                    <a:lnTo>
                      <a:pt x="642" y="107"/>
                    </a:lnTo>
                    <a:lnTo>
                      <a:pt x="644" y="100"/>
                    </a:lnTo>
                    <a:lnTo>
                      <a:pt x="644" y="95"/>
                    </a:lnTo>
                    <a:lnTo>
                      <a:pt x="638" y="92"/>
                    </a:lnTo>
                    <a:lnTo>
                      <a:pt x="633" y="92"/>
                    </a:lnTo>
                    <a:lnTo>
                      <a:pt x="626" y="90"/>
                    </a:lnTo>
                    <a:lnTo>
                      <a:pt x="621" y="90"/>
                    </a:lnTo>
                    <a:lnTo>
                      <a:pt x="611" y="93"/>
                    </a:lnTo>
                    <a:lnTo>
                      <a:pt x="609" y="105"/>
                    </a:lnTo>
                    <a:lnTo>
                      <a:pt x="601" y="105"/>
                    </a:lnTo>
                    <a:lnTo>
                      <a:pt x="594" y="105"/>
                    </a:lnTo>
                    <a:lnTo>
                      <a:pt x="587" y="105"/>
                    </a:lnTo>
                    <a:lnTo>
                      <a:pt x="582" y="105"/>
                    </a:lnTo>
                    <a:lnTo>
                      <a:pt x="573" y="105"/>
                    </a:lnTo>
                    <a:lnTo>
                      <a:pt x="564" y="105"/>
                    </a:lnTo>
                    <a:lnTo>
                      <a:pt x="554" y="104"/>
                    </a:lnTo>
                    <a:lnTo>
                      <a:pt x="544" y="102"/>
                    </a:lnTo>
                    <a:lnTo>
                      <a:pt x="533" y="100"/>
                    </a:lnTo>
                    <a:lnTo>
                      <a:pt x="523" y="98"/>
                    </a:lnTo>
                    <a:lnTo>
                      <a:pt x="508" y="88"/>
                    </a:lnTo>
                    <a:lnTo>
                      <a:pt x="499" y="76"/>
                    </a:lnTo>
                    <a:lnTo>
                      <a:pt x="487" y="76"/>
                    </a:lnTo>
                    <a:lnTo>
                      <a:pt x="475" y="78"/>
                    </a:lnTo>
                    <a:lnTo>
                      <a:pt x="463" y="81"/>
                    </a:lnTo>
                    <a:lnTo>
                      <a:pt x="460" y="90"/>
                    </a:lnTo>
                    <a:lnTo>
                      <a:pt x="461" y="93"/>
                    </a:lnTo>
                    <a:lnTo>
                      <a:pt x="466" y="95"/>
                    </a:lnTo>
                    <a:lnTo>
                      <a:pt x="480" y="92"/>
                    </a:lnTo>
                    <a:lnTo>
                      <a:pt x="494" y="88"/>
                    </a:lnTo>
                    <a:lnTo>
                      <a:pt x="490" y="93"/>
                    </a:lnTo>
                    <a:lnTo>
                      <a:pt x="482" y="97"/>
                    </a:lnTo>
                    <a:lnTo>
                      <a:pt x="473" y="98"/>
                    </a:lnTo>
                    <a:lnTo>
                      <a:pt x="470" y="107"/>
                    </a:lnTo>
                    <a:lnTo>
                      <a:pt x="472" y="116"/>
                    </a:lnTo>
                    <a:lnTo>
                      <a:pt x="473" y="123"/>
                    </a:lnTo>
                    <a:lnTo>
                      <a:pt x="461" y="116"/>
                    </a:lnTo>
                    <a:lnTo>
                      <a:pt x="453" y="105"/>
                    </a:lnTo>
                    <a:lnTo>
                      <a:pt x="444" y="102"/>
                    </a:lnTo>
                    <a:lnTo>
                      <a:pt x="434" y="102"/>
                    </a:lnTo>
                    <a:lnTo>
                      <a:pt x="427" y="102"/>
                    </a:lnTo>
                    <a:lnTo>
                      <a:pt x="420" y="102"/>
                    </a:lnTo>
                    <a:lnTo>
                      <a:pt x="411" y="102"/>
                    </a:lnTo>
                    <a:lnTo>
                      <a:pt x="398" y="104"/>
                    </a:lnTo>
                    <a:lnTo>
                      <a:pt x="384" y="107"/>
                    </a:lnTo>
                    <a:lnTo>
                      <a:pt x="372" y="105"/>
                    </a:lnTo>
                    <a:lnTo>
                      <a:pt x="367" y="104"/>
                    </a:lnTo>
                    <a:lnTo>
                      <a:pt x="365" y="100"/>
                    </a:lnTo>
                    <a:lnTo>
                      <a:pt x="365" y="98"/>
                    </a:lnTo>
                    <a:lnTo>
                      <a:pt x="367" y="95"/>
                    </a:lnTo>
                    <a:lnTo>
                      <a:pt x="372" y="95"/>
                    </a:lnTo>
                    <a:lnTo>
                      <a:pt x="377" y="93"/>
                    </a:lnTo>
                    <a:lnTo>
                      <a:pt x="382" y="93"/>
                    </a:lnTo>
                    <a:lnTo>
                      <a:pt x="374" y="81"/>
                    </a:lnTo>
                    <a:lnTo>
                      <a:pt x="367" y="78"/>
                    </a:lnTo>
                    <a:lnTo>
                      <a:pt x="361" y="76"/>
                    </a:lnTo>
                    <a:lnTo>
                      <a:pt x="358" y="76"/>
                    </a:lnTo>
                    <a:lnTo>
                      <a:pt x="351" y="78"/>
                    </a:lnTo>
                    <a:lnTo>
                      <a:pt x="343" y="80"/>
                    </a:lnTo>
                    <a:lnTo>
                      <a:pt x="331" y="78"/>
                    </a:lnTo>
                    <a:lnTo>
                      <a:pt x="320" y="76"/>
                    </a:lnTo>
                    <a:lnTo>
                      <a:pt x="312" y="71"/>
                    </a:lnTo>
                    <a:lnTo>
                      <a:pt x="303" y="68"/>
                    </a:lnTo>
                    <a:lnTo>
                      <a:pt x="293" y="62"/>
                    </a:lnTo>
                    <a:lnTo>
                      <a:pt x="284" y="59"/>
                    </a:lnTo>
                    <a:lnTo>
                      <a:pt x="274" y="57"/>
                    </a:lnTo>
                    <a:lnTo>
                      <a:pt x="265" y="57"/>
                    </a:lnTo>
                    <a:lnTo>
                      <a:pt x="253" y="59"/>
                    </a:lnTo>
                    <a:lnTo>
                      <a:pt x="243" y="62"/>
                    </a:lnTo>
                    <a:lnTo>
                      <a:pt x="234" y="57"/>
                    </a:lnTo>
                    <a:lnTo>
                      <a:pt x="231" y="49"/>
                    </a:lnTo>
                    <a:lnTo>
                      <a:pt x="220" y="56"/>
                    </a:lnTo>
                    <a:lnTo>
                      <a:pt x="212" y="62"/>
                    </a:lnTo>
                    <a:lnTo>
                      <a:pt x="203" y="57"/>
                    </a:lnTo>
                    <a:lnTo>
                      <a:pt x="195" y="50"/>
                    </a:lnTo>
                    <a:lnTo>
                      <a:pt x="188" y="42"/>
                    </a:lnTo>
                    <a:lnTo>
                      <a:pt x="184" y="40"/>
                    </a:lnTo>
                    <a:lnTo>
                      <a:pt x="177" y="42"/>
                    </a:lnTo>
                    <a:lnTo>
                      <a:pt x="176" y="47"/>
                    </a:lnTo>
                    <a:lnTo>
                      <a:pt x="172" y="50"/>
                    </a:lnTo>
                    <a:lnTo>
                      <a:pt x="167" y="54"/>
                    </a:lnTo>
                    <a:lnTo>
                      <a:pt x="162" y="52"/>
                    </a:lnTo>
                    <a:lnTo>
                      <a:pt x="159" y="47"/>
                    </a:lnTo>
                    <a:lnTo>
                      <a:pt x="146" y="49"/>
                    </a:lnTo>
                    <a:lnTo>
                      <a:pt x="140" y="50"/>
                    </a:lnTo>
                    <a:lnTo>
                      <a:pt x="131" y="52"/>
                    </a:lnTo>
                    <a:lnTo>
                      <a:pt x="122" y="57"/>
                    </a:lnTo>
                    <a:lnTo>
                      <a:pt x="116" y="59"/>
                    </a:lnTo>
                    <a:lnTo>
                      <a:pt x="110" y="62"/>
                    </a:lnTo>
                    <a:lnTo>
                      <a:pt x="104" y="64"/>
                    </a:lnTo>
                    <a:lnTo>
                      <a:pt x="100" y="64"/>
                    </a:lnTo>
                    <a:lnTo>
                      <a:pt x="91" y="59"/>
                    </a:lnTo>
                    <a:lnTo>
                      <a:pt x="88" y="61"/>
                    </a:lnTo>
                    <a:lnTo>
                      <a:pt x="86" y="64"/>
                    </a:lnTo>
                    <a:lnTo>
                      <a:pt x="85" y="68"/>
                    </a:lnTo>
                    <a:lnTo>
                      <a:pt x="73" y="68"/>
                    </a:lnTo>
                    <a:lnTo>
                      <a:pt x="67" y="69"/>
                    </a:lnTo>
                    <a:lnTo>
                      <a:pt x="64" y="71"/>
                    </a:lnTo>
                    <a:lnTo>
                      <a:pt x="66" y="74"/>
                    </a:lnTo>
                    <a:lnTo>
                      <a:pt x="67" y="78"/>
                    </a:lnTo>
                    <a:lnTo>
                      <a:pt x="69" y="81"/>
                    </a:lnTo>
                    <a:lnTo>
                      <a:pt x="57" y="80"/>
                    </a:lnTo>
                    <a:lnTo>
                      <a:pt x="43" y="78"/>
                    </a:lnTo>
                    <a:lnTo>
                      <a:pt x="28" y="71"/>
                    </a:lnTo>
                    <a:lnTo>
                      <a:pt x="12" y="66"/>
                    </a:lnTo>
                    <a:lnTo>
                      <a:pt x="9" y="62"/>
                    </a:lnTo>
                    <a:lnTo>
                      <a:pt x="5" y="59"/>
                    </a:lnTo>
                    <a:lnTo>
                      <a:pt x="2" y="59"/>
                    </a:lnTo>
                    <a:lnTo>
                      <a:pt x="0" y="59"/>
                    </a:lnTo>
                    <a:lnTo>
                      <a:pt x="0" y="279"/>
                    </a:lnTo>
                    <a:lnTo>
                      <a:pt x="4" y="279"/>
                    </a:lnTo>
                    <a:lnTo>
                      <a:pt x="12" y="281"/>
                    </a:lnTo>
                    <a:lnTo>
                      <a:pt x="19" y="281"/>
                    </a:lnTo>
                    <a:lnTo>
                      <a:pt x="28" y="286"/>
                    </a:lnTo>
                    <a:lnTo>
                      <a:pt x="31" y="291"/>
                    </a:lnTo>
                    <a:lnTo>
                      <a:pt x="38" y="298"/>
                    </a:lnTo>
                    <a:lnTo>
                      <a:pt x="45" y="303"/>
                    </a:lnTo>
                    <a:lnTo>
                      <a:pt x="54" y="307"/>
                    </a:lnTo>
                    <a:lnTo>
                      <a:pt x="61" y="300"/>
                    </a:lnTo>
                    <a:lnTo>
                      <a:pt x="67" y="295"/>
                    </a:lnTo>
                    <a:lnTo>
                      <a:pt x="71" y="293"/>
                    </a:lnTo>
                    <a:lnTo>
                      <a:pt x="78" y="291"/>
                    </a:lnTo>
                    <a:lnTo>
                      <a:pt x="86" y="300"/>
                    </a:lnTo>
                    <a:lnTo>
                      <a:pt x="95" y="308"/>
                    </a:lnTo>
                    <a:lnTo>
                      <a:pt x="102" y="319"/>
                    </a:lnTo>
                    <a:lnTo>
                      <a:pt x="112" y="332"/>
                    </a:lnTo>
                    <a:lnTo>
                      <a:pt x="116" y="334"/>
                    </a:lnTo>
                    <a:lnTo>
                      <a:pt x="119" y="339"/>
                    </a:lnTo>
                    <a:lnTo>
                      <a:pt x="122" y="348"/>
                    </a:lnTo>
                    <a:lnTo>
                      <a:pt x="129" y="358"/>
                    </a:lnTo>
                    <a:lnTo>
                      <a:pt x="134" y="360"/>
                    </a:lnTo>
                    <a:lnTo>
                      <a:pt x="141" y="363"/>
                    </a:lnTo>
                    <a:lnTo>
                      <a:pt x="150" y="370"/>
                    </a:lnTo>
                    <a:lnTo>
                      <a:pt x="155" y="382"/>
                    </a:lnTo>
                    <a:lnTo>
                      <a:pt x="152" y="387"/>
                    </a:lnTo>
                    <a:lnTo>
                      <a:pt x="148" y="393"/>
                    </a:lnTo>
                    <a:lnTo>
                      <a:pt x="148" y="394"/>
                    </a:lnTo>
                    <a:lnTo>
                      <a:pt x="150" y="399"/>
                    </a:lnTo>
                    <a:lnTo>
                      <a:pt x="148" y="405"/>
                    </a:lnTo>
                    <a:lnTo>
                      <a:pt x="150" y="411"/>
                    </a:lnTo>
                    <a:lnTo>
                      <a:pt x="150" y="417"/>
                    </a:lnTo>
                    <a:lnTo>
                      <a:pt x="157" y="422"/>
                    </a:lnTo>
                    <a:lnTo>
                      <a:pt x="162" y="422"/>
                    </a:lnTo>
                    <a:lnTo>
                      <a:pt x="167" y="425"/>
                    </a:lnTo>
                    <a:lnTo>
                      <a:pt x="169" y="432"/>
                    </a:lnTo>
                    <a:lnTo>
                      <a:pt x="172" y="441"/>
                    </a:lnTo>
                    <a:lnTo>
                      <a:pt x="174" y="441"/>
                    </a:lnTo>
                    <a:lnTo>
                      <a:pt x="179" y="444"/>
                    </a:lnTo>
                    <a:lnTo>
                      <a:pt x="183" y="448"/>
                    </a:lnTo>
                    <a:lnTo>
                      <a:pt x="186" y="451"/>
                    </a:lnTo>
                    <a:lnTo>
                      <a:pt x="188" y="458"/>
                    </a:lnTo>
                    <a:lnTo>
                      <a:pt x="191" y="466"/>
                    </a:lnTo>
                    <a:lnTo>
                      <a:pt x="196" y="472"/>
                    </a:lnTo>
                    <a:lnTo>
                      <a:pt x="208" y="475"/>
                    </a:lnTo>
                    <a:lnTo>
                      <a:pt x="210" y="479"/>
                    </a:lnTo>
                    <a:lnTo>
                      <a:pt x="219" y="482"/>
                    </a:lnTo>
                    <a:lnTo>
                      <a:pt x="226" y="484"/>
                    </a:lnTo>
                    <a:lnTo>
                      <a:pt x="232" y="492"/>
                    </a:lnTo>
                    <a:lnTo>
                      <a:pt x="239" y="497"/>
                    </a:lnTo>
                    <a:lnTo>
                      <a:pt x="251" y="504"/>
                    </a:lnTo>
                    <a:lnTo>
                      <a:pt x="253" y="504"/>
                    </a:lnTo>
                    <a:lnTo>
                      <a:pt x="257" y="506"/>
                    </a:lnTo>
                    <a:lnTo>
                      <a:pt x="662" y="506"/>
                    </a:lnTo>
                    <a:lnTo>
                      <a:pt x="662" y="501"/>
                    </a:lnTo>
                    <a:lnTo>
                      <a:pt x="669" y="506"/>
                    </a:lnTo>
                    <a:lnTo>
                      <a:pt x="676" y="513"/>
                    </a:lnTo>
                    <a:lnTo>
                      <a:pt x="700" y="513"/>
                    </a:lnTo>
                    <a:lnTo>
                      <a:pt x="707" y="518"/>
                    </a:lnTo>
                    <a:lnTo>
                      <a:pt x="718" y="521"/>
                    </a:lnTo>
                    <a:lnTo>
                      <a:pt x="728" y="521"/>
                    </a:lnTo>
                    <a:lnTo>
                      <a:pt x="743" y="523"/>
                    </a:lnTo>
                    <a:lnTo>
                      <a:pt x="748" y="521"/>
                    </a:lnTo>
                    <a:lnTo>
                      <a:pt x="755" y="521"/>
                    </a:lnTo>
                    <a:lnTo>
                      <a:pt x="759" y="513"/>
                    </a:lnTo>
                    <a:lnTo>
                      <a:pt x="764" y="509"/>
                    </a:lnTo>
                    <a:lnTo>
                      <a:pt x="771" y="515"/>
                    </a:lnTo>
                    <a:lnTo>
                      <a:pt x="776" y="521"/>
                    </a:lnTo>
                    <a:lnTo>
                      <a:pt x="776" y="516"/>
                    </a:lnTo>
                    <a:lnTo>
                      <a:pt x="778" y="515"/>
                    </a:lnTo>
                    <a:lnTo>
                      <a:pt x="781" y="515"/>
                    </a:lnTo>
                    <a:lnTo>
                      <a:pt x="785" y="516"/>
                    </a:lnTo>
                    <a:lnTo>
                      <a:pt x="793" y="523"/>
                    </a:lnTo>
                    <a:lnTo>
                      <a:pt x="802" y="528"/>
                    </a:lnTo>
                    <a:lnTo>
                      <a:pt x="807" y="534"/>
                    </a:lnTo>
                    <a:lnTo>
                      <a:pt x="807" y="540"/>
                    </a:lnTo>
                    <a:lnTo>
                      <a:pt x="810" y="549"/>
                    </a:lnTo>
                    <a:lnTo>
                      <a:pt x="819" y="554"/>
                    </a:lnTo>
                    <a:lnTo>
                      <a:pt x="829" y="558"/>
                    </a:lnTo>
                    <a:lnTo>
                      <a:pt x="840" y="559"/>
                    </a:lnTo>
                    <a:lnTo>
                      <a:pt x="850" y="566"/>
                    </a:lnTo>
                    <a:lnTo>
                      <a:pt x="864" y="566"/>
                    </a:lnTo>
                    <a:lnTo>
                      <a:pt x="872" y="571"/>
                    </a:lnTo>
                    <a:lnTo>
                      <a:pt x="877" y="583"/>
                    </a:lnTo>
                    <a:lnTo>
                      <a:pt x="876" y="587"/>
                    </a:lnTo>
                    <a:lnTo>
                      <a:pt x="872" y="589"/>
                    </a:lnTo>
                    <a:lnTo>
                      <a:pt x="862" y="583"/>
                    </a:lnTo>
                    <a:lnTo>
                      <a:pt x="859" y="580"/>
                    </a:lnTo>
                    <a:lnTo>
                      <a:pt x="855" y="587"/>
                    </a:lnTo>
                    <a:lnTo>
                      <a:pt x="853" y="599"/>
                    </a:lnTo>
                    <a:lnTo>
                      <a:pt x="848" y="607"/>
                    </a:lnTo>
                    <a:lnTo>
                      <a:pt x="845" y="613"/>
                    </a:lnTo>
                    <a:lnTo>
                      <a:pt x="836" y="621"/>
                    </a:lnTo>
                    <a:lnTo>
                      <a:pt x="833" y="630"/>
                    </a:lnTo>
                    <a:lnTo>
                      <a:pt x="836" y="633"/>
                    </a:lnTo>
                    <a:lnTo>
                      <a:pt x="841" y="637"/>
                    </a:lnTo>
                    <a:lnTo>
                      <a:pt x="845" y="633"/>
                    </a:lnTo>
                    <a:lnTo>
                      <a:pt x="848" y="632"/>
                    </a:lnTo>
                    <a:lnTo>
                      <a:pt x="855" y="626"/>
                    </a:lnTo>
                    <a:lnTo>
                      <a:pt x="867" y="626"/>
                    </a:lnTo>
                    <a:lnTo>
                      <a:pt x="874" y="626"/>
                    </a:lnTo>
                    <a:lnTo>
                      <a:pt x="879" y="628"/>
                    </a:lnTo>
                    <a:lnTo>
                      <a:pt x="883" y="626"/>
                    </a:lnTo>
                    <a:lnTo>
                      <a:pt x="888" y="625"/>
                    </a:lnTo>
                    <a:lnTo>
                      <a:pt x="886" y="620"/>
                    </a:lnTo>
                    <a:lnTo>
                      <a:pt x="884" y="616"/>
                    </a:lnTo>
                    <a:lnTo>
                      <a:pt x="883" y="613"/>
                    </a:lnTo>
                    <a:lnTo>
                      <a:pt x="881" y="611"/>
                    </a:lnTo>
                    <a:lnTo>
                      <a:pt x="883" y="607"/>
                    </a:lnTo>
                    <a:lnTo>
                      <a:pt x="888" y="607"/>
                    </a:lnTo>
                    <a:lnTo>
                      <a:pt x="896" y="604"/>
                    </a:lnTo>
                    <a:lnTo>
                      <a:pt x="912" y="601"/>
                    </a:lnTo>
                    <a:lnTo>
                      <a:pt x="924" y="597"/>
                    </a:lnTo>
                    <a:lnTo>
                      <a:pt x="936" y="597"/>
                    </a:lnTo>
                    <a:lnTo>
                      <a:pt x="938" y="594"/>
                    </a:lnTo>
                    <a:lnTo>
                      <a:pt x="946" y="587"/>
                    </a:lnTo>
                    <a:lnTo>
                      <a:pt x="953" y="578"/>
                    </a:lnTo>
                    <a:lnTo>
                      <a:pt x="958" y="577"/>
                    </a:lnTo>
                    <a:lnTo>
                      <a:pt x="969" y="575"/>
                    </a:lnTo>
                    <a:lnTo>
                      <a:pt x="986" y="575"/>
                    </a:lnTo>
                    <a:lnTo>
                      <a:pt x="991" y="575"/>
                    </a:lnTo>
                    <a:lnTo>
                      <a:pt x="998" y="575"/>
                    </a:lnTo>
                    <a:lnTo>
                      <a:pt x="1003" y="573"/>
                    </a:lnTo>
                    <a:lnTo>
                      <a:pt x="1010" y="573"/>
                    </a:lnTo>
                    <a:lnTo>
                      <a:pt x="1013" y="571"/>
                    </a:lnTo>
                    <a:lnTo>
                      <a:pt x="1017" y="568"/>
                    </a:lnTo>
                    <a:lnTo>
                      <a:pt x="1020" y="559"/>
                    </a:lnTo>
                    <a:lnTo>
                      <a:pt x="1025" y="551"/>
                    </a:lnTo>
                    <a:lnTo>
                      <a:pt x="1029" y="540"/>
                    </a:lnTo>
                    <a:lnTo>
                      <a:pt x="1037" y="534"/>
                    </a:lnTo>
                    <a:lnTo>
                      <a:pt x="1048" y="535"/>
                    </a:lnTo>
                    <a:lnTo>
                      <a:pt x="1058" y="537"/>
                    </a:lnTo>
                    <a:lnTo>
                      <a:pt x="1060" y="547"/>
                    </a:lnTo>
                    <a:lnTo>
                      <a:pt x="1062" y="558"/>
                    </a:lnTo>
                    <a:lnTo>
                      <a:pt x="1062" y="568"/>
                    </a:lnTo>
                    <a:lnTo>
                      <a:pt x="1067" y="580"/>
                    </a:lnTo>
                    <a:lnTo>
                      <a:pt x="1067" y="5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47" name="Freeform 299"/>
              <p:cNvSpPr>
                <a:spLocks/>
              </p:cNvSpPr>
              <p:nvPr/>
            </p:nvSpPr>
            <p:spPr bwMode="auto">
              <a:xfrm>
                <a:off x="473869" y="2020888"/>
                <a:ext cx="857250" cy="614362"/>
              </a:xfrm>
              <a:custGeom>
                <a:avLst/>
                <a:gdLst/>
                <a:ahLst/>
                <a:cxnLst>
                  <a:cxn ang="0">
                    <a:pos x="397" y="263"/>
                  </a:cxn>
                  <a:cxn ang="0">
                    <a:pos x="423" y="280"/>
                  </a:cxn>
                  <a:cxn ang="0">
                    <a:pos x="452" y="277"/>
                  </a:cxn>
                  <a:cxn ang="0">
                    <a:pos x="480" y="290"/>
                  </a:cxn>
                  <a:cxn ang="0">
                    <a:pos x="504" y="321"/>
                  </a:cxn>
                  <a:cxn ang="0">
                    <a:pos x="526" y="345"/>
                  </a:cxn>
                  <a:cxn ang="0">
                    <a:pos x="533" y="375"/>
                  </a:cxn>
                  <a:cxn ang="0">
                    <a:pos x="513" y="368"/>
                  </a:cxn>
                  <a:cxn ang="0">
                    <a:pos x="506" y="352"/>
                  </a:cxn>
                  <a:cxn ang="0">
                    <a:pos x="482" y="337"/>
                  </a:cxn>
                  <a:cxn ang="0">
                    <a:pos x="490" y="321"/>
                  </a:cxn>
                  <a:cxn ang="0">
                    <a:pos x="468" y="321"/>
                  </a:cxn>
                  <a:cxn ang="0">
                    <a:pos x="464" y="306"/>
                  </a:cxn>
                  <a:cxn ang="0">
                    <a:pos x="442" y="307"/>
                  </a:cxn>
                  <a:cxn ang="0">
                    <a:pos x="418" y="289"/>
                  </a:cxn>
                  <a:cxn ang="0">
                    <a:pos x="372" y="271"/>
                  </a:cxn>
                  <a:cxn ang="0">
                    <a:pos x="303" y="254"/>
                  </a:cxn>
                  <a:cxn ang="0">
                    <a:pos x="277" y="256"/>
                  </a:cxn>
                  <a:cxn ang="0">
                    <a:pos x="241" y="285"/>
                  </a:cxn>
                  <a:cxn ang="0">
                    <a:pos x="225" y="282"/>
                  </a:cxn>
                  <a:cxn ang="0">
                    <a:pos x="229" y="264"/>
                  </a:cxn>
                  <a:cxn ang="0">
                    <a:pos x="251" y="247"/>
                  </a:cxn>
                  <a:cxn ang="0">
                    <a:pos x="231" y="249"/>
                  </a:cxn>
                  <a:cxn ang="0">
                    <a:pos x="200" y="294"/>
                  </a:cxn>
                  <a:cxn ang="0">
                    <a:pos x="169" y="323"/>
                  </a:cxn>
                  <a:cxn ang="0">
                    <a:pos x="138" y="347"/>
                  </a:cxn>
                  <a:cxn ang="0">
                    <a:pos x="100" y="366"/>
                  </a:cxn>
                  <a:cxn ang="0">
                    <a:pos x="53" y="385"/>
                  </a:cxn>
                  <a:cxn ang="0">
                    <a:pos x="72" y="368"/>
                  </a:cxn>
                  <a:cxn ang="0">
                    <a:pos x="112" y="342"/>
                  </a:cxn>
                  <a:cxn ang="0">
                    <a:pos x="151" y="316"/>
                  </a:cxn>
                  <a:cxn ang="0">
                    <a:pos x="162" y="294"/>
                  </a:cxn>
                  <a:cxn ang="0">
                    <a:pos x="131" y="295"/>
                  </a:cxn>
                  <a:cxn ang="0">
                    <a:pos x="112" y="297"/>
                  </a:cxn>
                  <a:cxn ang="0">
                    <a:pos x="102" y="299"/>
                  </a:cxn>
                  <a:cxn ang="0">
                    <a:pos x="83" y="297"/>
                  </a:cxn>
                  <a:cxn ang="0">
                    <a:pos x="81" y="275"/>
                  </a:cxn>
                  <a:cxn ang="0">
                    <a:pos x="60" y="277"/>
                  </a:cxn>
                  <a:cxn ang="0">
                    <a:pos x="38" y="256"/>
                  </a:cxn>
                  <a:cxn ang="0">
                    <a:pos x="24" y="239"/>
                  </a:cxn>
                  <a:cxn ang="0">
                    <a:pos x="48" y="206"/>
                  </a:cxn>
                  <a:cxn ang="0">
                    <a:pos x="93" y="191"/>
                  </a:cxn>
                  <a:cxn ang="0">
                    <a:pos x="95" y="170"/>
                  </a:cxn>
                  <a:cxn ang="0">
                    <a:pos x="89" y="166"/>
                  </a:cxn>
                  <a:cxn ang="0">
                    <a:pos x="46" y="170"/>
                  </a:cxn>
                  <a:cxn ang="0">
                    <a:pos x="14" y="156"/>
                  </a:cxn>
                  <a:cxn ang="0">
                    <a:pos x="0" y="144"/>
                  </a:cxn>
                  <a:cxn ang="0">
                    <a:pos x="46" y="122"/>
                  </a:cxn>
                  <a:cxn ang="0">
                    <a:pos x="65" y="132"/>
                  </a:cxn>
                  <a:cxn ang="0">
                    <a:pos x="81" y="122"/>
                  </a:cxn>
                  <a:cxn ang="0">
                    <a:pos x="52" y="103"/>
                  </a:cxn>
                  <a:cxn ang="0">
                    <a:pos x="33" y="84"/>
                  </a:cxn>
                  <a:cxn ang="0">
                    <a:pos x="19" y="70"/>
                  </a:cxn>
                  <a:cxn ang="0">
                    <a:pos x="77" y="34"/>
                  </a:cxn>
                  <a:cxn ang="0">
                    <a:pos x="115" y="15"/>
                  </a:cxn>
                  <a:cxn ang="0">
                    <a:pos x="157" y="0"/>
                  </a:cxn>
                  <a:cxn ang="0">
                    <a:pos x="167" y="13"/>
                  </a:cxn>
                  <a:cxn ang="0">
                    <a:pos x="193" y="12"/>
                  </a:cxn>
                  <a:cxn ang="0">
                    <a:pos x="272" y="22"/>
                  </a:cxn>
                  <a:cxn ang="0">
                    <a:pos x="329" y="36"/>
                  </a:cxn>
                  <a:cxn ang="0">
                    <a:pos x="368" y="34"/>
                  </a:cxn>
                  <a:cxn ang="0">
                    <a:pos x="385" y="41"/>
                  </a:cxn>
                </a:cxnLst>
                <a:rect l="0" t="0" r="r" b="b"/>
                <a:pathLst>
                  <a:path w="540" h="387">
                    <a:moveTo>
                      <a:pt x="385" y="41"/>
                    </a:moveTo>
                    <a:lnTo>
                      <a:pt x="385" y="261"/>
                    </a:lnTo>
                    <a:lnTo>
                      <a:pt x="389" y="261"/>
                    </a:lnTo>
                    <a:lnTo>
                      <a:pt x="397" y="263"/>
                    </a:lnTo>
                    <a:lnTo>
                      <a:pt x="404" y="263"/>
                    </a:lnTo>
                    <a:lnTo>
                      <a:pt x="413" y="268"/>
                    </a:lnTo>
                    <a:lnTo>
                      <a:pt x="416" y="273"/>
                    </a:lnTo>
                    <a:lnTo>
                      <a:pt x="423" y="280"/>
                    </a:lnTo>
                    <a:lnTo>
                      <a:pt x="430" y="285"/>
                    </a:lnTo>
                    <a:lnTo>
                      <a:pt x="439" y="289"/>
                    </a:lnTo>
                    <a:lnTo>
                      <a:pt x="446" y="282"/>
                    </a:lnTo>
                    <a:lnTo>
                      <a:pt x="452" y="277"/>
                    </a:lnTo>
                    <a:lnTo>
                      <a:pt x="456" y="275"/>
                    </a:lnTo>
                    <a:lnTo>
                      <a:pt x="463" y="273"/>
                    </a:lnTo>
                    <a:lnTo>
                      <a:pt x="471" y="282"/>
                    </a:lnTo>
                    <a:lnTo>
                      <a:pt x="480" y="290"/>
                    </a:lnTo>
                    <a:lnTo>
                      <a:pt x="487" y="301"/>
                    </a:lnTo>
                    <a:lnTo>
                      <a:pt x="497" y="314"/>
                    </a:lnTo>
                    <a:lnTo>
                      <a:pt x="501" y="316"/>
                    </a:lnTo>
                    <a:lnTo>
                      <a:pt x="504" y="321"/>
                    </a:lnTo>
                    <a:lnTo>
                      <a:pt x="507" y="330"/>
                    </a:lnTo>
                    <a:lnTo>
                      <a:pt x="514" y="340"/>
                    </a:lnTo>
                    <a:lnTo>
                      <a:pt x="519" y="342"/>
                    </a:lnTo>
                    <a:lnTo>
                      <a:pt x="526" y="345"/>
                    </a:lnTo>
                    <a:lnTo>
                      <a:pt x="535" y="352"/>
                    </a:lnTo>
                    <a:lnTo>
                      <a:pt x="540" y="364"/>
                    </a:lnTo>
                    <a:lnTo>
                      <a:pt x="537" y="369"/>
                    </a:lnTo>
                    <a:lnTo>
                      <a:pt x="533" y="375"/>
                    </a:lnTo>
                    <a:lnTo>
                      <a:pt x="530" y="375"/>
                    </a:lnTo>
                    <a:lnTo>
                      <a:pt x="528" y="375"/>
                    </a:lnTo>
                    <a:lnTo>
                      <a:pt x="519" y="371"/>
                    </a:lnTo>
                    <a:lnTo>
                      <a:pt x="513" y="368"/>
                    </a:lnTo>
                    <a:lnTo>
                      <a:pt x="507" y="362"/>
                    </a:lnTo>
                    <a:lnTo>
                      <a:pt x="506" y="359"/>
                    </a:lnTo>
                    <a:lnTo>
                      <a:pt x="506" y="356"/>
                    </a:lnTo>
                    <a:lnTo>
                      <a:pt x="506" y="352"/>
                    </a:lnTo>
                    <a:lnTo>
                      <a:pt x="501" y="344"/>
                    </a:lnTo>
                    <a:lnTo>
                      <a:pt x="492" y="344"/>
                    </a:lnTo>
                    <a:lnTo>
                      <a:pt x="483" y="340"/>
                    </a:lnTo>
                    <a:lnTo>
                      <a:pt x="482" y="337"/>
                    </a:lnTo>
                    <a:lnTo>
                      <a:pt x="485" y="332"/>
                    </a:lnTo>
                    <a:lnTo>
                      <a:pt x="490" y="328"/>
                    </a:lnTo>
                    <a:lnTo>
                      <a:pt x="490" y="323"/>
                    </a:lnTo>
                    <a:lnTo>
                      <a:pt x="490" y="321"/>
                    </a:lnTo>
                    <a:lnTo>
                      <a:pt x="482" y="325"/>
                    </a:lnTo>
                    <a:lnTo>
                      <a:pt x="476" y="328"/>
                    </a:lnTo>
                    <a:lnTo>
                      <a:pt x="471" y="325"/>
                    </a:lnTo>
                    <a:lnTo>
                      <a:pt x="468" y="321"/>
                    </a:lnTo>
                    <a:lnTo>
                      <a:pt x="470" y="313"/>
                    </a:lnTo>
                    <a:lnTo>
                      <a:pt x="473" y="309"/>
                    </a:lnTo>
                    <a:lnTo>
                      <a:pt x="468" y="304"/>
                    </a:lnTo>
                    <a:lnTo>
                      <a:pt x="464" y="306"/>
                    </a:lnTo>
                    <a:lnTo>
                      <a:pt x="454" y="302"/>
                    </a:lnTo>
                    <a:lnTo>
                      <a:pt x="449" y="299"/>
                    </a:lnTo>
                    <a:lnTo>
                      <a:pt x="446" y="304"/>
                    </a:lnTo>
                    <a:lnTo>
                      <a:pt x="442" y="307"/>
                    </a:lnTo>
                    <a:lnTo>
                      <a:pt x="432" y="304"/>
                    </a:lnTo>
                    <a:lnTo>
                      <a:pt x="427" y="299"/>
                    </a:lnTo>
                    <a:lnTo>
                      <a:pt x="421" y="292"/>
                    </a:lnTo>
                    <a:lnTo>
                      <a:pt x="418" y="289"/>
                    </a:lnTo>
                    <a:lnTo>
                      <a:pt x="406" y="282"/>
                    </a:lnTo>
                    <a:lnTo>
                      <a:pt x="394" y="278"/>
                    </a:lnTo>
                    <a:lnTo>
                      <a:pt x="382" y="275"/>
                    </a:lnTo>
                    <a:lnTo>
                      <a:pt x="372" y="271"/>
                    </a:lnTo>
                    <a:lnTo>
                      <a:pt x="344" y="271"/>
                    </a:lnTo>
                    <a:lnTo>
                      <a:pt x="330" y="266"/>
                    </a:lnTo>
                    <a:lnTo>
                      <a:pt x="317" y="261"/>
                    </a:lnTo>
                    <a:lnTo>
                      <a:pt x="303" y="254"/>
                    </a:lnTo>
                    <a:lnTo>
                      <a:pt x="296" y="246"/>
                    </a:lnTo>
                    <a:lnTo>
                      <a:pt x="286" y="249"/>
                    </a:lnTo>
                    <a:lnTo>
                      <a:pt x="275" y="252"/>
                    </a:lnTo>
                    <a:lnTo>
                      <a:pt x="277" y="256"/>
                    </a:lnTo>
                    <a:lnTo>
                      <a:pt x="280" y="259"/>
                    </a:lnTo>
                    <a:lnTo>
                      <a:pt x="270" y="268"/>
                    </a:lnTo>
                    <a:lnTo>
                      <a:pt x="256" y="277"/>
                    </a:lnTo>
                    <a:lnTo>
                      <a:pt x="241" y="285"/>
                    </a:lnTo>
                    <a:lnTo>
                      <a:pt x="231" y="289"/>
                    </a:lnTo>
                    <a:lnTo>
                      <a:pt x="225" y="287"/>
                    </a:lnTo>
                    <a:lnTo>
                      <a:pt x="225" y="285"/>
                    </a:lnTo>
                    <a:lnTo>
                      <a:pt x="225" y="282"/>
                    </a:lnTo>
                    <a:lnTo>
                      <a:pt x="229" y="280"/>
                    </a:lnTo>
                    <a:lnTo>
                      <a:pt x="227" y="277"/>
                    </a:lnTo>
                    <a:lnTo>
                      <a:pt x="229" y="275"/>
                    </a:lnTo>
                    <a:lnTo>
                      <a:pt x="229" y="264"/>
                    </a:lnTo>
                    <a:lnTo>
                      <a:pt x="234" y="259"/>
                    </a:lnTo>
                    <a:lnTo>
                      <a:pt x="239" y="252"/>
                    </a:lnTo>
                    <a:lnTo>
                      <a:pt x="251" y="251"/>
                    </a:lnTo>
                    <a:lnTo>
                      <a:pt x="251" y="247"/>
                    </a:lnTo>
                    <a:lnTo>
                      <a:pt x="251" y="246"/>
                    </a:lnTo>
                    <a:lnTo>
                      <a:pt x="246" y="246"/>
                    </a:lnTo>
                    <a:lnTo>
                      <a:pt x="244" y="246"/>
                    </a:lnTo>
                    <a:lnTo>
                      <a:pt x="231" y="249"/>
                    </a:lnTo>
                    <a:lnTo>
                      <a:pt x="217" y="261"/>
                    </a:lnTo>
                    <a:lnTo>
                      <a:pt x="203" y="275"/>
                    </a:lnTo>
                    <a:lnTo>
                      <a:pt x="200" y="290"/>
                    </a:lnTo>
                    <a:lnTo>
                      <a:pt x="200" y="294"/>
                    </a:lnTo>
                    <a:lnTo>
                      <a:pt x="200" y="297"/>
                    </a:lnTo>
                    <a:lnTo>
                      <a:pt x="193" y="309"/>
                    </a:lnTo>
                    <a:lnTo>
                      <a:pt x="177" y="318"/>
                    </a:lnTo>
                    <a:lnTo>
                      <a:pt x="169" y="323"/>
                    </a:lnTo>
                    <a:lnTo>
                      <a:pt x="163" y="330"/>
                    </a:lnTo>
                    <a:lnTo>
                      <a:pt x="155" y="335"/>
                    </a:lnTo>
                    <a:lnTo>
                      <a:pt x="146" y="342"/>
                    </a:lnTo>
                    <a:lnTo>
                      <a:pt x="138" y="347"/>
                    </a:lnTo>
                    <a:lnTo>
                      <a:pt x="131" y="354"/>
                    </a:lnTo>
                    <a:lnTo>
                      <a:pt x="122" y="357"/>
                    </a:lnTo>
                    <a:lnTo>
                      <a:pt x="112" y="362"/>
                    </a:lnTo>
                    <a:lnTo>
                      <a:pt x="100" y="366"/>
                    </a:lnTo>
                    <a:lnTo>
                      <a:pt x="89" y="369"/>
                    </a:lnTo>
                    <a:lnTo>
                      <a:pt x="77" y="373"/>
                    </a:lnTo>
                    <a:lnTo>
                      <a:pt x="65" y="380"/>
                    </a:lnTo>
                    <a:lnTo>
                      <a:pt x="53" y="385"/>
                    </a:lnTo>
                    <a:lnTo>
                      <a:pt x="41" y="387"/>
                    </a:lnTo>
                    <a:lnTo>
                      <a:pt x="52" y="378"/>
                    </a:lnTo>
                    <a:lnTo>
                      <a:pt x="65" y="376"/>
                    </a:lnTo>
                    <a:lnTo>
                      <a:pt x="72" y="368"/>
                    </a:lnTo>
                    <a:lnTo>
                      <a:pt x="81" y="359"/>
                    </a:lnTo>
                    <a:lnTo>
                      <a:pt x="93" y="356"/>
                    </a:lnTo>
                    <a:lnTo>
                      <a:pt x="105" y="352"/>
                    </a:lnTo>
                    <a:lnTo>
                      <a:pt x="112" y="342"/>
                    </a:lnTo>
                    <a:lnTo>
                      <a:pt x="124" y="335"/>
                    </a:lnTo>
                    <a:lnTo>
                      <a:pt x="134" y="330"/>
                    </a:lnTo>
                    <a:lnTo>
                      <a:pt x="146" y="325"/>
                    </a:lnTo>
                    <a:lnTo>
                      <a:pt x="151" y="316"/>
                    </a:lnTo>
                    <a:lnTo>
                      <a:pt x="158" y="307"/>
                    </a:lnTo>
                    <a:lnTo>
                      <a:pt x="162" y="299"/>
                    </a:lnTo>
                    <a:lnTo>
                      <a:pt x="170" y="294"/>
                    </a:lnTo>
                    <a:lnTo>
                      <a:pt x="162" y="294"/>
                    </a:lnTo>
                    <a:lnTo>
                      <a:pt x="153" y="297"/>
                    </a:lnTo>
                    <a:lnTo>
                      <a:pt x="145" y="301"/>
                    </a:lnTo>
                    <a:lnTo>
                      <a:pt x="136" y="297"/>
                    </a:lnTo>
                    <a:lnTo>
                      <a:pt x="131" y="295"/>
                    </a:lnTo>
                    <a:lnTo>
                      <a:pt x="127" y="301"/>
                    </a:lnTo>
                    <a:lnTo>
                      <a:pt x="127" y="306"/>
                    </a:lnTo>
                    <a:lnTo>
                      <a:pt x="117" y="301"/>
                    </a:lnTo>
                    <a:lnTo>
                      <a:pt x="112" y="297"/>
                    </a:lnTo>
                    <a:lnTo>
                      <a:pt x="107" y="294"/>
                    </a:lnTo>
                    <a:lnTo>
                      <a:pt x="102" y="290"/>
                    </a:lnTo>
                    <a:lnTo>
                      <a:pt x="102" y="294"/>
                    </a:lnTo>
                    <a:lnTo>
                      <a:pt x="102" y="299"/>
                    </a:lnTo>
                    <a:lnTo>
                      <a:pt x="96" y="299"/>
                    </a:lnTo>
                    <a:lnTo>
                      <a:pt x="91" y="301"/>
                    </a:lnTo>
                    <a:lnTo>
                      <a:pt x="88" y="302"/>
                    </a:lnTo>
                    <a:lnTo>
                      <a:pt x="83" y="297"/>
                    </a:lnTo>
                    <a:lnTo>
                      <a:pt x="83" y="290"/>
                    </a:lnTo>
                    <a:lnTo>
                      <a:pt x="83" y="283"/>
                    </a:lnTo>
                    <a:lnTo>
                      <a:pt x="83" y="280"/>
                    </a:lnTo>
                    <a:lnTo>
                      <a:pt x="81" y="275"/>
                    </a:lnTo>
                    <a:lnTo>
                      <a:pt x="79" y="273"/>
                    </a:lnTo>
                    <a:lnTo>
                      <a:pt x="72" y="277"/>
                    </a:lnTo>
                    <a:lnTo>
                      <a:pt x="69" y="280"/>
                    </a:lnTo>
                    <a:lnTo>
                      <a:pt x="60" y="277"/>
                    </a:lnTo>
                    <a:lnTo>
                      <a:pt x="50" y="270"/>
                    </a:lnTo>
                    <a:lnTo>
                      <a:pt x="40" y="261"/>
                    </a:lnTo>
                    <a:lnTo>
                      <a:pt x="34" y="258"/>
                    </a:lnTo>
                    <a:lnTo>
                      <a:pt x="38" y="256"/>
                    </a:lnTo>
                    <a:lnTo>
                      <a:pt x="41" y="256"/>
                    </a:lnTo>
                    <a:lnTo>
                      <a:pt x="36" y="249"/>
                    </a:lnTo>
                    <a:lnTo>
                      <a:pt x="29" y="244"/>
                    </a:lnTo>
                    <a:lnTo>
                      <a:pt x="24" y="239"/>
                    </a:lnTo>
                    <a:lnTo>
                      <a:pt x="22" y="234"/>
                    </a:lnTo>
                    <a:lnTo>
                      <a:pt x="26" y="221"/>
                    </a:lnTo>
                    <a:lnTo>
                      <a:pt x="36" y="213"/>
                    </a:lnTo>
                    <a:lnTo>
                      <a:pt x="48" y="206"/>
                    </a:lnTo>
                    <a:lnTo>
                      <a:pt x="60" y="206"/>
                    </a:lnTo>
                    <a:lnTo>
                      <a:pt x="67" y="203"/>
                    </a:lnTo>
                    <a:lnTo>
                      <a:pt x="81" y="197"/>
                    </a:lnTo>
                    <a:lnTo>
                      <a:pt x="93" y="191"/>
                    </a:lnTo>
                    <a:lnTo>
                      <a:pt x="100" y="185"/>
                    </a:lnTo>
                    <a:lnTo>
                      <a:pt x="95" y="179"/>
                    </a:lnTo>
                    <a:lnTo>
                      <a:pt x="89" y="173"/>
                    </a:lnTo>
                    <a:lnTo>
                      <a:pt x="95" y="170"/>
                    </a:lnTo>
                    <a:lnTo>
                      <a:pt x="98" y="173"/>
                    </a:lnTo>
                    <a:lnTo>
                      <a:pt x="98" y="166"/>
                    </a:lnTo>
                    <a:lnTo>
                      <a:pt x="93" y="165"/>
                    </a:lnTo>
                    <a:lnTo>
                      <a:pt x="89" y="166"/>
                    </a:lnTo>
                    <a:lnTo>
                      <a:pt x="79" y="170"/>
                    </a:lnTo>
                    <a:lnTo>
                      <a:pt x="69" y="175"/>
                    </a:lnTo>
                    <a:lnTo>
                      <a:pt x="57" y="172"/>
                    </a:lnTo>
                    <a:lnTo>
                      <a:pt x="46" y="170"/>
                    </a:lnTo>
                    <a:lnTo>
                      <a:pt x="31" y="170"/>
                    </a:lnTo>
                    <a:lnTo>
                      <a:pt x="21" y="170"/>
                    </a:lnTo>
                    <a:lnTo>
                      <a:pt x="17" y="161"/>
                    </a:lnTo>
                    <a:lnTo>
                      <a:pt x="14" y="156"/>
                    </a:lnTo>
                    <a:lnTo>
                      <a:pt x="14" y="153"/>
                    </a:lnTo>
                    <a:lnTo>
                      <a:pt x="16" y="151"/>
                    </a:lnTo>
                    <a:lnTo>
                      <a:pt x="5" y="149"/>
                    </a:lnTo>
                    <a:lnTo>
                      <a:pt x="0" y="144"/>
                    </a:lnTo>
                    <a:lnTo>
                      <a:pt x="9" y="137"/>
                    </a:lnTo>
                    <a:lnTo>
                      <a:pt x="22" y="132"/>
                    </a:lnTo>
                    <a:lnTo>
                      <a:pt x="34" y="127"/>
                    </a:lnTo>
                    <a:lnTo>
                      <a:pt x="46" y="122"/>
                    </a:lnTo>
                    <a:lnTo>
                      <a:pt x="55" y="122"/>
                    </a:lnTo>
                    <a:lnTo>
                      <a:pt x="55" y="129"/>
                    </a:lnTo>
                    <a:lnTo>
                      <a:pt x="60" y="132"/>
                    </a:lnTo>
                    <a:lnTo>
                      <a:pt x="65" y="132"/>
                    </a:lnTo>
                    <a:lnTo>
                      <a:pt x="74" y="132"/>
                    </a:lnTo>
                    <a:lnTo>
                      <a:pt x="81" y="132"/>
                    </a:lnTo>
                    <a:lnTo>
                      <a:pt x="88" y="132"/>
                    </a:lnTo>
                    <a:lnTo>
                      <a:pt x="81" y="122"/>
                    </a:lnTo>
                    <a:lnTo>
                      <a:pt x="76" y="117"/>
                    </a:lnTo>
                    <a:lnTo>
                      <a:pt x="65" y="111"/>
                    </a:lnTo>
                    <a:lnTo>
                      <a:pt x="57" y="108"/>
                    </a:lnTo>
                    <a:lnTo>
                      <a:pt x="52" y="103"/>
                    </a:lnTo>
                    <a:lnTo>
                      <a:pt x="48" y="98"/>
                    </a:lnTo>
                    <a:lnTo>
                      <a:pt x="45" y="91"/>
                    </a:lnTo>
                    <a:lnTo>
                      <a:pt x="41" y="87"/>
                    </a:lnTo>
                    <a:lnTo>
                      <a:pt x="33" y="84"/>
                    </a:lnTo>
                    <a:lnTo>
                      <a:pt x="26" y="82"/>
                    </a:lnTo>
                    <a:lnTo>
                      <a:pt x="17" y="79"/>
                    </a:lnTo>
                    <a:lnTo>
                      <a:pt x="16" y="77"/>
                    </a:lnTo>
                    <a:lnTo>
                      <a:pt x="19" y="70"/>
                    </a:lnTo>
                    <a:lnTo>
                      <a:pt x="22" y="63"/>
                    </a:lnTo>
                    <a:lnTo>
                      <a:pt x="52" y="63"/>
                    </a:lnTo>
                    <a:lnTo>
                      <a:pt x="62" y="48"/>
                    </a:lnTo>
                    <a:lnTo>
                      <a:pt x="77" y="34"/>
                    </a:lnTo>
                    <a:lnTo>
                      <a:pt x="86" y="27"/>
                    </a:lnTo>
                    <a:lnTo>
                      <a:pt x="95" y="22"/>
                    </a:lnTo>
                    <a:lnTo>
                      <a:pt x="105" y="17"/>
                    </a:lnTo>
                    <a:lnTo>
                      <a:pt x="115" y="15"/>
                    </a:lnTo>
                    <a:lnTo>
                      <a:pt x="124" y="13"/>
                    </a:lnTo>
                    <a:lnTo>
                      <a:pt x="134" y="13"/>
                    </a:lnTo>
                    <a:lnTo>
                      <a:pt x="145" y="5"/>
                    </a:lnTo>
                    <a:lnTo>
                      <a:pt x="157" y="0"/>
                    </a:lnTo>
                    <a:lnTo>
                      <a:pt x="163" y="1"/>
                    </a:lnTo>
                    <a:lnTo>
                      <a:pt x="172" y="7"/>
                    </a:lnTo>
                    <a:lnTo>
                      <a:pt x="169" y="10"/>
                    </a:lnTo>
                    <a:lnTo>
                      <a:pt x="167" y="13"/>
                    </a:lnTo>
                    <a:lnTo>
                      <a:pt x="174" y="12"/>
                    </a:lnTo>
                    <a:lnTo>
                      <a:pt x="181" y="7"/>
                    </a:lnTo>
                    <a:lnTo>
                      <a:pt x="186" y="8"/>
                    </a:lnTo>
                    <a:lnTo>
                      <a:pt x="193" y="12"/>
                    </a:lnTo>
                    <a:lnTo>
                      <a:pt x="217" y="12"/>
                    </a:lnTo>
                    <a:lnTo>
                      <a:pt x="224" y="17"/>
                    </a:lnTo>
                    <a:lnTo>
                      <a:pt x="232" y="22"/>
                    </a:lnTo>
                    <a:lnTo>
                      <a:pt x="272" y="22"/>
                    </a:lnTo>
                    <a:lnTo>
                      <a:pt x="282" y="27"/>
                    </a:lnTo>
                    <a:lnTo>
                      <a:pt x="298" y="32"/>
                    </a:lnTo>
                    <a:lnTo>
                      <a:pt x="313" y="34"/>
                    </a:lnTo>
                    <a:lnTo>
                      <a:pt x="329" y="36"/>
                    </a:lnTo>
                    <a:lnTo>
                      <a:pt x="341" y="32"/>
                    </a:lnTo>
                    <a:lnTo>
                      <a:pt x="353" y="31"/>
                    </a:lnTo>
                    <a:lnTo>
                      <a:pt x="361" y="31"/>
                    </a:lnTo>
                    <a:lnTo>
                      <a:pt x="368" y="34"/>
                    </a:lnTo>
                    <a:lnTo>
                      <a:pt x="375" y="38"/>
                    </a:lnTo>
                    <a:lnTo>
                      <a:pt x="385" y="41"/>
                    </a:lnTo>
                    <a:lnTo>
                      <a:pt x="385" y="39"/>
                    </a:lnTo>
                    <a:lnTo>
                      <a:pt x="385"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48" name="Freeform 300"/>
              <p:cNvSpPr>
                <a:spLocks/>
              </p:cNvSpPr>
              <p:nvPr/>
            </p:nvSpPr>
            <p:spPr bwMode="auto">
              <a:xfrm>
                <a:off x="1246982" y="2568575"/>
                <a:ext cx="38100" cy="55562"/>
              </a:xfrm>
              <a:custGeom>
                <a:avLst/>
                <a:gdLst/>
                <a:ahLst/>
                <a:cxnLst>
                  <a:cxn ang="0">
                    <a:pos x="10" y="14"/>
                  </a:cxn>
                  <a:cxn ang="0">
                    <a:pos x="3" y="11"/>
                  </a:cxn>
                  <a:cxn ang="0">
                    <a:pos x="0" y="14"/>
                  </a:cxn>
                  <a:cxn ang="0">
                    <a:pos x="0" y="5"/>
                  </a:cxn>
                  <a:cxn ang="0">
                    <a:pos x="2" y="2"/>
                  </a:cxn>
                  <a:cxn ang="0">
                    <a:pos x="5" y="0"/>
                  </a:cxn>
                  <a:cxn ang="0">
                    <a:pos x="12" y="4"/>
                  </a:cxn>
                  <a:cxn ang="0">
                    <a:pos x="12" y="11"/>
                  </a:cxn>
                  <a:cxn ang="0">
                    <a:pos x="17" y="17"/>
                  </a:cxn>
                  <a:cxn ang="0">
                    <a:pos x="20" y="23"/>
                  </a:cxn>
                  <a:cxn ang="0">
                    <a:pos x="24" y="30"/>
                  </a:cxn>
                  <a:cxn ang="0">
                    <a:pos x="22" y="33"/>
                  </a:cxn>
                  <a:cxn ang="0">
                    <a:pos x="20" y="35"/>
                  </a:cxn>
                  <a:cxn ang="0">
                    <a:pos x="12" y="30"/>
                  </a:cxn>
                  <a:cxn ang="0">
                    <a:pos x="10" y="24"/>
                  </a:cxn>
                  <a:cxn ang="0">
                    <a:pos x="8" y="17"/>
                  </a:cxn>
                  <a:cxn ang="0">
                    <a:pos x="10" y="14"/>
                  </a:cxn>
                </a:cxnLst>
                <a:rect l="0" t="0" r="r" b="b"/>
                <a:pathLst>
                  <a:path w="24" h="35">
                    <a:moveTo>
                      <a:pt x="10" y="14"/>
                    </a:moveTo>
                    <a:lnTo>
                      <a:pt x="3" y="11"/>
                    </a:lnTo>
                    <a:lnTo>
                      <a:pt x="0" y="14"/>
                    </a:lnTo>
                    <a:lnTo>
                      <a:pt x="0" y="5"/>
                    </a:lnTo>
                    <a:lnTo>
                      <a:pt x="2" y="2"/>
                    </a:lnTo>
                    <a:lnTo>
                      <a:pt x="5" y="0"/>
                    </a:lnTo>
                    <a:lnTo>
                      <a:pt x="12" y="4"/>
                    </a:lnTo>
                    <a:lnTo>
                      <a:pt x="12" y="11"/>
                    </a:lnTo>
                    <a:lnTo>
                      <a:pt x="17" y="17"/>
                    </a:lnTo>
                    <a:lnTo>
                      <a:pt x="20" y="23"/>
                    </a:lnTo>
                    <a:lnTo>
                      <a:pt x="24" y="30"/>
                    </a:lnTo>
                    <a:lnTo>
                      <a:pt x="22" y="33"/>
                    </a:lnTo>
                    <a:lnTo>
                      <a:pt x="20" y="35"/>
                    </a:lnTo>
                    <a:lnTo>
                      <a:pt x="12" y="30"/>
                    </a:lnTo>
                    <a:lnTo>
                      <a:pt x="10" y="24"/>
                    </a:lnTo>
                    <a:lnTo>
                      <a:pt x="8" y="17"/>
                    </a:lnTo>
                    <a:lnTo>
                      <a:pt x="1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49" name="Freeform 301"/>
              <p:cNvSpPr>
                <a:spLocks/>
              </p:cNvSpPr>
              <p:nvPr/>
            </p:nvSpPr>
            <p:spPr bwMode="auto">
              <a:xfrm>
                <a:off x="1186657" y="2508250"/>
                <a:ext cx="34925" cy="66675"/>
              </a:xfrm>
              <a:custGeom>
                <a:avLst/>
                <a:gdLst/>
                <a:ahLst/>
                <a:cxnLst>
                  <a:cxn ang="0">
                    <a:pos x="17" y="21"/>
                  </a:cxn>
                  <a:cxn ang="0">
                    <a:pos x="19" y="21"/>
                  </a:cxn>
                  <a:cxn ang="0">
                    <a:pos x="22" y="21"/>
                  </a:cxn>
                  <a:cxn ang="0">
                    <a:pos x="22" y="31"/>
                  </a:cxn>
                  <a:cxn ang="0">
                    <a:pos x="21" y="42"/>
                  </a:cxn>
                  <a:cxn ang="0">
                    <a:pos x="14" y="31"/>
                  </a:cxn>
                  <a:cxn ang="0">
                    <a:pos x="14" y="21"/>
                  </a:cxn>
                  <a:cxn ang="0">
                    <a:pos x="3" y="16"/>
                  </a:cxn>
                  <a:cxn ang="0">
                    <a:pos x="0" y="6"/>
                  </a:cxn>
                  <a:cxn ang="0">
                    <a:pos x="2" y="0"/>
                  </a:cxn>
                  <a:cxn ang="0">
                    <a:pos x="5" y="0"/>
                  </a:cxn>
                  <a:cxn ang="0">
                    <a:pos x="10" y="0"/>
                  </a:cxn>
                  <a:cxn ang="0">
                    <a:pos x="17" y="0"/>
                  </a:cxn>
                  <a:cxn ang="0">
                    <a:pos x="15" y="7"/>
                  </a:cxn>
                  <a:cxn ang="0">
                    <a:pos x="15" y="13"/>
                  </a:cxn>
                  <a:cxn ang="0">
                    <a:pos x="15" y="16"/>
                  </a:cxn>
                  <a:cxn ang="0">
                    <a:pos x="17" y="21"/>
                  </a:cxn>
                </a:cxnLst>
                <a:rect l="0" t="0" r="r" b="b"/>
                <a:pathLst>
                  <a:path w="22" h="42">
                    <a:moveTo>
                      <a:pt x="17" y="21"/>
                    </a:moveTo>
                    <a:lnTo>
                      <a:pt x="19" y="21"/>
                    </a:lnTo>
                    <a:lnTo>
                      <a:pt x="22" y="21"/>
                    </a:lnTo>
                    <a:lnTo>
                      <a:pt x="22" y="31"/>
                    </a:lnTo>
                    <a:lnTo>
                      <a:pt x="21" y="42"/>
                    </a:lnTo>
                    <a:lnTo>
                      <a:pt x="14" y="31"/>
                    </a:lnTo>
                    <a:lnTo>
                      <a:pt x="14" y="21"/>
                    </a:lnTo>
                    <a:lnTo>
                      <a:pt x="3" y="16"/>
                    </a:lnTo>
                    <a:lnTo>
                      <a:pt x="0" y="6"/>
                    </a:lnTo>
                    <a:lnTo>
                      <a:pt x="2" y="0"/>
                    </a:lnTo>
                    <a:lnTo>
                      <a:pt x="5" y="0"/>
                    </a:lnTo>
                    <a:lnTo>
                      <a:pt x="10" y="0"/>
                    </a:lnTo>
                    <a:lnTo>
                      <a:pt x="17" y="0"/>
                    </a:lnTo>
                    <a:lnTo>
                      <a:pt x="15" y="7"/>
                    </a:lnTo>
                    <a:lnTo>
                      <a:pt x="15" y="13"/>
                    </a:lnTo>
                    <a:lnTo>
                      <a:pt x="15" y="16"/>
                    </a:lnTo>
                    <a:lnTo>
                      <a:pt x="17"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50" name="Freeform 302"/>
              <p:cNvSpPr>
                <a:spLocks/>
              </p:cNvSpPr>
              <p:nvPr/>
            </p:nvSpPr>
            <p:spPr bwMode="auto">
              <a:xfrm>
                <a:off x="1577182" y="1905000"/>
                <a:ext cx="420688" cy="222250"/>
              </a:xfrm>
              <a:custGeom>
                <a:avLst/>
                <a:gdLst/>
                <a:ahLst/>
                <a:cxnLst>
                  <a:cxn ang="0">
                    <a:pos x="239" y="111"/>
                  </a:cxn>
                  <a:cxn ang="0">
                    <a:pos x="241" y="117"/>
                  </a:cxn>
                  <a:cxn ang="0">
                    <a:pos x="248" y="124"/>
                  </a:cxn>
                  <a:cxn ang="0">
                    <a:pos x="246" y="131"/>
                  </a:cxn>
                  <a:cxn ang="0">
                    <a:pos x="230" y="135"/>
                  </a:cxn>
                  <a:cxn ang="0">
                    <a:pos x="208" y="133"/>
                  </a:cxn>
                  <a:cxn ang="0">
                    <a:pos x="189" y="123"/>
                  </a:cxn>
                  <a:cxn ang="0">
                    <a:pos x="174" y="123"/>
                  </a:cxn>
                  <a:cxn ang="0">
                    <a:pos x="158" y="131"/>
                  </a:cxn>
                  <a:cxn ang="0">
                    <a:pos x="137" y="135"/>
                  </a:cxn>
                  <a:cxn ang="0">
                    <a:pos x="115" y="140"/>
                  </a:cxn>
                  <a:cxn ang="0">
                    <a:pos x="94" y="140"/>
                  </a:cxn>
                  <a:cxn ang="0">
                    <a:pos x="79" y="135"/>
                  </a:cxn>
                  <a:cxn ang="0">
                    <a:pos x="69" y="124"/>
                  </a:cxn>
                  <a:cxn ang="0">
                    <a:pos x="53" y="123"/>
                  </a:cxn>
                  <a:cxn ang="0">
                    <a:pos x="33" y="117"/>
                  </a:cxn>
                  <a:cxn ang="0">
                    <a:pos x="33" y="100"/>
                  </a:cxn>
                  <a:cxn ang="0">
                    <a:pos x="58" y="95"/>
                  </a:cxn>
                  <a:cxn ang="0">
                    <a:pos x="82" y="95"/>
                  </a:cxn>
                  <a:cxn ang="0">
                    <a:pos x="84" y="90"/>
                  </a:cxn>
                  <a:cxn ang="0">
                    <a:pos x="62" y="90"/>
                  </a:cxn>
                  <a:cxn ang="0">
                    <a:pos x="38" y="90"/>
                  </a:cxn>
                  <a:cxn ang="0">
                    <a:pos x="15" y="86"/>
                  </a:cxn>
                  <a:cxn ang="0">
                    <a:pos x="14" y="73"/>
                  </a:cxn>
                  <a:cxn ang="0">
                    <a:pos x="26" y="69"/>
                  </a:cxn>
                  <a:cxn ang="0">
                    <a:pos x="22" y="68"/>
                  </a:cxn>
                  <a:cxn ang="0">
                    <a:pos x="3" y="64"/>
                  </a:cxn>
                  <a:cxn ang="0">
                    <a:pos x="0" y="49"/>
                  </a:cxn>
                  <a:cxn ang="0">
                    <a:pos x="14" y="31"/>
                  </a:cxn>
                  <a:cxn ang="0">
                    <a:pos x="34" y="21"/>
                  </a:cxn>
                  <a:cxn ang="0">
                    <a:pos x="53" y="16"/>
                  </a:cxn>
                  <a:cxn ang="0">
                    <a:pos x="67" y="18"/>
                  </a:cxn>
                  <a:cxn ang="0">
                    <a:pos x="70" y="28"/>
                  </a:cxn>
                  <a:cxn ang="0">
                    <a:pos x="77" y="28"/>
                  </a:cxn>
                  <a:cxn ang="0">
                    <a:pos x="94" y="25"/>
                  </a:cxn>
                  <a:cxn ang="0">
                    <a:pos x="105" y="31"/>
                  </a:cxn>
                  <a:cxn ang="0">
                    <a:pos x="117" y="37"/>
                  </a:cxn>
                  <a:cxn ang="0">
                    <a:pos x="124" y="30"/>
                  </a:cxn>
                  <a:cxn ang="0">
                    <a:pos x="134" y="26"/>
                  </a:cxn>
                  <a:cxn ang="0">
                    <a:pos x="151" y="42"/>
                  </a:cxn>
                  <a:cxn ang="0">
                    <a:pos x="153" y="52"/>
                  </a:cxn>
                  <a:cxn ang="0">
                    <a:pos x="160" y="61"/>
                  </a:cxn>
                  <a:cxn ang="0">
                    <a:pos x="167" y="55"/>
                  </a:cxn>
                  <a:cxn ang="0">
                    <a:pos x="158" y="37"/>
                  </a:cxn>
                  <a:cxn ang="0">
                    <a:pos x="155" y="21"/>
                  </a:cxn>
                  <a:cxn ang="0">
                    <a:pos x="163" y="14"/>
                  </a:cxn>
                  <a:cxn ang="0">
                    <a:pos x="179" y="14"/>
                  </a:cxn>
                  <a:cxn ang="0">
                    <a:pos x="177" y="9"/>
                  </a:cxn>
                  <a:cxn ang="0">
                    <a:pos x="193" y="0"/>
                  </a:cxn>
                  <a:cxn ang="0">
                    <a:pos x="211" y="12"/>
                  </a:cxn>
                  <a:cxn ang="0">
                    <a:pos x="199" y="28"/>
                  </a:cxn>
                  <a:cxn ang="0">
                    <a:pos x="206" y="52"/>
                  </a:cxn>
                  <a:cxn ang="0">
                    <a:pos x="213" y="71"/>
                  </a:cxn>
                  <a:cxn ang="0">
                    <a:pos x="236" y="92"/>
                  </a:cxn>
                  <a:cxn ang="0">
                    <a:pos x="265" y="107"/>
                  </a:cxn>
                  <a:cxn ang="0">
                    <a:pos x="246" y="111"/>
                  </a:cxn>
                </a:cxnLst>
                <a:rect l="0" t="0" r="r" b="b"/>
                <a:pathLst>
                  <a:path w="265" h="140">
                    <a:moveTo>
                      <a:pt x="246" y="111"/>
                    </a:moveTo>
                    <a:lnTo>
                      <a:pt x="239" y="111"/>
                    </a:lnTo>
                    <a:lnTo>
                      <a:pt x="239" y="116"/>
                    </a:lnTo>
                    <a:lnTo>
                      <a:pt x="241" y="117"/>
                    </a:lnTo>
                    <a:lnTo>
                      <a:pt x="246" y="119"/>
                    </a:lnTo>
                    <a:lnTo>
                      <a:pt x="248" y="124"/>
                    </a:lnTo>
                    <a:lnTo>
                      <a:pt x="251" y="126"/>
                    </a:lnTo>
                    <a:lnTo>
                      <a:pt x="246" y="131"/>
                    </a:lnTo>
                    <a:lnTo>
                      <a:pt x="239" y="135"/>
                    </a:lnTo>
                    <a:lnTo>
                      <a:pt x="230" y="135"/>
                    </a:lnTo>
                    <a:lnTo>
                      <a:pt x="222" y="136"/>
                    </a:lnTo>
                    <a:lnTo>
                      <a:pt x="208" y="133"/>
                    </a:lnTo>
                    <a:lnTo>
                      <a:pt x="199" y="128"/>
                    </a:lnTo>
                    <a:lnTo>
                      <a:pt x="189" y="123"/>
                    </a:lnTo>
                    <a:lnTo>
                      <a:pt x="180" y="121"/>
                    </a:lnTo>
                    <a:lnTo>
                      <a:pt x="174" y="123"/>
                    </a:lnTo>
                    <a:lnTo>
                      <a:pt x="168" y="129"/>
                    </a:lnTo>
                    <a:lnTo>
                      <a:pt x="158" y="131"/>
                    </a:lnTo>
                    <a:lnTo>
                      <a:pt x="148" y="135"/>
                    </a:lnTo>
                    <a:lnTo>
                      <a:pt x="137" y="135"/>
                    </a:lnTo>
                    <a:lnTo>
                      <a:pt x="131" y="140"/>
                    </a:lnTo>
                    <a:lnTo>
                      <a:pt x="115" y="140"/>
                    </a:lnTo>
                    <a:lnTo>
                      <a:pt x="105" y="140"/>
                    </a:lnTo>
                    <a:lnTo>
                      <a:pt x="94" y="140"/>
                    </a:lnTo>
                    <a:lnTo>
                      <a:pt x="86" y="140"/>
                    </a:lnTo>
                    <a:lnTo>
                      <a:pt x="79" y="135"/>
                    </a:lnTo>
                    <a:lnTo>
                      <a:pt x="76" y="128"/>
                    </a:lnTo>
                    <a:lnTo>
                      <a:pt x="69" y="124"/>
                    </a:lnTo>
                    <a:lnTo>
                      <a:pt x="62" y="123"/>
                    </a:lnTo>
                    <a:lnTo>
                      <a:pt x="53" y="123"/>
                    </a:lnTo>
                    <a:lnTo>
                      <a:pt x="48" y="124"/>
                    </a:lnTo>
                    <a:lnTo>
                      <a:pt x="33" y="117"/>
                    </a:lnTo>
                    <a:lnTo>
                      <a:pt x="24" y="107"/>
                    </a:lnTo>
                    <a:lnTo>
                      <a:pt x="33" y="100"/>
                    </a:lnTo>
                    <a:lnTo>
                      <a:pt x="45" y="97"/>
                    </a:lnTo>
                    <a:lnTo>
                      <a:pt x="58" y="95"/>
                    </a:lnTo>
                    <a:lnTo>
                      <a:pt x="74" y="95"/>
                    </a:lnTo>
                    <a:lnTo>
                      <a:pt x="82" y="95"/>
                    </a:lnTo>
                    <a:lnTo>
                      <a:pt x="91" y="95"/>
                    </a:lnTo>
                    <a:lnTo>
                      <a:pt x="84" y="90"/>
                    </a:lnTo>
                    <a:lnTo>
                      <a:pt x="77" y="90"/>
                    </a:lnTo>
                    <a:lnTo>
                      <a:pt x="62" y="90"/>
                    </a:lnTo>
                    <a:lnTo>
                      <a:pt x="51" y="90"/>
                    </a:lnTo>
                    <a:lnTo>
                      <a:pt x="38" y="90"/>
                    </a:lnTo>
                    <a:lnTo>
                      <a:pt x="26" y="90"/>
                    </a:lnTo>
                    <a:lnTo>
                      <a:pt x="15" y="86"/>
                    </a:lnTo>
                    <a:lnTo>
                      <a:pt x="12" y="80"/>
                    </a:lnTo>
                    <a:lnTo>
                      <a:pt x="14" y="73"/>
                    </a:lnTo>
                    <a:lnTo>
                      <a:pt x="19" y="71"/>
                    </a:lnTo>
                    <a:lnTo>
                      <a:pt x="26" y="69"/>
                    </a:lnTo>
                    <a:lnTo>
                      <a:pt x="33" y="69"/>
                    </a:lnTo>
                    <a:lnTo>
                      <a:pt x="22" y="68"/>
                    </a:lnTo>
                    <a:lnTo>
                      <a:pt x="14" y="69"/>
                    </a:lnTo>
                    <a:lnTo>
                      <a:pt x="3" y="64"/>
                    </a:lnTo>
                    <a:lnTo>
                      <a:pt x="0" y="59"/>
                    </a:lnTo>
                    <a:lnTo>
                      <a:pt x="0" y="49"/>
                    </a:lnTo>
                    <a:lnTo>
                      <a:pt x="7" y="40"/>
                    </a:lnTo>
                    <a:lnTo>
                      <a:pt x="14" y="31"/>
                    </a:lnTo>
                    <a:lnTo>
                      <a:pt x="24" y="26"/>
                    </a:lnTo>
                    <a:lnTo>
                      <a:pt x="34" y="21"/>
                    </a:lnTo>
                    <a:lnTo>
                      <a:pt x="45" y="18"/>
                    </a:lnTo>
                    <a:lnTo>
                      <a:pt x="53" y="16"/>
                    </a:lnTo>
                    <a:lnTo>
                      <a:pt x="64" y="16"/>
                    </a:lnTo>
                    <a:lnTo>
                      <a:pt x="67" y="18"/>
                    </a:lnTo>
                    <a:lnTo>
                      <a:pt x="69" y="23"/>
                    </a:lnTo>
                    <a:lnTo>
                      <a:pt x="70" y="28"/>
                    </a:lnTo>
                    <a:lnTo>
                      <a:pt x="72" y="33"/>
                    </a:lnTo>
                    <a:lnTo>
                      <a:pt x="77" y="28"/>
                    </a:lnTo>
                    <a:lnTo>
                      <a:pt x="88" y="25"/>
                    </a:lnTo>
                    <a:lnTo>
                      <a:pt x="94" y="25"/>
                    </a:lnTo>
                    <a:lnTo>
                      <a:pt x="101" y="28"/>
                    </a:lnTo>
                    <a:lnTo>
                      <a:pt x="105" y="31"/>
                    </a:lnTo>
                    <a:lnTo>
                      <a:pt x="110" y="40"/>
                    </a:lnTo>
                    <a:lnTo>
                      <a:pt x="117" y="37"/>
                    </a:lnTo>
                    <a:lnTo>
                      <a:pt x="125" y="37"/>
                    </a:lnTo>
                    <a:lnTo>
                      <a:pt x="124" y="30"/>
                    </a:lnTo>
                    <a:lnTo>
                      <a:pt x="124" y="26"/>
                    </a:lnTo>
                    <a:lnTo>
                      <a:pt x="134" y="26"/>
                    </a:lnTo>
                    <a:lnTo>
                      <a:pt x="144" y="31"/>
                    </a:lnTo>
                    <a:lnTo>
                      <a:pt x="151" y="42"/>
                    </a:lnTo>
                    <a:lnTo>
                      <a:pt x="151" y="45"/>
                    </a:lnTo>
                    <a:lnTo>
                      <a:pt x="153" y="52"/>
                    </a:lnTo>
                    <a:lnTo>
                      <a:pt x="153" y="57"/>
                    </a:lnTo>
                    <a:lnTo>
                      <a:pt x="160" y="61"/>
                    </a:lnTo>
                    <a:lnTo>
                      <a:pt x="163" y="57"/>
                    </a:lnTo>
                    <a:lnTo>
                      <a:pt x="167" y="55"/>
                    </a:lnTo>
                    <a:lnTo>
                      <a:pt x="162" y="47"/>
                    </a:lnTo>
                    <a:lnTo>
                      <a:pt x="158" y="37"/>
                    </a:lnTo>
                    <a:lnTo>
                      <a:pt x="155" y="26"/>
                    </a:lnTo>
                    <a:lnTo>
                      <a:pt x="155" y="21"/>
                    </a:lnTo>
                    <a:lnTo>
                      <a:pt x="156" y="14"/>
                    </a:lnTo>
                    <a:lnTo>
                      <a:pt x="163" y="14"/>
                    </a:lnTo>
                    <a:lnTo>
                      <a:pt x="170" y="14"/>
                    </a:lnTo>
                    <a:lnTo>
                      <a:pt x="179" y="14"/>
                    </a:lnTo>
                    <a:lnTo>
                      <a:pt x="177" y="11"/>
                    </a:lnTo>
                    <a:lnTo>
                      <a:pt x="177" y="9"/>
                    </a:lnTo>
                    <a:lnTo>
                      <a:pt x="182" y="2"/>
                    </a:lnTo>
                    <a:lnTo>
                      <a:pt x="193" y="0"/>
                    </a:lnTo>
                    <a:lnTo>
                      <a:pt x="205" y="2"/>
                    </a:lnTo>
                    <a:lnTo>
                      <a:pt x="211" y="12"/>
                    </a:lnTo>
                    <a:lnTo>
                      <a:pt x="205" y="19"/>
                    </a:lnTo>
                    <a:lnTo>
                      <a:pt x="199" y="28"/>
                    </a:lnTo>
                    <a:lnTo>
                      <a:pt x="201" y="40"/>
                    </a:lnTo>
                    <a:lnTo>
                      <a:pt x="206" y="52"/>
                    </a:lnTo>
                    <a:lnTo>
                      <a:pt x="210" y="61"/>
                    </a:lnTo>
                    <a:lnTo>
                      <a:pt x="213" y="71"/>
                    </a:lnTo>
                    <a:lnTo>
                      <a:pt x="218" y="81"/>
                    </a:lnTo>
                    <a:lnTo>
                      <a:pt x="236" y="92"/>
                    </a:lnTo>
                    <a:lnTo>
                      <a:pt x="253" y="98"/>
                    </a:lnTo>
                    <a:lnTo>
                      <a:pt x="265" y="107"/>
                    </a:lnTo>
                    <a:lnTo>
                      <a:pt x="254" y="111"/>
                    </a:lnTo>
                    <a:lnTo>
                      <a:pt x="246" y="1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51" name="Freeform 303"/>
              <p:cNvSpPr>
                <a:spLocks/>
              </p:cNvSpPr>
              <p:nvPr/>
            </p:nvSpPr>
            <p:spPr bwMode="auto">
              <a:xfrm>
                <a:off x="1421607" y="1873250"/>
                <a:ext cx="234950" cy="152400"/>
              </a:xfrm>
              <a:custGeom>
                <a:avLst/>
                <a:gdLst/>
                <a:ahLst/>
                <a:cxnLst>
                  <a:cxn ang="0">
                    <a:pos x="31" y="91"/>
                  </a:cxn>
                  <a:cxn ang="0">
                    <a:pos x="27" y="86"/>
                  </a:cxn>
                  <a:cxn ang="0">
                    <a:pos x="24" y="81"/>
                  </a:cxn>
                  <a:cxn ang="0">
                    <a:pos x="17" y="77"/>
                  </a:cxn>
                  <a:cxn ang="0">
                    <a:pos x="10" y="75"/>
                  </a:cxn>
                  <a:cxn ang="0">
                    <a:pos x="2" y="72"/>
                  </a:cxn>
                  <a:cxn ang="0">
                    <a:pos x="0" y="70"/>
                  </a:cxn>
                  <a:cxn ang="0">
                    <a:pos x="3" y="57"/>
                  </a:cxn>
                  <a:cxn ang="0">
                    <a:pos x="12" y="46"/>
                  </a:cxn>
                  <a:cxn ang="0">
                    <a:pos x="19" y="34"/>
                  </a:cxn>
                  <a:cxn ang="0">
                    <a:pos x="24" y="22"/>
                  </a:cxn>
                  <a:cxn ang="0">
                    <a:pos x="20" y="12"/>
                  </a:cxn>
                  <a:cxn ang="0">
                    <a:pos x="17" y="3"/>
                  </a:cxn>
                  <a:cxn ang="0">
                    <a:pos x="33" y="0"/>
                  </a:cxn>
                  <a:cxn ang="0">
                    <a:pos x="48" y="3"/>
                  </a:cxn>
                  <a:cxn ang="0">
                    <a:pos x="55" y="0"/>
                  </a:cxn>
                  <a:cxn ang="0">
                    <a:pos x="69" y="0"/>
                  </a:cxn>
                  <a:cxn ang="0">
                    <a:pos x="81" y="5"/>
                  </a:cxn>
                  <a:cxn ang="0">
                    <a:pos x="94" y="10"/>
                  </a:cxn>
                  <a:cxn ang="0">
                    <a:pos x="103" y="10"/>
                  </a:cxn>
                  <a:cxn ang="0">
                    <a:pos x="112" y="8"/>
                  </a:cxn>
                  <a:cxn ang="0">
                    <a:pos x="120" y="8"/>
                  </a:cxn>
                  <a:cxn ang="0">
                    <a:pos x="134" y="14"/>
                  </a:cxn>
                  <a:cxn ang="0">
                    <a:pos x="143" y="20"/>
                  </a:cxn>
                  <a:cxn ang="0">
                    <a:pos x="148" y="31"/>
                  </a:cxn>
                  <a:cxn ang="0">
                    <a:pos x="143" y="32"/>
                  </a:cxn>
                  <a:cxn ang="0">
                    <a:pos x="132" y="36"/>
                  </a:cxn>
                  <a:cxn ang="0">
                    <a:pos x="122" y="38"/>
                  </a:cxn>
                  <a:cxn ang="0">
                    <a:pos x="117" y="41"/>
                  </a:cxn>
                  <a:cxn ang="0">
                    <a:pos x="103" y="46"/>
                  </a:cxn>
                  <a:cxn ang="0">
                    <a:pos x="89" y="58"/>
                  </a:cxn>
                  <a:cxn ang="0">
                    <a:pos x="81" y="69"/>
                  </a:cxn>
                  <a:cxn ang="0">
                    <a:pos x="77" y="81"/>
                  </a:cxn>
                  <a:cxn ang="0">
                    <a:pos x="70" y="84"/>
                  </a:cxn>
                  <a:cxn ang="0">
                    <a:pos x="58" y="89"/>
                  </a:cxn>
                  <a:cxn ang="0">
                    <a:pos x="46" y="93"/>
                  </a:cxn>
                  <a:cxn ang="0">
                    <a:pos x="39" y="96"/>
                  </a:cxn>
                  <a:cxn ang="0">
                    <a:pos x="34" y="93"/>
                  </a:cxn>
                  <a:cxn ang="0">
                    <a:pos x="31" y="91"/>
                  </a:cxn>
                </a:cxnLst>
                <a:rect l="0" t="0" r="r" b="b"/>
                <a:pathLst>
                  <a:path w="148" h="96">
                    <a:moveTo>
                      <a:pt x="31" y="91"/>
                    </a:moveTo>
                    <a:lnTo>
                      <a:pt x="27" y="86"/>
                    </a:lnTo>
                    <a:lnTo>
                      <a:pt x="24" y="81"/>
                    </a:lnTo>
                    <a:lnTo>
                      <a:pt x="17" y="77"/>
                    </a:lnTo>
                    <a:lnTo>
                      <a:pt x="10" y="75"/>
                    </a:lnTo>
                    <a:lnTo>
                      <a:pt x="2" y="72"/>
                    </a:lnTo>
                    <a:lnTo>
                      <a:pt x="0" y="70"/>
                    </a:lnTo>
                    <a:lnTo>
                      <a:pt x="3" y="57"/>
                    </a:lnTo>
                    <a:lnTo>
                      <a:pt x="12" y="46"/>
                    </a:lnTo>
                    <a:lnTo>
                      <a:pt x="19" y="34"/>
                    </a:lnTo>
                    <a:lnTo>
                      <a:pt x="24" y="22"/>
                    </a:lnTo>
                    <a:lnTo>
                      <a:pt x="20" y="12"/>
                    </a:lnTo>
                    <a:lnTo>
                      <a:pt x="17" y="3"/>
                    </a:lnTo>
                    <a:lnTo>
                      <a:pt x="33" y="0"/>
                    </a:lnTo>
                    <a:lnTo>
                      <a:pt x="48" y="3"/>
                    </a:lnTo>
                    <a:lnTo>
                      <a:pt x="55" y="0"/>
                    </a:lnTo>
                    <a:lnTo>
                      <a:pt x="69" y="0"/>
                    </a:lnTo>
                    <a:lnTo>
                      <a:pt x="81" y="5"/>
                    </a:lnTo>
                    <a:lnTo>
                      <a:pt x="94" y="10"/>
                    </a:lnTo>
                    <a:lnTo>
                      <a:pt x="103" y="10"/>
                    </a:lnTo>
                    <a:lnTo>
                      <a:pt x="112" y="8"/>
                    </a:lnTo>
                    <a:lnTo>
                      <a:pt x="120" y="8"/>
                    </a:lnTo>
                    <a:lnTo>
                      <a:pt x="134" y="14"/>
                    </a:lnTo>
                    <a:lnTo>
                      <a:pt x="143" y="20"/>
                    </a:lnTo>
                    <a:lnTo>
                      <a:pt x="148" y="31"/>
                    </a:lnTo>
                    <a:lnTo>
                      <a:pt x="143" y="32"/>
                    </a:lnTo>
                    <a:lnTo>
                      <a:pt x="132" y="36"/>
                    </a:lnTo>
                    <a:lnTo>
                      <a:pt x="122" y="38"/>
                    </a:lnTo>
                    <a:lnTo>
                      <a:pt x="117" y="41"/>
                    </a:lnTo>
                    <a:lnTo>
                      <a:pt x="103" y="46"/>
                    </a:lnTo>
                    <a:lnTo>
                      <a:pt x="89" y="58"/>
                    </a:lnTo>
                    <a:lnTo>
                      <a:pt x="81" y="69"/>
                    </a:lnTo>
                    <a:lnTo>
                      <a:pt x="77" y="81"/>
                    </a:lnTo>
                    <a:lnTo>
                      <a:pt x="70" y="84"/>
                    </a:lnTo>
                    <a:lnTo>
                      <a:pt x="58" y="89"/>
                    </a:lnTo>
                    <a:lnTo>
                      <a:pt x="46" y="93"/>
                    </a:lnTo>
                    <a:lnTo>
                      <a:pt x="39" y="96"/>
                    </a:lnTo>
                    <a:lnTo>
                      <a:pt x="34" y="93"/>
                    </a:lnTo>
                    <a:lnTo>
                      <a:pt x="31"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52" name="Freeform 304"/>
              <p:cNvSpPr>
                <a:spLocks/>
              </p:cNvSpPr>
              <p:nvPr/>
            </p:nvSpPr>
            <p:spPr bwMode="auto">
              <a:xfrm>
                <a:off x="1607344" y="1760538"/>
                <a:ext cx="284163" cy="117475"/>
              </a:xfrm>
              <a:custGeom>
                <a:avLst/>
                <a:gdLst/>
                <a:ahLst/>
                <a:cxnLst>
                  <a:cxn ang="0">
                    <a:pos x="51" y="71"/>
                  </a:cxn>
                  <a:cxn ang="0">
                    <a:pos x="51" y="61"/>
                  </a:cxn>
                  <a:cxn ang="0">
                    <a:pos x="55" y="55"/>
                  </a:cxn>
                  <a:cxn ang="0">
                    <a:pos x="48" y="52"/>
                  </a:cxn>
                  <a:cxn ang="0">
                    <a:pos x="34" y="57"/>
                  </a:cxn>
                  <a:cxn ang="0">
                    <a:pos x="15" y="57"/>
                  </a:cxn>
                  <a:cxn ang="0">
                    <a:pos x="2" y="52"/>
                  </a:cxn>
                  <a:cxn ang="0">
                    <a:pos x="0" y="43"/>
                  </a:cxn>
                  <a:cxn ang="0">
                    <a:pos x="7" y="38"/>
                  </a:cxn>
                  <a:cxn ang="0">
                    <a:pos x="26" y="38"/>
                  </a:cxn>
                  <a:cxn ang="0">
                    <a:pos x="24" y="38"/>
                  </a:cxn>
                  <a:cxn ang="0">
                    <a:pos x="14" y="26"/>
                  </a:cxn>
                  <a:cxn ang="0">
                    <a:pos x="22" y="26"/>
                  </a:cxn>
                  <a:cxn ang="0">
                    <a:pos x="31" y="28"/>
                  </a:cxn>
                  <a:cxn ang="0">
                    <a:pos x="45" y="30"/>
                  </a:cxn>
                  <a:cxn ang="0">
                    <a:pos x="19" y="24"/>
                  </a:cxn>
                  <a:cxn ang="0">
                    <a:pos x="29" y="19"/>
                  </a:cxn>
                  <a:cxn ang="0">
                    <a:pos x="43" y="21"/>
                  </a:cxn>
                  <a:cxn ang="0">
                    <a:pos x="27" y="14"/>
                  </a:cxn>
                  <a:cxn ang="0">
                    <a:pos x="43" y="14"/>
                  </a:cxn>
                  <a:cxn ang="0">
                    <a:pos x="51" y="21"/>
                  </a:cxn>
                  <a:cxn ang="0">
                    <a:pos x="63" y="21"/>
                  </a:cxn>
                  <a:cxn ang="0">
                    <a:pos x="84" y="31"/>
                  </a:cxn>
                  <a:cxn ang="0">
                    <a:pos x="112" y="42"/>
                  </a:cxn>
                  <a:cxn ang="0">
                    <a:pos x="124" y="35"/>
                  </a:cxn>
                  <a:cxn ang="0">
                    <a:pos x="113" y="33"/>
                  </a:cxn>
                  <a:cxn ang="0">
                    <a:pos x="118" y="31"/>
                  </a:cxn>
                  <a:cxn ang="0">
                    <a:pos x="110" y="21"/>
                  </a:cxn>
                  <a:cxn ang="0">
                    <a:pos x="106" y="11"/>
                  </a:cxn>
                  <a:cxn ang="0">
                    <a:pos x="117" y="2"/>
                  </a:cxn>
                  <a:cxn ang="0">
                    <a:pos x="129" y="2"/>
                  </a:cxn>
                  <a:cxn ang="0">
                    <a:pos x="132" y="7"/>
                  </a:cxn>
                  <a:cxn ang="0">
                    <a:pos x="139" y="23"/>
                  </a:cxn>
                  <a:cxn ang="0">
                    <a:pos x="158" y="26"/>
                  </a:cxn>
                  <a:cxn ang="0">
                    <a:pos x="174" y="26"/>
                  </a:cxn>
                  <a:cxn ang="0">
                    <a:pos x="175" y="42"/>
                  </a:cxn>
                  <a:cxn ang="0">
                    <a:pos x="165" y="55"/>
                  </a:cxn>
                  <a:cxn ang="0">
                    <a:pos x="155" y="59"/>
                  </a:cxn>
                  <a:cxn ang="0">
                    <a:pos x="132" y="57"/>
                  </a:cxn>
                  <a:cxn ang="0">
                    <a:pos x="122" y="59"/>
                  </a:cxn>
                  <a:cxn ang="0">
                    <a:pos x="100" y="64"/>
                  </a:cxn>
                  <a:cxn ang="0">
                    <a:pos x="77" y="71"/>
                  </a:cxn>
                </a:cxnLst>
                <a:rect l="0" t="0" r="r" b="b"/>
                <a:pathLst>
                  <a:path w="179" h="74">
                    <a:moveTo>
                      <a:pt x="62" y="74"/>
                    </a:moveTo>
                    <a:lnTo>
                      <a:pt x="51" y="71"/>
                    </a:lnTo>
                    <a:lnTo>
                      <a:pt x="48" y="67"/>
                    </a:lnTo>
                    <a:lnTo>
                      <a:pt x="51" y="61"/>
                    </a:lnTo>
                    <a:lnTo>
                      <a:pt x="62" y="61"/>
                    </a:lnTo>
                    <a:lnTo>
                      <a:pt x="55" y="55"/>
                    </a:lnTo>
                    <a:lnTo>
                      <a:pt x="53" y="48"/>
                    </a:lnTo>
                    <a:lnTo>
                      <a:pt x="48" y="52"/>
                    </a:lnTo>
                    <a:lnTo>
                      <a:pt x="48" y="55"/>
                    </a:lnTo>
                    <a:lnTo>
                      <a:pt x="34" y="57"/>
                    </a:lnTo>
                    <a:lnTo>
                      <a:pt x="26" y="59"/>
                    </a:lnTo>
                    <a:lnTo>
                      <a:pt x="15" y="57"/>
                    </a:lnTo>
                    <a:lnTo>
                      <a:pt x="8" y="55"/>
                    </a:lnTo>
                    <a:lnTo>
                      <a:pt x="2" y="52"/>
                    </a:lnTo>
                    <a:lnTo>
                      <a:pt x="0" y="48"/>
                    </a:lnTo>
                    <a:lnTo>
                      <a:pt x="0" y="43"/>
                    </a:lnTo>
                    <a:lnTo>
                      <a:pt x="0" y="42"/>
                    </a:lnTo>
                    <a:lnTo>
                      <a:pt x="7" y="38"/>
                    </a:lnTo>
                    <a:lnTo>
                      <a:pt x="14" y="36"/>
                    </a:lnTo>
                    <a:lnTo>
                      <a:pt x="26" y="38"/>
                    </a:lnTo>
                    <a:lnTo>
                      <a:pt x="36" y="42"/>
                    </a:lnTo>
                    <a:lnTo>
                      <a:pt x="24" y="38"/>
                    </a:lnTo>
                    <a:lnTo>
                      <a:pt x="14" y="35"/>
                    </a:lnTo>
                    <a:lnTo>
                      <a:pt x="14" y="26"/>
                    </a:lnTo>
                    <a:lnTo>
                      <a:pt x="19" y="26"/>
                    </a:lnTo>
                    <a:lnTo>
                      <a:pt x="22" y="26"/>
                    </a:lnTo>
                    <a:lnTo>
                      <a:pt x="24" y="26"/>
                    </a:lnTo>
                    <a:lnTo>
                      <a:pt x="31" y="28"/>
                    </a:lnTo>
                    <a:lnTo>
                      <a:pt x="38" y="28"/>
                    </a:lnTo>
                    <a:lnTo>
                      <a:pt x="45" y="30"/>
                    </a:lnTo>
                    <a:lnTo>
                      <a:pt x="29" y="28"/>
                    </a:lnTo>
                    <a:lnTo>
                      <a:pt x="19" y="24"/>
                    </a:lnTo>
                    <a:lnTo>
                      <a:pt x="22" y="19"/>
                    </a:lnTo>
                    <a:lnTo>
                      <a:pt x="29" y="19"/>
                    </a:lnTo>
                    <a:lnTo>
                      <a:pt x="36" y="19"/>
                    </a:lnTo>
                    <a:lnTo>
                      <a:pt x="43" y="21"/>
                    </a:lnTo>
                    <a:lnTo>
                      <a:pt x="32" y="19"/>
                    </a:lnTo>
                    <a:lnTo>
                      <a:pt x="27" y="14"/>
                    </a:lnTo>
                    <a:lnTo>
                      <a:pt x="36" y="12"/>
                    </a:lnTo>
                    <a:lnTo>
                      <a:pt x="43" y="14"/>
                    </a:lnTo>
                    <a:lnTo>
                      <a:pt x="48" y="14"/>
                    </a:lnTo>
                    <a:lnTo>
                      <a:pt x="51" y="21"/>
                    </a:lnTo>
                    <a:lnTo>
                      <a:pt x="60" y="21"/>
                    </a:lnTo>
                    <a:lnTo>
                      <a:pt x="63" y="21"/>
                    </a:lnTo>
                    <a:lnTo>
                      <a:pt x="74" y="23"/>
                    </a:lnTo>
                    <a:lnTo>
                      <a:pt x="84" y="31"/>
                    </a:lnTo>
                    <a:lnTo>
                      <a:pt x="94" y="38"/>
                    </a:lnTo>
                    <a:lnTo>
                      <a:pt x="112" y="42"/>
                    </a:lnTo>
                    <a:lnTo>
                      <a:pt x="118" y="38"/>
                    </a:lnTo>
                    <a:lnTo>
                      <a:pt x="124" y="35"/>
                    </a:lnTo>
                    <a:lnTo>
                      <a:pt x="117" y="33"/>
                    </a:lnTo>
                    <a:lnTo>
                      <a:pt x="113" y="33"/>
                    </a:lnTo>
                    <a:lnTo>
                      <a:pt x="115" y="31"/>
                    </a:lnTo>
                    <a:lnTo>
                      <a:pt x="118" y="31"/>
                    </a:lnTo>
                    <a:lnTo>
                      <a:pt x="118" y="24"/>
                    </a:lnTo>
                    <a:lnTo>
                      <a:pt x="110" y="21"/>
                    </a:lnTo>
                    <a:lnTo>
                      <a:pt x="105" y="16"/>
                    </a:lnTo>
                    <a:lnTo>
                      <a:pt x="106" y="11"/>
                    </a:lnTo>
                    <a:lnTo>
                      <a:pt x="112" y="5"/>
                    </a:lnTo>
                    <a:lnTo>
                      <a:pt x="117" y="2"/>
                    </a:lnTo>
                    <a:lnTo>
                      <a:pt x="124" y="0"/>
                    </a:lnTo>
                    <a:lnTo>
                      <a:pt x="129" y="2"/>
                    </a:lnTo>
                    <a:lnTo>
                      <a:pt x="134" y="4"/>
                    </a:lnTo>
                    <a:lnTo>
                      <a:pt x="132" y="7"/>
                    </a:lnTo>
                    <a:lnTo>
                      <a:pt x="134" y="11"/>
                    </a:lnTo>
                    <a:lnTo>
                      <a:pt x="139" y="23"/>
                    </a:lnTo>
                    <a:lnTo>
                      <a:pt x="153" y="30"/>
                    </a:lnTo>
                    <a:lnTo>
                      <a:pt x="158" y="26"/>
                    </a:lnTo>
                    <a:lnTo>
                      <a:pt x="167" y="23"/>
                    </a:lnTo>
                    <a:lnTo>
                      <a:pt x="174" y="26"/>
                    </a:lnTo>
                    <a:lnTo>
                      <a:pt x="179" y="36"/>
                    </a:lnTo>
                    <a:lnTo>
                      <a:pt x="175" y="42"/>
                    </a:lnTo>
                    <a:lnTo>
                      <a:pt x="172" y="50"/>
                    </a:lnTo>
                    <a:lnTo>
                      <a:pt x="165" y="55"/>
                    </a:lnTo>
                    <a:lnTo>
                      <a:pt x="161" y="59"/>
                    </a:lnTo>
                    <a:lnTo>
                      <a:pt x="155" y="59"/>
                    </a:lnTo>
                    <a:lnTo>
                      <a:pt x="143" y="59"/>
                    </a:lnTo>
                    <a:lnTo>
                      <a:pt x="132" y="57"/>
                    </a:lnTo>
                    <a:lnTo>
                      <a:pt x="129" y="59"/>
                    </a:lnTo>
                    <a:lnTo>
                      <a:pt x="122" y="59"/>
                    </a:lnTo>
                    <a:lnTo>
                      <a:pt x="112" y="62"/>
                    </a:lnTo>
                    <a:lnTo>
                      <a:pt x="100" y="64"/>
                    </a:lnTo>
                    <a:lnTo>
                      <a:pt x="94" y="67"/>
                    </a:lnTo>
                    <a:lnTo>
                      <a:pt x="77" y="71"/>
                    </a:lnTo>
                    <a:lnTo>
                      <a:pt x="62" y="7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53" name="Freeform 305"/>
              <p:cNvSpPr>
                <a:spLocks/>
              </p:cNvSpPr>
              <p:nvPr/>
            </p:nvSpPr>
            <p:spPr bwMode="auto">
              <a:xfrm>
                <a:off x="1569244" y="1801813"/>
                <a:ext cx="38100" cy="30162"/>
              </a:xfrm>
              <a:custGeom>
                <a:avLst/>
                <a:gdLst/>
                <a:ahLst/>
                <a:cxnLst>
                  <a:cxn ang="0">
                    <a:pos x="8" y="19"/>
                  </a:cxn>
                  <a:cxn ang="0">
                    <a:pos x="1" y="16"/>
                  </a:cxn>
                  <a:cxn ang="0">
                    <a:pos x="0" y="12"/>
                  </a:cxn>
                  <a:cxn ang="0">
                    <a:pos x="1" y="5"/>
                  </a:cxn>
                  <a:cxn ang="0">
                    <a:pos x="8" y="2"/>
                  </a:cxn>
                  <a:cxn ang="0">
                    <a:pos x="17" y="0"/>
                  </a:cxn>
                  <a:cxn ang="0">
                    <a:pos x="24" y="0"/>
                  </a:cxn>
                  <a:cxn ang="0">
                    <a:pos x="17" y="12"/>
                  </a:cxn>
                  <a:cxn ang="0">
                    <a:pos x="8" y="19"/>
                  </a:cxn>
                </a:cxnLst>
                <a:rect l="0" t="0" r="r" b="b"/>
                <a:pathLst>
                  <a:path w="24" h="19">
                    <a:moveTo>
                      <a:pt x="8" y="19"/>
                    </a:moveTo>
                    <a:lnTo>
                      <a:pt x="1" y="16"/>
                    </a:lnTo>
                    <a:lnTo>
                      <a:pt x="0" y="12"/>
                    </a:lnTo>
                    <a:lnTo>
                      <a:pt x="1" y="5"/>
                    </a:lnTo>
                    <a:lnTo>
                      <a:pt x="8" y="2"/>
                    </a:lnTo>
                    <a:lnTo>
                      <a:pt x="17" y="0"/>
                    </a:lnTo>
                    <a:lnTo>
                      <a:pt x="24" y="0"/>
                    </a:lnTo>
                    <a:lnTo>
                      <a:pt x="17" y="12"/>
                    </a:lnTo>
                    <a:lnTo>
                      <a:pt x="8"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54" name="Freeform 306"/>
              <p:cNvSpPr>
                <a:spLocks/>
              </p:cNvSpPr>
              <p:nvPr/>
            </p:nvSpPr>
            <p:spPr bwMode="auto">
              <a:xfrm>
                <a:off x="1669257" y="1760538"/>
                <a:ext cx="28575" cy="11112"/>
              </a:xfrm>
              <a:custGeom>
                <a:avLst/>
                <a:gdLst/>
                <a:ahLst/>
                <a:cxnLst>
                  <a:cxn ang="0">
                    <a:pos x="7" y="7"/>
                  </a:cxn>
                  <a:cxn ang="0">
                    <a:pos x="2" y="5"/>
                  </a:cxn>
                  <a:cxn ang="0">
                    <a:pos x="0" y="0"/>
                  </a:cxn>
                  <a:cxn ang="0">
                    <a:pos x="18" y="0"/>
                  </a:cxn>
                  <a:cxn ang="0">
                    <a:pos x="18" y="7"/>
                  </a:cxn>
                  <a:cxn ang="0">
                    <a:pos x="11" y="7"/>
                  </a:cxn>
                  <a:cxn ang="0">
                    <a:pos x="7" y="7"/>
                  </a:cxn>
                </a:cxnLst>
                <a:rect l="0" t="0" r="r" b="b"/>
                <a:pathLst>
                  <a:path w="18" h="7">
                    <a:moveTo>
                      <a:pt x="7" y="7"/>
                    </a:moveTo>
                    <a:lnTo>
                      <a:pt x="2" y="5"/>
                    </a:lnTo>
                    <a:lnTo>
                      <a:pt x="0" y="0"/>
                    </a:lnTo>
                    <a:lnTo>
                      <a:pt x="18" y="0"/>
                    </a:lnTo>
                    <a:lnTo>
                      <a:pt x="18" y="7"/>
                    </a:lnTo>
                    <a:lnTo>
                      <a:pt x="11" y="7"/>
                    </a:lnTo>
                    <a:lnTo>
                      <a:pt x="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55" name="Freeform 307"/>
              <p:cNvSpPr>
                <a:spLocks/>
              </p:cNvSpPr>
              <p:nvPr/>
            </p:nvSpPr>
            <p:spPr bwMode="auto">
              <a:xfrm>
                <a:off x="1486694" y="1730375"/>
                <a:ext cx="161925" cy="85725"/>
              </a:xfrm>
              <a:custGeom>
                <a:avLst/>
                <a:gdLst/>
                <a:ahLst/>
                <a:cxnLst>
                  <a:cxn ang="0">
                    <a:pos x="102" y="6"/>
                  </a:cxn>
                  <a:cxn ang="0">
                    <a:pos x="98" y="9"/>
                  </a:cxn>
                  <a:cxn ang="0">
                    <a:pos x="95" y="14"/>
                  </a:cxn>
                  <a:cxn ang="0">
                    <a:pos x="96" y="19"/>
                  </a:cxn>
                  <a:cxn ang="0">
                    <a:pos x="100" y="24"/>
                  </a:cxn>
                  <a:cxn ang="0">
                    <a:pos x="78" y="40"/>
                  </a:cxn>
                  <a:cxn ang="0">
                    <a:pos x="69" y="33"/>
                  </a:cxn>
                  <a:cxn ang="0">
                    <a:pos x="65" y="26"/>
                  </a:cxn>
                  <a:cxn ang="0">
                    <a:pos x="59" y="37"/>
                  </a:cxn>
                  <a:cxn ang="0">
                    <a:pos x="48" y="42"/>
                  </a:cxn>
                  <a:cxn ang="0">
                    <a:pos x="43" y="49"/>
                  </a:cxn>
                  <a:cxn ang="0">
                    <a:pos x="36" y="54"/>
                  </a:cxn>
                  <a:cxn ang="0">
                    <a:pos x="31" y="49"/>
                  </a:cxn>
                  <a:cxn ang="0">
                    <a:pos x="28" y="45"/>
                  </a:cxn>
                  <a:cxn ang="0">
                    <a:pos x="21" y="45"/>
                  </a:cxn>
                  <a:cxn ang="0">
                    <a:pos x="14" y="45"/>
                  </a:cxn>
                  <a:cxn ang="0">
                    <a:pos x="9" y="47"/>
                  </a:cxn>
                  <a:cxn ang="0">
                    <a:pos x="5" y="50"/>
                  </a:cxn>
                  <a:cxn ang="0">
                    <a:pos x="2" y="45"/>
                  </a:cxn>
                  <a:cxn ang="0">
                    <a:pos x="0" y="42"/>
                  </a:cxn>
                  <a:cxn ang="0">
                    <a:pos x="4" y="37"/>
                  </a:cxn>
                  <a:cxn ang="0">
                    <a:pos x="12" y="33"/>
                  </a:cxn>
                  <a:cxn ang="0">
                    <a:pos x="22" y="28"/>
                  </a:cxn>
                  <a:cxn ang="0">
                    <a:pos x="36" y="23"/>
                  </a:cxn>
                  <a:cxn ang="0">
                    <a:pos x="41" y="16"/>
                  </a:cxn>
                  <a:cxn ang="0">
                    <a:pos x="47" y="11"/>
                  </a:cxn>
                  <a:cxn ang="0">
                    <a:pos x="52" y="6"/>
                  </a:cxn>
                  <a:cxn ang="0">
                    <a:pos x="62" y="4"/>
                  </a:cxn>
                  <a:cxn ang="0">
                    <a:pos x="65" y="4"/>
                  </a:cxn>
                  <a:cxn ang="0">
                    <a:pos x="71" y="6"/>
                  </a:cxn>
                  <a:cxn ang="0">
                    <a:pos x="74" y="4"/>
                  </a:cxn>
                  <a:cxn ang="0">
                    <a:pos x="86" y="2"/>
                  </a:cxn>
                  <a:cxn ang="0">
                    <a:pos x="96" y="0"/>
                  </a:cxn>
                  <a:cxn ang="0">
                    <a:pos x="102" y="6"/>
                  </a:cxn>
                </a:cxnLst>
                <a:rect l="0" t="0" r="r" b="b"/>
                <a:pathLst>
                  <a:path w="102" h="54">
                    <a:moveTo>
                      <a:pt x="102" y="6"/>
                    </a:moveTo>
                    <a:lnTo>
                      <a:pt x="98" y="9"/>
                    </a:lnTo>
                    <a:lnTo>
                      <a:pt x="95" y="14"/>
                    </a:lnTo>
                    <a:lnTo>
                      <a:pt x="96" y="19"/>
                    </a:lnTo>
                    <a:lnTo>
                      <a:pt x="100" y="24"/>
                    </a:lnTo>
                    <a:lnTo>
                      <a:pt x="78" y="40"/>
                    </a:lnTo>
                    <a:lnTo>
                      <a:pt x="69" y="33"/>
                    </a:lnTo>
                    <a:lnTo>
                      <a:pt x="65" y="26"/>
                    </a:lnTo>
                    <a:lnTo>
                      <a:pt x="59" y="37"/>
                    </a:lnTo>
                    <a:lnTo>
                      <a:pt x="48" y="42"/>
                    </a:lnTo>
                    <a:lnTo>
                      <a:pt x="43" y="49"/>
                    </a:lnTo>
                    <a:lnTo>
                      <a:pt x="36" y="54"/>
                    </a:lnTo>
                    <a:lnTo>
                      <a:pt x="31" y="49"/>
                    </a:lnTo>
                    <a:lnTo>
                      <a:pt x="28" y="45"/>
                    </a:lnTo>
                    <a:lnTo>
                      <a:pt x="21" y="45"/>
                    </a:lnTo>
                    <a:lnTo>
                      <a:pt x="14" y="45"/>
                    </a:lnTo>
                    <a:lnTo>
                      <a:pt x="9" y="47"/>
                    </a:lnTo>
                    <a:lnTo>
                      <a:pt x="5" y="50"/>
                    </a:lnTo>
                    <a:lnTo>
                      <a:pt x="2" y="45"/>
                    </a:lnTo>
                    <a:lnTo>
                      <a:pt x="0" y="42"/>
                    </a:lnTo>
                    <a:lnTo>
                      <a:pt x="4" y="37"/>
                    </a:lnTo>
                    <a:lnTo>
                      <a:pt x="12" y="33"/>
                    </a:lnTo>
                    <a:lnTo>
                      <a:pt x="22" y="28"/>
                    </a:lnTo>
                    <a:lnTo>
                      <a:pt x="36" y="23"/>
                    </a:lnTo>
                    <a:lnTo>
                      <a:pt x="41" y="16"/>
                    </a:lnTo>
                    <a:lnTo>
                      <a:pt x="47" y="11"/>
                    </a:lnTo>
                    <a:lnTo>
                      <a:pt x="52" y="6"/>
                    </a:lnTo>
                    <a:lnTo>
                      <a:pt x="62" y="4"/>
                    </a:lnTo>
                    <a:lnTo>
                      <a:pt x="65" y="4"/>
                    </a:lnTo>
                    <a:lnTo>
                      <a:pt x="71" y="6"/>
                    </a:lnTo>
                    <a:lnTo>
                      <a:pt x="74" y="4"/>
                    </a:lnTo>
                    <a:lnTo>
                      <a:pt x="86" y="2"/>
                    </a:lnTo>
                    <a:lnTo>
                      <a:pt x="96" y="0"/>
                    </a:lnTo>
                    <a:lnTo>
                      <a:pt x="102"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56" name="Freeform 308"/>
              <p:cNvSpPr>
                <a:spLocks/>
              </p:cNvSpPr>
              <p:nvPr/>
            </p:nvSpPr>
            <p:spPr bwMode="auto">
              <a:xfrm>
                <a:off x="1702594" y="1668463"/>
                <a:ext cx="92075" cy="26987"/>
              </a:xfrm>
              <a:custGeom>
                <a:avLst/>
                <a:gdLst/>
                <a:ahLst/>
                <a:cxnLst>
                  <a:cxn ang="0">
                    <a:pos x="22" y="17"/>
                  </a:cxn>
                  <a:cxn ang="0">
                    <a:pos x="15" y="15"/>
                  </a:cxn>
                  <a:cxn ang="0">
                    <a:pos x="10" y="14"/>
                  </a:cxn>
                  <a:cxn ang="0">
                    <a:pos x="3" y="15"/>
                  </a:cxn>
                  <a:cxn ang="0">
                    <a:pos x="0" y="17"/>
                  </a:cxn>
                  <a:cxn ang="0">
                    <a:pos x="3" y="10"/>
                  </a:cxn>
                  <a:cxn ang="0">
                    <a:pos x="15" y="5"/>
                  </a:cxn>
                  <a:cxn ang="0">
                    <a:pos x="28" y="0"/>
                  </a:cxn>
                  <a:cxn ang="0">
                    <a:pos x="36" y="0"/>
                  </a:cxn>
                  <a:cxn ang="0">
                    <a:pos x="50" y="3"/>
                  </a:cxn>
                  <a:cxn ang="0">
                    <a:pos x="58" y="12"/>
                  </a:cxn>
                  <a:cxn ang="0">
                    <a:pos x="52" y="15"/>
                  </a:cxn>
                  <a:cxn ang="0">
                    <a:pos x="45" y="17"/>
                  </a:cxn>
                  <a:cxn ang="0">
                    <a:pos x="36" y="17"/>
                  </a:cxn>
                  <a:cxn ang="0">
                    <a:pos x="33" y="17"/>
                  </a:cxn>
                  <a:cxn ang="0">
                    <a:pos x="28" y="17"/>
                  </a:cxn>
                  <a:cxn ang="0">
                    <a:pos x="22" y="17"/>
                  </a:cxn>
                </a:cxnLst>
                <a:rect l="0" t="0" r="r" b="b"/>
                <a:pathLst>
                  <a:path w="58" h="17">
                    <a:moveTo>
                      <a:pt x="22" y="17"/>
                    </a:moveTo>
                    <a:lnTo>
                      <a:pt x="15" y="15"/>
                    </a:lnTo>
                    <a:lnTo>
                      <a:pt x="10" y="14"/>
                    </a:lnTo>
                    <a:lnTo>
                      <a:pt x="3" y="15"/>
                    </a:lnTo>
                    <a:lnTo>
                      <a:pt x="0" y="17"/>
                    </a:lnTo>
                    <a:lnTo>
                      <a:pt x="3" y="10"/>
                    </a:lnTo>
                    <a:lnTo>
                      <a:pt x="15" y="5"/>
                    </a:lnTo>
                    <a:lnTo>
                      <a:pt x="28" y="0"/>
                    </a:lnTo>
                    <a:lnTo>
                      <a:pt x="36" y="0"/>
                    </a:lnTo>
                    <a:lnTo>
                      <a:pt x="50" y="3"/>
                    </a:lnTo>
                    <a:lnTo>
                      <a:pt x="58" y="12"/>
                    </a:lnTo>
                    <a:lnTo>
                      <a:pt x="52" y="15"/>
                    </a:lnTo>
                    <a:lnTo>
                      <a:pt x="45" y="17"/>
                    </a:lnTo>
                    <a:lnTo>
                      <a:pt x="36" y="17"/>
                    </a:lnTo>
                    <a:lnTo>
                      <a:pt x="33" y="17"/>
                    </a:lnTo>
                    <a:lnTo>
                      <a:pt x="28" y="17"/>
                    </a:lnTo>
                    <a:lnTo>
                      <a:pt x="22"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57" name="Freeform 309"/>
              <p:cNvSpPr>
                <a:spLocks/>
              </p:cNvSpPr>
              <p:nvPr/>
            </p:nvSpPr>
            <p:spPr bwMode="auto">
              <a:xfrm>
                <a:off x="1705769" y="1700213"/>
                <a:ext cx="79375" cy="41275"/>
              </a:xfrm>
              <a:custGeom>
                <a:avLst/>
                <a:gdLst/>
                <a:ahLst/>
                <a:cxnLst>
                  <a:cxn ang="0">
                    <a:pos x="43" y="11"/>
                  </a:cxn>
                  <a:cxn ang="0">
                    <a:pos x="39" y="16"/>
                  </a:cxn>
                  <a:cxn ang="0">
                    <a:pos x="32" y="21"/>
                  </a:cxn>
                  <a:cxn ang="0">
                    <a:pos x="24" y="25"/>
                  </a:cxn>
                  <a:cxn ang="0">
                    <a:pos x="15" y="26"/>
                  </a:cxn>
                  <a:cxn ang="0">
                    <a:pos x="5" y="21"/>
                  </a:cxn>
                  <a:cxn ang="0">
                    <a:pos x="0" y="13"/>
                  </a:cxn>
                  <a:cxn ang="0">
                    <a:pos x="3" y="4"/>
                  </a:cxn>
                  <a:cxn ang="0">
                    <a:pos x="15" y="0"/>
                  </a:cxn>
                  <a:cxn ang="0">
                    <a:pos x="29" y="0"/>
                  </a:cxn>
                  <a:cxn ang="0">
                    <a:pos x="41" y="0"/>
                  </a:cxn>
                  <a:cxn ang="0">
                    <a:pos x="46" y="2"/>
                  </a:cxn>
                  <a:cxn ang="0">
                    <a:pos x="50" y="6"/>
                  </a:cxn>
                  <a:cxn ang="0">
                    <a:pos x="39" y="9"/>
                  </a:cxn>
                  <a:cxn ang="0">
                    <a:pos x="29" y="11"/>
                  </a:cxn>
                  <a:cxn ang="0">
                    <a:pos x="43" y="11"/>
                  </a:cxn>
                </a:cxnLst>
                <a:rect l="0" t="0" r="r" b="b"/>
                <a:pathLst>
                  <a:path w="50" h="26">
                    <a:moveTo>
                      <a:pt x="43" y="11"/>
                    </a:moveTo>
                    <a:lnTo>
                      <a:pt x="39" y="16"/>
                    </a:lnTo>
                    <a:lnTo>
                      <a:pt x="32" y="21"/>
                    </a:lnTo>
                    <a:lnTo>
                      <a:pt x="24" y="25"/>
                    </a:lnTo>
                    <a:lnTo>
                      <a:pt x="15" y="26"/>
                    </a:lnTo>
                    <a:lnTo>
                      <a:pt x="5" y="21"/>
                    </a:lnTo>
                    <a:lnTo>
                      <a:pt x="0" y="13"/>
                    </a:lnTo>
                    <a:lnTo>
                      <a:pt x="3" y="4"/>
                    </a:lnTo>
                    <a:lnTo>
                      <a:pt x="15" y="0"/>
                    </a:lnTo>
                    <a:lnTo>
                      <a:pt x="29" y="0"/>
                    </a:lnTo>
                    <a:lnTo>
                      <a:pt x="41" y="0"/>
                    </a:lnTo>
                    <a:lnTo>
                      <a:pt x="46" y="2"/>
                    </a:lnTo>
                    <a:lnTo>
                      <a:pt x="50" y="6"/>
                    </a:lnTo>
                    <a:lnTo>
                      <a:pt x="39" y="9"/>
                    </a:lnTo>
                    <a:lnTo>
                      <a:pt x="29" y="11"/>
                    </a:lnTo>
                    <a:lnTo>
                      <a:pt x="43"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58" name="Freeform 310"/>
              <p:cNvSpPr>
                <a:spLocks/>
              </p:cNvSpPr>
              <p:nvPr/>
            </p:nvSpPr>
            <p:spPr bwMode="auto">
              <a:xfrm>
                <a:off x="1667669" y="1703388"/>
                <a:ext cx="26988" cy="22225"/>
              </a:xfrm>
              <a:custGeom>
                <a:avLst/>
                <a:gdLst/>
                <a:ahLst/>
                <a:cxnLst>
                  <a:cxn ang="0">
                    <a:pos x="17" y="9"/>
                  </a:cxn>
                  <a:cxn ang="0">
                    <a:pos x="13" y="12"/>
                  </a:cxn>
                  <a:cxn ang="0">
                    <a:pos x="10" y="14"/>
                  </a:cxn>
                  <a:cxn ang="0">
                    <a:pos x="1" y="11"/>
                  </a:cxn>
                  <a:cxn ang="0">
                    <a:pos x="0" y="7"/>
                  </a:cxn>
                  <a:cxn ang="0">
                    <a:pos x="1" y="0"/>
                  </a:cxn>
                  <a:cxn ang="0">
                    <a:pos x="7" y="2"/>
                  </a:cxn>
                  <a:cxn ang="0">
                    <a:pos x="12" y="5"/>
                  </a:cxn>
                  <a:cxn ang="0">
                    <a:pos x="17" y="9"/>
                  </a:cxn>
                </a:cxnLst>
                <a:rect l="0" t="0" r="r" b="b"/>
                <a:pathLst>
                  <a:path w="17" h="14">
                    <a:moveTo>
                      <a:pt x="17" y="9"/>
                    </a:moveTo>
                    <a:lnTo>
                      <a:pt x="13" y="12"/>
                    </a:lnTo>
                    <a:lnTo>
                      <a:pt x="10" y="14"/>
                    </a:lnTo>
                    <a:lnTo>
                      <a:pt x="1" y="11"/>
                    </a:lnTo>
                    <a:lnTo>
                      <a:pt x="0" y="7"/>
                    </a:lnTo>
                    <a:lnTo>
                      <a:pt x="1" y="0"/>
                    </a:lnTo>
                    <a:lnTo>
                      <a:pt x="7" y="2"/>
                    </a:lnTo>
                    <a:lnTo>
                      <a:pt x="12" y="5"/>
                    </a:lnTo>
                    <a:lnTo>
                      <a:pt x="17" y="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59" name="Freeform 311"/>
              <p:cNvSpPr>
                <a:spLocks/>
              </p:cNvSpPr>
              <p:nvPr/>
            </p:nvSpPr>
            <p:spPr bwMode="auto">
              <a:xfrm>
                <a:off x="1964532" y="1905000"/>
                <a:ext cx="136525" cy="109537"/>
              </a:xfrm>
              <a:custGeom>
                <a:avLst/>
                <a:gdLst/>
                <a:ahLst/>
                <a:cxnLst>
                  <a:cxn ang="0">
                    <a:pos x="76" y="26"/>
                  </a:cxn>
                  <a:cxn ang="0">
                    <a:pos x="74" y="30"/>
                  </a:cxn>
                  <a:cxn ang="0">
                    <a:pos x="74" y="33"/>
                  </a:cxn>
                  <a:cxn ang="0">
                    <a:pos x="79" y="33"/>
                  </a:cxn>
                  <a:cxn ang="0">
                    <a:pos x="86" y="37"/>
                  </a:cxn>
                  <a:cxn ang="0">
                    <a:pos x="84" y="43"/>
                  </a:cxn>
                  <a:cxn ang="0">
                    <a:pos x="83" y="50"/>
                  </a:cxn>
                  <a:cxn ang="0">
                    <a:pos x="81" y="54"/>
                  </a:cxn>
                  <a:cxn ang="0">
                    <a:pos x="81" y="57"/>
                  </a:cxn>
                  <a:cxn ang="0">
                    <a:pos x="74" y="59"/>
                  </a:cxn>
                  <a:cxn ang="0">
                    <a:pos x="65" y="62"/>
                  </a:cxn>
                  <a:cxn ang="0">
                    <a:pos x="60" y="66"/>
                  </a:cxn>
                  <a:cxn ang="0">
                    <a:pos x="55" y="69"/>
                  </a:cxn>
                  <a:cxn ang="0">
                    <a:pos x="48" y="66"/>
                  </a:cxn>
                  <a:cxn ang="0">
                    <a:pos x="45" y="61"/>
                  </a:cxn>
                  <a:cxn ang="0">
                    <a:pos x="33" y="52"/>
                  </a:cxn>
                  <a:cxn ang="0">
                    <a:pos x="22" y="47"/>
                  </a:cxn>
                  <a:cxn ang="0">
                    <a:pos x="10" y="42"/>
                  </a:cxn>
                  <a:cxn ang="0">
                    <a:pos x="0" y="35"/>
                  </a:cxn>
                  <a:cxn ang="0">
                    <a:pos x="0" y="26"/>
                  </a:cxn>
                  <a:cxn ang="0">
                    <a:pos x="10" y="28"/>
                  </a:cxn>
                  <a:cxn ang="0">
                    <a:pos x="22" y="31"/>
                  </a:cxn>
                  <a:cxn ang="0">
                    <a:pos x="26" y="31"/>
                  </a:cxn>
                  <a:cxn ang="0">
                    <a:pos x="31" y="31"/>
                  </a:cxn>
                  <a:cxn ang="0">
                    <a:pos x="31" y="18"/>
                  </a:cxn>
                  <a:cxn ang="0">
                    <a:pos x="19" y="16"/>
                  </a:cxn>
                  <a:cxn ang="0">
                    <a:pos x="14" y="12"/>
                  </a:cxn>
                  <a:cxn ang="0">
                    <a:pos x="16" y="9"/>
                  </a:cxn>
                  <a:cxn ang="0">
                    <a:pos x="17" y="7"/>
                  </a:cxn>
                  <a:cxn ang="0">
                    <a:pos x="31" y="0"/>
                  </a:cxn>
                  <a:cxn ang="0">
                    <a:pos x="48" y="2"/>
                  </a:cxn>
                  <a:cxn ang="0">
                    <a:pos x="60" y="2"/>
                  </a:cxn>
                  <a:cxn ang="0">
                    <a:pos x="69" y="2"/>
                  </a:cxn>
                  <a:cxn ang="0">
                    <a:pos x="71" y="2"/>
                  </a:cxn>
                  <a:cxn ang="0">
                    <a:pos x="72" y="6"/>
                  </a:cxn>
                  <a:cxn ang="0">
                    <a:pos x="65" y="18"/>
                  </a:cxn>
                  <a:cxn ang="0">
                    <a:pos x="57" y="25"/>
                  </a:cxn>
                  <a:cxn ang="0">
                    <a:pos x="60" y="23"/>
                  </a:cxn>
                  <a:cxn ang="0">
                    <a:pos x="67" y="23"/>
                  </a:cxn>
                  <a:cxn ang="0">
                    <a:pos x="72" y="21"/>
                  </a:cxn>
                  <a:cxn ang="0">
                    <a:pos x="76" y="26"/>
                  </a:cxn>
                </a:cxnLst>
                <a:rect l="0" t="0" r="r" b="b"/>
                <a:pathLst>
                  <a:path w="86" h="69">
                    <a:moveTo>
                      <a:pt x="76" y="26"/>
                    </a:moveTo>
                    <a:lnTo>
                      <a:pt x="74" y="30"/>
                    </a:lnTo>
                    <a:lnTo>
                      <a:pt x="74" y="33"/>
                    </a:lnTo>
                    <a:lnTo>
                      <a:pt x="79" y="33"/>
                    </a:lnTo>
                    <a:lnTo>
                      <a:pt x="86" y="37"/>
                    </a:lnTo>
                    <a:lnTo>
                      <a:pt x="84" y="43"/>
                    </a:lnTo>
                    <a:lnTo>
                      <a:pt x="83" y="50"/>
                    </a:lnTo>
                    <a:lnTo>
                      <a:pt x="81" y="54"/>
                    </a:lnTo>
                    <a:lnTo>
                      <a:pt x="81" y="57"/>
                    </a:lnTo>
                    <a:lnTo>
                      <a:pt x="74" y="59"/>
                    </a:lnTo>
                    <a:lnTo>
                      <a:pt x="65" y="62"/>
                    </a:lnTo>
                    <a:lnTo>
                      <a:pt x="60" y="66"/>
                    </a:lnTo>
                    <a:lnTo>
                      <a:pt x="55" y="69"/>
                    </a:lnTo>
                    <a:lnTo>
                      <a:pt x="48" y="66"/>
                    </a:lnTo>
                    <a:lnTo>
                      <a:pt x="45" y="61"/>
                    </a:lnTo>
                    <a:lnTo>
                      <a:pt x="33" y="52"/>
                    </a:lnTo>
                    <a:lnTo>
                      <a:pt x="22" y="47"/>
                    </a:lnTo>
                    <a:lnTo>
                      <a:pt x="10" y="42"/>
                    </a:lnTo>
                    <a:lnTo>
                      <a:pt x="0" y="35"/>
                    </a:lnTo>
                    <a:lnTo>
                      <a:pt x="0" y="26"/>
                    </a:lnTo>
                    <a:lnTo>
                      <a:pt x="10" y="28"/>
                    </a:lnTo>
                    <a:lnTo>
                      <a:pt x="22" y="31"/>
                    </a:lnTo>
                    <a:lnTo>
                      <a:pt x="26" y="31"/>
                    </a:lnTo>
                    <a:lnTo>
                      <a:pt x="31" y="31"/>
                    </a:lnTo>
                    <a:lnTo>
                      <a:pt x="31" y="18"/>
                    </a:lnTo>
                    <a:lnTo>
                      <a:pt x="19" y="16"/>
                    </a:lnTo>
                    <a:lnTo>
                      <a:pt x="14" y="12"/>
                    </a:lnTo>
                    <a:lnTo>
                      <a:pt x="16" y="9"/>
                    </a:lnTo>
                    <a:lnTo>
                      <a:pt x="17" y="7"/>
                    </a:lnTo>
                    <a:lnTo>
                      <a:pt x="31" y="0"/>
                    </a:lnTo>
                    <a:lnTo>
                      <a:pt x="48" y="2"/>
                    </a:lnTo>
                    <a:lnTo>
                      <a:pt x="60" y="2"/>
                    </a:lnTo>
                    <a:lnTo>
                      <a:pt x="69" y="2"/>
                    </a:lnTo>
                    <a:lnTo>
                      <a:pt x="71" y="2"/>
                    </a:lnTo>
                    <a:lnTo>
                      <a:pt x="72" y="6"/>
                    </a:lnTo>
                    <a:lnTo>
                      <a:pt x="65" y="18"/>
                    </a:lnTo>
                    <a:lnTo>
                      <a:pt x="57" y="25"/>
                    </a:lnTo>
                    <a:lnTo>
                      <a:pt x="60" y="23"/>
                    </a:lnTo>
                    <a:lnTo>
                      <a:pt x="67" y="23"/>
                    </a:lnTo>
                    <a:lnTo>
                      <a:pt x="72" y="21"/>
                    </a:lnTo>
                    <a:lnTo>
                      <a:pt x="76"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60" name="Freeform 312"/>
              <p:cNvSpPr>
                <a:spLocks/>
              </p:cNvSpPr>
              <p:nvPr/>
            </p:nvSpPr>
            <p:spPr bwMode="auto">
              <a:xfrm>
                <a:off x="1915319" y="1771650"/>
                <a:ext cx="152400" cy="76200"/>
              </a:xfrm>
              <a:custGeom>
                <a:avLst/>
                <a:gdLst/>
                <a:ahLst/>
                <a:cxnLst>
                  <a:cxn ang="0">
                    <a:pos x="4" y="12"/>
                  </a:cxn>
                  <a:cxn ang="0">
                    <a:pos x="0" y="7"/>
                  </a:cxn>
                  <a:cxn ang="0">
                    <a:pos x="0" y="2"/>
                  </a:cxn>
                  <a:cxn ang="0">
                    <a:pos x="2" y="2"/>
                  </a:cxn>
                  <a:cxn ang="0">
                    <a:pos x="5" y="2"/>
                  </a:cxn>
                  <a:cxn ang="0">
                    <a:pos x="14" y="5"/>
                  </a:cxn>
                  <a:cxn ang="0">
                    <a:pos x="24" y="14"/>
                  </a:cxn>
                  <a:cxn ang="0">
                    <a:pos x="31" y="21"/>
                  </a:cxn>
                  <a:cxn ang="0">
                    <a:pos x="43" y="23"/>
                  </a:cxn>
                  <a:cxn ang="0">
                    <a:pos x="36" y="17"/>
                  </a:cxn>
                  <a:cxn ang="0">
                    <a:pos x="33" y="14"/>
                  </a:cxn>
                  <a:cxn ang="0">
                    <a:pos x="33" y="9"/>
                  </a:cxn>
                  <a:cxn ang="0">
                    <a:pos x="40" y="9"/>
                  </a:cxn>
                  <a:cxn ang="0">
                    <a:pos x="47" y="14"/>
                  </a:cxn>
                  <a:cxn ang="0">
                    <a:pos x="52" y="16"/>
                  </a:cxn>
                  <a:cxn ang="0">
                    <a:pos x="62" y="19"/>
                  </a:cxn>
                  <a:cxn ang="0">
                    <a:pos x="62" y="9"/>
                  </a:cxn>
                  <a:cxn ang="0">
                    <a:pos x="48" y="7"/>
                  </a:cxn>
                  <a:cxn ang="0">
                    <a:pos x="43" y="2"/>
                  </a:cxn>
                  <a:cxn ang="0">
                    <a:pos x="47" y="0"/>
                  </a:cxn>
                  <a:cxn ang="0">
                    <a:pos x="52" y="0"/>
                  </a:cxn>
                  <a:cxn ang="0">
                    <a:pos x="62" y="2"/>
                  </a:cxn>
                  <a:cxn ang="0">
                    <a:pos x="76" y="5"/>
                  </a:cxn>
                  <a:cxn ang="0">
                    <a:pos x="79" y="4"/>
                  </a:cxn>
                  <a:cxn ang="0">
                    <a:pos x="86" y="2"/>
                  </a:cxn>
                  <a:cxn ang="0">
                    <a:pos x="93" y="5"/>
                  </a:cxn>
                  <a:cxn ang="0">
                    <a:pos x="96" y="14"/>
                  </a:cxn>
                  <a:cxn ang="0">
                    <a:pos x="95" y="21"/>
                  </a:cxn>
                  <a:cxn ang="0">
                    <a:pos x="93" y="29"/>
                  </a:cxn>
                  <a:cxn ang="0">
                    <a:pos x="90" y="36"/>
                  </a:cxn>
                  <a:cxn ang="0">
                    <a:pos x="91" y="47"/>
                  </a:cxn>
                  <a:cxn ang="0">
                    <a:pos x="78" y="47"/>
                  </a:cxn>
                  <a:cxn ang="0">
                    <a:pos x="71" y="48"/>
                  </a:cxn>
                  <a:cxn ang="0">
                    <a:pos x="66" y="48"/>
                  </a:cxn>
                  <a:cxn ang="0">
                    <a:pos x="62" y="48"/>
                  </a:cxn>
                  <a:cxn ang="0">
                    <a:pos x="57" y="47"/>
                  </a:cxn>
                  <a:cxn ang="0">
                    <a:pos x="55" y="47"/>
                  </a:cxn>
                  <a:cxn ang="0">
                    <a:pos x="55" y="43"/>
                  </a:cxn>
                  <a:cxn ang="0">
                    <a:pos x="59" y="41"/>
                  </a:cxn>
                  <a:cxn ang="0">
                    <a:pos x="59" y="38"/>
                  </a:cxn>
                  <a:cxn ang="0">
                    <a:pos x="59" y="36"/>
                  </a:cxn>
                  <a:cxn ang="0">
                    <a:pos x="64" y="31"/>
                  </a:cxn>
                  <a:cxn ang="0">
                    <a:pos x="71" y="29"/>
                  </a:cxn>
                  <a:cxn ang="0">
                    <a:pos x="67" y="28"/>
                  </a:cxn>
                  <a:cxn ang="0">
                    <a:pos x="66" y="28"/>
                  </a:cxn>
                  <a:cxn ang="0">
                    <a:pos x="55" y="28"/>
                  </a:cxn>
                  <a:cxn ang="0">
                    <a:pos x="47" y="29"/>
                  </a:cxn>
                  <a:cxn ang="0">
                    <a:pos x="36" y="31"/>
                  </a:cxn>
                  <a:cxn ang="0">
                    <a:pos x="28" y="33"/>
                  </a:cxn>
                  <a:cxn ang="0">
                    <a:pos x="23" y="29"/>
                  </a:cxn>
                  <a:cxn ang="0">
                    <a:pos x="23" y="26"/>
                  </a:cxn>
                  <a:cxn ang="0">
                    <a:pos x="14" y="26"/>
                  </a:cxn>
                  <a:cxn ang="0">
                    <a:pos x="14" y="21"/>
                  </a:cxn>
                  <a:cxn ang="0">
                    <a:pos x="5" y="19"/>
                  </a:cxn>
                  <a:cxn ang="0">
                    <a:pos x="0" y="16"/>
                  </a:cxn>
                  <a:cxn ang="0">
                    <a:pos x="0" y="7"/>
                  </a:cxn>
                  <a:cxn ang="0">
                    <a:pos x="4" y="12"/>
                  </a:cxn>
                </a:cxnLst>
                <a:rect l="0" t="0" r="r" b="b"/>
                <a:pathLst>
                  <a:path w="96" h="48">
                    <a:moveTo>
                      <a:pt x="4" y="12"/>
                    </a:moveTo>
                    <a:lnTo>
                      <a:pt x="0" y="7"/>
                    </a:lnTo>
                    <a:lnTo>
                      <a:pt x="0" y="2"/>
                    </a:lnTo>
                    <a:lnTo>
                      <a:pt x="2" y="2"/>
                    </a:lnTo>
                    <a:lnTo>
                      <a:pt x="5" y="2"/>
                    </a:lnTo>
                    <a:lnTo>
                      <a:pt x="14" y="5"/>
                    </a:lnTo>
                    <a:lnTo>
                      <a:pt x="24" y="14"/>
                    </a:lnTo>
                    <a:lnTo>
                      <a:pt x="31" y="21"/>
                    </a:lnTo>
                    <a:lnTo>
                      <a:pt x="43" y="23"/>
                    </a:lnTo>
                    <a:lnTo>
                      <a:pt x="36" y="17"/>
                    </a:lnTo>
                    <a:lnTo>
                      <a:pt x="33" y="14"/>
                    </a:lnTo>
                    <a:lnTo>
                      <a:pt x="33" y="9"/>
                    </a:lnTo>
                    <a:lnTo>
                      <a:pt x="40" y="9"/>
                    </a:lnTo>
                    <a:lnTo>
                      <a:pt x="47" y="14"/>
                    </a:lnTo>
                    <a:lnTo>
                      <a:pt x="52" y="16"/>
                    </a:lnTo>
                    <a:lnTo>
                      <a:pt x="62" y="19"/>
                    </a:lnTo>
                    <a:lnTo>
                      <a:pt x="62" y="9"/>
                    </a:lnTo>
                    <a:lnTo>
                      <a:pt x="48" y="7"/>
                    </a:lnTo>
                    <a:lnTo>
                      <a:pt x="43" y="2"/>
                    </a:lnTo>
                    <a:lnTo>
                      <a:pt x="47" y="0"/>
                    </a:lnTo>
                    <a:lnTo>
                      <a:pt x="52" y="0"/>
                    </a:lnTo>
                    <a:lnTo>
                      <a:pt x="62" y="2"/>
                    </a:lnTo>
                    <a:lnTo>
                      <a:pt x="76" y="5"/>
                    </a:lnTo>
                    <a:lnTo>
                      <a:pt x="79" y="4"/>
                    </a:lnTo>
                    <a:lnTo>
                      <a:pt x="86" y="2"/>
                    </a:lnTo>
                    <a:lnTo>
                      <a:pt x="93" y="5"/>
                    </a:lnTo>
                    <a:lnTo>
                      <a:pt x="96" y="14"/>
                    </a:lnTo>
                    <a:lnTo>
                      <a:pt x="95" y="21"/>
                    </a:lnTo>
                    <a:lnTo>
                      <a:pt x="93" y="29"/>
                    </a:lnTo>
                    <a:lnTo>
                      <a:pt x="90" y="36"/>
                    </a:lnTo>
                    <a:lnTo>
                      <a:pt x="91" y="47"/>
                    </a:lnTo>
                    <a:lnTo>
                      <a:pt x="78" y="47"/>
                    </a:lnTo>
                    <a:lnTo>
                      <a:pt x="71" y="48"/>
                    </a:lnTo>
                    <a:lnTo>
                      <a:pt x="66" y="48"/>
                    </a:lnTo>
                    <a:lnTo>
                      <a:pt x="62" y="48"/>
                    </a:lnTo>
                    <a:lnTo>
                      <a:pt x="57" y="47"/>
                    </a:lnTo>
                    <a:lnTo>
                      <a:pt x="55" y="47"/>
                    </a:lnTo>
                    <a:lnTo>
                      <a:pt x="55" y="43"/>
                    </a:lnTo>
                    <a:lnTo>
                      <a:pt x="59" y="41"/>
                    </a:lnTo>
                    <a:lnTo>
                      <a:pt x="59" y="38"/>
                    </a:lnTo>
                    <a:lnTo>
                      <a:pt x="59" y="36"/>
                    </a:lnTo>
                    <a:lnTo>
                      <a:pt x="64" y="31"/>
                    </a:lnTo>
                    <a:lnTo>
                      <a:pt x="71" y="29"/>
                    </a:lnTo>
                    <a:lnTo>
                      <a:pt x="67" y="28"/>
                    </a:lnTo>
                    <a:lnTo>
                      <a:pt x="66" y="28"/>
                    </a:lnTo>
                    <a:lnTo>
                      <a:pt x="55" y="28"/>
                    </a:lnTo>
                    <a:lnTo>
                      <a:pt x="47" y="29"/>
                    </a:lnTo>
                    <a:lnTo>
                      <a:pt x="36" y="31"/>
                    </a:lnTo>
                    <a:lnTo>
                      <a:pt x="28" y="33"/>
                    </a:lnTo>
                    <a:lnTo>
                      <a:pt x="23" y="29"/>
                    </a:lnTo>
                    <a:lnTo>
                      <a:pt x="23" y="26"/>
                    </a:lnTo>
                    <a:lnTo>
                      <a:pt x="14" y="26"/>
                    </a:lnTo>
                    <a:lnTo>
                      <a:pt x="14" y="21"/>
                    </a:lnTo>
                    <a:lnTo>
                      <a:pt x="5" y="19"/>
                    </a:lnTo>
                    <a:lnTo>
                      <a:pt x="0" y="16"/>
                    </a:lnTo>
                    <a:lnTo>
                      <a:pt x="0" y="7"/>
                    </a:lnTo>
                    <a:lnTo>
                      <a:pt x="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61" name="Freeform 313"/>
              <p:cNvSpPr>
                <a:spLocks/>
              </p:cNvSpPr>
              <p:nvPr/>
            </p:nvSpPr>
            <p:spPr bwMode="auto">
              <a:xfrm>
                <a:off x="2029619" y="2078038"/>
                <a:ext cx="90488" cy="53975"/>
              </a:xfrm>
              <a:custGeom>
                <a:avLst/>
                <a:gdLst/>
                <a:ahLst/>
                <a:cxnLst>
                  <a:cxn ang="0">
                    <a:pos x="45" y="34"/>
                  </a:cxn>
                  <a:cxn ang="0">
                    <a:pos x="35" y="31"/>
                  </a:cxn>
                  <a:cxn ang="0">
                    <a:pos x="19" y="26"/>
                  </a:cxn>
                  <a:cxn ang="0">
                    <a:pos x="6" y="20"/>
                  </a:cxn>
                  <a:cxn ang="0">
                    <a:pos x="0" y="19"/>
                  </a:cxn>
                  <a:cxn ang="0">
                    <a:pos x="6" y="15"/>
                  </a:cxn>
                  <a:cxn ang="0">
                    <a:pos x="12" y="17"/>
                  </a:cxn>
                  <a:cxn ang="0">
                    <a:pos x="14" y="12"/>
                  </a:cxn>
                  <a:cxn ang="0">
                    <a:pos x="16" y="7"/>
                  </a:cxn>
                  <a:cxn ang="0">
                    <a:pos x="19" y="2"/>
                  </a:cxn>
                  <a:cxn ang="0">
                    <a:pos x="26" y="0"/>
                  </a:cxn>
                  <a:cxn ang="0">
                    <a:pos x="33" y="2"/>
                  </a:cxn>
                  <a:cxn ang="0">
                    <a:pos x="43" y="10"/>
                  </a:cxn>
                  <a:cxn ang="0">
                    <a:pos x="52" y="17"/>
                  </a:cxn>
                  <a:cxn ang="0">
                    <a:pos x="57" y="26"/>
                  </a:cxn>
                  <a:cxn ang="0">
                    <a:pos x="50" y="31"/>
                  </a:cxn>
                  <a:cxn ang="0">
                    <a:pos x="45" y="34"/>
                  </a:cxn>
                </a:cxnLst>
                <a:rect l="0" t="0" r="r" b="b"/>
                <a:pathLst>
                  <a:path w="57" h="34">
                    <a:moveTo>
                      <a:pt x="45" y="34"/>
                    </a:moveTo>
                    <a:lnTo>
                      <a:pt x="35" y="31"/>
                    </a:lnTo>
                    <a:lnTo>
                      <a:pt x="19" y="26"/>
                    </a:lnTo>
                    <a:lnTo>
                      <a:pt x="6" y="20"/>
                    </a:lnTo>
                    <a:lnTo>
                      <a:pt x="0" y="19"/>
                    </a:lnTo>
                    <a:lnTo>
                      <a:pt x="6" y="15"/>
                    </a:lnTo>
                    <a:lnTo>
                      <a:pt x="12" y="17"/>
                    </a:lnTo>
                    <a:lnTo>
                      <a:pt x="14" y="12"/>
                    </a:lnTo>
                    <a:lnTo>
                      <a:pt x="16" y="7"/>
                    </a:lnTo>
                    <a:lnTo>
                      <a:pt x="19" y="2"/>
                    </a:lnTo>
                    <a:lnTo>
                      <a:pt x="26" y="0"/>
                    </a:lnTo>
                    <a:lnTo>
                      <a:pt x="33" y="2"/>
                    </a:lnTo>
                    <a:lnTo>
                      <a:pt x="43" y="10"/>
                    </a:lnTo>
                    <a:lnTo>
                      <a:pt x="52" y="17"/>
                    </a:lnTo>
                    <a:lnTo>
                      <a:pt x="57" y="26"/>
                    </a:lnTo>
                    <a:lnTo>
                      <a:pt x="50" y="31"/>
                    </a:lnTo>
                    <a:lnTo>
                      <a:pt x="45" y="3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62" name="Freeform 314"/>
              <p:cNvSpPr>
                <a:spLocks/>
              </p:cNvSpPr>
              <p:nvPr/>
            </p:nvSpPr>
            <p:spPr bwMode="auto">
              <a:xfrm>
                <a:off x="2116932" y="1889125"/>
                <a:ext cx="117475" cy="95250"/>
              </a:xfrm>
              <a:custGeom>
                <a:avLst/>
                <a:gdLst/>
                <a:ahLst/>
                <a:cxnLst>
                  <a:cxn ang="0">
                    <a:pos x="74" y="12"/>
                  </a:cxn>
                  <a:cxn ang="0">
                    <a:pos x="69" y="16"/>
                  </a:cxn>
                  <a:cxn ang="0">
                    <a:pos x="66" y="21"/>
                  </a:cxn>
                  <a:cxn ang="0">
                    <a:pos x="59" y="26"/>
                  </a:cxn>
                  <a:cxn ang="0">
                    <a:pos x="54" y="33"/>
                  </a:cxn>
                  <a:cxn ang="0">
                    <a:pos x="45" y="38"/>
                  </a:cxn>
                  <a:cxn ang="0">
                    <a:pos x="37" y="41"/>
                  </a:cxn>
                  <a:cxn ang="0">
                    <a:pos x="26" y="38"/>
                  </a:cxn>
                  <a:cxn ang="0">
                    <a:pos x="23" y="45"/>
                  </a:cxn>
                  <a:cxn ang="0">
                    <a:pos x="30" y="45"/>
                  </a:cxn>
                  <a:cxn ang="0">
                    <a:pos x="25" y="53"/>
                  </a:cxn>
                  <a:cxn ang="0">
                    <a:pos x="18" y="60"/>
                  </a:cxn>
                  <a:cxn ang="0">
                    <a:pos x="7" y="60"/>
                  </a:cxn>
                  <a:cxn ang="0">
                    <a:pos x="7" y="52"/>
                  </a:cxn>
                  <a:cxn ang="0">
                    <a:pos x="7" y="47"/>
                  </a:cxn>
                  <a:cxn ang="0">
                    <a:pos x="2" y="35"/>
                  </a:cxn>
                  <a:cxn ang="0">
                    <a:pos x="0" y="22"/>
                  </a:cxn>
                  <a:cxn ang="0">
                    <a:pos x="0" y="12"/>
                  </a:cxn>
                  <a:cxn ang="0">
                    <a:pos x="6" y="12"/>
                  </a:cxn>
                  <a:cxn ang="0">
                    <a:pos x="12" y="12"/>
                  </a:cxn>
                  <a:cxn ang="0">
                    <a:pos x="11" y="10"/>
                  </a:cxn>
                  <a:cxn ang="0">
                    <a:pos x="12" y="9"/>
                  </a:cxn>
                  <a:cxn ang="0">
                    <a:pos x="14" y="4"/>
                  </a:cxn>
                  <a:cxn ang="0">
                    <a:pos x="26" y="0"/>
                  </a:cxn>
                  <a:cxn ang="0">
                    <a:pos x="38" y="0"/>
                  </a:cxn>
                  <a:cxn ang="0">
                    <a:pos x="50" y="4"/>
                  </a:cxn>
                  <a:cxn ang="0">
                    <a:pos x="61" y="5"/>
                  </a:cxn>
                  <a:cxn ang="0">
                    <a:pos x="74" y="7"/>
                  </a:cxn>
                  <a:cxn ang="0">
                    <a:pos x="74" y="9"/>
                  </a:cxn>
                  <a:cxn ang="0">
                    <a:pos x="74" y="12"/>
                  </a:cxn>
                </a:cxnLst>
                <a:rect l="0" t="0" r="r" b="b"/>
                <a:pathLst>
                  <a:path w="74" h="60">
                    <a:moveTo>
                      <a:pt x="74" y="12"/>
                    </a:moveTo>
                    <a:lnTo>
                      <a:pt x="69" y="16"/>
                    </a:lnTo>
                    <a:lnTo>
                      <a:pt x="66" y="21"/>
                    </a:lnTo>
                    <a:lnTo>
                      <a:pt x="59" y="26"/>
                    </a:lnTo>
                    <a:lnTo>
                      <a:pt x="54" y="33"/>
                    </a:lnTo>
                    <a:lnTo>
                      <a:pt x="45" y="38"/>
                    </a:lnTo>
                    <a:lnTo>
                      <a:pt x="37" y="41"/>
                    </a:lnTo>
                    <a:lnTo>
                      <a:pt x="26" y="38"/>
                    </a:lnTo>
                    <a:lnTo>
                      <a:pt x="23" y="45"/>
                    </a:lnTo>
                    <a:lnTo>
                      <a:pt x="30" y="45"/>
                    </a:lnTo>
                    <a:lnTo>
                      <a:pt x="25" y="53"/>
                    </a:lnTo>
                    <a:lnTo>
                      <a:pt x="18" y="60"/>
                    </a:lnTo>
                    <a:lnTo>
                      <a:pt x="7" y="60"/>
                    </a:lnTo>
                    <a:lnTo>
                      <a:pt x="7" y="52"/>
                    </a:lnTo>
                    <a:lnTo>
                      <a:pt x="7" y="47"/>
                    </a:lnTo>
                    <a:lnTo>
                      <a:pt x="2" y="35"/>
                    </a:lnTo>
                    <a:lnTo>
                      <a:pt x="0" y="22"/>
                    </a:lnTo>
                    <a:lnTo>
                      <a:pt x="0" y="12"/>
                    </a:lnTo>
                    <a:lnTo>
                      <a:pt x="6" y="12"/>
                    </a:lnTo>
                    <a:lnTo>
                      <a:pt x="12" y="12"/>
                    </a:lnTo>
                    <a:lnTo>
                      <a:pt x="11" y="10"/>
                    </a:lnTo>
                    <a:lnTo>
                      <a:pt x="12" y="9"/>
                    </a:lnTo>
                    <a:lnTo>
                      <a:pt x="14" y="4"/>
                    </a:lnTo>
                    <a:lnTo>
                      <a:pt x="26" y="0"/>
                    </a:lnTo>
                    <a:lnTo>
                      <a:pt x="38" y="0"/>
                    </a:lnTo>
                    <a:lnTo>
                      <a:pt x="50" y="4"/>
                    </a:lnTo>
                    <a:lnTo>
                      <a:pt x="61" y="5"/>
                    </a:lnTo>
                    <a:lnTo>
                      <a:pt x="74" y="7"/>
                    </a:lnTo>
                    <a:lnTo>
                      <a:pt x="74" y="9"/>
                    </a:lnTo>
                    <a:lnTo>
                      <a:pt x="7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63" name="Freeform 315"/>
              <p:cNvSpPr>
                <a:spLocks/>
              </p:cNvSpPr>
              <p:nvPr/>
            </p:nvSpPr>
            <p:spPr bwMode="auto">
              <a:xfrm>
                <a:off x="1874044" y="1717675"/>
                <a:ext cx="41275" cy="31750"/>
              </a:xfrm>
              <a:custGeom>
                <a:avLst/>
                <a:gdLst/>
                <a:ahLst/>
                <a:cxnLst>
                  <a:cxn ang="0">
                    <a:pos x="26" y="15"/>
                  </a:cxn>
                  <a:cxn ang="0">
                    <a:pos x="23" y="19"/>
                  </a:cxn>
                  <a:cxn ang="0">
                    <a:pos x="19" y="20"/>
                  </a:cxn>
                  <a:cxn ang="0">
                    <a:pos x="12" y="17"/>
                  </a:cxn>
                  <a:cxn ang="0">
                    <a:pos x="7" y="12"/>
                  </a:cxn>
                  <a:cxn ang="0">
                    <a:pos x="0" y="5"/>
                  </a:cxn>
                  <a:cxn ang="0">
                    <a:pos x="0" y="0"/>
                  </a:cxn>
                  <a:cxn ang="0">
                    <a:pos x="7" y="0"/>
                  </a:cxn>
                  <a:cxn ang="0">
                    <a:pos x="14" y="5"/>
                  </a:cxn>
                  <a:cxn ang="0">
                    <a:pos x="19" y="10"/>
                  </a:cxn>
                  <a:cxn ang="0">
                    <a:pos x="26" y="15"/>
                  </a:cxn>
                </a:cxnLst>
                <a:rect l="0" t="0" r="r" b="b"/>
                <a:pathLst>
                  <a:path w="26" h="20">
                    <a:moveTo>
                      <a:pt x="26" y="15"/>
                    </a:moveTo>
                    <a:lnTo>
                      <a:pt x="23" y="19"/>
                    </a:lnTo>
                    <a:lnTo>
                      <a:pt x="19" y="20"/>
                    </a:lnTo>
                    <a:lnTo>
                      <a:pt x="12" y="17"/>
                    </a:lnTo>
                    <a:lnTo>
                      <a:pt x="7" y="12"/>
                    </a:lnTo>
                    <a:lnTo>
                      <a:pt x="0" y="5"/>
                    </a:lnTo>
                    <a:lnTo>
                      <a:pt x="0" y="0"/>
                    </a:lnTo>
                    <a:lnTo>
                      <a:pt x="7" y="0"/>
                    </a:lnTo>
                    <a:lnTo>
                      <a:pt x="14" y="5"/>
                    </a:lnTo>
                    <a:lnTo>
                      <a:pt x="19" y="10"/>
                    </a:lnTo>
                    <a:lnTo>
                      <a:pt x="26" y="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64" name="Freeform 316"/>
              <p:cNvSpPr>
                <a:spLocks/>
              </p:cNvSpPr>
              <p:nvPr/>
            </p:nvSpPr>
            <p:spPr bwMode="auto">
              <a:xfrm>
                <a:off x="1899444" y="1827213"/>
                <a:ext cx="26988" cy="20637"/>
              </a:xfrm>
              <a:custGeom>
                <a:avLst/>
                <a:gdLst/>
                <a:ahLst/>
                <a:cxnLst>
                  <a:cxn ang="0">
                    <a:pos x="14" y="0"/>
                  </a:cxn>
                  <a:cxn ang="0">
                    <a:pos x="15" y="3"/>
                  </a:cxn>
                  <a:cxn ang="0">
                    <a:pos x="17" y="6"/>
                  </a:cxn>
                  <a:cxn ang="0">
                    <a:pos x="14" y="12"/>
                  </a:cxn>
                  <a:cxn ang="0">
                    <a:pos x="10" y="13"/>
                  </a:cxn>
                  <a:cxn ang="0">
                    <a:pos x="3" y="13"/>
                  </a:cxn>
                  <a:cxn ang="0">
                    <a:pos x="0" y="13"/>
                  </a:cxn>
                  <a:cxn ang="0">
                    <a:pos x="3" y="3"/>
                  </a:cxn>
                  <a:cxn ang="0">
                    <a:pos x="14" y="0"/>
                  </a:cxn>
                </a:cxnLst>
                <a:rect l="0" t="0" r="r" b="b"/>
                <a:pathLst>
                  <a:path w="17" h="13">
                    <a:moveTo>
                      <a:pt x="14" y="0"/>
                    </a:moveTo>
                    <a:lnTo>
                      <a:pt x="15" y="3"/>
                    </a:lnTo>
                    <a:lnTo>
                      <a:pt x="17" y="6"/>
                    </a:lnTo>
                    <a:lnTo>
                      <a:pt x="14" y="12"/>
                    </a:lnTo>
                    <a:lnTo>
                      <a:pt x="10" y="13"/>
                    </a:lnTo>
                    <a:lnTo>
                      <a:pt x="3" y="13"/>
                    </a:lnTo>
                    <a:lnTo>
                      <a:pt x="0" y="13"/>
                    </a:lnTo>
                    <a:lnTo>
                      <a:pt x="3" y="3"/>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65" name="Freeform 317"/>
              <p:cNvSpPr>
                <a:spLocks/>
              </p:cNvSpPr>
              <p:nvPr/>
            </p:nvSpPr>
            <p:spPr bwMode="auto">
              <a:xfrm>
                <a:off x="1885157" y="1638300"/>
                <a:ext cx="150813" cy="79375"/>
              </a:xfrm>
              <a:custGeom>
                <a:avLst/>
                <a:gdLst/>
                <a:ahLst/>
                <a:cxnLst>
                  <a:cxn ang="0">
                    <a:pos x="62" y="36"/>
                  </a:cxn>
                  <a:cxn ang="0">
                    <a:pos x="50" y="34"/>
                  </a:cxn>
                  <a:cxn ang="0">
                    <a:pos x="38" y="34"/>
                  </a:cxn>
                  <a:cxn ang="0">
                    <a:pos x="31" y="31"/>
                  </a:cxn>
                  <a:cxn ang="0">
                    <a:pos x="23" y="33"/>
                  </a:cxn>
                  <a:cxn ang="0">
                    <a:pos x="12" y="31"/>
                  </a:cxn>
                  <a:cxn ang="0">
                    <a:pos x="9" y="29"/>
                  </a:cxn>
                  <a:cxn ang="0">
                    <a:pos x="14" y="24"/>
                  </a:cxn>
                  <a:cxn ang="0">
                    <a:pos x="23" y="22"/>
                  </a:cxn>
                  <a:cxn ang="0">
                    <a:pos x="23" y="19"/>
                  </a:cxn>
                  <a:cxn ang="0">
                    <a:pos x="23" y="17"/>
                  </a:cxn>
                  <a:cxn ang="0">
                    <a:pos x="11" y="17"/>
                  </a:cxn>
                  <a:cxn ang="0">
                    <a:pos x="5" y="17"/>
                  </a:cxn>
                  <a:cxn ang="0">
                    <a:pos x="7" y="14"/>
                  </a:cxn>
                  <a:cxn ang="0">
                    <a:pos x="9" y="12"/>
                  </a:cxn>
                  <a:cxn ang="0">
                    <a:pos x="2" y="10"/>
                  </a:cxn>
                  <a:cxn ang="0">
                    <a:pos x="0" y="3"/>
                  </a:cxn>
                  <a:cxn ang="0">
                    <a:pos x="9" y="2"/>
                  </a:cxn>
                  <a:cxn ang="0">
                    <a:pos x="17" y="0"/>
                  </a:cxn>
                  <a:cxn ang="0">
                    <a:pos x="28" y="3"/>
                  </a:cxn>
                  <a:cxn ang="0">
                    <a:pos x="36" y="9"/>
                  </a:cxn>
                  <a:cxn ang="0">
                    <a:pos x="40" y="7"/>
                  </a:cxn>
                  <a:cxn ang="0">
                    <a:pos x="47" y="5"/>
                  </a:cxn>
                  <a:cxn ang="0">
                    <a:pos x="55" y="10"/>
                  </a:cxn>
                  <a:cxn ang="0">
                    <a:pos x="60" y="17"/>
                  </a:cxn>
                  <a:cxn ang="0">
                    <a:pos x="64" y="14"/>
                  </a:cxn>
                  <a:cxn ang="0">
                    <a:pos x="69" y="12"/>
                  </a:cxn>
                  <a:cxn ang="0">
                    <a:pos x="78" y="17"/>
                  </a:cxn>
                  <a:cxn ang="0">
                    <a:pos x="85" y="24"/>
                  </a:cxn>
                  <a:cxn ang="0">
                    <a:pos x="81" y="26"/>
                  </a:cxn>
                  <a:cxn ang="0">
                    <a:pos x="81" y="29"/>
                  </a:cxn>
                  <a:cxn ang="0">
                    <a:pos x="88" y="34"/>
                  </a:cxn>
                  <a:cxn ang="0">
                    <a:pos x="95" y="43"/>
                  </a:cxn>
                  <a:cxn ang="0">
                    <a:pos x="91" y="48"/>
                  </a:cxn>
                  <a:cxn ang="0">
                    <a:pos x="85" y="50"/>
                  </a:cxn>
                  <a:cxn ang="0">
                    <a:pos x="76" y="46"/>
                  </a:cxn>
                  <a:cxn ang="0">
                    <a:pos x="72" y="43"/>
                  </a:cxn>
                  <a:cxn ang="0">
                    <a:pos x="67" y="38"/>
                  </a:cxn>
                  <a:cxn ang="0">
                    <a:pos x="62" y="36"/>
                  </a:cxn>
                </a:cxnLst>
                <a:rect l="0" t="0" r="r" b="b"/>
                <a:pathLst>
                  <a:path w="95" h="50">
                    <a:moveTo>
                      <a:pt x="62" y="36"/>
                    </a:moveTo>
                    <a:lnTo>
                      <a:pt x="50" y="34"/>
                    </a:lnTo>
                    <a:lnTo>
                      <a:pt x="38" y="34"/>
                    </a:lnTo>
                    <a:lnTo>
                      <a:pt x="31" y="31"/>
                    </a:lnTo>
                    <a:lnTo>
                      <a:pt x="23" y="33"/>
                    </a:lnTo>
                    <a:lnTo>
                      <a:pt x="12" y="31"/>
                    </a:lnTo>
                    <a:lnTo>
                      <a:pt x="9" y="29"/>
                    </a:lnTo>
                    <a:lnTo>
                      <a:pt x="14" y="24"/>
                    </a:lnTo>
                    <a:lnTo>
                      <a:pt x="23" y="22"/>
                    </a:lnTo>
                    <a:lnTo>
                      <a:pt x="23" y="19"/>
                    </a:lnTo>
                    <a:lnTo>
                      <a:pt x="23" y="17"/>
                    </a:lnTo>
                    <a:lnTo>
                      <a:pt x="11" y="17"/>
                    </a:lnTo>
                    <a:lnTo>
                      <a:pt x="5" y="17"/>
                    </a:lnTo>
                    <a:lnTo>
                      <a:pt x="7" y="14"/>
                    </a:lnTo>
                    <a:lnTo>
                      <a:pt x="9" y="12"/>
                    </a:lnTo>
                    <a:lnTo>
                      <a:pt x="2" y="10"/>
                    </a:lnTo>
                    <a:lnTo>
                      <a:pt x="0" y="3"/>
                    </a:lnTo>
                    <a:lnTo>
                      <a:pt x="9" y="2"/>
                    </a:lnTo>
                    <a:lnTo>
                      <a:pt x="17" y="0"/>
                    </a:lnTo>
                    <a:lnTo>
                      <a:pt x="28" y="3"/>
                    </a:lnTo>
                    <a:lnTo>
                      <a:pt x="36" y="9"/>
                    </a:lnTo>
                    <a:lnTo>
                      <a:pt x="40" y="7"/>
                    </a:lnTo>
                    <a:lnTo>
                      <a:pt x="47" y="5"/>
                    </a:lnTo>
                    <a:lnTo>
                      <a:pt x="55" y="10"/>
                    </a:lnTo>
                    <a:lnTo>
                      <a:pt x="60" y="17"/>
                    </a:lnTo>
                    <a:lnTo>
                      <a:pt x="64" y="14"/>
                    </a:lnTo>
                    <a:lnTo>
                      <a:pt x="69" y="12"/>
                    </a:lnTo>
                    <a:lnTo>
                      <a:pt x="78" y="17"/>
                    </a:lnTo>
                    <a:lnTo>
                      <a:pt x="85" y="24"/>
                    </a:lnTo>
                    <a:lnTo>
                      <a:pt x="81" y="26"/>
                    </a:lnTo>
                    <a:lnTo>
                      <a:pt x="81" y="29"/>
                    </a:lnTo>
                    <a:lnTo>
                      <a:pt x="88" y="34"/>
                    </a:lnTo>
                    <a:lnTo>
                      <a:pt x="95" y="43"/>
                    </a:lnTo>
                    <a:lnTo>
                      <a:pt x="91" y="48"/>
                    </a:lnTo>
                    <a:lnTo>
                      <a:pt x="85" y="50"/>
                    </a:lnTo>
                    <a:lnTo>
                      <a:pt x="76" y="46"/>
                    </a:lnTo>
                    <a:lnTo>
                      <a:pt x="72" y="43"/>
                    </a:lnTo>
                    <a:lnTo>
                      <a:pt x="67" y="38"/>
                    </a:lnTo>
                    <a:lnTo>
                      <a:pt x="62"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66" name="Freeform 318"/>
              <p:cNvSpPr>
                <a:spLocks/>
              </p:cNvSpPr>
              <p:nvPr/>
            </p:nvSpPr>
            <p:spPr bwMode="auto">
              <a:xfrm>
                <a:off x="1956594" y="1706563"/>
                <a:ext cx="30163" cy="11112"/>
              </a:xfrm>
              <a:custGeom>
                <a:avLst/>
                <a:gdLst/>
                <a:ahLst/>
                <a:cxnLst>
                  <a:cxn ang="0">
                    <a:pos x="2" y="7"/>
                  </a:cxn>
                  <a:cxn ang="0">
                    <a:pos x="0" y="3"/>
                  </a:cxn>
                  <a:cxn ang="0">
                    <a:pos x="7" y="0"/>
                  </a:cxn>
                  <a:cxn ang="0">
                    <a:pos x="12" y="0"/>
                  </a:cxn>
                  <a:cxn ang="0">
                    <a:pos x="19" y="3"/>
                  </a:cxn>
                  <a:cxn ang="0">
                    <a:pos x="10" y="5"/>
                  </a:cxn>
                  <a:cxn ang="0">
                    <a:pos x="2" y="7"/>
                  </a:cxn>
                </a:cxnLst>
                <a:rect l="0" t="0" r="r" b="b"/>
                <a:pathLst>
                  <a:path w="19" h="7">
                    <a:moveTo>
                      <a:pt x="2" y="7"/>
                    </a:moveTo>
                    <a:lnTo>
                      <a:pt x="0" y="3"/>
                    </a:lnTo>
                    <a:lnTo>
                      <a:pt x="7" y="0"/>
                    </a:lnTo>
                    <a:lnTo>
                      <a:pt x="12" y="0"/>
                    </a:lnTo>
                    <a:lnTo>
                      <a:pt x="19" y="3"/>
                    </a:lnTo>
                    <a:lnTo>
                      <a:pt x="10" y="5"/>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67" name="Freeform 319"/>
              <p:cNvSpPr>
                <a:spLocks/>
              </p:cNvSpPr>
              <p:nvPr/>
            </p:nvSpPr>
            <p:spPr bwMode="auto">
              <a:xfrm>
                <a:off x="2089944" y="1752600"/>
                <a:ext cx="396875" cy="123825"/>
              </a:xfrm>
              <a:custGeom>
                <a:avLst/>
                <a:gdLst/>
                <a:ahLst/>
                <a:cxnLst>
                  <a:cxn ang="0">
                    <a:pos x="244" y="53"/>
                  </a:cxn>
                  <a:cxn ang="0">
                    <a:pos x="246" y="59"/>
                  </a:cxn>
                  <a:cxn ang="0">
                    <a:pos x="244" y="69"/>
                  </a:cxn>
                  <a:cxn ang="0">
                    <a:pos x="220" y="76"/>
                  </a:cxn>
                  <a:cxn ang="0">
                    <a:pos x="200" y="74"/>
                  </a:cxn>
                  <a:cxn ang="0">
                    <a:pos x="189" y="71"/>
                  </a:cxn>
                  <a:cxn ang="0">
                    <a:pos x="145" y="76"/>
                  </a:cxn>
                  <a:cxn ang="0">
                    <a:pos x="126" y="76"/>
                  </a:cxn>
                  <a:cxn ang="0">
                    <a:pos x="119" y="69"/>
                  </a:cxn>
                  <a:cxn ang="0">
                    <a:pos x="105" y="72"/>
                  </a:cxn>
                  <a:cxn ang="0">
                    <a:pos x="86" y="74"/>
                  </a:cxn>
                  <a:cxn ang="0">
                    <a:pos x="66" y="60"/>
                  </a:cxn>
                  <a:cxn ang="0">
                    <a:pos x="64" y="48"/>
                  </a:cxn>
                  <a:cxn ang="0">
                    <a:pos x="57" y="33"/>
                  </a:cxn>
                  <a:cxn ang="0">
                    <a:pos x="43" y="23"/>
                  </a:cxn>
                  <a:cxn ang="0">
                    <a:pos x="28" y="23"/>
                  </a:cxn>
                  <a:cxn ang="0">
                    <a:pos x="4" y="10"/>
                  </a:cxn>
                  <a:cxn ang="0">
                    <a:pos x="5" y="0"/>
                  </a:cxn>
                  <a:cxn ang="0">
                    <a:pos x="28" y="2"/>
                  </a:cxn>
                  <a:cxn ang="0">
                    <a:pos x="48" y="14"/>
                  </a:cxn>
                  <a:cxn ang="0">
                    <a:pos x="66" y="16"/>
                  </a:cxn>
                  <a:cxn ang="0">
                    <a:pos x="76" y="14"/>
                  </a:cxn>
                  <a:cxn ang="0">
                    <a:pos x="79" y="19"/>
                  </a:cxn>
                  <a:cxn ang="0">
                    <a:pos x="95" y="24"/>
                  </a:cxn>
                  <a:cxn ang="0">
                    <a:pos x="83" y="29"/>
                  </a:cxn>
                  <a:cxn ang="0">
                    <a:pos x="91" y="38"/>
                  </a:cxn>
                  <a:cxn ang="0">
                    <a:pos x="105" y="41"/>
                  </a:cxn>
                  <a:cxn ang="0">
                    <a:pos x="102" y="43"/>
                  </a:cxn>
                  <a:cxn ang="0">
                    <a:pos x="110" y="47"/>
                  </a:cxn>
                  <a:cxn ang="0">
                    <a:pos x="145" y="52"/>
                  </a:cxn>
                  <a:cxn ang="0">
                    <a:pos x="162" y="48"/>
                  </a:cxn>
                  <a:cxn ang="0">
                    <a:pos x="177" y="45"/>
                  </a:cxn>
                  <a:cxn ang="0">
                    <a:pos x="189" y="40"/>
                  </a:cxn>
                  <a:cxn ang="0">
                    <a:pos x="208" y="40"/>
                  </a:cxn>
                  <a:cxn ang="0">
                    <a:pos x="234" y="41"/>
                  </a:cxn>
                  <a:cxn ang="0">
                    <a:pos x="250" y="53"/>
                  </a:cxn>
                  <a:cxn ang="0">
                    <a:pos x="244" y="53"/>
                  </a:cxn>
                </a:cxnLst>
                <a:rect l="0" t="0" r="r" b="b"/>
                <a:pathLst>
                  <a:path w="250" h="78">
                    <a:moveTo>
                      <a:pt x="248" y="52"/>
                    </a:moveTo>
                    <a:lnTo>
                      <a:pt x="244" y="53"/>
                    </a:lnTo>
                    <a:lnTo>
                      <a:pt x="243" y="59"/>
                    </a:lnTo>
                    <a:lnTo>
                      <a:pt x="246" y="59"/>
                    </a:lnTo>
                    <a:lnTo>
                      <a:pt x="250" y="60"/>
                    </a:lnTo>
                    <a:lnTo>
                      <a:pt x="244" y="69"/>
                    </a:lnTo>
                    <a:lnTo>
                      <a:pt x="234" y="74"/>
                    </a:lnTo>
                    <a:lnTo>
                      <a:pt x="220" y="76"/>
                    </a:lnTo>
                    <a:lnTo>
                      <a:pt x="207" y="78"/>
                    </a:lnTo>
                    <a:lnTo>
                      <a:pt x="200" y="74"/>
                    </a:lnTo>
                    <a:lnTo>
                      <a:pt x="198" y="69"/>
                    </a:lnTo>
                    <a:lnTo>
                      <a:pt x="189" y="71"/>
                    </a:lnTo>
                    <a:lnTo>
                      <a:pt x="184" y="76"/>
                    </a:lnTo>
                    <a:lnTo>
                      <a:pt x="145" y="76"/>
                    </a:lnTo>
                    <a:lnTo>
                      <a:pt x="134" y="76"/>
                    </a:lnTo>
                    <a:lnTo>
                      <a:pt x="126" y="76"/>
                    </a:lnTo>
                    <a:lnTo>
                      <a:pt x="119" y="72"/>
                    </a:lnTo>
                    <a:lnTo>
                      <a:pt x="119" y="69"/>
                    </a:lnTo>
                    <a:lnTo>
                      <a:pt x="112" y="69"/>
                    </a:lnTo>
                    <a:lnTo>
                      <a:pt x="105" y="72"/>
                    </a:lnTo>
                    <a:lnTo>
                      <a:pt x="98" y="78"/>
                    </a:lnTo>
                    <a:lnTo>
                      <a:pt x="86" y="74"/>
                    </a:lnTo>
                    <a:lnTo>
                      <a:pt x="76" y="69"/>
                    </a:lnTo>
                    <a:lnTo>
                      <a:pt x="66" y="60"/>
                    </a:lnTo>
                    <a:lnTo>
                      <a:pt x="62" y="53"/>
                    </a:lnTo>
                    <a:lnTo>
                      <a:pt x="64" y="48"/>
                    </a:lnTo>
                    <a:lnTo>
                      <a:pt x="67" y="47"/>
                    </a:lnTo>
                    <a:lnTo>
                      <a:pt x="57" y="33"/>
                    </a:lnTo>
                    <a:lnTo>
                      <a:pt x="48" y="21"/>
                    </a:lnTo>
                    <a:lnTo>
                      <a:pt x="43" y="23"/>
                    </a:lnTo>
                    <a:lnTo>
                      <a:pt x="38" y="26"/>
                    </a:lnTo>
                    <a:lnTo>
                      <a:pt x="28" y="23"/>
                    </a:lnTo>
                    <a:lnTo>
                      <a:pt x="16" y="17"/>
                    </a:lnTo>
                    <a:lnTo>
                      <a:pt x="4" y="10"/>
                    </a:lnTo>
                    <a:lnTo>
                      <a:pt x="0" y="7"/>
                    </a:lnTo>
                    <a:lnTo>
                      <a:pt x="5" y="0"/>
                    </a:lnTo>
                    <a:lnTo>
                      <a:pt x="16" y="0"/>
                    </a:lnTo>
                    <a:lnTo>
                      <a:pt x="28" y="2"/>
                    </a:lnTo>
                    <a:lnTo>
                      <a:pt x="40" y="9"/>
                    </a:lnTo>
                    <a:lnTo>
                      <a:pt x="48" y="14"/>
                    </a:lnTo>
                    <a:lnTo>
                      <a:pt x="60" y="17"/>
                    </a:lnTo>
                    <a:lnTo>
                      <a:pt x="66" y="16"/>
                    </a:lnTo>
                    <a:lnTo>
                      <a:pt x="71" y="14"/>
                    </a:lnTo>
                    <a:lnTo>
                      <a:pt x="76" y="14"/>
                    </a:lnTo>
                    <a:lnTo>
                      <a:pt x="79" y="14"/>
                    </a:lnTo>
                    <a:lnTo>
                      <a:pt x="79" y="19"/>
                    </a:lnTo>
                    <a:lnTo>
                      <a:pt x="88" y="23"/>
                    </a:lnTo>
                    <a:lnTo>
                      <a:pt x="95" y="24"/>
                    </a:lnTo>
                    <a:lnTo>
                      <a:pt x="103" y="29"/>
                    </a:lnTo>
                    <a:lnTo>
                      <a:pt x="83" y="29"/>
                    </a:lnTo>
                    <a:lnTo>
                      <a:pt x="86" y="35"/>
                    </a:lnTo>
                    <a:lnTo>
                      <a:pt x="91" y="38"/>
                    </a:lnTo>
                    <a:lnTo>
                      <a:pt x="98" y="38"/>
                    </a:lnTo>
                    <a:lnTo>
                      <a:pt x="105" y="41"/>
                    </a:lnTo>
                    <a:lnTo>
                      <a:pt x="103" y="41"/>
                    </a:lnTo>
                    <a:lnTo>
                      <a:pt x="102" y="43"/>
                    </a:lnTo>
                    <a:lnTo>
                      <a:pt x="105" y="47"/>
                    </a:lnTo>
                    <a:lnTo>
                      <a:pt x="110" y="47"/>
                    </a:lnTo>
                    <a:lnTo>
                      <a:pt x="128" y="48"/>
                    </a:lnTo>
                    <a:lnTo>
                      <a:pt x="145" y="52"/>
                    </a:lnTo>
                    <a:lnTo>
                      <a:pt x="153" y="50"/>
                    </a:lnTo>
                    <a:lnTo>
                      <a:pt x="162" y="48"/>
                    </a:lnTo>
                    <a:lnTo>
                      <a:pt x="169" y="47"/>
                    </a:lnTo>
                    <a:lnTo>
                      <a:pt x="177" y="45"/>
                    </a:lnTo>
                    <a:lnTo>
                      <a:pt x="183" y="41"/>
                    </a:lnTo>
                    <a:lnTo>
                      <a:pt x="189" y="40"/>
                    </a:lnTo>
                    <a:lnTo>
                      <a:pt x="198" y="40"/>
                    </a:lnTo>
                    <a:lnTo>
                      <a:pt x="208" y="40"/>
                    </a:lnTo>
                    <a:lnTo>
                      <a:pt x="222" y="40"/>
                    </a:lnTo>
                    <a:lnTo>
                      <a:pt x="234" y="41"/>
                    </a:lnTo>
                    <a:lnTo>
                      <a:pt x="243" y="45"/>
                    </a:lnTo>
                    <a:lnTo>
                      <a:pt x="250" y="53"/>
                    </a:lnTo>
                    <a:lnTo>
                      <a:pt x="246" y="53"/>
                    </a:lnTo>
                    <a:lnTo>
                      <a:pt x="244" y="53"/>
                    </a:lnTo>
                    <a:lnTo>
                      <a:pt x="248" y="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68" name="Freeform 320"/>
              <p:cNvSpPr>
                <a:spLocks/>
              </p:cNvSpPr>
              <p:nvPr/>
            </p:nvSpPr>
            <p:spPr bwMode="auto">
              <a:xfrm>
                <a:off x="2096294" y="1817688"/>
                <a:ext cx="69850" cy="52387"/>
              </a:xfrm>
              <a:custGeom>
                <a:avLst/>
                <a:gdLst/>
                <a:ahLst/>
                <a:cxnLst>
                  <a:cxn ang="0">
                    <a:pos x="7" y="12"/>
                  </a:cxn>
                  <a:cxn ang="0">
                    <a:pos x="12" y="6"/>
                  </a:cxn>
                  <a:cxn ang="0">
                    <a:pos x="22" y="0"/>
                  </a:cxn>
                  <a:cxn ang="0">
                    <a:pos x="27" y="0"/>
                  </a:cxn>
                  <a:cxn ang="0">
                    <a:pos x="36" y="6"/>
                  </a:cxn>
                  <a:cxn ang="0">
                    <a:pos x="41" y="11"/>
                  </a:cxn>
                  <a:cxn ang="0">
                    <a:pos x="44" y="18"/>
                  </a:cxn>
                  <a:cxn ang="0">
                    <a:pos x="41" y="28"/>
                  </a:cxn>
                  <a:cxn ang="0">
                    <a:pos x="34" y="33"/>
                  </a:cxn>
                  <a:cxn ang="0">
                    <a:pos x="27" y="30"/>
                  </a:cxn>
                  <a:cxn ang="0">
                    <a:pos x="15" y="26"/>
                  </a:cxn>
                  <a:cxn ang="0">
                    <a:pos x="3" y="21"/>
                  </a:cxn>
                  <a:cxn ang="0">
                    <a:pos x="0" y="19"/>
                  </a:cxn>
                  <a:cxn ang="0">
                    <a:pos x="3" y="12"/>
                  </a:cxn>
                  <a:cxn ang="0">
                    <a:pos x="7" y="12"/>
                  </a:cxn>
                </a:cxnLst>
                <a:rect l="0" t="0" r="r" b="b"/>
                <a:pathLst>
                  <a:path w="44" h="33">
                    <a:moveTo>
                      <a:pt x="7" y="12"/>
                    </a:moveTo>
                    <a:lnTo>
                      <a:pt x="12" y="6"/>
                    </a:lnTo>
                    <a:lnTo>
                      <a:pt x="22" y="0"/>
                    </a:lnTo>
                    <a:lnTo>
                      <a:pt x="27" y="0"/>
                    </a:lnTo>
                    <a:lnTo>
                      <a:pt x="36" y="6"/>
                    </a:lnTo>
                    <a:lnTo>
                      <a:pt x="41" y="11"/>
                    </a:lnTo>
                    <a:lnTo>
                      <a:pt x="44" y="18"/>
                    </a:lnTo>
                    <a:lnTo>
                      <a:pt x="41" y="28"/>
                    </a:lnTo>
                    <a:lnTo>
                      <a:pt x="34" y="33"/>
                    </a:lnTo>
                    <a:lnTo>
                      <a:pt x="27" y="30"/>
                    </a:lnTo>
                    <a:lnTo>
                      <a:pt x="15" y="26"/>
                    </a:lnTo>
                    <a:lnTo>
                      <a:pt x="3" y="21"/>
                    </a:lnTo>
                    <a:lnTo>
                      <a:pt x="0" y="19"/>
                    </a:lnTo>
                    <a:lnTo>
                      <a:pt x="3" y="12"/>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69" name="Freeform 321"/>
              <p:cNvSpPr>
                <a:spLocks/>
              </p:cNvSpPr>
              <p:nvPr/>
            </p:nvSpPr>
            <p:spPr bwMode="auto">
              <a:xfrm>
                <a:off x="2104232" y="1717675"/>
                <a:ext cx="61913" cy="19050"/>
              </a:xfrm>
              <a:custGeom>
                <a:avLst/>
                <a:gdLst/>
                <a:ahLst/>
                <a:cxnLst>
                  <a:cxn ang="0">
                    <a:pos x="34" y="0"/>
                  </a:cxn>
                  <a:cxn ang="0">
                    <a:pos x="36" y="0"/>
                  </a:cxn>
                  <a:cxn ang="0">
                    <a:pos x="39" y="0"/>
                  </a:cxn>
                  <a:cxn ang="0">
                    <a:pos x="39" y="3"/>
                  </a:cxn>
                  <a:cxn ang="0">
                    <a:pos x="39" y="7"/>
                  </a:cxn>
                  <a:cxn ang="0">
                    <a:pos x="38" y="10"/>
                  </a:cxn>
                  <a:cxn ang="0">
                    <a:pos x="33" y="12"/>
                  </a:cxn>
                  <a:cxn ang="0">
                    <a:pos x="26" y="10"/>
                  </a:cxn>
                  <a:cxn ang="0">
                    <a:pos x="14" y="8"/>
                  </a:cxn>
                  <a:cxn ang="0">
                    <a:pos x="3" y="7"/>
                  </a:cxn>
                  <a:cxn ang="0">
                    <a:pos x="0" y="7"/>
                  </a:cxn>
                  <a:cxn ang="0">
                    <a:pos x="5" y="2"/>
                  </a:cxn>
                  <a:cxn ang="0">
                    <a:pos x="14" y="0"/>
                  </a:cxn>
                  <a:cxn ang="0">
                    <a:pos x="24" y="0"/>
                  </a:cxn>
                  <a:cxn ang="0">
                    <a:pos x="34" y="0"/>
                  </a:cxn>
                </a:cxnLst>
                <a:rect l="0" t="0" r="r" b="b"/>
                <a:pathLst>
                  <a:path w="39" h="12">
                    <a:moveTo>
                      <a:pt x="34" y="0"/>
                    </a:moveTo>
                    <a:lnTo>
                      <a:pt x="36" y="0"/>
                    </a:lnTo>
                    <a:lnTo>
                      <a:pt x="39" y="0"/>
                    </a:lnTo>
                    <a:lnTo>
                      <a:pt x="39" y="3"/>
                    </a:lnTo>
                    <a:lnTo>
                      <a:pt x="39" y="7"/>
                    </a:lnTo>
                    <a:lnTo>
                      <a:pt x="38" y="10"/>
                    </a:lnTo>
                    <a:lnTo>
                      <a:pt x="33" y="12"/>
                    </a:lnTo>
                    <a:lnTo>
                      <a:pt x="26" y="10"/>
                    </a:lnTo>
                    <a:lnTo>
                      <a:pt x="14" y="8"/>
                    </a:lnTo>
                    <a:lnTo>
                      <a:pt x="3" y="7"/>
                    </a:lnTo>
                    <a:lnTo>
                      <a:pt x="0" y="7"/>
                    </a:lnTo>
                    <a:lnTo>
                      <a:pt x="5" y="2"/>
                    </a:lnTo>
                    <a:lnTo>
                      <a:pt x="14" y="0"/>
                    </a:lnTo>
                    <a:lnTo>
                      <a:pt x="24" y="0"/>
                    </a:lnTo>
                    <a:lnTo>
                      <a:pt x="3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70" name="Freeform 322"/>
              <p:cNvSpPr>
                <a:spLocks/>
              </p:cNvSpPr>
              <p:nvPr/>
            </p:nvSpPr>
            <p:spPr bwMode="auto">
              <a:xfrm>
                <a:off x="2058194" y="1657350"/>
                <a:ext cx="73025" cy="53975"/>
              </a:xfrm>
              <a:custGeom>
                <a:avLst/>
                <a:gdLst/>
                <a:ahLst/>
                <a:cxnLst>
                  <a:cxn ang="0">
                    <a:pos x="10" y="33"/>
                  </a:cxn>
                  <a:cxn ang="0">
                    <a:pos x="12" y="27"/>
                  </a:cxn>
                  <a:cxn ang="0">
                    <a:pos x="15" y="27"/>
                  </a:cxn>
                  <a:cxn ang="0">
                    <a:pos x="5" y="17"/>
                  </a:cxn>
                  <a:cxn ang="0">
                    <a:pos x="0" y="9"/>
                  </a:cxn>
                  <a:cxn ang="0">
                    <a:pos x="3" y="2"/>
                  </a:cxn>
                  <a:cxn ang="0">
                    <a:pos x="10" y="0"/>
                  </a:cxn>
                  <a:cxn ang="0">
                    <a:pos x="17" y="5"/>
                  </a:cxn>
                  <a:cxn ang="0">
                    <a:pos x="29" y="9"/>
                  </a:cxn>
                  <a:cxn ang="0">
                    <a:pos x="31" y="12"/>
                  </a:cxn>
                  <a:cxn ang="0">
                    <a:pos x="37" y="14"/>
                  </a:cxn>
                  <a:cxn ang="0">
                    <a:pos x="43" y="14"/>
                  </a:cxn>
                  <a:cxn ang="0">
                    <a:pos x="46" y="19"/>
                  </a:cxn>
                  <a:cxn ang="0">
                    <a:pos x="44" y="24"/>
                  </a:cxn>
                  <a:cxn ang="0">
                    <a:pos x="46" y="33"/>
                  </a:cxn>
                  <a:cxn ang="0">
                    <a:pos x="32" y="33"/>
                  </a:cxn>
                  <a:cxn ang="0">
                    <a:pos x="20" y="34"/>
                  </a:cxn>
                  <a:cxn ang="0">
                    <a:pos x="12" y="34"/>
                  </a:cxn>
                  <a:cxn ang="0">
                    <a:pos x="10" y="33"/>
                  </a:cxn>
                </a:cxnLst>
                <a:rect l="0" t="0" r="r" b="b"/>
                <a:pathLst>
                  <a:path w="46" h="34">
                    <a:moveTo>
                      <a:pt x="10" y="33"/>
                    </a:moveTo>
                    <a:lnTo>
                      <a:pt x="12" y="27"/>
                    </a:lnTo>
                    <a:lnTo>
                      <a:pt x="15" y="27"/>
                    </a:lnTo>
                    <a:lnTo>
                      <a:pt x="5" y="17"/>
                    </a:lnTo>
                    <a:lnTo>
                      <a:pt x="0" y="9"/>
                    </a:lnTo>
                    <a:lnTo>
                      <a:pt x="3" y="2"/>
                    </a:lnTo>
                    <a:lnTo>
                      <a:pt x="10" y="0"/>
                    </a:lnTo>
                    <a:lnTo>
                      <a:pt x="17" y="5"/>
                    </a:lnTo>
                    <a:lnTo>
                      <a:pt x="29" y="9"/>
                    </a:lnTo>
                    <a:lnTo>
                      <a:pt x="31" y="12"/>
                    </a:lnTo>
                    <a:lnTo>
                      <a:pt x="37" y="14"/>
                    </a:lnTo>
                    <a:lnTo>
                      <a:pt x="43" y="14"/>
                    </a:lnTo>
                    <a:lnTo>
                      <a:pt x="46" y="19"/>
                    </a:lnTo>
                    <a:lnTo>
                      <a:pt x="44" y="24"/>
                    </a:lnTo>
                    <a:lnTo>
                      <a:pt x="46" y="33"/>
                    </a:lnTo>
                    <a:lnTo>
                      <a:pt x="32" y="33"/>
                    </a:lnTo>
                    <a:lnTo>
                      <a:pt x="20" y="34"/>
                    </a:lnTo>
                    <a:lnTo>
                      <a:pt x="12" y="34"/>
                    </a:lnTo>
                    <a:lnTo>
                      <a:pt x="10"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71" name="Freeform 323"/>
              <p:cNvSpPr>
                <a:spLocks/>
              </p:cNvSpPr>
              <p:nvPr/>
            </p:nvSpPr>
            <p:spPr bwMode="auto">
              <a:xfrm>
                <a:off x="2028032" y="1603375"/>
                <a:ext cx="30163" cy="15875"/>
              </a:xfrm>
              <a:custGeom>
                <a:avLst/>
                <a:gdLst/>
                <a:ahLst/>
                <a:cxnLst>
                  <a:cxn ang="0">
                    <a:pos x="19" y="0"/>
                  </a:cxn>
                  <a:cxn ang="0">
                    <a:pos x="19" y="10"/>
                  </a:cxn>
                  <a:cxn ang="0">
                    <a:pos x="10" y="10"/>
                  </a:cxn>
                  <a:cxn ang="0">
                    <a:pos x="3" y="6"/>
                  </a:cxn>
                  <a:cxn ang="0">
                    <a:pos x="0" y="0"/>
                  </a:cxn>
                  <a:cxn ang="0">
                    <a:pos x="10" y="0"/>
                  </a:cxn>
                  <a:cxn ang="0">
                    <a:pos x="19" y="0"/>
                  </a:cxn>
                </a:cxnLst>
                <a:rect l="0" t="0" r="r" b="b"/>
                <a:pathLst>
                  <a:path w="19" h="10">
                    <a:moveTo>
                      <a:pt x="19" y="0"/>
                    </a:moveTo>
                    <a:lnTo>
                      <a:pt x="19" y="10"/>
                    </a:lnTo>
                    <a:lnTo>
                      <a:pt x="10" y="10"/>
                    </a:lnTo>
                    <a:lnTo>
                      <a:pt x="3" y="6"/>
                    </a:lnTo>
                    <a:lnTo>
                      <a:pt x="0" y="0"/>
                    </a:lnTo>
                    <a:lnTo>
                      <a:pt x="10"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72" name="Freeform 324"/>
              <p:cNvSpPr>
                <a:spLocks/>
              </p:cNvSpPr>
              <p:nvPr/>
            </p:nvSpPr>
            <p:spPr bwMode="auto">
              <a:xfrm>
                <a:off x="2108994" y="1531938"/>
                <a:ext cx="249238" cy="168275"/>
              </a:xfrm>
              <a:custGeom>
                <a:avLst/>
                <a:gdLst/>
                <a:ahLst/>
                <a:cxnLst>
                  <a:cxn ang="0">
                    <a:pos x="112" y="43"/>
                  </a:cxn>
                  <a:cxn ang="0">
                    <a:pos x="109" y="33"/>
                  </a:cxn>
                  <a:cxn ang="0">
                    <a:pos x="114" y="33"/>
                  </a:cxn>
                  <a:cxn ang="0">
                    <a:pos x="121" y="41"/>
                  </a:cxn>
                  <a:cxn ang="0">
                    <a:pos x="128" y="48"/>
                  </a:cxn>
                  <a:cxn ang="0">
                    <a:pos x="124" y="57"/>
                  </a:cxn>
                  <a:cxn ang="0">
                    <a:pos x="133" y="57"/>
                  </a:cxn>
                  <a:cxn ang="0">
                    <a:pos x="157" y="64"/>
                  </a:cxn>
                  <a:cxn ang="0">
                    <a:pos x="157" y="70"/>
                  </a:cxn>
                  <a:cxn ang="0">
                    <a:pos x="145" y="74"/>
                  </a:cxn>
                  <a:cxn ang="0">
                    <a:pos x="131" y="81"/>
                  </a:cxn>
                  <a:cxn ang="0">
                    <a:pos x="121" y="89"/>
                  </a:cxn>
                  <a:cxn ang="0">
                    <a:pos x="112" y="79"/>
                  </a:cxn>
                  <a:cxn ang="0">
                    <a:pos x="107" y="88"/>
                  </a:cxn>
                  <a:cxn ang="0">
                    <a:pos x="114" y="96"/>
                  </a:cxn>
                  <a:cxn ang="0">
                    <a:pos x="103" y="103"/>
                  </a:cxn>
                  <a:cxn ang="0">
                    <a:pos x="86" y="94"/>
                  </a:cxn>
                  <a:cxn ang="0">
                    <a:pos x="74" y="106"/>
                  </a:cxn>
                  <a:cxn ang="0">
                    <a:pos x="54" y="96"/>
                  </a:cxn>
                  <a:cxn ang="0">
                    <a:pos x="60" y="93"/>
                  </a:cxn>
                  <a:cxn ang="0">
                    <a:pos x="45" y="89"/>
                  </a:cxn>
                  <a:cxn ang="0">
                    <a:pos x="36" y="81"/>
                  </a:cxn>
                  <a:cxn ang="0">
                    <a:pos x="54" y="72"/>
                  </a:cxn>
                  <a:cxn ang="0">
                    <a:pos x="76" y="70"/>
                  </a:cxn>
                  <a:cxn ang="0">
                    <a:pos x="55" y="67"/>
                  </a:cxn>
                  <a:cxn ang="0">
                    <a:pos x="40" y="70"/>
                  </a:cxn>
                  <a:cxn ang="0">
                    <a:pos x="33" y="64"/>
                  </a:cxn>
                  <a:cxn ang="0">
                    <a:pos x="23" y="69"/>
                  </a:cxn>
                  <a:cxn ang="0">
                    <a:pos x="17" y="64"/>
                  </a:cxn>
                  <a:cxn ang="0">
                    <a:pos x="30" y="57"/>
                  </a:cxn>
                  <a:cxn ang="0">
                    <a:pos x="9" y="53"/>
                  </a:cxn>
                  <a:cxn ang="0">
                    <a:pos x="0" y="41"/>
                  </a:cxn>
                  <a:cxn ang="0">
                    <a:pos x="14" y="43"/>
                  </a:cxn>
                  <a:cxn ang="0">
                    <a:pos x="24" y="43"/>
                  </a:cxn>
                  <a:cxn ang="0">
                    <a:pos x="21" y="38"/>
                  </a:cxn>
                  <a:cxn ang="0">
                    <a:pos x="7" y="33"/>
                  </a:cxn>
                  <a:cxn ang="0">
                    <a:pos x="9" y="26"/>
                  </a:cxn>
                  <a:cxn ang="0">
                    <a:pos x="24" y="27"/>
                  </a:cxn>
                  <a:cxn ang="0">
                    <a:pos x="33" y="26"/>
                  </a:cxn>
                  <a:cxn ang="0">
                    <a:pos x="28" y="22"/>
                  </a:cxn>
                  <a:cxn ang="0">
                    <a:pos x="17" y="19"/>
                  </a:cxn>
                  <a:cxn ang="0">
                    <a:pos x="23" y="10"/>
                  </a:cxn>
                  <a:cxn ang="0">
                    <a:pos x="43" y="10"/>
                  </a:cxn>
                  <a:cxn ang="0">
                    <a:pos x="28" y="0"/>
                  </a:cxn>
                  <a:cxn ang="0">
                    <a:pos x="60" y="5"/>
                  </a:cxn>
                  <a:cxn ang="0">
                    <a:pos x="67" y="15"/>
                  </a:cxn>
                  <a:cxn ang="0">
                    <a:pos x="76" y="27"/>
                  </a:cxn>
                  <a:cxn ang="0">
                    <a:pos x="97" y="29"/>
                  </a:cxn>
                  <a:cxn ang="0">
                    <a:pos x="105" y="43"/>
                  </a:cxn>
                </a:cxnLst>
                <a:rect l="0" t="0" r="r" b="b"/>
                <a:pathLst>
                  <a:path w="157" h="106">
                    <a:moveTo>
                      <a:pt x="105" y="43"/>
                    </a:moveTo>
                    <a:lnTo>
                      <a:pt x="112" y="43"/>
                    </a:lnTo>
                    <a:lnTo>
                      <a:pt x="112" y="36"/>
                    </a:lnTo>
                    <a:lnTo>
                      <a:pt x="109" y="33"/>
                    </a:lnTo>
                    <a:lnTo>
                      <a:pt x="110" y="33"/>
                    </a:lnTo>
                    <a:lnTo>
                      <a:pt x="114" y="33"/>
                    </a:lnTo>
                    <a:lnTo>
                      <a:pt x="119" y="34"/>
                    </a:lnTo>
                    <a:lnTo>
                      <a:pt x="121" y="41"/>
                    </a:lnTo>
                    <a:lnTo>
                      <a:pt x="124" y="45"/>
                    </a:lnTo>
                    <a:lnTo>
                      <a:pt x="128" y="48"/>
                    </a:lnTo>
                    <a:lnTo>
                      <a:pt x="126" y="51"/>
                    </a:lnTo>
                    <a:lnTo>
                      <a:pt x="124" y="57"/>
                    </a:lnTo>
                    <a:lnTo>
                      <a:pt x="128" y="58"/>
                    </a:lnTo>
                    <a:lnTo>
                      <a:pt x="133" y="57"/>
                    </a:lnTo>
                    <a:lnTo>
                      <a:pt x="143" y="58"/>
                    </a:lnTo>
                    <a:lnTo>
                      <a:pt x="157" y="64"/>
                    </a:lnTo>
                    <a:lnTo>
                      <a:pt x="157" y="67"/>
                    </a:lnTo>
                    <a:lnTo>
                      <a:pt x="157" y="70"/>
                    </a:lnTo>
                    <a:lnTo>
                      <a:pt x="150" y="72"/>
                    </a:lnTo>
                    <a:lnTo>
                      <a:pt x="145" y="74"/>
                    </a:lnTo>
                    <a:lnTo>
                      <a:pt x="136" y="76"/>
                    </a:lnTo>
                    <a:lnTo>
                      <a:pt x="131" y="81"/>
                    </a:lnTo>
                    <a:lnTo>
                      <a:pt x="126" y="86"/>
                    </a:lnTo>
                    <a:lnTo>
                      <a:pt x="121" y="89"/>
                    </a:lnTo>
                    <a:lnTo>
                      <a:pt x="114" y="86"/>
                    </a:lnTo>
                    <a:lnTo>
                      <a:pt x="112" y="79"/>
                    </a:lnTo>
                    <a:lnTo>
                      <a:pt x="109" y="82"/>
                    </a:lnTo>
                    <a:lnTo>
                      <a:pt x="107" y="88"/>
                    </a:lnTo>
                    <a:lnTo>
                      <a:pt x="110" y="91"/>
                    </a:lnTo>
                    <a:lnTo>
                      <a:pt x="114" y="96"/>
                    </a:lnTo>
                    <a:lnTo>
                      <a:pt x="103" y="96"/>
                    </a:lnTo>
                    <a:lnTo>
                      <a:pt x="103" y="103"/>
                    </a:lnTo>
                    <a:lnTo>
                      <a:pt x="95" y="100"/>
                    </a:lnTo>
                    <a:lnTo>
                      <a:pt x="86" y="94"/>
                    </a:lnTo>
                    <a:lnTo>
                      <a:pt x="83" y="103"/>
                    </a:lnTo>
                    <a:lnTo>
                      <a:pt x="74" y="106"/>
                    </a:lnTo>
                    <a:lnTo>
                      <a:pt x="60" y="103"/>
                    </a:lnTo>
                    <a:lnTo>
                      <a:pt x="54" y="96"/>
                    </a:lnTo>
                    <a:lnTo>
                      <a:pt x="57" y="94"/>
                    </a:lnTo>
                    <a:lnTo>
                      <a:pt x="60" y="93"/>
                    </a:lnTo>
                    <a:lnTo>
                      <a:pt x="52" y="91"/>
                    </a:lnTo>
                    <a:lnTo>
                      <a:pt x="45" y="89"/>
                    </a:lnTo>
                    <a:lnTo>
                      <a:pt x="38" y="84"/>
                    </a:lnTo>
                    <a:lnTo>
                      <a:pt x="36" y="81"/>
                    </a:lnTo>
                    <a:lnTo>
                      <a:pt x="40" y="74"/>
                    </a:lnTo>
                    <a:lnTo>
                      <a:pt x="54" y="72"/>
                    </a:lnTo>
                    <a:lnTo>
                      <a:pt x="66" y="70"/>
                    </a:lnTo>
                    <a:lnTo>
                      <a:pt x="76" y="70"/>
                    </a:lnTo>
                    <a:lnTo>
                      <a:pt x="64" y="67"/>
                    </a:lnTo>
                    <a:lnTo>
                      <a:pt x="55" y="67"/>
                    </a:lnTo>
                    <a:lnTo>
                      <a:pt x="45" y="69"/>
                    </a:lnTo>
                    <a:lnTo>
                      <a:pt x="40" y="70"/>
                    </a:lnTo>
                    <a:lnTo>
                      <a:pt x="35" y="67"/>
                    </a:lnTo>
                    <a:lnTo>
                      <a:pt x="33" y="64"/>
                    </a:lnTo>
                    <a:lnTo>
                      <a:pt x="26" y="65"/>
                    </a:lnTo>
                    <a:lnTo>
                      <a:pt x="23" y="69"/>
                    </a:lnTo>
                    <a:lnTo>
                      <a:pt x="17" y="65"/>
                    </a:lnTo>
                    <a:lnTo>
                      <a:pt x="17" y="64"/>
                    </a:lnTo>
                    <a:lnTo>
                      <a:pt x="23" y="60"/>
                    </a:lnTo>
                    <a:lnTo>
                      <a:pt x="30" y="57"/>
                    </a:lnTo>
                    <a:lnTo>
                      <a:pt x="17" y="55"/>
                    </a:lnTo>
                    <a:lnTo>
                      <a:pt x="9" y="53"/>
                    </a:lnTo>
                    <a:lnTo>
                      <a:pt x="2" y="48"/>
                    </a:lnTo>
                    <a:lnTo>
                      <a:pt x="0" y="41"/>
                    </a:lnTo>
                    <a:lnTo>
                      <a:pt x="7" y="41"/>
                    </a:lnTo>
                    <a:lnTo>
                      <a:pt x="14" y="43"/>
                    </a:lnTo>
                    <a:lnTo>
                      <a:pt x="23" y="45"/>
                    </a:lnTo>
                    <a:lnTo>
                      <a:pt x="24" y="43"/>
                    </a:lnTo>
                    <a:lnTo>
                      <a:pt x="28" y="41"/>
                    </a:lnTo>
                    <a:lnTo>
                      <a:pt x="21" y="38"/>
                    </a:lnTo>
                    <a:lnTo>
                      <a:pt x="14" y="36"/>
                    </a:lnTo>
                    <a:lnTo>
                      <a:pt x="7" y="33"/>
                    </a:lnTo>
                    <a:lnTo>
                      <a:pt x="5" y="31"/>
                    </a:lnTo>
                    <a:lnTo>
                      <a:pt x="9" y="26"/>
                    </a:lnTo>
                    <a:lnTo>
                      <a:pt x="17" y="26"/>
                    </a:lnTo>
                    <a:lnTo>
                      <a:pt x="24" y="27"/>
                    </a:lnTo>
                    <a:lnTo>
                      <a:pt x="31" y="29"/>
                    </a:lnTo>
                    <a:lnTo>
                      <a:pt x="33" y="26"/>
                    </a:lnTo>
                    <a:lnTo>
                      <a:pt x="36" y="24"/>
                    </a:lnTo>
                    <a:lnTo>
                      <a:pt x="28" y="22"/>
                    </a:lnTo>
                    <a:lnTo>
                      <a:pt x="23" y="24"/>
                    </a:lnTo>
                    <a:lnTo>
                      <a:pt x="17" y="19"/>
                    </a:lnTo>
                    <a:lnTo>
                      <a:pt x="16" y="15"/>
                    </a:lnTo>
                    <a:lnTo>
                      <a:pt x="23" y="10"/>
                    </a:lnTo>
                    <a:lnTo>
                      <a:pt x="35" y="10"/>
                    </a:lnTo>
                    <a:lnTo>
                      <a:pt x="43" y="10"/>
                    </a:lnTo>
                    <a:lnTo>
                      <a:pt x="33" y="7"/>
                    </a:lnTo>
                    <a:lnTo>
                      <a:pt x="28" y="0"/>
                    </a:lnTo>
                    <a:lnTo>
                      <a:pt x="43" y="2"/>
                    </a:lnTo>
                    <a:lnTo>
                      <a:pt x="60" y="5"/>
                    </a:lnTo>
                    <a:lnTo>
                      <a:pt x="66" y="8"/>
                    </a:lnTo>
                    <a:lnTo>
                      <a:pt x="67" y="15"/>
                    </a:lnTo>
                    <a:lnTo>
                      <a:pt x="69" y="22"/>
                    </a:lnTo>
                    <a:lnTo>
                      <a:pt x="76" y="27"/>
                    </a:lnTo>
                    <a:lnTo>
                      <a:pt x="86" y="27"/>
                    </a:lnTo>
                    <a:lnTo>
                      <a:pt x="97" y="29"/>
                    </a:lnTo>
                    <a:lnTo>
                      <a:pt x="102" y="34"/>
                    </a:lnTo>
                    <a:lnTo>
                      <a:pt x="105"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73" name="Freeform 325"/>
              <p:cNvSpPr>
                <a:spLocks/>
              </p:cNvSpPr>
              <p:nvPr/>
            </p:nvSpPr>
            <p:spPr bwMode="auto">
              <a:xfrm>
                <a:off x="2312194" y="2233613"/>
                <a:ext cx="163513" cy="103187"/>
              </a:xfrm>
              <a:custGeom>
                <a:avLst/>
                <a:gdLst/>
                <a:ahLst/>
                <a:cxnLst>
                  <a:cxn ang="0">
                    <a:pos x="6" y="45"/>
                  </a:cxn>
                  <a:cxn ang="0">
                    <a:pos x="10" y="41"/>
                  </a:cxn>
                  <a:cxn ang="0">
                    <a:pos x="12" y="38"/>
                  </a:cxn>
                  <a:cxn ang="0">
                    <a:pos x="12" y="32"/>
                  </a:cxn>
                  <a:cxn ang="0">
                    <a:pos x="12" y="31"/>
                  </a:cxn>
                  <a:cxn ang="0">
                    <a:pos x="12" y="20"/>
                  </a:cxn>
                  <a:cxn ang="0">
                    <a:pos x="13" y="12"/>
                  </a:cxn>
                  <a:cxn ang="0">
                    <a:pos x="18" y="3"/>
                  </a:cxn>
                  <a:cxn ang="0">
                    <a:pos x="29" y="0"/>
                  </a:cxn>
                  <a:cxn ang="0">
                    <a:pos x="32" y="7"/>
                  </a:cxn>
                  <a:cxn ang="0">
                    <a:pos x="36" y="14"/>
                  </a:cxn>
                  <a:cxn ang="0">
                    <a:pos x="37" y="12"/>
                  </a:cxn>
                  <a:cxn ang="0">
                    <a:pos x="41" y="10"/>
                  </a:cxn>
                  <a:cxn ang="0">
                    <a:pos x="48" y="15"/>
                  </a:cxn>
                  <a:cxn ang="0">
                    <a:pos x="58" y="20"/>
                  </a:cxn>
                  <a:cxn ang="0">
                    <a:pos x="67" y="22"/>
                  </a:cxn>
                  <a:cxn ang="0">
                    <a:pos x="77" y="31"/>
                  </a:cxn>
                  <a:cxn ang="0">
                    <a:pos x="77" y="34"/>
                  </a:cxn>
                  <a:cxn ang="0">
                    <a:pos x="80" y="39"/>
                  </a:cxn>
                  <a:cxn ang="0">
                    <a:pos x="92" y="45"/>
                  </a:cxn>
                  <a:cxn ang="0">
                    <a:pos x="103" y="50"/>
                  </a:cxn>
                  <a:cxn ang="0">
                    <a:pos x="94" y="53"/>
                  </a:cxn>
                  <a:cxn ang="0">
                    <a:pos x="86" y="55"/>
                  </a:cxn>
                  <a:cxn ang="0">
                    <a:pos x="77" y="55"/>
                  </a:cxn>
                  <a:cxn ang="0">
                    <a:pos x="72" y="55"/>
                  </a:cxn>
                  <a:cxn ang="0">
                    <a:pos x="68" y="51"/>
                  </a:cxn>
                  <a:cxn ang="0">
                    <a:pos x="61" y="48"/>
                  </a:cxn>
                  <a:cxn ang="0">
                    <a:pos x="55" y="43"/>
                  </a:cxn>
                  <a:cxn ang="0">
                    <a:pos x="53" y="43"/>
                  </a:cxn>
                  <a:cxn ang="0">
                    <a:pos x="49" y="50"/>
                  </a:cxn>
                  <a:cxn ang="0">
                    <a:pos x="43" y="57"/>
                  </a:cxn>
                  <a:cxn ang="0">
                    <a:pos x="34" y="60"/>
                  </a:cxn>
                  <a:cxn ang="0">
                    <a:pos x="29" y="60"/>
                  </a:cxn>
                  <a:cxn ang="0">
                    <a:pos x="25" y="63"/>
                  </a:cxn>
                  <a:cxn ang="0">
                    <a:pos x="24" y="65"/>
                  </a:cxn>
                  <a:cxn ang="0">
                    <a:pos x="18" y="62"/>
                  </a:cxn>
                  <a:cxn ang="0">
                    <a:pos x="20" y="55"/>
                  </a:cxn>
                  <a:cxn ang="0">
                    <a:pos x="8" y="53"/>
                  </a:cxn>
                  <a:cxn ang="0">
                    <a:pos x="0" y="55"/>
                  </a:cxn>
                  <a:cxn ang="0">
                    <a:pos x="1" y="46"/>
                  </a:cxn>
                  <a:cxn ang="0">
                    <a:pos x="6" y="45"/>
                  </a:cxn>
                </a:cxnLst>
                <a:rect l="0" t="0" r="r" b="b"/>
                <a:pathLst>
                  <a:path w="103" h="65">
                    <a:moveTo>
                      <a:pt x="6" y="45"/>
                    </a:moveTo>
                    <a:lnTo>
                      <a:pt x="10" y="41"/>
                    </a:lnTo>
                    <a:lnTo>
                      <a:pt x="12" y="38"/>
                    </a:lnTo>
                    <a:lnTo>
                      <a:pt x="12" y="32"/>
                    </a:lnTo>
                    <a:lnTo>
                      <a:pt x="12" y="31"/>
                    </a:lnTo>
                    <a:lnTo>
                      <a:pt x="12" y="20"/>
                    </a:lnTo>
                    <a:lnTo>
                      <a:pt x="13" y="12"/>
                    </a:lnTo>
                    <a:lnTo>
                      <a:pt x="18" y="3"/>
                    </a:lnTo>
                    <a:lnTo>
                      <a:pt x="29" y="0"/>
                    </a:lnTo>
                    <a:lnTo>
                      <a:pt x="32" y="7"/>
                    </a:lnTo>
                    <a:lnTo>
                      <a:pt x="36" y="14"/>
                    </a:lnTo>
                    <a:lnTo>
                      <a:pt x="37" y="12"/>
                    </a:lnTo>
                    <a:lnTo>
                      <a:pt x="41" y="10"/>
                    </a:lnTo>
                    <a:lnTo>
                      <a:pt x="48" y="15"/>
                    </a:lnTo>
                    <a:lnTo>
                      <a:pt x="58" y="20"/>
                    </a:lnTo>
                    <a:lnTo>
                      <a:pt x="67" y="22"/>
                    </a:lnTo>
                    <a:lnTo>
                      <a:pt x="77" y="31"/>
                    </a:lnTo>
                    <a:lnTo>
                      <a:pt x="77" y="34"/>
                    </a:lnTo>
                    <a:lnTo>
                      <a:pt x="80" y="39"/>
                    </a:lnTo>
                    <a:lnTo>
                      <a:pt x="92" y="45"/>
                    </a:lnTo>
                    <a:lnTo>
                      <a:pt x="103" y="50"/>
                    </a:lnTo>
                    <a:lnTo>
                      <a:pt x="94" y="53"/>
                    </a:lnTo>
                    <a:lnTo>
                      <a:pt x="86" y="55"/>
                    </a:lnTo>
                    <a:lnTo>
                      <a:pt x="77" y="55"/>
                    </a:lnTo>
                    <a:lnTo>
                      <a:pt x="72" y="55"/>
                    </a:lnTo>
                    <a:lnTo>
                      <a:pt x="68" y="51"/>
                    </a:lnTo>
                    <a:lnTo>
                      <a:pt x="61" y="48"/>
                    </a:lnTo>
                    <a:lnTo>
                      <a:pt x="55" y="43"/>
                    </a:lnTo>
                    <a:lnTo>
                      <a:pt x="53" y="43"/>
                    </a:lnTo>
                    <a:lnTo>
                      <a:pt x="49" y="50"/>
                    </a:lnTo>
                    <a:lnTo>
                      <a:pt x="43" y="57"/>
                    </a:lnTo>
                    <a:lnTo>
                      <a:pt x="34" y="60"/>
                    </a:lnTo>
                    <a:lnTo>
                      <a:pt x="29" y="60"/>
                    </a:lnTo>
                    <a:lnTo>
                      <a:pt x="25" y="63"/>
                    </a:lnTo>
                    <a:lnTo>
                      <a:pt x="24" y="65"/>
                    </a:lnTo>
                    <a:lnTo>
                      <a:pt x="18" y="62"/>
                    </a:lnTo>
                    <a:lnTo>
                      <a:pt x="20" y="55"/>
                    </a:lnTo>
                    <a:lnTo>
                      <a:pt x="8" y="53"/>
                    </a:lnTo>
                    <a:lnTo>
                      <a:pt x="0" y="55"/>
                    </a:lnTo>
                    <a:lnTo>
                      <a:pt x="1" y="46"/>
                    </a:lnTo>
                    <a:lnTo>
                      <a:pt x="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74" name="Freeform 326"/>
              <p:cNvSpPr>
                <a:spLocks/>
              </p:cNvSpPr>
              <p:nvPr/>
            </p:nvSpPr>
            <p:spPr bwMode="auto">
              <a:xfrm>
                <a:off x="2543969" y="2139950"/>
                <a:ext cx="49213" cy="41275"/>
              </a:xfrm>
              <a:custGeom>
                <a:avLst/>
                <a:gdLst/>
                <a:ahLst/>
                <a:cxnLst>
                  <a:cxn ang="0">
                    <a:pos x="31" y="14"/>
                  </a:cxn>
                  <a:cxn ang="0">
                    <a:pos x="24" y="23"/>
                  </a:cxn>
                  <a:cxn ang="0">
                    <a:pos x="12" y="26"/>
                  </a:cxn>
                  <a:cxn ang="0">
                    <a:pos x="3" y="23"/>
                  </a:cxn>
                  <a:cxn ang="0">
                    <a:pos x="0" y="14"/>
                  </a:cxn>
                  <a:cxn ang="0">
                    <a:pos x="3" y="2"/>
                  </a:cxn>
                  <a:cxn ang="0">
                    <a:pos x="15" y="0"/>
                  </a:cxn>
                  <a:cxn ang="0">
                    <a:pos x="26" y="4"/>
                  </a:cxn>
                  <a:cxn ang="0">
                    <a:pos x="31" y="14"/>
                  </a:cxn>
                </a:cxnLst>
                <a:rect l="0" t="0" r="r" b="b"/>
                <a:pathLst>
                  <a:path w="31" h="26">
                    <a:moveTo>
                      <a:pt x="31" y="14"/>
                    </a:moveTo>
                    <a:lnTo>
                      <a:pt x="24" y="23"/>
                    </a:lnTo>
                    <a:lnTo>
                      <a:pt x="12" y="26"/>
                    </a:lnTo>
                    <a:lnTo>
                      <a:pt x="3" y="23"/>
                    </a:lnTo>
                    <a:lnTo>
                      <a:pt x="0" y="14"/>
                    </a:lnTo>
                    <a:lnTo>
                      <a:pt x="3" y="2"/>
                    </a:lnTo>
                    <a:lnTo>
                      <a:pt x="15" y="0"/>
                    </a:lnTo>
                    <a:lnTo>
                      <a:pt x="26" y="4"/>
                    </a:lnTo>
                    <a:lnTo>
                      <a:pt x="31"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75" name="Freeform 327"/>
              <p:cNvSpPr>
                <a:spLocks/>
              </p:cNvSpPr>
              <p:nvPr/>
            </p:nvSpPr>
            <p:spPr bwMode="auto">
              <a:xfrm>
                <a:off x="2393157" y="2339975"/>
                <a:ext cx="41275" cy="31750"/>
              </a:xfrm>
              <a:custGeom>
                <a:avLst/>
                <a:gdLst/>
                <a:ahLst/>
                <a:cxnLst>
                  <a:cxn ang="0">
                    <a:pos x="10" y="2"/>
                  </a:cxn>
                  <a:cxn ang="0">
                    <a:pos x="19" y="0"/>
                  </a:cxn>
                  <a:cxn ang="0">
                    <a:pos x="26" y="3"/>
                  </a:cxn>
                  <a:cxn ang="0">
                    <a:pos x="14" y="14"/>
                  </a:cxn>
                  <a:cxn ang="0">
                    <a:pos x="0" y="20"/>
                  </a:cxn>
                  <a:cxn ang="0">
                    <a:pos x="0" y="14"/>
                  </a:cxn>
                  <a:cxn ang="0">
                    <a:pos x="5" y="7"/>
                  </a:cxn>
                  <a:cxn ang="0">
                    <a:pos x="10" y="2"/>
                  </a:cxn>
                </a:cxnLst>
                <a:rect l="0" t="0" r="r" b="b"/>
                <a:pathLst>
                  <a:path w="26" h="20">
                    <a:moveTo>
                      <a:pt x="10" y="2"/>
                    </a:moveTo>
                    <a:lnTo>
                      <a:pt x="19" y="0"/>
                    </a:lnTo>
                    <a:lnTo>
                      <a:pt x="26" y="3"/>
                    </a:lnTo>
                    <a:lnTo>
                      <a:pt x="14" y="14"/>
                    </a:lnTo>
                    <a:lnTo>
                      <a:pt x="0" y="20"/>
                    </a:lnTo>
                    <a:lnTo>
                      <a:pt x="0" y="14"/>
                    </a:lnTo>
                    <a:lnTo>
                      <a:pt x="5" y="7"/>
                    </a:lnTo>
                    <a:lnTo>
                      <a:pt x="1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76" name="Freeform 328"/>
              <p:cNvSpPr>
                <a:spLocks/>
              </p:cNvSpPr>
              <p:nvPr/>
            </p:nvSpPr>
            <p:spPr bwMode="auto">
              <a:xfrm>
                <a:off x="2458244" y="1908175"/>
                <a:ext cx="107950" cy="46037"/>
              </a:xfrm>
              <a:custGeom>
                <a:avLst/>
                <a:gdLst/>
                <a:ahLst/>
                <a:cxnLst>
                  <a:cxn ang="0">
                    <a:pos x="25" y="29"/>
                  </a:cxn>
                  <a:cxn ang="0">
                    <a:pos x="11" y="26"/>
                  </a:cxn>
                  <a:cxn ang="0">
                    <a:pos x="11" y="17"/>
                  </a:cxn>
                  <a:cxn ang="0">
                    <a:pos x="2" y="12"/>
                  </a:cxn>
                  <a:cxn ang="0">
                    <a:pos x="0" y="7"/>
                  </a:cxn>
                  <a:cxn ang="0">
                    <a:pos x="2" y="0"/>
                  </a:cxn>
                  <a:cxn ang="0">
                    <a:pos x="9" y="0"/>
                  </a:cxn>
                  <a:cxn ang="0">
                    <a:pos x="21" y="2"/>
                  </a:cxn>
                  <a:cxn ang="0">
                    <a:pos x="33" y="4"/>
                  </a:cxn>
                  <a:cxn ang="0">
                    <a:pos x="42" y="4"/>
                  </a:cxn>
                  <a:cxn ang="0">
                    <a:pos x="52" y="9"/>
                  </a:cxn>
                  <a:cxn ang="0">
                    <a:pos x="59" y="14"/>
                  </a:cxn>
                  <a:cxn ang="0">
                    <a:pos x="68" y="19"/>
                  </a:cxn>
                  <a:cxn ang="0">
                    <a:pos x="64" y="24"/>
                  </a:cxn>
                  <a:cxn ang="0">
                    <a:pos x="59" y="28"/>
                  </a:cxn>
                  <a:cxn ang="0">
                    <a:pos x="50" y="26"/>
                  </a:cxn>
                  <a:cxn ang="0">
                    <a:pos x="43" y="24"/>
                  </a:cxn>
                  <a:cxn ang="0">
                    <a:pos x="35" y="26"/>
                  </a:cxn>
                  <a:cxn ang="0">
                    <a:pos x="25" y="29"/>
                  </a:cxn>
                </a:cxnLst>
                <a:rect l="0" t="0" r="r" b="b"/>
                <a:pathLst>
                  <a:path w="68" h="29">
                    <a:moveTo>
                      <a:pt x="25" y="29"/>
                    </a:moveTo>
                    <a:lnTo>
                      <a:pt x="11" y="26"/>
                    </a:lnTo>
                    <a:lnTo>
                      <a:pt x="11" y="17"/>
                    </a:lnTo>
                    <a:lnTo>
                      <a:pt x="2" y="12"/>
                    </a:lnTo>
                    <a:lnTo>
                      <a:pt x="0" y="7"/>
                    </a:lnTo>
                    <a:lnTo>
                      <a:pt x="2" y="0"/>
                    </a:lnTo>
                    <a:lnTo>
                      <a:pt x="9" y="0"/>
                    </a:lnTo>
                    <a:lnTo>
                      <a:pt x="21" y="2"/>
                    </a:lnTo>
                    <a:lnTo>
                      <a:pt x="33" y="4"/>
                    </a:lnTo>
                    <a:lnTo>
                      <a:pt x="42" y="4"/>
                    </a:lnTo>
                    <a:lnTo>
                      <a:pt x="52" y="9"/>
                    </a:lnTo>
                    <a:lnTo>
                      <a:pt x="59" y="14"/>
                    </a:lnTo>
                    <a:lnTo>
                      <a:pt x="68" y="19"/>
                    </a:lnTo>
                    <a:lnTo>
                      <a:pt x="64" y="24"/>
                    </a:lnTo>
                    <a:lnTo>
                      <a:pt x="59" y="28"/>
                    </a:lnTo>
                    <a:lnTo>
                      <a:pt x="50" y="26"/>
                    </a:lnTo>
                    <a:lnTo>
                      <a:pt x="43" y="24"/>
                    </a:lnTo>
                    <a:lnTo>
                      <a:pt x="35" y="26"/>
                    </a:lnTo>
                    <a:lnTo>
                      <a:pt x="25"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77" name="Freeform 329"/>
              <p:cNvSpPr>
                <a:spLocks/>
              </p:cNvSpPr>
              <p:nvPr/>
            </p:nvSpPr>
            <p:spPr bwMode="auto">
              <a:xfrm>
                <a:off x="2467769" y="2363788"/>
                <a:ext cx="26988" cy="25400"/>
              </a:xfrm>
              <a:custGeom>
                <a:avLst/>
                <a:gdLst/>
                <a:ahLst/>
                <a:cxnLst>
                  <a:cxn ang="0">
                    <a:pos x="17" y="4"/>
                  </a:cxn>
                  <a:cxn ang="0">
                    <a:pos x="12" y="11"/>
                  </a:cxn>
                  <a:cxn ang="0">
                    <a:pos x="8" y="16"/>
                  </a:cxn>
                  <a:cxn ang="0">
                    <a:pos x="3" y="12"/>
                  </a:cxn>
                  <a:cxn ang="0">
                    <a:pos x="0" y="9"/>
                  </a:cxn>
                  <a:cxn ang="0">
                    <a:pos x="5" y="0"/>
                  </a:cxn>
                  <a:cxn ang="0">
                    <a:pos x="17" y="4"/>
                  </a:cxn>
                </a:cxnLst>
                <a:rect l="0" t="0" r="r" b="b"/>
                <a:pathLst>
                  <a:path w="17" h="16">
                    <a:moveTo>
                      <a:pt x="17" y="4"/>
                    </a:moveTo>
                    <a:lnTo>
                      <a:pt x="12" y="11"/>
                    </a:lnTo>
                    <a:lnTo>
                      <a:pt x="8" y="16"/>
                    </a:lnTo>
                    <a:lnTo>
                      <a:pt x="3" y="12"/>
                    </a:lnTo>
                    <a:lnTo>
                      <a:pt x="0" y="9"/>
                    </a:lnTo>
                    <a:lnTo>
                      <a:pt x="5" y="0"/>
                    </a:lnTo>
                    <a:lnTo>
                      <a:pt x="17"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78" name="Freeform 330"/>
              <p:cNvSpPr>
                <a:spLocks/>
              </p:cNvSpPr>
              <p:nvPr/>
            </p:nvSpPr>
            <p:spPr bwMode="auto">
              <a:xfrm>
                <a:off x="2601119" y="2143125"/>
                <a:ext cx="26988" cy="15875"/>
              </a:xfrm>
              <a:custGeom>
                <a:avLst/>
                <a:gdLst/>
                <a:ahLst/>
                <a:cxnLst>
                  <a:cxn ang="0">
                    <a:pos x="7" y="10"/>
                  </a:cxn>
                  <a:cxn ang="0">
                    <a:pos x="2" y="9"/>
                  </a:cxn>
                  <a:cxn ang="0">
                    <a:pos x="0" y="7"/>
                  </a:cxn>
                  <a:cxn ang="0">
                    <a:pos x="2" y="2"/>
                  </a:cxn>
                  <a:cxn ang="0">
                    <a:pos x="7" y="0"/>
                  </a:cxn>
                  <a:cxn ang="0">
                    <a:pos x="12" y="3"/>
                  </a:cxn>
                  <a:cxn ang="0">
                    <a:pos x="17" y="9"/>
                  </a:cxn>
                  <a:cxn ang="0">
                    <a:pos x="10" y="9"/>
                  </a:cxn>
                  <a:cxn ang="0">
                    <a:pos x="7" y="10"/>
                  </a:cxn>
                </a:cxnLst>
                <a:rect l="0" t="0" r="r" b="b"/>
                <a:pathLst>
                  <a:path w="17" h="10">
                    <a:moveTo>
                      <a:pt x="7" y="10"/>
                    </a:moveTo>
                    <a:lnTo>
                      <a:pt x="2" y="9"/>
                    </a:lnTo>
                    <a:lnTo>
                      <a:pt x="0" y="7"/>
                    </a:lnTo>
                    <a:lnTo>
                      <a:pt x="2" y="2"/>
                    </a:lnTo>
                    <a:lnTo>
                      <a:pt x="7" y="0"/>
                    </a:lnTo>
                    <a:lnTo>
                      <a:pt x="12" y="3"/>
                    </a:lnTo>
                    <a:lnTo>
                      <a:pt x="17" y="9"/>
                    </a:lnTo>
                    <a:lnTo>
                      <a:pt x="10" y="9"/>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79" name="Freeform 331"/>
              <p:cNvSpPr>
                <a:spLocks/>
              </p:cNvSpPr>
              <p:nvPr/>
            </p:nvSpPr>
            <p:spPr bwMode="auto">
              <a:xfrm>
                <a:off x="2497932" y="2100263"/>
                <a:ext cx="15875" cy="15875"/>
              </a:xfrm>
              <a:custGeom>
                <a:avLst/>
                <a:gdLst/>
                <a:ahLst/>
                <a:cxnLst>
                  <a:cxn ang="0">
                    <a:pos x="0" y="10"/>
                  </a:cxn>
                  <a:cxn ang="0">
                    <a:pos x="0" y="5"/>
                  </a:cxn>
                  <a:cxn ang="0">
                    <a:pos x="10" y="0"/>
                  </a:cxn>
                  <a:cxn ang="0">
                    <a:pos x="5" y="6"/>
                  </a:cxn>
                  <a:cxn ang="0">
                    <a:pos x="0" y="10"/>
                  </a:cxn>
                </a:cxnLst>
                <a:rect l="0" t="0" r="r" b="b"/>
                <a:pathLst>
                  <a:path w="10" h="10">
                    <a:moveTo>
                      <a:pt x="0" y="10"/>
                    </a:moveTo>
                    <a:lnTo>
                      <a:pt x="0" y="5"/>
                    </a:lnTo>
                    <a:lnTo>
                      <a:pt x="10" y="0"/>
                    </a:lnTo>
                    <a:lnTo>
                      <a:pt x="5" y="6"/>
                    </a:lnTo>
                    <a:lnTo>
                      <a:pt x="0"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80" name="Freeform 332"/>
              <p:cNvSpPr>
                <a:spLocks/>
              </p:cNvSpPr>
              <p:nvPr/>
            </p:nvSpPr>
            <p:spPr bwMode="auto">
              <a:xfrm>
                <a:off x="2243932" y="1905000"/>
                <a:ext cx="663575" cy="477837"/>
              </a:xfrm>
              <a:custGeom>
                <a:avLst/>
                <a:gdLst/>
                <a:ahLst/>
                <a:cxnLst>
                  <a:cxn ang="0">
                    <a:pos x="375" y="222"/>
                  </a:cxn>
                  <a:cxn ang="0">
                    <a:pos x="347" y="196"/>
                  </a:cxn>
                  <a:cxn ang="0">
                    <a:pos x="328" y="198"/>
                  </a:cxn>
                  <a:cxn ang="0">
                    <a:pos x="326" y="205"/>
                  </a:cxn>
                  <a:cxn ang="0">
                    <a:pos x="344" y="231"/>
                  </a:cxn>
                  <a:cxn ang="0">
                    <a:pos x="366" y="238"/>
                  </a:cxn>
                  <a:cxn ang="0">
                    <a:pos x="376" y="258"/>
                  </a:cxn>
                  <a:cxn ang="0">
                    <a:pos x="342" y="270"/>
                  </a:cxn>
                  <a:cxn ang="0">
                    <a:pos x="321" y="265"/>
                  </a:cxn>
                  <a:cxn ang="0">
                    <a:pos x="347" y="298"/>
                  </a:cxn>
                  <a:cxn ang="0">
                    <a:pos x="328" y="289"/>
                  </a:cxn>
                  <a:cxn ang="0">
                    <a:pos x="290" y="277"/>
                  </a:cxn>
                  <a:cxn ang="0">
                    <a:pos x="258" y="253"/>
                  </a:cxn>
                  <a:cxn ang="0">
                    <a:pos x="225" y="239"/>
                  </a:cxn>
                  <a:cxn ang="0">
                    <a:pos x="203" y="243"/>
                  </a:cxn>
                  <a:cxn ang="0">
                    <a:pos x="175" y="236"/>
                  </a:cxn>
                  <a:cxn ang="0">
                    <a:pos x="187" y="219"/>
                  </a:cxn>
                  <a:cxn ang="0">
                    <a:pos x="227" y="215"/>
                  </a:cxn>
                  <a:cxn ang="0">
                    <a:pos x="233" y="195"/>
                  </a:cxn>
                  <a:cxn ang="0">
                    <a:pos x="251" y="159"/>
                  </a:cxn>
                  <a:cxn ang="0">
                    <a:pos x="206" y="135"/>
                  </a:cxn>
                  <a:cxn ang="0">
                    <a:pos x="197" y="126"/>
                  </a:cxn>
                  <a:cxn ang="0">
                    <a:pos x="175" y="100"/>
                  </a:cxn>
                  <a:cxn ang="0">
                    <a:pos x="151" y="114"/>
                  </a:cxn>
                  <a:cxn ang="0">
                    <a:pos x="132" y="104"/>
                  </a:cxn>
                  <a:cxn ang="0">
                    <a:pos x="92" y="104"/>
                  </a:cxn>
                  <a:cxn ang="0">
                    <a:pos x="55" y="100"/>
                  </a:cxn>
                  <a:cxn ang="0">
                    <a:pos x="13" y="80"/>
                  </a:cxn>
                  <a:cxn ang="0">
                    <a:pos x="27" y="71"/>
                  </a:cxn>
                  <a:cxn ang="0">
                    <a:pos x="3" y="64"/>
                  </a:cxn>
                  <a:cxn ang="0">
                    <a:pos x="5" y="35"/>
                  </a:cxn>
                  <a:cxn ang="0">
                    <a:pos x="20" y="11"/>
                  </a:cxn>
                  <a:cxn ang="0">
                    <a:pos x="56" y="0"/>
                  </a:cxn>
                  <a:cxn ang="0">
                    <a:pos x="65" y="11"/>
                  </a:cxn>
                  <a:cxn ang="0">
                    <a:pos x="49" y="35"/>
                  </a:cxn>
                  <a:cxn ang="0">
                    <a:pos x="53" y="50"/>
                  </a:cxn>
                  <a:cxn ang="0">
                    <a:pos x="65" y="38"/>
                  </a:cxn>
                  <a:cxn ang="0">
                    <a:pos x="91" y="7"/>
                  </a:cxn>
                  <a:cxn ang="0">
                    <a:pos x="127" y="7"/>
                  </a:cxn>
                  <a:cxn ang="0">
                    <a:pos x="137" y="40"/>
                  </a:cxn>
                  <a:cxn ang="0">
                    <a:pos x="154" y="42"/>
                  </a:cxn>
                  <a:cxn ang="0">
                    <a:pos x="173" y="33"/>
                  </a:cxn>
                  <a:cxn ang="0">
                    <a:pos x="209" y="35"/>
                  </a:cxn>
                  <a:cxn ang="0">
                    <a:pos x="237" y="61"/>
                  </a:cxn>
                  <a:cxn ang="0">
                    <a:pos x="266" y="64"/>
                  </a:cxn>
                  <a:cxn ang="0">
                    <a:pos x="289" y="78"/>
                  </a:cxn>
                  <a:cxn ang="0">
                    <a:pos x="314" y="98"/>
                  </a:cxn>
                  <a:cxn ang="0">
                    <a:pos x="338" y="111"/>
                  </a:cxn>
                  <a:cxn ang="0">
                    <a:pos x="335" y="117"/>
                  </a:cxn>
                  <a:cxn ang="0">
                    <a:pos x="326" y="135"/>
                  </a:cxn>
                  <a:cxn ang="0">
                    <a:pos x="349" y="150"/>
                  </a:cxn>
                  <a:cxn ang="0">
                    <a:pos x="376" y="174"/>
                  </a:cxn>
                  <a:cxn ang="0">
                    <a:pos x="404" y="179"/>
                  </a:cxn>
                  <a:cxn ang="0">
                    <a:pos x="402" y="198"/>
                  </a:cxn>
                  <a:cxn ang="0">
                    <a:pos x="392" y="212"/>
                  </a:cxn>
                </a:cxnLst>
                <a:rect l="0" t="0" r="r" b="b"/>
                <a:pathLst>
                  <a:path w="418" h="301">
                    <a:moveTo>
                      <a:pt x="392" y="212"/>
                    </a:moveTo>
                    <a:lnTo>
                      <a:pt x="390" y="221"/>
                    </a:lnTo>
                    <a:lnTo>
                      <a:pt x="385" y="226"/>
                    </a:lnTo>
                    <a:lnTo>
                      <a:pt x="375" y="222"/>
                    </a:lnTo>
                    <a:lnTo>
                      <a:pt x="368" y="219"/>
                    </a:lnTo>
                    <a:lnTo>
                      <a:pt x="362" y="214"/>
                    </a:lnTo>
                    <a:lnTo>
                      <a:pt x="357" y="209"/>
                    </a:lnTo>
                    <a:lnTo>
                      <a:pt x="347" y="196"/>
                    </a:lnTo>
                    <a:lnTo>
                      <a:pt x="333" y="191"/>
                    </a:lnTo>
                    <a:lnTo>
                      <a:pt x="328" y="193"/>
                    </a:lnTo>
                    <a:lnTo>
                      <a:pt x="323" y="196"/>
                    </a:lnTo>
                    <a:lnTo>
                      <a:pt x="328" y="198"/>
                    </a:lnTo>
                    <a:lnTo>
                      <a:pt x="333" y="198"/>
                    </a:lnTo>
                    <a:lnTo>
                      <a:pt x="333" y="205"/>
                    </a:lnTo>
                    <a:lnTo>
                      <a:pt x="330" y="205"/>
                    </a:lnTo>
                    <a:lnTo>
                      <a:pt x="326" y="205"/>
                    </a:lnTo>
                    <a:lnTo>
                      <a:pt x="326" y="212"/>
                    </a:lnTo>
                    <a:lnTo>
                      <a:pt x="333" y="212"/>
                    </a:lnTo>
                    <a:lnTo>
                      <a:pt x="337" y="222"/>
                    </a:lnTo>
                    <a:lnTo>
                      <a:pt x="344" y="231"/>
                    </a:lnTo>
                    <a:lnTo>
                      <a:pt x="354" y="231"/>
                    </a:lnTo>
                    <a:lnTo>
                      <a:pt x="357" y="238"/>
                    </a:lnTo>
                    <a:lnTo>
                      <a:pt x="361" y="238"/>
                    </a:lnTo>
                    <a:lnTo>
                      <a:pt x="366" y="238"/>
                    </a:lnTo>
                    <a:lnTo>
                      <a:pt x="366" y="243"/>
                    </a:lnTo>
                    <a:lnTo>
                      <a:pt x="366" y="248"/>
                    </a:lnTo>
                    <a:lnTo>
                      <a:pt x="371" y="252"/>
                    </a:lnTo>
                    <a:lnTo>
                      <a:pt x="376" y="258"/>
                    </a:lnTo>
                    <a:lnTo>
                      <a:pt x="371" y="269"/>
                    </a:lnTo>
                    <a:lnTo>
                      <a:pt x="368" y="279"/>
                    </a:lnTo>
                    <a:lnTo>
                      <a:pt x="356" y="276"/>
                    </a:lnTo>
                    <a:lnTo>
                      <a:pt x="342" y="270"/>
                    </a:lnTo>
                    <a:lnTo>
                      <a:pt x="328" y="264"/>
                    </a:lnTo>
                    <a:lnTo>
                      <a:pt x="321" y="258"/>
                    </a:lnTo>
                    <a:lnTo>
                      <a:pt x="313" y="258"/>
                    </a:lnTo>
                    <a:lnTo>
                      <a:pt x="321" y="265"/>
                    </a:lnTo>
                    <a:lnTo>
                      <a:pt x="333" y="276"/>
                    </a:lnTo>
                    <a:lnTo>
                      <a:pt x="344" y="284"/>
                    </a:lnTo>
                    <a:lnTo>
                      <a:pt x="350" y="294"/>
                    </a:lnTo>
                    <a:lnTo>
                      <a:pt x="347" y="298"/>
                    </a:lnTo>
                    <a:lnTo>
                      <a:pt x="345" y="301"/>
                    </a:lnTo>
                    <a:lnTo>
                      <a:pt x="342" y="298"/>
                    </a:lnTo>
                    <a:lnTo>
                      <a:pt x="340" y="294"/>
                    </a:lnTo>
                    <a:lnTo>
                      <a:pt x="328" y="289"/>
                    </a:lnTo>
                    <a:lnTo>
                      <a:pt x="319" y="288"/>
                    </a:lnTo>
                    <a:lnTo>
                      <a:pt x="311" y="286"/>
                    </a:lnTo>
                    <a:lnTo>
                      <a:pt x="304" y="282"/>
                    </a:lnTo>
                    <a:lnTo>
                      <a:pt x="290" y="277"/>
                    </a:lnTo>
                    <a:lnTo>
                      <a:pt x="278" y="274"/>
                    </a:lnTo>
                    <a:lnTo>
                      <a:pt x="268" y="267"/>
                    </a:lnTo>
                    <a:lnTo>
                      <a:pt x="270" y="260"/>
                    </a:lnTo>
                    <a:lnTo>
                      <a:pt x="258" y="253"/>
                    </a:lnTo>
                    <a:lnTo>
                      <a:pt x="247" y="246"/>
                    </a:lnTo>
                    <a:lnTo>
                      <a:pt x="239" y="239"/>
                    </a:lnTo>
                    <a:lnTo>
                      <a:pt x="230" y="234"/>
                    </a:lnTo>
                    <a:lnTo>
                      <a:pt x="225" y="239"/>
                    </a:lnTo>
                    <a:lnTo>
                      <a:pt x="220" y="243"/>
                    </a:lnTo>
                    <a:lnTo>
                      <a:pt x="215" y="241"/>
                    </a:lnTo>
                    <a:lnTo>
                      <a:pt x="211" y="239"/>
                    </a:lnTo>
                    <a:lnTo>
                      <a:pt x="203" y="243"/>
                    </a:lnTo>
                    <a:lnTo>
                      <a:pt x="196" y="246"/>
                    </a:lnTo>
                    <a:lnTo>
                      <a:pt x="189" y="245"/>
                    </a:lnTo>
                    <a:lnTo>
                      <a:pt x="182" y="241"/>
                    </a:lnTo>
                    <a:lnTo>
                      <a:pt x="175" y="236"/>
                    </a:lnTo>
                    <a:lnTo>
                      <a:pt x="173" y="233"/>
                    </a:lnTo>
                    <a:lnTo>
                      <a:pt x="175" y="227"/>
                    </a:lnTo>
                    <a:lnTo>
                      <a:pt x="180" y="222"/>
                    </a:lnTo>
                    <a:lnTo>
                      <a:pt x="187" y="219"/>
                    </a:lnTo>
                    <a:lnTo>
                      <a:pt x="194" y="219"/>
                    </a:lnTo>
                    <a:lnTo>
                      <a:pt x="206" y="219"/>
                    </a:lnTo>
                    <a:lnTo>
                      <a:pt x="216" y="219"/>
                    </a:lnTo>
                    <a:lnTo>
                      <a:pt x="227" y="215"/>
                    </a:lnTo>
                    <a:lnTo>
                      <a:pt x="239" y="212"/>
                    </a:lnTo>
                    <a:lnTo>
                      <a:pt x="233" y="207"/>
                    </a:lnTo>
                    <a:lnTo>
                      <a:pt x="230" y="202"/>
                    </a:lnTo>
                    <a:lnTo>
                      <a:pt x="233" y="195"/>
                    </a:lnTo>
                    <a:lnTo>
                      <a:pt x="242" y="193"/>
                    </a:lnTo>
                    <a:lnTo>
                      <a:pt x="251" y="181"/>
                    </a:lnTo>
                    <a:lnTo>
                      <a:pt x="258" y="171"/>
                    </a:lnTo>
                    <a:lnTo>
                      <a:pt x="251" y="159"/>
                    </a:lnTo>
                    <a:lnTo>
                      <a:pt x="239" y="147"/>
                    </a:lnTo>
                    <a:lnTo>
                      <a:pt x="225" y="136"/>
                    </a:lnTo>
                    <a:lnTo>
                      <a:pt x="215" y="133"/>
                    </a:lnTo>
                    <a:lnTo>
                      <a:pt x="206" y="135"/>
                    </a:lnTo>
                    <a:lnTo>
                      <a:pt x="197" y="138"/>
                    </a:lnTo>
                    <a:lnTo>
                      <a:pt x="194" y="135"/>
                    </a:lnTo>
                    <a:lnTo>
                      <a:pt x="194" y="133"/>
                    </a:lnTo>
                    <a:lnTo>
                      <a:pt x="197" y="126"/>
                    </a:lnTo>
                    <a:lnTo>
                      <a:pt x="206" y="126"/>
                    </a:lnTo>
                    <a:lnTo>
                      <a:pt x="197" y="117"/>
                    </a:lnTo>
                    <a:lnTo>
                      <a:pt x="187" y="109"/>
                    </a:lnTo>
                    <a:lnTo>
                      <a:pt x="175" y="100"/>
                    </a:lnTo>
                    <a:lnTo>
                      <a:pt x="168" y="98"/>
                    </a:lnTo>
                    <a:lnTo>
                      <a:pt x="163" y="100"/>
                    </a:lnTo>
                    <a:lnTo>
                      <a:pt x="158" y="107"/>
                    </a:lnTo>
                    <a:lnTo>
                      <a:pt x="151" y="114"/>
                    </a:lnTo>
                    <a:lnTo>
                      <a:pt x="146" y="117"/>
                    </a:lnTo>
                    <a:lnTo>
                      <a:pt x="141" y="112"/>
                    </a:lnTo>
                    <a:lnTo>
                      <a:pt x="141" y="105"/>
                    </a:lnTo>
                    <a:lnTo>
                      <a:pt x="132" y="104"/>
                    </a:lnTo>
                    <a:lnTo>
                      <a:pt x="123" y="104"/>
                    </a:lnTo>
                    <a:lnTo>
                      <a:pt x="113" y="104"/>
                    </a:lnTo>
                    <a:lnTo>
                      <a:pt x="104" y="104"/>
                    </a:lnTo>
                    <a:lnTo>
                      <a:pt x="92" y="104"/>
                    </a:lnTo>
                    <a:lnTo>
                      <a:pt x="82" y="104"/>
                    </a:lnTo>
                    <a:lnTo>
                      <a:pt x="72" y="104"/>
                    </a:lnTo>
                    <a:lnTo>
                      <a:pt x="63" y="105"/>
                    </a:lnTo>
                    <a:lnTo>
                      <a:pt x="55" y="100"/>
                    </a:lnTo>
                    <a:lnTo>
                      <a:pt x="48" y="95"/>
                    </a:lnTo>
                    <a:lnTo>
                      <a:pt x="24" y="95"/>
                    </a:lnTo>
                    <a:lnTo>
                      <a:pt x="17" y="86"/>
                    </a:lnTo>
                    <a:lnTo>
                      <a:pt x="13" y="80"/>
                    </a:lnTo>
                    <a:lnTo>
                      <a:pt x="24" y="80"/>
                    </a:lnTo>
                    <a:lnTo>
                      <a:pt x="36" y="81"/>
                    </a:lnTo>
                    <a:lnTo>
                      <a:pt x="36" y="74"/>
                    </a:lnTo>
                    <a:lnTo>
                      <a:pt x="27" y="71"/>
                    </a:lnTo>
                    <a:lnTo>
                      <a:pt x="18" y="71"/>
                    </a:lnTo>
                    <a:lnTo>
                      <a:pt x="10" y="69"/>
                    </a:lnTo>
                    <a:lnTo>
                      <a:pt x="8" y="69"/>
                    </a:lnTo>
                    <a:lnTo>
                      <a:pt x="3" y="64"/>
                    </a:lnTo>
                    <a:lnTo>
                      <a:pt x="0" y="55"/>
                    </a:lnTo>
                    <a:lnTo>
                      <a:pt x="0" y="45"/>
                    </a:lnTo>
                    <a:lnTo>
                      <a:pt x="1" y="40"/>
                    </a:lnTo>
                    <a:lnTo>
                      <a:pt x="5" y="35"/>
                    </a:lnTo>
                    <a:lnTo>
                      <a:pt x="10" y="33"/>
                    </a:lnTo>
                    <a:lnTo>
                      <a:pt x="12" y="25"/>
                    </a:lnTo>
                    <a:lnTo>
                      <a:pt x="13" y="19"/>
                    </a:lnTo>
                    <a:lnTo>
                      <a:pt x="20" y="11"/>
                    </a:lnTo>
                    <a:lnTo>
                      <a:pt x="31" y="6"/>
                    </a:lnTo>
                    <a:lnTo>
                      <a:pt x="41" y="0"/>
                    </a:lnTo>
                    <a:lnTo>
                      <a:pt x="55" y="0"/>
                    </a:lnTo>
                    <a:lnTo>
                      <a:pt x="56" y="0"/>
                    </a:lnTo>
                    <a:lnTo>
                      <a:pt x="61" y="2"/>
                    </a:lnTo>
                    <a:lnTo>
                      <a:pt x="67" y="4"/>
                    </a:lnTo>
                    <a:lnTo>
                      <a:pt x="72" y="6"/>
                    </a:lnTo>
                    <a:lnTo>
                      <a:pt x="65" y="11"/>
                    </a:lnTo>
                    <a:lnTo>
                      <a:pt x="58" y="16"/>
                    </a:lnTo>
                    <a:lnTo>
                      <a:pt x="51" y="21"/>
                    </a:lnTo>
                    <a:lnTo>
                      <a:pt x="49" y="31"/>
                    </a:lnTo>
                    <a:lnTo>
                      <a:pt x="49" y="35"/>
                    </a:lnTo>
                    <a:lnTo>
                      <a:pt x="53" y="37"/>
                    </a:lnTo>
                    <a:lnTo>
                      <a:pt x="53" y="42"/>
                    </a:lnTo>
                    <a:lnTo>
                      <a:pt x="53" y="47"/>
                    </a:lnTo>
                    <a:lnTo>
                      <a:pt x="53" y="50"/>
                    </a:lnTo>
                    <a:lnTo>
                      <a:pt x="58" y="54"/>
                    </a:lnTo>
                    <a:lnTo>
                      <a:pt x="63" y="50"/>
                    </a:lnTo>
                    <a:lnTo>
                      <a:pt x="68" y="45"/>
                    </a:lnTo>
                    <a:lnTo>
                      <a:pt x="65" y="38"/>
                    </a:lnTo>
                    <a:lnTo>
                      <a:pt x="63" y="31"/>
                    </a:lnTo>
                    <a:lnTo>
                      <a:pt x="68" y="18"/>
                    </a:lnTo>
                    <a:lnTo>
                      <a:pt x="82" y="11"/>
                    </a:lnTo>
                    <a:lnTo>
                      <a:pt x="91" y="7"/>
                    </a:lnTo>
                    <a:lnTo>
                      <a:pt x="99" y="6"/>
                    </a:lnTo>
                    <a:lnTo>
                      <a:pt x="108" y="6"/>
                    </a:lnTo>
                    <a:lnTo>
                      <a:pt x="118" y="6"/>
                    </a:lnTo>
                    <a:lnTo>
                      <a:pt x="127" y="7"/>
                    </a:lnTo>
                    <a:lnTo>
                      <a:pt x="134" y="14"/>
                    </a:lnTo>
                    <a:lnTo>
                      <a:pt x="137" y="25"/>
                    </a:lnTo>
                    <a:lnTo>
                      <a:pt x="139" y="35"/>
                    </a:lnTo>
                    <a:lnTo>
                      <a:pt x="137" y="40"/>
                    </a:lnTo>
                    <a:lnTo>
                      <a:pt x="139" y="45"/>
                    </a:lnTo>
                    <a:lnTo>
                      <a:pt x="142" y="42"/>
                    </a:lnTo>
                    <a:lnTo>
                      <a:pt x="149" y="40"/>
                    </a:lnTo>
                    <a:lnTo>
                      <a:pt x="154" y="42"/>
                    </a:lnTo>
                    <a:lnTo>
                      <a:pt x="160" y="45"/>
                    </a:lnTo>
                    <a:lnTo>
                      <a:pt x="165" y="42"/>
                    </a:lnTo>
                    <a:lnTo>
                      <a:pt x="170" y="38"/>
                    </a:lnTo>
                    <a:lnTo>
                      <a:pt x="173" y="33"/>
                    </a:lnTo>
                    <a:lnTo>
                      <a:pt x="180" y="31"/>
                    </a:lnTo>
                    <a:lnTo>
                      <a:pt x="189" y="31"/>
                    </a:lnTo>
                    <a:lnTo>
                      <a:pt x="199" y="33"/>
                    </a:lnTo>
                    <a:lnTo>
                      <a:pt x="209" y="35"/>
                    </a:lnTo>
                    <a:lnTo>
                      <a:pt x="218" y="40"/>
                    </a:lnTo>
                    <a:lnTo>
                      <a:pt x="225" y="45"/>
                    </a:lnTo>
                    <a:lnTo>
                      <a:pt x="232" y="54"/>
                    </a:lnTo>
                    <a:lnTo>
                      <a:pt x="237" y="61"/>
                    </a:lnTo>
                    <a:lnTo>
                      <a:pt x="249" y="64"/>
                    </a:lnTo>
                    <a:lnTo>
                      <a:pt x="258" y="64"/>
                    </a:lnTo>
                    <a:lnTo>
                      <a:pt x="263" y="64"/>
                    </a:lnTo>
                    <a:lnTo>
                      <a:pt x="266" y="64"/>
                    </a:lnTo>
                    <a:lnTo>
                      <a:pt x="273" y="66"/>
                    </a:lnTo>
                    <a:lnTo>
                      <a:pt x="276" y="68"/>
                    </a:lnTo>
                    <a:lnTo>
                      <a:pt x="280" y="74"/>
                    </a:lnTo>
                    <a:lnTo>
                      <a:pt x="289" y="78"/>
                    </a:lnTo>
                    <a:lnTo>
                      <a:pt x="297" y="83"/>
                    </a:lnTo>
                    <a:lnTo>
                      <a:pt x="304" y="86"/>
                    </a:lnTo>
                    <a:lnTo>
                      <a:pt x="314" y="90"/>
                    </a:lnTo>
                    <a:lnTo>
                      <a:pt x="314" y="98"/>
                    </a:lnTo>
                    <a:lnTo>
                      <a:pt x="319" y="98"/>
                    </a:lnTo>
                    <a:lnTo>
                      <a:pt x="323" y="98"/>
                    </a:lnTo>
                    <a:lnTo>
                      <a:pt x="332" y="100"/>
                    </a:lnTo>
                    <a:lnTo>
                      <a:pt x="338" y="111"/>
                    </a:lnTo>
                    <a:lnTo>
                      <a:pt x="328" y="111"/>
                    </a:lnTo>
                    <a:lnTo>
                      <a:pt x="319" y="117"/>
                    </a:lnTo>
                    <a:lnTo>
                      <a:pt x="328" y="117"/>
                    </a:lnTo>
                    <a:lnTo>
                      <a:pt x="335" y="117"/>
                    </a:lnTo>
                    <a:lnTo>
                      <a:pt x="338" y="117"/>
                    </a:lnTo>
                    <a:lnTo>
                      <a:pt x="344" y="123"/>
                    </a:lnTo>
                    <a:lnTo>
                      <a:pt x="333" y="126"/>
                    </a:lnTo>
                    <a:lnTo>
                      <a:pt x="326" y="135"/>
                    </a:lnTo>
                    <a:lnTo>
                      <a:pt x="332" y="136"/>
                    </a:lnTo>
                    <a:lnTo>
                      <a:pt x="340" y="138"/>
                    </a:lnTo>
                    <a:lnTo>
                      <a:pt x="342" y="145"/>
                    </a:lnTo>
                    <a:lnTo>
                      <a:pt x="349" y="150"/>
                    </a:lnTo>
                    <a:lnTo>
                      <a:pt x="357" y="153"/>
                    </a:lnTo>
                    <a:lnTo>
                      <a:pt x="366" y="157"/>
                    </a:lnTo>
                    <a:lnTo>
                      <a:pt x="368" y="167"/>
                    </a:lnTo>
                    <a:lnTo>
                      <a:pt x="376" y="174"/>
                    </a:lnTo>
                    <a:lnTo>
                      <a:pt x="388" y="171"/>
                    </a:lnTo>
                    <a:lnTo>
                      <a:pt x="395" y="176"/>
                    </a:lnTo>
                    <a:lnTo>
                      <a:pt x="399" y="178"/>
                    </a:lnTo>
                    <a:lnTo>
                      <a:pt x="404" y="179"/>
                    </a:lnTo>
                    <a:lnTo>
                      <a:pt x="414" y="181"/>
                    </a:lnTo>
                    <a:lnTo>
                      <a:pt x="418" y="191"/>
                    </a:lnTo>
                    <a:lnTo>
                      <a:pt x="412" y="196"/>
                    </a:lnTo>
                    <a:lnTo>
                      <a:pt x="402" y="198"/>
                    </a:lnTo>
                    <a:lnTo>
                      <a:pt x="402" y="203"/>
                    </a:lnTo>
                    <a:lnTo>
                      <a:pt x="402" y="205"/>
                    </a:lnTo>
                    <a:lnTo>
                      <a:pt x="399" y="209"/>
                    </a:lnTo>
                    <a:lnTo>
                      <a:pt x="392" y="2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81" name="Freeform 333"/>
              <p:cNvSpPr>
                <a:spLocks/>
              </p:cNvSpPr>
              <p:nvPr/>
            </p:nvSpPr>
            <p:spPr bwMode="auto">
              <a:xfrm>
                <a:off x="2516982" y="2320925"/>
                <a:ext cx="19050" cy="11112"/>
              </a:xfrm>
              <a:custGeom>
                <a:avLst/>
                <a:gdLst/>
                <a:ahLst/>
                <a:cxnLst>
                  <a:cxn ang="0">
                    <a:pos x="12" y="5"/>
                  </a:cxn>
                  <a:cxn ang="0">
                    <a:pos x="5" y="7"/>
                  </a:cxn>
                  <a:cxn ang="0">
                    <a:pos x="0" y="5"/>
                  </a:cxn>
                  <a:cxn ang="0">
                    <a:pos x="5" y="0"/>
                  </a:cxn>
                  <a:cxn ang="0">
                    <a:pos x="12" y="5"/>
                  </a:cxn>
                </a:cxnLst>
                <a:rect l="0" t="0" r="r" b="b"/>
                <a:pathLst>
                  <a:path w="12" h="7">
                    <a:moveTo>
                      <a:pt x="12" y="5"/>
                    </a:moveTo>
                    <a:lnTo>
                      <a:pt x="5" y="7"/>
                    </a:lnTo>
                    <a:lnTo>
                      <a:pt x="0" y="5"/>
                    </a:lnTo>
                    <a:lnTo>
                      <a:pt x="5" y="0"/>
                    </a:lnTo>
                    <a:lnTo>
                      <a:pt x="12"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82" name="Freeform 334"/>
              <p:cNvSpPr>
                <a:spLocks/>
              </p:cNvSpPr>
              <p:nvPr/>
            </p:nvSpPr>
            <p:spPr bwMode="auto">
              <a:xfrm>
                <a:off x="2382044" y="2230438"/>
                <a:ext cx="14288" cy="11112"/>
              </a:xfrm>
              <a:custGeom>
                <a:avLst/>
                <a:gdLst/>
                <a:ahLst/>
                <a:cxnLst>
                  <a:cxn ang="0">
                    <a:pos x="0" y="0"/>
                  </a:cxn>
                  <a:cxn ang="0">
                    <a:pos x="4" y="0"/>
                  </a:cxn>
                  <a:cxn ang="0">
                    <a:pos x="9" y="7"/>
                  </a:cxn>
                  <a:cxn ang="0">
                    <a:pos x="2" y="4"/>
                  </a:cxn>
                  <a:cxn ang="0">
                    <a:pos x="0" y="0"/>
                  </a:cxn>
                </a:cxnLst>
                <a:rect l="0" t="0" r="r" b="b"/>
                <a:pathLst>
                  <a:path w="9" h="7">
                    <a:moveTo>
                      <a:pt x="0" y="0"/>
                    </a:moveTo>
                    <a:lnTo>
                      <a:pt x="4" y="0"/>
                    </a:lnTo>
                    <a:lnTo>
                      <a:pt x="9" y="7"/>
                    </a:lnTo>
                    <a:lnTo>
                      <a:pt x="2" y="4"/>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83" name="Freeform 335"/>
              <p:cNvSpPr>
                <a:spLocks/>
              </p:cNvSpPr>
              <p:nvPr/>
            </p:nvSpPr>
            <p:spPr bwMode="auto">
              <a:xfrm>
                <a:off x="2204244" y="1428750"/>
                <a:ext cx="704850" cy="368300"/>
              </a:xfrm>
              <a:custGeom>
                <a:avLst/>
                <a:gdLst/>
                <a:ahLst/>
                <a:cxnLst>
                  <a:cxn ang="0">
                    <a:pos x="394" y="5"/>
                  </a:cxn>
                  <a:cxn ang="0">
                    <a:pos x="412" y="17"/>
                  </a:cxn>
                  <a:cxn ang="0">
                    <a:pos x="444" y="30"/>
                  </a:cxn>
                  <a:cxn ang="0">
                    <a:pos x="398" y="48"/>
                  </a:cxn>
                  <a:cxn ang="0">
                    <a:pos x="360" y="56"/>
                  </a:cxn>
                  <a:cxn ang="0">
                    <a:pos x="398" y="58"/>
                  </a:cxn>
                  <a:cxn ang="0">
                    <a:pos x="339" y="84"/>
                  </a:cxn>
                  <a:cxn ang="0">
                    <a:pos x="293" y="122"/>
                  </a:cxn>
                  <a:cxn ang="0">
                    <a:pos x="234" y="134"/>
                  </a:cxn>
                  <a:cxn ang="0">
                    <a:pos x="241" y="147"/>
                  </a:cxn>
                  <a:cxn ang="0">
                    <a:pos x="212" y="178"/>
                  </a:cxn>
                  <a:cxn ang="0">
                    <a:pos x="202" y="182"/>
                  </a:cxn>
                  <a:cxn ang="0">
                    <a:pos x="185" y="201"/>
                  </a:cxn>
                  <a:cxn ang="0">
                    <a:pos x="198" y="209"/>
                  </a:cxn>
                  <a:cxn ang="0">
                    <a:pos x="172" y="228"/>
                  </a:cxn>
                  <a:cxn ang="0">
                    <a:pos x="135" y="225"/>
                  </a:cxn>
                  <a:cxn ang="0">
                    <a:pos x="100" y="227"/>
                  </a:cxn>
                  <a:cxn ang="0">
                    <a:pos x="56" y="223"/>
                  </a:cxn>
                  <a:cxn ang="0">
                    <a:pos x="33" y="221"/>
                  </a:cxn>
                  <a:cxn ang="0">
                    <a:pos x="57" y="202"/>
                  </a:cxn>
                  <a:cxn ang="0">
                    <a:pos x="57" y="180"/>
                  </a:cxn>
                  <a:cxn ang="0">
                    <a:pos x="90" y="189"/>
                  </a:cxn>
                  <a:cxn ang="0">
                    <a:pos x="92" y="182"/>
                  </a:cxn>
                  <a:cxn ang="0">
                    <a:pos x="73" y="170"/>
                  </a:cxn>
                  <a:cxn ang="0">
                    <a:pos x="69" y="154"/>
                  </a:cxn>
                  <a:cxn ang="0">
                    <a:pos x="104" y="142"/>
                  </a:cxn>
                  <a:cxn ang="0">
                    <a:pos x="78" y="115"/>
                  </a:cxn>
                  <a:cxn ang="0">
                    <a:pos x="78" y="104"/>
                  </a:cxn>
                  <a:cxn ang="0">
                    <a:pos x="95" y="99"/>
                  </a:cxn>
                  <a:cxn ang="0">
                    <a:pos x="133" y="115"/>
                  </a:cxn>
                  <a:cxn ang="0">
                    <a:pos x="126" y="106"/>
                  </a:cxn>
                  <a:cxn ang="0">
                    <a:pos x="154" y="98"/>
                  </a:cxn>
                  <a:cxn ang="0">
                    <a:pos x="162" y="87"/>
                  </a:cxn>
                  <a:cxn ang="0">
                    <a:pos x="121" y="92"/>
                  </a:cxn>
                  <a:cxn ang="0">
                    <a:pos x="88" y="92"/>
                  </a:cxn>
                  <a:cxn ang="0">
                    <a:pos x="66" y="91"/>
                  </a:cxn>
                  <a:cxn ang="0">
                    <a:pos x="38" y="80"/>
                  </a:cxn>
                  <a:cxn ang="0">
                    <a:pos x="28" y="75"/>
                  </a:cxn>
                  <a:cxn ang="0">
                    <a:pos x="59" y="60"/>
                  </a:cxn>
                  <a:cxn ang="0">
                    <a:pos x="28" y="67"/>
                  </a:cxn>
                  <a:cxn ang="0">
                    <a:pos x="33" y="55"/>
                  </a:cxn>
                  <a:cxn ang="0">
                    <a:pos x="6" y="58"/>
                  </a:cxn>
                  <a:cxn ang="0">
                    <a:pos x="37" y="39"/>
                  </a:cxn>
                  <a:cxn ang="0">
                    <a:pos x="64" y="37"/>
                  </a:cxn>
                  <a:cxn ang="0">
                    <a:pos x="80" y="24"/>
                  </a:cxn>
                  <a:cxn ang="0">
                    <a:pos x="112" y="32"/>
                  </a:cxn>
                  <a:cxn ang="0">
                    <a:pos x="135" y="13"/>
                  </a:cxn>
                  <a:cxn ang="0">
                    <a:pos x="160" y="5"/>
                  </a:cxn>
                  <a:cxn ang="0">
                    <a:pos x="202" y="5"/>
                  </a:cxn>
                  <a:cxn ang="0">
                    <a:pos x="228" y="1"/>
                  </a:cxn>
                  <a:cxn ang="0">
                    <a:pos x="258" y="3"/>
                  </a:cxn>
                  <a:cxn ang="0">
                    <a:pos x="289" y="3"/>
                  </a:cxn>
                  <a:cxn ang="0">
                    <a:pos x="319" y="1"/>
                  </a:cxn>
                  <a:cxn ang="0">
                    <a:pos x="357" y="6"/>
                  </a:cxn>
                </a:cxnLst>
                <a:rect l="0" t="0" r="r" b="b"/>
                <a:pathLst>
                  <a:path w="444" h="232">
                    <a:moveTo>
                      <a:pt x="363" y="12"/>
                    </a:moveTo>
                    <a:lnTo>
                      <a:pt x="358" y="13"/>
                    </a:lnTo>
                    <a:lnTo>
                      <a:pt x="353" y="17"/>
                    </a:lnTo>
                    <a:lnTo>
                      <a:pt x="394" y="5"/>
                    </a:lnTo>
                    <a:lnTo>
                      <a:pt x="398" y="6"/>
                    </a:lnTo>
                    <a:lnTo>
                      <a:pt x="403" y="8"/>
                    </a:lnTo>
                    <a:lnTo>
                      <a:pt x="406" y="12"/>
                    </a:lnTo>
                    <a:lnTo>
                      <a:pt x="412" y="17"/>
                    </a:lnTo>
                    <a:lnTo>
                      <a:pt x="418" y="18"/>
                    </a:lnTo>
                    <a:lnTo>
                      <a:pt x="430" y="22"/>
                    </a:lnTo>
                    <a:lnTo>
                      <a:pt x="439" y="24"/>
                    </a:lnTo>
                    <a:lnTo>
                      <a:pt x="444" y="30"/>
                    </a:lnTo>
                    <a:lnTo>
                      <a:pt x="439" y="36"/>
                    </a:lnTo>
                    <a:lnTo>
                      <a:pt x="432" y="37"/>
                    </a:lnTo>
                    <a:lnTo>
                      <a:pt x="415" y="44"/>
                    </a:lnTo>
                    <a:lnTo>
                      <a:pt x="398" y="48"/>
                    </a:lnTo>
                    <a:lnTo>
                      <a:pt x="387" y="48"/>
                    </a:lnTo>
                    <a:lnTo>
                      <a:pt x="379" y="49"/>
                    </a:lnTo>
                    <a:lnTo>
                      <a:pt x="369" y="51"/>
                    </a:lnTo>
                    <a:lnTo>
                      <a:pt x="360" y="56"/>
                    </a:lnTo>
                    <a:lnTo>
                      <a:pt x="365" y="56"/>
                    </a:lnTo>
                    <a:lnTo>
                      <a:pt x="375" y="58"/>
                    </a:lnTo>
                    <a:lnTo>
                      <a:pt x="386" y="58"/>
                    </a:lnTo>
                    <a:lnTo>
                      <a:pt x="398" y="58"/>
                    </a:lnTo>
                    <a:lnTo>
                      <a:pt x="384" y="65"/>
                    </a:lnTo>
                    <a:lnTo>
                      <a:pt x="370" y="72"/>
                    </a:lnTo>
                    <a:lnTo>
                      <a:pt x="353" y="77"/>
                    </a:lnTo>
                    <a:lnTo>
                      <a:pt x="339" y="84"/>
                    </a:lnTo>
                    <a:lnTo>
                      <a:pt x="324" y="89"/>
                    </a:lnTo>
                    <a:lnTo>
                      <a:pt x="314" y="99"/>
                    </a:lnTo>
                    <a:lnTo>
                      <a:pt x="303" y="110"/>
                    </a:lnTo>
                    <a:lnTo>
                      <a:pt x="293" y="122"/>
                    </a:lnTo>
                    <a:lnTo>
                      <a:pt x="279" y="122"/>
                    </a:lnTo>
                    <a:lnTo>
                      <a:pt x="267" y="123"/>
                    </a:lnTo>
                    <a:lnTo>
                      <a:pt x="248" y="127"/>
                    </a:lnTo>
                    <a:lnTo>
                      <a:pt x="234" y="134"/>
                    </a:lnTo>
                    <a:lnTo>
                      <a:pt x="248" y="134"/>
                    </a:lnTo>
                    <a:lnTo>
                      <a:pt x="245" y="142"/>
                    </a:lnTo>
                    <a:lnTo>
                      <a:pt x="234" y="144"/>
                    </a:lnTo>
                    <a:lnTo>
                      <a:pt x="241" y="147"/>
                    </a:lnTo>
                    <a:lnTo>
                      <a:pt x="248" y="156"/>
                    </a:lnTo>
                    <a:lnTo>
                      <a:pt x="236" y="166"/>
                    </a:lnTo>
                    <a:lnTo>
                      <a:pt x="226" y="178"/>
                    </a:lnTo>
                    <a:lnTo>
                      <a:pt x="212" y="178"/>
                    </a:lnTo>
                    <a:lnTo>
                      <a:pt x="205" y="178"/>
                    </a:lnTo>
                    <a:lnTo>
                      <a:pt x="202" y="178"/>
                    </a:lnTo>
                    <a:lnTo>
                      <a:pt x="200" y="178"/>
                    </a:lnTo>
                    <a:lnTo>
                      <a:pt x="202" y="182"/>
                    </a:lnTo>
                    <a:lnTo>
                      <a:pt x="203" y="187"/>
                    </a:lnTo>
                    <a:lnTo>
                      <a:pt x="200" y="194"/>
                    </a:lnTo>
                    <a:lnTo>
                      <a:pt x="193" y="197"/>
                    </a:lnTo>
                    <a:lnTo>
                      <a:pt x="185" y="201"/>
                    </a:lnTo>
                    <a:lnTo>
                      <a:pt x="183" y="209"/>
                    </a:lnTo>
                    <a:lnTo>
                      <a:pt x="190" y="209"/>
                    </a:lnTo>
                    <a:lnTo>
                      <a:pt x="195" y="209"/>
                    </a:lnTo>
                    <a:lnTo>
                      <a:pt x="198" y="209"/>
                    </a:lnTo>
                    <a:lnTo>
                      <a:pt x="203" y="214"/>
                    </a:lnTo>
                    <a:lnTo>
                      <a:pt x="197" y="220"/>
                    </a:lnTo>
                    <a:lnTo>
                      <a:pt x="186" y="225"/>
                    </a:lnTo>
                    <a:lnTo>
                      <a:pt x="172" y="228"/>
                    </a:lnTo>
                    <a:lnTo>
                      <a:pt x="162" y="232"/>
                    </a:lnTo>
                    <a:lnTo>
                      <a:pt x="152" y="228"/>
                    </a:lnTo>
                    <a:lnTo>
                      <a:pt x="145" y="225"/>
                    </a:lnTo>
                    <a:lnTo>
                      <a:pt x="135" y="225"/>
                    </a:lnTo>
                    <a:lnTo>
                      <a:pt x="126" y="225"/>
                    </a:lnTo>
                    <a:lnTo>
                      <a:pt x="116" y="225"/>
                    </a:lnTo>
                    <a:lnTo>
                      <a:pt x="107" y="225"/>
                    </a:lnTo>
                    <a:lnTo>
                      <a:pt x="100" y="227"/>
                    </a:lnTo>
                    <a:lnTo>
                      <a:pt x="92" y="230"/>
                    </a:lnTo>
                    <a:lnTo>
                      <a:pt x="80" y="228"/>
                    </a:lnTo>
                    <a:lnTo>
                      <a:pt x="68" y="227"/>
                    </a:lnTo>
                    <a:lnTo>
                      <a:pt x="56" y="223"/>
                    </a:lnTo>
                    <a:lnTo>
                      <a:pt x="43" y="220"/>
                    </a:lnTo>
                    <a:lnTo>
                      <a:pt x="40" y="221"/>
                    </a:lnTo>
                    <a:lnTo>
                      <a:pt x="38" y="225"/>
                    </a:lnTo>
                    <a:lnTo>
                      <a:pt x="33" y="221"/>
                    </a:lnTo>
                    <a:lnTo>
                      <a:pt x="33" y="220"/>
                    </a:lnTo>
                    <a:lnTo>
                      <a:pt x="37" y="208"/>
                    </a:lnTo>
                    <a:lnTo>
                      <a:pt x="47" y="204"/>
                    </a:lnTo>
                    <a:lnTo>
                      <a:pt x="57" y="202"/>
                    </a:lnTo>
                    <a:lnTo>
                      <a:pt x="69" y="201"/>
                    </a:lnTo>
                    <a:lnTo>
                      <a:pt x="59" y="194"/>
                    </a:lnTo>
                    <a:lnTo>
                      <a:pt x="54" y="185"/>
                    </a:lnTo>
                    <a:lnTo>
                      <a:pt x="57" y="180"/>
                    </a:lnTo>
                    <a:lnTo>
                      <a:pt x="66" y="180"/>
                    </a:lnTo>
                    <a:lnTo>
                      <a:pt x="74" y="180"/>
                    </a:lnTo>
                    <a:lnTo>
                      <a:pt x="83" y="184"/>
                    </a:lnTo>
                    <a:lnTo>
                      <a:pt x="90" y="189"/>
                    </a:lnTo>
                    <a:lnTo>
                      <a:pt x="97" y="194"/>
                    </a:lnTo>
                    <a:lnTo>
                      <a:pt x="107" y="194"/>
                    </a:lnTo>
                    <a:lnTo>
                      <a:pt x="99" y="187"/>
                    </a:lnTo>
                    <a:lnTo>
                      <a:pt x="92" y="182"/>
                    </a:lnTo>
                    <a:lnTo>
                      <a:pt x="85" y="175"/>
                    </a:lnTo>
                    <a:lnTo>
                      <a:pt x="83" y="168"/>
                    </a:lnTo>
                    <a:lnTo>
                      <a:pt x="76" y="168"/>
                    </a:lnTo>
                    <a:lnTo>
                      <a:pt x="73" y="170"/>
                    </a:lnTo>
                    <a:lnTo>
                      <a:pt x="71" y="171"/>
                    </a:lnTo>
                    <a:lnTo>
                      <a:pt x="64" y="171"/>
                    </a:lnTo>
                    <a:lnTo>
                      <a:pt x="64" y="166"/>
                    </a:lnTo>
                    <a:lnTo>
                      <a:pt x="69" y="154"/>
                    </a:lnTo>
                    <a:lnTo>
                      <a:pt x="78" y="149"/>
                    </a:lnTo>
                    <a:lnTo>
                      <a:pt x="86" y="147"/>
                    </a:lnTo>
                    <a:lnTo>
                      <a:pt x="97" y="146"/>
                    </a:lnTo>
                    <a:lnTo>
                      <a:pt x="104" y="142"/>
                    </a:lnTo>
                    <a:lnTo>
                      <a:pt x="107" y="135"/>
                    </a:lnTo>
                    <a:lnTo>
                      <a:pt x="100" y="125"/>
                    </a:lnTo>
                    <a:lnTo>
                      <a:pt x="90" y="120"/>
                    </a:lnTo>
                    <a:lnTo>
                      <a:pt x="78" y="115"/>
                    </a:lnTo>
                    <a:lnTo>
                      <a:pt x="73" y="110"/>
                    </a:lnTo>
                    <a:lnTo>
                      <a:pt x="76" y="106"/>
                    </a:lnTo>
                    <a:lnTo>
                      <a:pt x="85" y="106"/>
                    </a:lnTo>
                    <a:lnTo>
                      <a:pt x="78" y="104"/>
                    </a:lnTo>
                    <a:lnTo>
                      <a:pt x="78" y="101"/>
                    </a:lnTo>
                    <a:lnTo>
                      <a:pt x="80" y="99"/>
                    </a:lnTo>
                    <a:lnTo>
                      <a:pt x="85" y="101"/>
                    </a:lnTo>
                    <a:lnTo>
                      <a:pt x="95" y="99"/>
                    </a:lnTo>
                    <a:lnTo>
                      <a:pt x="112" y="101"/>
                    </a:lnTo>
                    <a:lnTo>
                      <a:pt x="119" y="104"/>
                    </a:lnTo>
                    <a:lnTo>
                      <a:pt x="126" y="111"/>
                    </a:lnTo>
                    <a:lnTo>
                      <a:pt x="133" y="115"/>
                    </a:lnTo>
                    <a:lnTo>
                      <a:pt x="143" y="118"/>
                    </a:lnTo>
                    <a:lnTo>
                      <a:pt x="138" y="113"/>
                    </a:lnTo>
                    <a:lnTo>
                      <a:pt x="131" y="110"/>
                    </a:lnTo>
                    <a:lnTo>
                      <a:pt x="126" y="106"/>
                    </a:lnTo>
                    <a:lnTo>
                      <a:pt x="124" y="103"/>
                    </a:lnTo>
                    <a:lnTo>
                      <a:pt x="124" y="99"/>
                    </a:lnTo>
                    <a:lnTo>
                      <a:pt x="128" y="98"/>
                    </a:lnTo>
                    <a:lnTo>
                      <a:pt x="154" y="98"/>
                    </a:lnTo>
                    <a:lnTo>
                      <a:pt x="166" y="91"/>
                    </a:lnTo>
                    <a:lnTo>
                      <a:pt x="178" y="84"/>
                    </a:lnTo>
                    <a:lnTo>
                      <a:pt x="171" y="84"/>
                    </a:lnTo>
                    <a:lnTo>
                      <a:pt x="162" y="87"/>
                    </a:lnTo>
                    <a:lnTo>
                      <a:pt x="154" y="92"/>
                    </a:lnTo>
                    <a:lnTo>
                      <a:pt x="142" y="94"/>
                    </a:lnTo>
                    <a:lnTo>
                      <a:pt x="131" y="96"/>
                    </a:lnTo>
                    <a:lnTo>
                      <a:pt x="121" y="92"/>
                    </a:lnTo>
                    <a:lnTo>
                      <a:pt x="114" y="91"/>
                    </a:lnTo>
                    <a:lnTo>
                      <a:pt x="109" y="92"/>
                    </a:lnTo>
                    <a:lnTo>
                      <a:pt x="104" y="96"/>
                    </a:lnTo>
                    <a:lnTo>
                      <a:pt x="88" y="92"/>
                    </a:lnTo>
                    <a:lnTo>
                      <a:pt x="83" y="86"/>
                    </a:lnTo>
                    <a:lnTo>
                      <a:pt x="78" y="86"/>
                    </a:lnTo>
                    <a:lnTo>
                      <a:pt x="71" y="89"/>
                    </a:lnTo>
                    <a:lnTo>
                      <a:pt x="66" y="91"/>
                    </a:lnTo>
                    <a:lnTo>
                      <a:pt x="57" y="89"/>
                    </a:lnTo>
                    <a:lnTo>
                      <a:pt x="49" y="87"/>
                    </a:lnTo>
                    <a:lnTo>
                      <a:pt x="42" y="84"/>
                    </a:lnTo>
                    <a:lnTo>
                      <a:pt x="38" y="80"/>
                    </a:lnTo>
                    <a:lnTo>
                      <a:pt x="43" y="77"/>
                    </a:lnTo>
                    <a:lnTo>
                      <a:pt x="52" y="75"/>
                    </a:lnTo>
                    <a:lnTo>
                      <a:pt x="37" y="75"/>
                    </a:lnTo>
                    <a:lnTo>
                      <a:pt x="28" y="75"/>
                    </a:lnTo>
                    <a:lnTo>
                      <a:pt x="31" y="67"/>
                    </a:lnTo>
                    <a:lnTo>
                      <a:pt x="40" y="63"/>
                    </a:lnTo>
                    <a:lnTo>
                      <a:pt x="49" y="61"/>
                    </a:lnTo>
                    <a:lnTo>
                      <a:pt x="59" y="60"/>
                    </a:lnTo>
                    <a:lnTo>
                      <a:pt x="54" y="58"/>
                    </a:lnTo>
                    <a:lnTo>
                      <a:pt x="49" y="58"/>
                    </a:lnTo>
                    <a:lnTo>
                      <a:pt x="38" y="61"/>
                    </a:lnTo>
                    <a:lnTo>
                      <a:pt x="28" y="67"/>
                    </a:lnTo>
                    <a:lnTo>
                      <a:pt x="23" y="65"/>
                    </a:lnTo>
                    <a:lnTo>
                      <a:pt x="19" y="63"/>
                    </a:lnTo>
                    <a:lnTo>
                      <a:pt x="26" y="56"/>
                    </a:lnTo>
                    <a:lnTo>
                      <a:pt x="33" y="55"/>
                    </a:lnTo>
                    <a:lnTo>
                      <a:pt x="19" y="55"/>
                    </a:lnTo>
                    <a:lnTo>
                      <a:pt x="14" y="56"/>
                    </a:lnTo>
                    <a:lnTo>
                      <a:pt x="11" y="58"/>
                    </a:lnTo>
                    <a:lnTo>
                      <a:pt x="6" y="58"/>
                    </a:lnTo>
                    <a:lnTo>
                      <a:pt x="0" y="58"/>
                    </a:lnTo>
                    <a:lnTo>
                      <a:pt x="6" y="48"/>
                    </a:lnTo>
                    <a:lnTo>
                      <a:pt x="19" y="43"/>
                    </a:lnTo>
                    <a:lnTo>
                      <a:pt x="37" y="39"/>
                    </a:lnTo>
                    <a:lnTo>
                      <a:pt x="50" y="39"/>
                    </a:lnTo>
                    <a:lnTo>
                      <a:pt x="57" y="39"/>
                    </a:lnTo>
                    <a:lnTo>
                      <a:pt x="62" y="39"/>
                    </a:lnTo>
                    <a:lnTo>
                      <a:pt x="64" y="37"/>
                    </a:lnTo>
                    <a:lnTo>
                      <a:pt x="66" y="36"/>
                    </a:lnTo>
                    <a:lnTo>
                      <a:pt x="73" y="32"/>
                    </a:lnTo>
                    <a:lnTo>
                      <a:pt x="78" y="29"/>
                    </a:lnTo>
                    <a:lnTo>
                      <a:pt x="80" y="24"/>
                    </a:lnTo>
                    <a:lnTo>
                      <a:pt x="86" y="24"/>
                    </a:lnTo>
                    <a:lnTo>
                      <a:pt x="93" y="24"/>
                    </a:lnTo>
                    <a:lnTo>
                      <a:pt x="104" y="29"/>
                    </a:lnTo>
                    <a:lnTo>
                      <a:pt x="112" y="32"/>
                    </a:lnTo>
                    <a:lnTo>
                      <a:pt x="121" y="36"/>
                    </a:lnTo>
                    <a:lnTo>
                      <a:pt x="123" y="25"/>
                    </a:lnTo>
                    <a:lnTo>
                      <a:pt x="128" y="18"/>
                    </a:lnTo>
                    <a:lnTo>
                      <a:pt x="135" y="13"/>
                    </a:lnTo>
                    <a:lnTo>
                      <a:pt x="145" y="13"/>
                    </a:lnTo>
                    <a:lnTo>
                      <a:pt x="150" y="13"/>
                    </a:lnTo>
                    <a:lnTo>
                      <a:pt x="155" y="12"/>
                    </a:lnTo>
                    <a:lnTo>
                      <a:pt x="160" y="5"/>
                    </a:lnTo>
                    <a:lnTo>
                      <a:pt x="167" y="5"/>
                    </a:lnTo>
                    <a:lnTo>
                      <a:pt x="183" y="5"/>
                    </a:lnTo>
                    <a:lnTo>
                      <a:pt x="197" y="5"/>
                    </a:lnTo>
                    <a:lnTo>
                      <a:pt x="202" y="5"/>
                    </a:lnTo>
                    <a:lnTo>
                      <a:pt x="209" y="5"/>
                    </a:lnTo>
                    <a:lnTo>
                      <a:pt x="215" y="5"/>
                    </a:lnTo>
                    <a:lnTo>
                      <a:pt x="226" y="5"/>
                    </a:lnTo>
                    <a:lnTo>
                      <a:pt x="228" y="1"/>
                    </a:lnTo>
                    <a:lnTo>
                      <a:pt x="233" y="1"/>
                    </a:lnTo>
                    <a:lnTo>
                      <a:pt x="241" y="5"/>
                    </a:lnTo>
                    <a:lnTo>
                      <a:pt x="252" y="8"/>
                    </a:lnTo>
                    <a:lnTo>
                      <a:pt x="258" y="3"/>
                    </a:lnTo>
                    <a:lnTo>
                      <a:pt x="267" y="0"/>
                    </a:lnTo>
                    <a:lnTo>
                      <a:pt x="274" y="1"/>
                    </a:lnTo>
                    <a:lnTo>
                      <a:pt x="283" y="3"/>
                    </a:lnTo>
                    <a:lnTo>
                      <a:pt x="289" y="3"/>
                    </a:lnTo>
                    <a:lnTo>
                      <a:pt x="296" y="3"/>
                    </a:lnTo>
                    <a:lnTo>
                      <a:pt x="300" y="1"/>
                    </a:lnTo>
                    <a:lnTo>
                      <a:pt x="308" y="1"/>
                    </a:lnTo>
                    <a:lnTo>
                      <a:pt x="319" y="1"/>
                    </a:lnTo>
                    <a:lnTo>
                      <a:pt x="329" y="3"/>
                    </a:lnTo>
                    <a:lnTo>
                      <a:pt x="339" y="3"/>
                    </a:lnTo>
                    <a:lnTo>
                      <a:pt x="350" y="5"/>
                    </a:lnTo>
                    <a:lnTo>
                      <a:pt x="357" y="6"/>
                    </a:lnTo>
                    <a:lnTo>
                      <a:pt x="363"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84" name="Freeform 336"/>
              <p:cNvSpPr>
                <a:spLocks/>
              </p:cNvSpPr>
              <p:nvPr/>
            </p:nvSpPr>
            <p:spPr bwMode="auto">
              <a:xfrm>
                <a:off x="2647157" y="1392238"/>
                <a:ext cx="1381125" cy="1047750"/>
              </a:xfrm>
              <a:custGeom>
                <a:avLst/>
                <a:gdLst/>
                <a:ahLst/>
                <a:cxnLst>
                  <a:cxn ang="0">
                    <a:pos x="322" y="427"/>
                  </a:cxn>
                  <a:cxn ang="0">
                    <a:pos x="291" y="409"/>
                  </a:cxn>
                  <a:cxn ang="0">
                    <a:pos x="275" y="377"/>
                  </a:cxn>
                  <a:cxn ang="0">
                    <a:pos x="255" y="348"/>
                  </a:cxn>
                  <a:cxn ang="0">
                    <a:pos x="193" y="265"/>
                  </a:cxn>
                  <a:cxn ang="0">
                    <a:pos x="108" y="258"/>
                  </a:cxn>
                  <a:cxn ang="0">
                    <a:pos x="86" y="262"/>
                  </a:cxn>
                  <a:cxn ang="0">
                    <a:pos x="59" y="241"/>
                  </a:cxn>
                  <a:cxn ang="0">
                    <a:pos x="43" y="222"/>
                  </a:cxn>
                  <a:cxn ang="0">
                    <a:pos x="74" y="207"/>
                  </a:cxn>
                  <a:cxn ang="0">
                    <a:pos x="7" y="194"/>
                  </a:cxn>
                  <a:cxn ang="0">
                    <a:pos x="53" y="165"/>
                  </a:cxn>
                  <a:cxn ang="0">
                    <a:pos x="100" y="133"/>
                  </a:cxn>
                  <a:cxn ang="0">
                    <a:pos x="110" y="103"/>
                  </a:cxn>
                  <a:cxn ang="0">
                    <a:pos x="157" y="71"/>
                  </a:cxn>
                  <a:cxn ang="0">
                    <a:pos x="232" y="52"/>
                  </a:cxn>
                  <a:cxn ang="0">
                    <a:pos x="270" y="59"/>
                  </a:cxn>
                  <a:cxn ang="0">
                    <a:pos x="305" y="55"/>
                  </a:cxn>
                  <a:cxn ang="0">
                    <a:pos x="361" y="60"/>
                  </a:cxn>
                  <a:cxn ang="0">
                    <a:pos x="363" y="35"/>
                  </a:cxn>
                  <a:cxn ang="0">
                    <a:pos x="396" y="17"/>
                  </a:cxn>
                  <a:cxn ang="0">
                    <a:pos x="470" y="14"/>
                  </a:cxn>
                  <a:cxn ang="0">
                    <a:pos x="549" y="0"/>
                  </a:cxn>
                  <a:cxn ang="0">
                    <a:pos x="614" y="0"/>
                  </a:cxn>
                  <a:cxn ang="0">
                    <a:pos x="700" y="29"/>
                  </a:cxn>
                  <a:cxn ang="0">
                    <a:pos x="683" y="55"/>
                  </a:cxn>
                  <a:cxn ang="0">
                    <a:pos x="655" y="59"/>
                  </a:cxn>
                  <a:cxn ang="0">
                    <a:pos x="666" y="81"/>
                  </a:cxn>
                  <a:cxn ang="0">
                    <a:pos x="710" y="95"/>
                  </a:cxn>
                  <a:cxn ang="0">
                    <a:pos x="750" y="74"/>
                  </a:cxn>
                  <a:cxn ang="0">
                    <a:pos x="805" y="66"/>
                  </a:cxn>
                  <a:cxn ang="0">
                    <a:pos x="870" y="76"/>
                  </a:cxn>
                  <a:cxn ang="0">
                    <a:pos x="812" y="109"/>
                  </a:cxn>
                  <a:cxn ang="0">
                    <a:pos x="795" y="131"/>
                  </a:cxn>
                  <a:cxn ang="0">
                    <a:pos x="747" y="182"/>
                  </a:cxn>
                  <a:cxn ang="0">
                    <a:pos x="769" y="207"/>
                  </a:cxn>
                  <a:cxn ang="0">
                    <a:pos x="764" y="232"/>
                  </a:cxn>
                  <a:cxn ang="0">
                    <a:pos x="769" y="270"/>
                  </a:cxn>
                  <a:cxn ang="0">
                    <a:pos x="767" y="296"/>
                  </a:cxn>
                  <a:cxn ang="0">
                    <a:pos x="741" y="330"/>
                  </a:cxn>
                  <a:cxn ang="0">
                    <a:pos x="721" y="337"/>
                  </a:cxn>
                  <a:cxn ang="0">
                    <a:pos x="700" y="348"/>
                  </a:cxn>
                  <a:cxn ang="0">
                    <a:pos x="735" y="385"/>
                  </a:cxn>
                  <a:cxn ang="0">
                    <a:pos x="698" y="389"/>
                  </a:cxn>
                  <a:cxn ang="0">
                    <a:pos x="674" y="404"/>
                  </a:cxn>
                  <a:cxn ang="0">
                    <a:pos x="724" y="420"/>
                  </a:cxn>
                  <a:cxn ang="0">
                    <a:pos x="673" y="456"/>
                  </a:cxn>
                  <a:cxn ang="0">
                    <a:pos x="587" y="476"/>
                  </a:cxn>
                  <a:cxn ang="0">
                    <a:pos x="518" y="526"/>
                  </a:cxn>
                  <a:cxn ang="0">
                    <a:pos x="464" y="542"/>
                  </a:cxn>
                  <a:cxn ang="0">
                    <a:pos x="464" y="575"/>
                  </a:cxn>
                  <a:cxn ang="0">
                    <a:pos x="434" y="635"/>
                  </a:cxn>
                  <a:cxn ang="0">
                    <a:pos x="406" y="659"/>
                  </a:cxn>
                  <a:cxn ang="0">
                    <a:pos x="353" y="633"/>
                  </a:cxn>
                  <a:cxn ang="0">
                    <a:pos x="310" y="573"/>
                  </a:cxn>
                  <a:cxn ang="0">
                    <a:pos x="289" y="537"/>
                  </a:cxn>
                  <a:cxn ang="0">
                    <a:pos x="272" y="504"/>
                  </a:cxn>
                </a:cxnLst>
                <a:rect l="0" t="0" r="r" b="b"/>
                <a:pathLst>
                  <a:path w="870" h="660">
                    <a:moveTo>
                      <a:pt x="292" y="463"/>
                    </a:moveTo>
                    <a:lnTo>
                      <a:pt x="299" y="459"/>
                    </a:lnTo>
                    <a:lnTo>
                      <a:pt x="306" y="463"/>
                    </a:lnTo>
                    <a:lnTo>
                      <a:pt x="308" y="451"/>
                    </a:lnTo>
                    <a:lnTo>
                      <a:pt x="313" y="444"/>
                    </a:lnTo>
                    <a:lnTo>
                      <a:pt x="317" y="435"/>
                    </a:lnTo>
                    <a:lnTo>
                      <a:pt x="322" y="427"/>
                    </a:lnTo>
                    <a:lnTo>
                      <a:pt x="306" y="421"/>
                    </a:lnTo>
                    <a:lnTo>
                      <a:pt x="289" y="418"/>
                    </a:lnTo>
                    <a:lnTo>
                      <a:pt x="274" y="413"/>
                    </a:lnTo>
                    <a:lnTo>
                      <a:pt x="267" y="406"/>
                    </a:lnTo>
                    <a:lnTo>
                      <a:pt x="272" y="404"/>
                    </a:lnTo>
                    <a:lnTo>
                      <a:pt x="277" y="406"/>
                    </a:lnTo>
                    <a:lnTo>
                      <a:pt x="291" y="409"/>
                    </a:lnTo>
                    <a:lnTo>
                      <a:pt x="306" y="413"/>
                    </a:lnTo>
                    <a:lnTo>
                      <a:pt x="310" y="409"/>
                    </a:lnTo>
                    <a:lnTo>
                      <a:pt x="311" y="406"/>
                    </a:lnTo>
                    <a:lnTo>
                      <a:pt x="299" y="397"/>
                    </a:lnTo>
                    <a:lnTo>
                      <a:pt x="292" y="389"/>
                    </a:lnTo>
                    <a:lnTo>
                      <a:pt x="286" y="380"/>
                    </a:lnTo>
                    <a:lnTo>
                      <a:pt x="275" y="377"/>
                    </a:lnTo>
                    <a:lnTo>
                      <a:pt x="268" y="380"/>
                    </a:lnTo>
                    <a:lnTo>
                      <a:pt x="262" y="385"/>
                    </a:lnTo>
                    <a:lnTo>
                      <a:pt x="251" y="384"/>
                    </a:lnTo>
                    <a:lnTo>
                      <a:pt x="248" y="377"/>
                    </a:lnTo>
                    <a:lnTo>
                      <a:pt x="253" y="365"/>
                    </a:lnTo>
                    <a:lnTo>
                      <a:pt x="260" y="354"/>
                    </a:lnTo>
                    <a:lnTo>
                      <a:pt x="255" y="348"/>
                    </a:lnTo>
                    <a:lnTo>
                      <a:pt x="248" y="346"/>
                    </a:lnTo>
                    <a:lnTo>
                      <a:pt x="248" y="339"/>
                    </a:lnTo>
                    <a:lnTo>
                      <a:pt x="239" y="322"/>
                    </a:lnTo>
                    <a:lnTo>
                      <a:pt x="231" y="305"/>
                    </a:lnTo>
                    <a:lnTo>
                      <a:pt x="220" y="289"/>
                    </a:lnTo>
                    <a:lnTo>
                      <a:pt x="210" y="277"/>
                    </a:lnTo>
                    <a:lnTo>
                      <a:pt x="193" y="265"/>
                    </a:lnTo>
                    <a:lnTo>
                      <a:pt x="177" y="258"/>
                    </a:lnTo>
                    <a:lnTo>
                      <a:pt x="160" y="251"/>
                    </a:lnTo>
                    <a:lnTo>
                      <a:pt x="141" y="251"/>
                    </a:lnTo>
                    <a:lnTo>
                      <a:pt x="131" y="251"/>
                    </a:lnTo>
                    <a:lnTo>
                      <a:pt x="126" y="251"/>
                    </a:lnTo>
                    <a:lnTo>
                      <a:pt x="117" y="255"/>
                    </a:lnTo>
                    <a:lnTo>
                      <a:pt x="108" y="258"/>
                    </a:lnTo>
                    <a:lnTo>
                      <a:pt x="102" y="255"/>
                    </a:lnTo>
                    <a:lnTo>
                      <a:pt x="95" y="253"/>
                    </a:lnTo>
                    <a:lnTo>
                      <a:pt x="86" y="253"/>
                    </a:lnTo>
                    <a:lnTo>
                      <a:pt x="84" y="256"/>
                    </a:lnTo>
                    <a:lnTo>
                      <a:pt x="86" y="258"/>
                    </a:lnTo>
                    <a:lnTo>
                      <a:pt x="90" y="260"/>
                    </a:lnTo>
                    <a:lnTo>
                      <a:pt x="86" y="262"/>
                    </a:lnTo>
                    <a:lnTo>
                      <a:pt x="83" y="262"/>
                    </a:lnTo>
                    <a:lnTo>
                      <a:pt x="72" y="260"/>
                    </a:lnTo>
                    <a:lnTo>
                      <a:pt x="64" y="258"/>
                    </a:lnTo>
                    <a:lnTo>
                      <a:pt x="53" y="253"/>
                    </a:lnTo>
                    <a:lnTo>
                      <a:pt x="50" y="250"/>
                    </a:lnTo>
                    <a:lnTo>
                      <a:pt x="53" y="244"/>
                    </a:lnTo>
                    <a:lnTo>
                      <a:pt x="59" y="241"/>
                    </a:lnTo>
                    <a:lnTo>
                      <a:pt x="48" y="234"/>
                    </a:lnTo>
                    <a:lnTo>
                      <a:pt x="40" y="232"/>
                    </a:lnTo>
                    <a:lnTo>
                      <a:pt x="29" y="232"/>
                    </a:lnTo>
                    <a:lnTo>
                      <a:pt x="21" y="232"/>
                    </a:lnTo>
                    <a:lnTo>
                      <a:pt x="28" y="224"/>
                    </a:lnTo>
                    <a:lnTo>
                      <a:pt x="36" y="222"/>
                    </a:lnTo>
                    <a:lnTo>
                      <a:pt x="43" y="222"/>
                    </a:lnTo>
                    <a:lnTo>
                      <a:pt x="50" y="222"/>
                    </a:lnTo>
                    <a:lnTo>
                      <a:pt x="53" y="220"/>
                    </a:lnTo>
                    <a:lnTo>
                      <a:pt x="59" y="219"/>
                    </a:lnTo>
                    <a:lnTo>
                      <a:pt x="88" y="219"/>
                    </a:lnTo>
                    <a:lnTo>
                      <a:pt x="91" y="212"/>
                    </a:lnTo>
                    <a:lnTo>
                      <a:pt x="95" y="207"/>
                    </a:lnTo>
                    <a:lnTo>
                      <a:pt x="74" y="207"/>
                    </a:lnTo>
                    <a:lnTo>
                      <a:pt x="71" y="210"/>
                    </a:lnTo>
                    <a:lnTo>
                      <a:pt x="69" y="212"/>
                    </a:lnTo>
                    <a:lnTo>
                      <a:pt x="59" y="212"/>
                    </a:lnTo>
                    <a:lnTo>
                      <a:pt x="50" y="212"/>
                    </a:lnTo>
                    <a:lnTo>
                      <a:pt x="40" y="208"/>
                    </a:lnTo>
                    <a:lnTo>
                      <a:pt x="24" y="203"/>
                    </a:lnTo>
                    <a:lnTo>
                      <a:pt x="7" y="194"/>
                    </a:lnTo>
                    <a:lnTo>
                      <a:pt x="0" y="189"/>
                    </a:lnTo>
                    <a:lnTo>
                      <a:pt x="2" y="181"/>
                    </a:lnTo>
                    <a:lnTo>
                      <a:pt x="9" y="177"/>
                    </a:lnTo>
                    <a:lnTo>
                      <a:pt x="19" y="177"/>
                    </a:lnTo>
                    <a:lnTo>
                      <a:pt x="29" y="177"/>
                    </a:lnTo>
                    <a:lnTo>
                      <a:pt x="40" y="170"/>
                    </a:lnTo>
                    <a:lnTo>
                      <a:pt x="53" y="165"/>
                    </a:lnTo>
                    <a:lnTo>
                      <a:pt x="64" y="162"/>
                    </a:lnTo>
                    <a:lnTo>
                      <a:pt x="74" y="164"/>
                    </a:lnTo>
                    <a:lnTo>
                      <a:pt x="84" y="162"/>
                    </a:lnTo>
                    <a:lnTo>
                      <a:pt x="96" y="162"/>
                    </a:lnTo>
                    <a:lnTo>
                      <a:pt x="105" y="150"/>
                    </a:lnTo>
                    <a:lnTo>
                      <a:pt x="110" y="134"/>
                    </a:lnTo>
                    <a:lnTo>
                      <a:pt x="100" y="133"/>
                    </a:lnTo>
                    <a:lnTo>
                      <a:pt x="88" y="131"/>
                    </a:lnTo>
                    <a:lnTo>
                      <a:pt x="76" y="129"/>
                    </a:lnTo>
                    <a:lnTo>
                      <a:pt x="72" y="124"/>
                    </a:lnTo>
                    <a:lnTo>
                      <a:pt x="76" y="117"/>
                    </a:lnTo>
                    <a:lnTo>
                      <a:pt x="83" y="117"/>
                    </a:lnTo>
                    <a:lnTo>
                      <a:pt x="95" y="110"/>
                    </a:lnTo>
                    <a:lnTo>
                      <a:pt x="110" y="103"/>
                    </a:lnTo>
                    <a:lnTo>
                      <a:pt x="122" y="95"/>
                    </a:lnTo>
                    <a:lnTo>
                      <a:pt x="133" y="88"/>
                    </a:lnTo>
                    <a:lnTo>
                      <a:pt x="138" y="91"/>
                    </a:lnTo>
                    <a:lnTo>
                      <a:pt x="146" y="93"/>
                    </a:lnTo>
                    <a:lnTo>
                      <a:pt x="153" y="88"/>
                    </a:lnTo>
                    <a:lnTo>
                      <a:pt x="155" y="79"/>
                    </a:lnTo>
                    <a:lnTo>
                      <a:pt x="157" y="71"/>
                    </a:lnTo>
                    <a:lnTo>
                      <a:pt x="165" y="67"/>
                    </a:lnTo>
                    <a:lnTo>
                      <a:pt x="177" y="64"/>
                    </a:lnTo>
                    <a:lnTo>
                      <a:pt x="189" y="62"/>
                    </a:lnTo>
                    <a:lnTo>
                      <a:pt x="200" y="60"/>
                    </a:lnTo>
                    <a:lnTo>
                      <a:pt x="213" y="60"/>
                    </a:lnTo>
                    <a:lnTo>
                      <a:pt x="222" y="55"/>
                    </a:lnTo>
                    <a:lnTo>
                      <a:pt x="232" y="52"/>
                    </a:lnTo>
                    <a:lnTo>
                      <a:pt x="241" y="48"/>
                    </a:lnTo>
                    <a:lnTo>
                      <a:pt x="251" y="48"/>
                    </a:lnTo>
                    <a:lnTo>
                      <a:pt x="256" y="50"/>
                    </a:lnTo>
                    <a:lnTo>
                      <a:pt x="262" y="55"/>
                    </a:lnTo>
                    <a:lnTo>
                      <a:pt x="265" y="60"/>
                    </a:lnTo>
                    <a:lnTo>
                      <a:pt x="272" y="64"/>
                    </a:lnTo>
                    <a:lnTo>
                      <a:pt x="270" y="59"/>
                    </a:lnTo>
                    <a:lnTo>
                      <a:pt x="270" y="53"/>
                    </a:lnTo>
                    <a:lnTo>
                      <a:pt x="275" y="48"/>
                    </a:lnTo>
                    <a:lnTo>
                      <a:pt x="284" y="55"/>
                    </a:lnTo>
                    <a:lnTo>
                      <a:pt x="299" y="60"/>
                    </a:lnTo>
                    <a:lnTo>
                      <a:pt x="303" y="60"/>
                    </a:lnTo>
                    <a:lnTo>
                      <a:pt x="306" y="60"/>
                    </a:lnTo>
                    <a:lnTo>
                      <a:pt x="305" y="55"/>
                    </a:lnTo>
                    <a:lnTo>
                      <a:pt x="303" y="50"/>
                    </a:lnTo>
                    <a:lnTo>
                      <a:pt x="306" y="43"/>
                    </a:lnTo>
                    <a:lnTo>
                      <a:pt x="315" y="43"/>
                    </a:lnTo>
                    <a:lnTo>
                      <a:pt x="329" y="43"/>
                    </a:lnTo>
                    <a:lnTo>
                      <a:pt x="341" y="48"/>
                    </a:lnTo>
                    <a:lnTo>
                      <a:pt x="351" y="53"/>
                    </a:lnTo>
                    <a:lnTo>
                      <a:pt x="361" y="60"/>
                    </a:lnTo>
                    <a:lnTo>
                      <a:pt x="384" y="60"/>
                    </a:lnTo>
                    <a:lnTo>
                      <a:pt x="373" y="55"/>
                    </a:lnTo>
                    <a:lnTo>
                      <a:pt x="365" y="52"/>
                    </a:lnTo>
                    <a:lnTo>
                      <a:pt x="356" y="45"/>
                    </a:lnTo>
                    <a:lnTo>
                      <a:pt x="354" y="40"/>
                    </a:lnTo>
                    <a:lnTo>
                      <a:pt x="356" y="35"/>
                    </a:lnTo>
                    <a:lnTo>
                      <a:pt x="363" y="35"/>
                    </a:lnTo>
                    <a:lnTo>
                      <a:pt x="370" y="35"/>
                    </a:lnTo>
                    <a:lnTo>
                      <a:pt x="375" y="35"/>
                    </a:lnTo>
                    <a:lnTo>
                      <a:pt x="370" y="31"/>
                    </a:lnTo>
                    <a:lnTo>
                      <a:pt x="365" y="28"/>
                    </a:lnTo>
                    <a:lnTo>
                      <a:pt x="375" y="23"/>
                    </a:lnTo>
                    <a:lnTo>
                      <a:pt x="385" y="19"/>
                    </a:lnTo>
                    <a:lnTo>
                      <a:pt x="396" y="17"/>
                    </a:lnTo>
                    <a:lnTo>
                      <a:pt x="408" y="17"/>
                    </a:lnTo>
                    <a:lnTo>
                      <a:pt x="423" y="16"/>
                    </a:lnTo>
                    <a:lnTo>
                      <a:pt x="440" y="21"/>
                    </a:lnTo>
                    <a:lnTo>
                      <a:pt x="451" y="21"/>
                    </a:lnTo>
                    <a:lnTo>
                      <a:pt x="451" y="14"/>
                    </a:lnTo>
                    <a:lnTo>
                      <a:pt x="459" y="14"/>
                    </a:lnTo>
                    <a:lnTo>
                      <a:pt x="470" y="14"/>
                    </a:lnTo>
                    <a:lnTo>
                      <a:pt x="487" y="11"/>
                    </a:lnTo>
                    <a:lnTo>
                      <a:pt x="504" y="7"/>
                    </a:lnTo>
                    <a:lnTo>
                      <a:pt x="511" y="4"/>
                    </a:lnTo>
                    <a:lnTo>
                      <a:pt x="521" y="2"/>
                    </a:lnTo>
                    <a:lnTo>
                      <a:pt x="530" y="0"/>
                    </a:lnTo>
                    <a:lnTo>
                      <a:pt x="540" y="0"/>
                    </a:lnTo>
                    <a:lnTo>
                      <a:pt x="549" y="0"/>
                    </a:lnTo>
                    <a:lnTo>
                      <a:pt x="559" y="0"/>
                    </a:lnTo>
                    <a:lnTo>
                      <a:pt x="568" y="0"/>
                    </a:lnTo>
                    <a:lnTo>
                      <a:pt x="578" y="0"/>
                    </a:lnTo>
                    <a:lnTo>
                      <a:pt x="585" y="0"/>
                    </a:lnTo>
                    <a:lnTo>
                      <a:pt x="595" y="0"/>
                    </a:lnTo>
                    <a:lnTo>
                      <a:pt x="604" y="0"/>
                    </a:lnTo>
                    <a:lnTo>
                      <a:pt x="614" y="0"/>
                    </a:lnTo>
                    <a:lnTo>
                      <a:pt x="623" y="0"/>
                    </a:lnTo>
                    <a:lnTo>
                      <a:pt x="633" y="2"/>
                    </a:lnTo>
                    <a:lnTo>
                      <a:pt x="643" y="5"/>
                    </a:lnTo>
                    <a:lnTo>
                      <a:pt x="654" y="11"/>
                    </a:lnTo>
                    <a:lnTo>
                      <a:pt x="671" y="19"/>
                    </a:lnTo>
                    <a:lnTo>
                      <a:pt x="690" y="29"/>
                    </a:lnTo>
                    <a:lnTo>
                      <a:pt x="700" y="29"/>
                    </a:lnTo>
                    <a:lnTo>
                      <a:pt x="712" y="31"/>
                    </a:lnTo>
                    <a:lnTo>
                      <a:pt x="722" y="33"/>
                    </a:lnTo>
                    <a:lnTo>
                      <a:pt x="735" y="35"/>
                    </a:lnTo>
                    <a:lnTo>
                      <a:pt x="726" y="43"/>
                    </a:lnTo>
                    <a:lnTo>
                      <a:pt x="712" y="48"/>
                    </a:lnTo>
                    <a:lnTo>
                      <a:pt x="695" y="52"/>
                    </a:lnTo>
                    <a:lnTo>
                      <a:pt x="683" y="55"/>
                    </a:lnTo>
                    <a:lnTo>
                      <a:pt x="571" y="60"/>
                    </a:lnTo>
                    <a:lnTo>
                      <a:pt x="576" y="60"/>
                    </a:lnTo>
                    <a:lnTo>
                      <a:pt x="588" y="62"/>
                    </a:lnTo>
                    <a:lnTo>
                      <a:pt x="604" y="60"/>
                    </a:lnTo>
                    <a:lnTo>
                      <a:pt x="623" y="60"/>
                    </a:lnTo>
                    <a:lnTo>
                      <a:pt x="638" y="59"/>
                    </a:lnTo>
                    <a:lnTo>
                      <a:pt x="655" y="59"/>
                    </a:lnTo>
                    <a:lnTo>
                      <a:pt x="666" y="59"/>
                    </a:lnTo>
                    <a:lnTo>
                      <a:pt x="674" y="60"/>
                    </a:lnTo>
                    <a:lnTo>
                      <a:pt x="669" y="66"/>
                    </a:lnTo>
                    <a:lnTo>
                      <a:pt x="662" y="74"/>
                    </a:lnTo>
                    <a:lnTo>
                      <a:pt x="655" y="83"/>
                    </a:lnTo>
                    <a:lnTo>
                      <a:pt x="655" y="86"/>
                    </a:lnTo>
                    <a:lnTo>
                      <a:pt x="666" y="81"/>
                    </a:lnTo>
                    <a:lnTo>
                      <a:pt x="683" y="71"/>
                    </a:lnTo>
                    <a:lnTo>
                      <a:pt x="700" y="60"/>
                    </a:lnTo>
                    <a:lnTo>
                      <a:pt x="716" y="57"/>
                    </a:lnTo>
                    <a:lnTo>
                      <a:pt x="724" y="62"/>
                    </a:lnTo>
                    <a:lnTo>
                      <a:pt x="728" y="72"/>
                    </a:lnTo>
                    <a:lnTo>
                      <a:pt x="721" y="79"/>
                    </a:lnTo>
                    <a:lnTo>
                      <a:pt x="710" y="95"/>
                    </a:lnTo>
                    <a:lnTo>
                      <a:pt x="698" y="107"/>
                    </a:lnTo>
                    <a:lnTo>
                      <a:pt x="693" y="117"/>
                    </a:lnTo>
                    <a:lnTo>
                      <a:pt x="704" y="109"/>
                    </a:lnTo>
                    <a:lnTo>
                      <a:pt x="719" y="95"/>
                    </a:lnTo>
                    <a:lnTo>
                      <a:pt x="731" y="81"/>
                    </a:lnTo>
                    <a:lnTo>
                      <a:pt x="741" y="74"/>
                    </a:lnTo>
                    <a:lnTo>
                      <a:pt x="750" y="74"/>
                    </a:lnTo>
                    <a:lnTo>
                      <a:pt x="762" y="74"/>
                    </a:lnTo>
                    <a:lnTo>
                      <a:pt x="771" y="74"/>
                    </a:lnTo>
                    <a:lnTo>
                      <a:pt x="774" y="74"/>
                    </a:lnTo>
                    <a:lnTo>
                      <a:pt x="779" y="74"/>
                    </a:lnTo>
                    <a:lnTo>
                      <a:pt x="786" y="76"/>
                    </a:lnTo>
                    <a:lnTo>
                      <a:pt x="795" y="69"/>
                    </a:lnTo>
                    <a:lnTo>
                      <a:pt x="805" y="66"/>
                    </a:lnTo>
                    <a:lnTo>
                      <a:pt x="829" y="66"/>
                    </a:lnTo>
                    <a:lnTo>
                      <a:pt x="833" y="59"/>
                    </a:lnTo>
                    <a:lnTo>
                      <a:pt x="839" y="59"/>
                    </a:lnTo>
                    <a:lnTo>
                      <a:pt x="846" y="59"/>
                    </a:lnTo>
                    <a:lnTo>
                      <a:pt x="857" y="64"/>
                    </a:lnTo>
                    <a:lnTo>
                      <a:pt x="865" y="69"/>
                    </a:lnTo>
                    <a:lnTo>
                      <a:pt x="870" y="76"/>
                    </a:lnTo>
                    <a:lnTo>
                      <a:pt x="864" y="83"/>
                    </a:lnTo>
                    <a:lnTo>
                      <a:pt x="858" y="88"/>
                    </a:lnTo>
                    <a:lnTo>
                      <a:pt x="846" y="91"/>
                    </a:lnTo>
                    <a:lnTo>
                      <a:pt x="834" y="100"/>
                    </a:lnTo>
                    <a:lnTo>
                      <a:pt x="822" y="105"/>
                    </a:lnTo>
                    <a:lnTo>
                      <a:pt x="807" y="109"/>
                    </a:lnTo>
                    <a:lnTo>
                      <a:pt x="812" y="109"/>
                    </a:lnTo>
                    <a:lnTo>
                      <a:pt x="817" y="109"/>
                    </a:lnTo>
                    <a:lnTo>
                      <a:pt x="814" y="115"/>
                    </a:lnTo>
                    <a:lnTo>
                      <a:pt x="808" y="121"/>
                    </a:lnTo>
                    <a:lnTo>
                      <a:pt x="800" y="122"/>
                    </a:lnTo>
                    <a:lnTo>
                      <a:pt x="795" y="124"/>
                    </a:lnTo>
                    <a:lnTo>
                      <a:pt x="795" y="127"/>
                    </a:lnTo>
                    <a:lnTo>
                      <a:pt x="795" y="131"/>
                    </a:lnTo>
                    <a:lnTo>
                      <a:pt x="786" y="139"/>
                    </a:lnTo>
                    <a:lnTo>
                      <a:pt x="772" y="143"/>
                    </a:lnTo>
                    <a:lnTo>
                      <a:pt x="772" y="148"/>
                    </a:lnTo>
                    <a:lnTo>
                      <a:pt x="772" y="152"/>
                    </a:lnTo>
                    <a:lnTo>
                      <a:pt x="765" y="162"/>
                    </a:lnTo>
                    <a:lnTo>
                      <a:pt x="752" y="172"/>
                    </a:lnTo>
                    <a:lnTo>
                      <a:pt x="747" y="182"/>
                    </a:lnTo>
                    <a:lnTo>
                      <a:pt x="743" y="194"/>
                    </a:lnTo>
                    <a:lnTo>
                      <a:pt x="750" y="194"/>
                    </a:lnTo>
                    <a:lnTo>
                      <a:pt x="759" y="194"/>
                    </a:lnTo>
                    <a:lnTo>
                      <a:pt x="769" y="196"/>
                    </a:lnTo>
                    <a:lnTo>
                      <a:pt x="779" y="203"/>
                    </a:lnTo>
                    <a:lnTo>
                      <a:pt x="774" y="205"/>
                    </a:lnTo>
                    <a:lnTo>
                      <a:pt x="769" y="207"/>
                    </a:lnTo>
                    <a:lnTo>
                      <a:pt x="772" y="210"/>
                    </a:lnTo>
                    <a:lnTo>
                      <a:pt x="781" y="213"/>
                    </a:lnTo>
                    <a:lnTo>
                      <a:pt x="788" y="217"/>
                    </a:lnTo>
                    <a:lnTo>
                      <a:pt x="791" y="225"/>
                    </a:lnTo>
                    <a:lnTo>
                      <a:pt x="786" y="231"/>
                    </a:lnTo>
                    <a:lnTo>
                      <a:pt x="776" y="232"/>
                    </a:lnTo>
                    <a:lnTo>
                      <a:pt x="764" y="232"/>
                    </a:lnTo>
                    <a:lnTo>
                      <a:pt x="755" y="232"/>
                    </a:lnTo>
                    <a:lnTo>
                      <a:pt x="748" y="234"/>
                    </a:lnTo>
                    <a:lnTo>
                      <a:pt x="747" y="239"/>
                    </a:lnTo>
                    <a:lnTo>
                      <a:pt x="752" y="246"/>
                    </a:lnTo>
                    <a:lnTo>
                      <a:pt x="762" y="248"/>
                    </a:lnTo>
                    <a:lnTo>
                      <a:pt x="765" y="260"/>
                    </a:lnTo>
                    <a:lnTo>
                      <a:pt x="769" y="270"/>
                    </a:lnTo>
                    <a:lnTo>
                      <a:pt x="767" y="275"/>
                    </a:lnTo>
                    <a:lnTo>
                      <a:pt x="769" y="280"/>
                    </a:lnTo>
                    <a:lnTo>
                      <a:pt x="759" y="280"/>
                    </a:lnTo>
                    <a:lnTo>
                      <a:pt x="753" y="287"/>
                    </a:lnTo>
                    <a:lnTo>
                      <a:pt x="755" y="291"/>
                    </a:lnTo>
                    <a:lnTo>
                      <a:pt x="760" y="294"/>
                    </a:lnTo>
                    <a:lnTo>
                      <a:pt x="767" y="296"/>
                    </a:lnTo>
                    <a:lnTo>
                      <a:pt x="774" y="298"/>
                    </a:lnTo>
                    <a:lnTo>
                      <a:pt x="764" y="306"/>
                    </a:lnTo>
                    <a:lnTo>
                      <a:pt x="752" y="311"/>
                    </a:lnTo>
                    <a:lnTo>
                      <a:pt x="752" y="315"/>
                    </a:lnTo>
                    <a:lnTo>
                      <a:pt x="755" y="320"/>
                    </a:lnTo>
                    <a:lnTo>
                      <a:pt x="748" y="327"/>
                    </a:lnTo>
                    <a:lnTo>
                      <a:pt x="741" y="330"/>
                    </a:lnTo>
                    <a:lnTo>
                      <a:pt x="733" y="332"/>
                    </a:lnTo>
                    <a:lnTo>
                      <a:pt x="728" y="339"/>
                    </a:lnTo>
                    <a:lnTo>
                      <a:pt x="719" y="332"/>
                    </a:lnTo>
                    <a:lnTo>
                      <a:pt x="712" y="327"/>
                    </a:lnTo>
                    <a:lnTo>
                      <a:pt x="705" y="327"/>
                    </a:lnTo>
                    <a:lnTo>
                      <a:pt x="710" y="334"/>
                    </a:lnTo>
                    <a:lnTo>
                      <a:pt x="721" y="337"/>
                    </a:lnTo>
                    <a:lnTo>
                      <a:pt x="728" y="341"/>
                    </a:lnTo>
                    <a:lnTo>
                      <a:pt x="733" y="349"/>
                    </a:lnTo>
                    <a:lnTo>
                      <a:pt x="731" y="360"/>
                    </a:lnTo>
                    <a:lnTo>
                      <a:pt x="726" y="365"/>
                    </a:lnTo>
                    <a:lnTo>
                      <a:pt x="717" y="361"/>
                    </a:lnTo>
                    <a:lnTo>
                      <a:pt x="709" y="356"/>
                    </a:lnTo>
                    <a:lnTo>
                      <a:pt x="700" y="348"/>
                    </a:lnTo>
                    <a:lnTo>
                      <a:pt x="697" y="341"/>
                    </a:lnTo>
                    <a:lnTo>
                      <a:pt x="692" y="341"/>
                    </a:lnTo>
                    <a:lnTo>
                      <a:pt x="692" y="349"/>
                    </a:lnTo>
                    <a:lnTo>
                      <a:pt x="705" y="360"/>
                    </a:lnTo>
                    <a:lnTo>
                      <a:pt x="722" y="372"/>
                    </a:lnTo>
                    <a:lnTo>
                      <a:pt x="728" y="377"/>
                    </a:lnTo>
                    <a:lnTo>
                      <a:pt x="735" y="385"/>
                    </a:lnTo>
                    <a:lnTo>
                      <a:pt x="738" y="392"/>
                    </a:lnTo>
                    <a:lnTo>
                      <a:pt x="741" y="404"/>
                    </a:lnTo>
                    <a:lnTo>
                      <a:pt x="736" y="409"/>
                    </a:lnTo>
                    <a:lnTo>
                      <a:pt x="728" y="411"/>
                    </a:lnTo>
                    <a:lnTo>
                      <a:pt x="714" y="406"/>
                    </a:lnTo>
                    <a:lnTo>
                      <a:pt x="705" y="397"/>
                    </a:lnTo>
                    <a:lnTo>
                      <a:pt x="698" y="389"/>
                    </a:lnTo>
                    <a:lnTo>
                      <a:pt x="688" y="385"/>
                    </a:lnTo>
                    <a:lnTo>
                      <a:pt x="685" y="385"/>
                    </a:lnTo>
                    <a:lnTo>
                      <a:pt x="681" y="385"/>
                    </a:lnTo>
                    <a:lnTo>
                      <a:pt x="683" y="392"/>
                    </a:lnTo>
                    <a:lnTo>
                      <a:pt x="686" y="397"/>
                    </a:lnTo>
                    <a:lnTo>
                      <a:pt x="681" y="403"/>
                    </a:lnTo>
                    <a:lnTo>
                      <a:pt x="674" y="404"/>
                    </a:lnTo>
                    <a:lnTo>
                      <a:pt x="674" y="408"/>
                    </a:lnTo>
                    <a:lnTo>
                      <a:pt x="681" y="411"/>
                    </a:lnTo>
                    <a:lnTo>
                      <a:pt x="688" y="413"/>
                    </a:lnTo>
                    <a:lnTo>
                      <a:pt x="698" y="416"/>
                    </a:lnTo>
                    <a:lnTo>
                      <a:pt x="707" y="416"/>
                    </a:lnTo>
                    <a:lnTo>
                      <a:pt x="717" y="418"/>
                    </a:lnTo>
                    <a:lnTo>
                      <a:pt x="724" y="420"/>
                    </a:lnTo>
                    <a:lnTo>
                      <a:pt x="731" y="421"/>
                    </a:lnTo>
                    <a:lnTo>
                      <a:pt x="719" y="427"/>
                    </a:lnTo>
                    <a:lnTo>
                      <a:pt x="709" y="432"/>
                    </a:lnTo>
                    <a:lnTo>
                      <a:pt x="697" y="435"/>
                    </a:lnTo>
                    <a:lnTo>
                      <a:pt x="688" y="444"/>
                    </a:lnTo>
                    <a:lnTo>
                      <a:pt x="679" y="449"/>
                    </a:lnTo>
                    <a:lnTo>
                      <a:pt x="673" y="456"/>
                    </a:lnTo>
                    <a:lnTo>
                      <a:pt x="657" y="458"/>
                    </a:lnTo>
                    <a:lnTo>
                      <a:pt x="645" y="459"/>
                    </a:lnTo>
                    <a:lnTo>
                      <a:pt x="633" y="461"/>
                    </a:lnTo>
                    <a:lnTo>
                      <a:pt x="619" y="468"/>
                    </a:lnTo>
                    <a:lnTo>
                      <a:pt x="597" y="468"/>
                    </a:lnTo>
                    <a:lnTo>
                      <a:pt x="588" y="471"/>
                    </a:lnTo>
                    <a:lnTo>
                      <a:pt x="587" y="476"/>
                    </a:lnTo>
                    <a:lnTo>
                      <a:pt x="573" y="485"/>
                    </a:lnTo>
                    <a:lnTo>
                      <a:pt x="563" y="497"/>
                    </a:lnTo>
                    <a:lnTo>
                      <a:pt x="556" y="511"/>
                    </a:lnTo>
                    <a:lnTo>
                      <a:pt x="545" y="516"/>
                    </a:lnTo>
                    <a:lnTo>
                      <a:pt x="537" y="518"/>
                    </a:lnTo>
                    <a:lnTo>
                      <a:pt x="526" y="519"/>
                    </a:lnTo>
                    <a:lnTo>
                      <a:pt x="518" y="526"/>
                    </a:lnTo>
                    <a:lnTo>
                      <a:pt x="509" y="526"/>
                    </a:lnTo>
                    <a:lnTo>
                      <a:pt x="509" y="516"/>
                    </a:lnTo>
                    <a:lnTo>
                      <a:pt x="502" y="521"/>
                    </a:lnTo>
                    <a:lnTo>
                      <a:pt x="499" y="528"/>
                    </a:lnTo>
                    <a:lnTo>
                      <a:pt x="487" y="533"/>
                    </a:lnTo>
                    <a:lnTo>
                      <a:pt x="475" y="537"/>
                    </a:lnTo>
                    <a:lnTo>
                      <a:pt x="464" y="542"/>
                    </a:lnTo>
                    <a:lnTo>
                      <a:pt x="461" y="552"/>
                    </a:lnTo>
                    <a:lnTo>
                      <a:pt x="461" y="554"/>
                    </a:lnTo>
                    <a:lnTo>
                      <a:pt x="463" y="557"/>
                    </a:lnTo>
                    <a:lnTo>
                      <a:pt x="459" y="559"/>
                    </a:lnTo>
                    <a:lnTo>
                      <a:pt x="459" y="562"/>
                    </a:lnTo>
                    <a:lnTo>
                      <a:pt x="461" y="568"/>
                    </a:lnTo>
                    <a:lnTo>
                      <a:pt x="464" y="575"/>
                    </a:lnTo>
                    <a:lnTo>
                      <a:pt x="459" y="583"/>
                    </a:lnTo>
                    <a:lnTo>
                      <a:pt x="452" y="588"/>
                    </a:lnTo>
                    <a:lnTo>
                      <a:pt x="444" y="592"/>
                    </a:lnTo>
                    <a:lnTo>
                      <a:pt x="442" y="600"/>
                    </a:lnTo>
                    <a:lnTo>
                      <a:pt x="440" y="616"/>
                    </a:lnTo>
                    <a:lnTo>
                      <a:pt x="442" y="628"/>
                    </a:lnTo>
                    <a:lnTo>
                      <a:pt x="434" y="635"/>
                    </a:lnTo>
                    <a:lnTo>
                      <a:pt x="432" y="647"/>
                    </a:lnTo>
                    <a:lnTo>
                      <a:pt x="428" y="655"/>
                    </a:lnTo>
                    <a:lnTo>
                      <a:pt x="421" y="660"/>
                    </a:lnTo>
                    <a:lnTo>
                      <a:pt x="416" y="659"/>
                    </a:lnTo>
                    <a:lnTo>
                      <a:pt x="416" y="655"/>
                    </a:lnTo>
                    <a:lnTo>
                      <a:pt x="409" y="657"/>
                    </a:lnTo>
                    <a:lnTo>
                      <a:pt x="406" y="659"/>
                    </a:lnTo>
                    <a:lnTo>
                      <a:pt x="397" y="654"/>
                    </a:lnTo>
                    <a:lnTo>
                      <a:pt x="392" y="647"/>
                    </a:lnTo>
                    <a:lnTo>
                      <a:pt x="387" y="638"/>
                    </a:lnTo>
                    <a:lnTo>
                      <a:pt x="382" y="636"/>
                    </a:lnTo>
                    <a:lnTo>
                      <a:pt x="370" y="638"/>
                    </a:lnTo>
                    <a:lnTo>
                      <a:pt x="360" y="643"/>
                    </a:lnTo>
                    <a:lnTo>
                      <a:pt x="353" y="633"/>
                    </a:lnTo>
                    <a:lnTo>
                      <a:pt x="344" y="628"/>
                    </a:lnTo>
                    <a:lnTo>
                      <a:pt x="341" y="623"/>
                    </a:lnTo>
                    <a:lnTo>
                      <a:pt x="341" y="619"/>
                    </a:lnTo>
                    <a:lnTo>
                      <a:pt x="330" y="609"/>
                    </a:lnTo>
                    <a:lnTo>
                      <a:pt x="320" y="599"/>
                    </a:lnTo>
                    <a:lnTo>
                      <a:pt x="311" y="585"/>
                    </a:lnTo>
                    <a:lnTo>
                      <a:pt x="310" y="573"/>
                    </a:lnTo>
                    <a:lnTo>
                      <a:pt x="311" y="566"/>
                    </a:lnTo>
                    <a:lnTo>
                      <a:pt x="318" y="562"/>
                    </a:lnTo>
                    <a:lnTo>
                      <a:pt x="308" y="559"/>
                    </a:lnTo>
                    <a:lnTo>
                      <a:pt x="299" y="562"/>
                    </a:lnTo>
                    <a:lnTo>
                      <a:pt x="296" y="554"/>
                    </a:lnTo>
                    <a:lnTo>
                      <a:pt x="294" y="545"/>
                    </a:lnTo>
                    <a:lnTo>
                      <a:pt x="289" y="537"/>
                    </a:lnTo>
                    <a:lnTo>
                      <a:pt x="284" y="532"/>
                    </a:lnTo>
                    <a:lnTo>
                      <a:pt x="279" y="523"/>
                    </a:lnTo>
                    <a:lnTo>
                      <a:pt x="277" y="516"/>
                    </a:lnTo>
                    <a:lnTo>
                      <a:pt x="279" y="509"/>
                    </a:lnTo>
                    <a:lnTo>
                      <a:pt x="282" y="504"/>
                    </a:lnTo>
                    <a:lnTo>
                      <a:pt x="277" y="501"/>
                    </a:lnTo>
                    <a:lnTo>
                      <a:pt x="272" y="504"/>
                    </a:lnTo>
                    <a:lnTo>
                      <a:pt x="272" y="492"/>
                    </a:lnTo>
                    <a:lnTo>
                      <a:pt x="280" y="476"/>
                    </a:lnTo>
                    <a:lnTo>
                      <a:pt x="292" y="464"/>
                    </a:lnTo>
                    <a:lnTo>
                      <a:pt x="292" y="46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85" name="Freeform 337"/>
              <p:cNvSpPr>
                <a:spLocks/>
              </p:cNvSpPr>
              <p:nvPr/>
            </p:nvSpPr>
            <p:spPr bwMode="auto">
              <a:xfrm>
                <a:off x="3056732" y="2052638"/>
                <a:ext cx="68263" cy="44450"/>
              </a:xfrm>
              <a:custGeom>
                <a:avLst/>
                <a:gdLst/>
                <a:ahLst/>
                <a:cxnLst>
                  <a:cxn ang="0">
                    <a:pos x="10" y="28"/>
                  </a:cxn>
                  <a:cxn ang="0">
                    <a:pos x="4" y="21"/>
                  </a:cxn>
                  <a:cxn ang="0">
                    <a:pos x="0" y="9"/>
                  </a:cxn>
                  <a:cxn ang="0">
                    <a:pos x="4" y="2"/>
                  </a:cxn>
                  <a:cxn ang="0">
                    <a:pos x="12" y="0"/>
                  </a:cxn>
                  <a:cxn ang="0">
                    <a:pos x="19" y="2"/>
                  </a:cxn>
                  <a:cxn ang="0">
                    <a:pos x="26" y="7"/>
                  </a:cxn>
                  <a:cxn ang="0">
                    <a:pos x="33" y="12"/>
                  </a:cxn>
                  <a:cxn ang="0">
                    <a:pos x="43" y="18"/>
                  </a:cxn>
                  <a:cxn ang="0">
                    <a:pos x="34" y="24"/>
                  </a:cxn>
                  <a:cxn ang="0">
                    <a:pos x="22" y="28"/>
                  </a:cxn>
                  <a:cxn ang="0">
                    <a:pos x="10" y="28"/>
                  </a:cxn>
                </a:cxnLst>
                <a:rect l="0" t="0" r="r" b="b"/>
                <a:pathLst>
                  <a:path w="43" h="28">
                    <a:moveTo>
                      <a:pt x="10" y="28"/>
                    </a:moveTo>
                    <a:lnTo>
                      <a:pt x="4" y="21"/>
                    </a:lnTo>
                    <a:lnTo>
                      <a:pt x="0" y="9"/>
                    </a:lnTo>
                    <a:lnTo>
                      <a:pt x="4" y="2"/>
                    </a:lnTo>
                    <a:lnTo>
                      <a:pt x="12" y="0"/>
                    </a:lnTo>
                    <a:lnTo>
                      <a:pt x="19" y="2"/>
                    </a:lnTo>
                    <a:lnTo>
                      <a:pt x="26" y="7"/>
                    </a:lnTo>
                    <a:lnTo>
                      <a:pt x="33" y="12"/>
                    </a:lnTo>
                    <a:lnTo>
                      <a:pt x="43" y="18"/>
                    </a:lnTo>
                    <a:lnTo>
                      <a:pt x="34" y="24"/>
                    </a:lnTo>
                    <a:lnTo>
                      <a:pt x="22" y="28"/>
                    </a:lnTo>
                    <a:lnTo>
                      <a:pt x="10"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86" name="Freeform 338"/>
              <p:cNvSpPr>
                <a:spLocks/>
              </p:cNvSpPr>
              <p:nvPr/>
            </p:nvSpPr>
            <p:spPr bwMode="auto">
              <a:xfrm>
                <a:off x="3882232" y="1827213"/>
                <a:ext cx="34925" cy="20637"/>
              </a:xfrm>
              <a:custGeom>
                <a:avLst/>
                <a:gdLst/>
                <a:ahLst/>
                <a:cxnLst>
                  <a:cxn ang="0">
                    <a:pos x="6" y="13"/>
                  </a:cxn>
                  <a:cxn ang="0">
                    <a:pos x="1" y="10"/>
                  </a:cxn>
                  <a:cxn ang="0">
                    <a:pos x="0" y="6"/>
                  </a:cxn>
                  <a:cxn ang="0">
                    <a:pos x="1" y="1"/>
                  </a:cxn>
                  <a:cxn ang="0">
                    <a:pos x="5" y="0"/>
                  </a:cxn>
                  <a:cxn ang="0">
                    <a:pos x="13" y="0"/>
                  </a:cxn>
                  <a:cxn ang="0">
                    <a:pos x="13" y="3"/>
                  </a:cxn>
                  <a:cxn ang="0">
                    <a:pos x="13" y="6"/>
                  </a:cxn>
                  <a:cxn ang="0">
                    <a:pos x="22" y="6"/>
                  </a:cxn>
                  <a:cxn ang="0">
                    <a:pos x="15" y="10"/>
                  </a:cxn>
                  <a:cxn ang="0">
                    <a:pos x="6" y="13"/>
                  </a:cxn>
                </a:cxnLst>
                <a:rect l="0" t="0" r="r" b="b"/>
                <a:pathLst>
                  <a:path w="22" h="13">
                    <a:moveTo>
                      <a:pt x="6" y="13"/>
                    </a:moveTo>
                    <a:lnTo>
                      <a:pt x="1" y="10"/>
                    </a:lnTo>
                    <a:lnTo>
                      <a:pt x="0" y="6"/>
                    </a:lnTo>
                    <a:lnTo>
                      <a:pt x="1" y="1"/>
                    </a:lnTo>
                    <a:lnTo>
                      <a:pt x="5" y="0"/>
                    </a:lnTo>
                    <a:lnTo>
                      <a:pt x="13" y="0"/>
                    </a:lnTo>
                    <a:lnTo>
                      <a:pt x="13" y="3"/>
                    </a:lnTo>
                    <a:lnTo>
                      <a:pt x="13" y="6"/>
                    </a:lnTo>
                    <a:lnTo>
                      <a:pt x="22" y="6"/>
                    </a:lnTo>
                    <a:lnTo>
                      <a:pt x="15" y="10"/>
                    </a:lnTo>
                    <a:lnTo>
                      <a:pt x="6"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87" name="Freeform 339"/>
              <p:cNvSpPr>
                <a:spLocks/>
              </p:cNvSpPr>
              <p:nvPr/>
            </p:nvSpPr>
            <p:spPr bwMode="auto">
              <a:xfrm>
                <a:off x="2958307" y="2716213"/>
                <a:ext cx="150813" cy="147637"/>
              </a:xfrm>
              <a:custGeom>
                <a:avLst/>
                <a:gdLst/>
                <a:ahLst/>
                <a:cxnLst>
                  <a:cxn ang="0">
                    <a:pos x="2" y="74"/>
                  </a:cxn>
                  <a:cxn ang="0">
                    <a:pos x="4" y="67"/>
                  </a:cxn>
                  <a:cxn ang="0">
                    <a:pos x="9" y="60"/>
                  </a:cxn>
                  <a:cxn ang="0">
                    <a:pos x="5" y="59"/>
                  </a:cxn>
                  <a:cxn ang="0">
                    <a:pos x="21" y="38"/>
                  </a:cxn>
                  <a:cxn ang="0">
                    <a:pos x="33" y="16"/>
                  </a:cxn>
                  <a:cxn ang="0">
                    <a:pos x="48" y="0"/>
                  </a:cxn>
                  <a:cxn ang="0">
                    <a:pos x="52" y="5"/>
                  </a:cxn>
                  <a:cxn ang="0">
                    <a:pos x="38" y="31"/>
                  </a:cxn>
                  <a:cxn ang="0">
                    <a:pos x="41" y="35"/>
                  </a:cxn>
                  <a:cxn ang="0">
                    <a:pos x="48" y="33"/>
                  </a:cxn>
                  <a:cxn ang="0">
                    <a:pos x="52" y="38"/>
                  </a:cxn>
                  <a:cxn ang="0">
                    <a:pos x="60" y="41"/>
                  </a:cxn>
                  <a:cxn ang="0">
                    <a:pos x="60" y="45"/>
                  </a:cxn>
                  <a:cxn ang="0">
                    <a:pos x="74" y="43"/>
                  </a:cxn>
                  <a:cxn ang="0">
                    <a:pos x="81" y="48"/>
                  </a:cxn>
                  <a:cxn ang="0">
                    <a:pos x="83" y="59"/>
                  </a:cxn>
                  <a:cxn ang="0">
                    <a:pos x="83" y="62"/>
                  </a:cxn>
                  <a:cxn ang="0">
                    <a:pos x="83" y="69"/>
                  </a:cxn>
                  <a:cxn ang="0">
                    <a:pos x="88" y="72"/>
                  </a:cxn>
                  <a:cxn ang="0">
                    <a:pos x="93" y="76"/>
                  </a:cxn>
                  <a:cxn ang="0">
                    <a:pos x="91" y="90"/>
                  </a:cxn>
                  <a:cxn ang="0">
                    <a:pos x="83" y="90"/>
                  </a:cxn>
                  <a:cxn ang="0">
                    <a:pos x="79" y="86"/>
                  </a:cxn>
                  <a:cxn ang="0">
                    <a:pos x="74" y="79"/>
                  </a:cxn>
                  <a:cxn ang="0">
                    <a:pos x="66" y="81"/>
                  </a:cxn>
                  <a:cxn ang="0">
                    <a:pos x="55" y="86"/>
                  </a:cxn>
                  <a:cxn ang="0">
                    <a:pos x="60" y="78"/>
                  </a:cxn>
                  <a:cxn ang="0">
                    <a:pos x="47" y="76"/>
                  </a:cxn>
                  <a:cxn ang="0">
                    <a:pos x="36" y="79"/>
                  </a:cxn>
                  <a:cxn ang="0">
                    <a:pos x="21" y="76"/>
                  </a:cxn>
                  <a:cxn ang="0">
                    <a:pos x="5" y="78"/>
                  </a:cxn>
                </a:cxnLst>
                <a:rect l="0" t="0" r="r" b="b"/>
                <a:pathLst>
                  <a:path w="95" h="93">
                    <a:moveTo>
                      <a:pt x="5" y="78"/>
                    </a:moveTo>
                    <a:lnTo>
                      <a:pt x="2" y="74"/>
                    </a:lnTo>
                    <a:lnTo>
                      <a:pt x="0" y="72"/>
                    </a:lnTo>
                    <a:lnTo>
                      <a:pt x="4" y="67"/>
                    </a:lnTo>
                    <a:lnTo>
                      <a:pt x="9" y="64"/>
                    </a:lnTo>
                    <a:lnTo>
                      <a:pt x="9" y="60"/>
                    </a:lnTo>
                    <a:lnTo>
                      <a:pt x="7" y="59"/>
                    </a:lnTo>
                    <a:lnTo>
                      <a:pt x="5" y="59"/>
                    </a:lnTo>
                    <a:lnTo>
                      <a:pt x="14" y="48"/>
                    </a:lnTo>
                    <a:lnTo>
                      <a:pt x="21" y="38"/>
                    </a:lnTo>
                    <a:lnTo>
                      <a:pt x="26" y="24"/>
                    </a:lnTo>
                    <a:lnTo>
                      <a:pt x="33" y="16"/>
                    </a:lnTo>
                    <a:lnTo>
                      <a:pt x="38" y="5"/>
                    </a:lnTo>
                    <a:lnTo>
                      <a:pt x="48" y="0"/>
                    </a:lnTo>
                    <a:lnTo>
                      <a:pt x="50" y="2"/>
                    </a:lnTo>
                    <a:lnTo>
                      <a:pt x="52" y="5"/>
                    </a:lnTo>
                    <a:lnTo>
                      <a:pt x="45" y="19"/>
                    </a:lnTo>
                    <a:lnTo>
                      <a:pt x="38" y="31"/>
                    </a:lnTo>
                    <a:lnTo>
                      <a:pt x="38" y="36"/>
                    </a:lnTo>
                    <a:lnTo>
                      <a:pt x="41" y="35"/>
                    </a:lnTo>
                    <a:lnTo>
                      <a:pt x="45" y="33"/>
                    </a:lnTo>
                    <a:lnTo>
                      <a:pt x="48" y="33"/>
                    </a:lnTo>
                    <a:lnTo>
                      <a:pt x="53" y="35"/>
                    </a:lnTo>
                    <a:lnTo>
                      <a:pt x="52" y="38"/>
                    </a:lnTo>
                    <a:lnTo>
                      <a:pt x="52" y="41"/>
                    </a:lnTo>
                    <a:lnTo>
                      <a:pt x="60" y="41"/>
                    </a:lnTo>
                    <a:lnTo>
                      <a:pt x="60" y="43"/>
                    </a:lnTo>
                    <a:lnTo>
                      <a:pt x="60" y="45"/>
                    </a:lnTo>
                    <a:lnTo>
                      <a:pt x="66" y="43"/>
                    </a:lnTo>
                    <a:lnTo>
                      <a:pt x="74" y="43"/>
                    </a:lnTo>
                    <a:lnTo>
                      <a:pt x="81" y="43"/>
                    </a:lnTo>
                    <a:lnTo>
                      <a:pt x="81" y="48"/>
                    </a:lnTo>
                    <a:lnTo>
                      <a:pt x="81" y="59"/>
                    </a:lnTo>
                    <a:lnTo>
                      <a:pt x="83" y="59"/>
                    </a:lnTo>
                    <a:lnTo>
                      <a:pt x="86" y="59"/>
                    </a:lnTo>
                    <a:lnTo>
                      <a:pt x="83" y="62"/>
                    </a:lnTo>
                    <a:lnTo>
                      <a:pt x="81" y="65"/>
                    </a:lnTo>
                    <a:lnTo>
                      <a:pt x="83" y="69"/>
                    </a:lnTo>
                    <a:lnTo>
                      <a:pt x="84" y="74"/>
                    </a:lnTo>
                    <a:lnTo>
                      <a:pt x="88" y="72"/>
                    </a:lnTo>
                    <a:lnTo>
                      <a:pt x="91" y="71"/>
                    </a:lnTo>
                    <a:lnTo>
                      <a:pt x="93" y="76"/>
                    </a:lnTo>
                    <a:lnTo>
                      <a:pt x="95" y="81"/>
                    </a:lnTo>
                    <a:lnTo>
                      <a:pt x="91" y="90"/>
                    </a:lnTo>
                    <a:lnTo>
                      <a:pt x="86" y="93"/>
                    </a:lnTo>
                    <a:lnTo>
                      <a:pt x="83" y="90"/>
                    </a:lnTo>
                    <a:lnTo>
                      <a:pt x="83" y="88"/>
                    </a:lnTo>
                    <a:lnTo>
                      <a:pt x="79" y="86"/>
                    </a:lnTo>
                    <a:lnTo>
                      <a:pt x="78" y="86"/>
                    </a:lnTo>
                    <a:lnTo>
                      <a:pt x="74" y="79"/>
                    </a:lnTo>
                    <a:lnTo>
                      <a:pt x="72" y="72"/>
                    </a:lnTo>
                    <a:lnTo>
                      <a:pt x="66" y="81"/>
                    </a:lnTo>
                    <a:lnTo>
                      <a:pt x="59" y="86"/>
                    </a:lnTo>
                    <a:lnTo>
                      <a:pt x="55" y="86"/>
                    </a:lnTo>
                    <a:lnTo>
                      <a:pt x="57" y="81"/>
                    </a:lnTo>
                    <a:lnTo>
                      <a:pt x="60" y="78"/>
                    </a:lnTo>
                    <a:lnTo>
                      <a:pt x="52" y="78"/>
                    </a:lnTo>
                    <a:lnTo>
                      <a:pt x="47" y="76"/>
                    </a:lnTo>
                    <a:lnTo>
                      <a:pt x="41" y="78"/>
                    </a:lnTo>
                    <a:lnTo>
                      <a:pt x="36" y="79"/>
                    </a:lnTo>
                    <a:lnTo>
                      <a:pt x="28" y="78"/>
                    </a:lnTo>
                    <a:lnTo>
                      <a:pt x="21" y="76"/>
                    </a:lnTo>
                    <a:lnTo>
                      <a:pt x="12" y="76"/>
                    </a:lnTo>
                    <a:lnTo>
                      <a:pt x="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88" name="Freeform 340"/>
              <p:cNvSpPr>
                <a:spLocks/>
              </p:cNvSpPr>
              <p:nvPr/>
            </p:nvSpPr>
            <p:spPr bwMode="auto">
              <a:xfrm>
                <a:off x="7455694" y="1779588"/>
                <a:ext cx="177800" cy="68262"/>
              </a:xfrm>
              <a:custGeom>
                <a:avLst/>
                <a:gdLst/>
                <a:ahLst/>
                <a:cxnLst>
                  <a:cxn ang="0">
                    <a:pos x="89" y="33"/>
                  </a:cxn>
                  <a:cxn ang="0">
                    <a:pos x="82" y="35"/>
                  </a:cxn>
                  <a:cxn ang="0">
                    <a:pos x="76" y="38"/>
                  </a:cxn>
                  <a:cxn ang="0">
                    <a:pos x="70" y="35"/>
                  </a:cxn>
                  <a:cxn ang="0">
                    <a:pos x="67" y="33"/>
                  </a:cxn>
                  <a:cxn ang="0">
                    <a:pos x="62" y="35"/>
                  </a:cxn>
                  <a:cxn ang="0">
                    <a:pos x="57" y="36"/>
                  </a:cxn>
                  <a:cxn ang="0">
                    <a:pos x="52" y="38"/>
                  </a:cxn>
                  <a:cxn ang="0">
                    <a:pos x="46" y="42"/>
                  </a:cxn>
                  <a:cxn ang="0">
                    <a:pos x="39" y="40"/>
                  </a:cxn>
                  <a:cxn ang="0">
                    <a:pos x="36" y="36"/>
                  </a:cxn>
                  <a:cxn ang="0">
                    <a:pos x="31" y="40"/>
                  </a:cxn>
                  <a:cxn ang="0">
                    <a:pos x="26" y="43"/>
                  </a:cxn>
                  <a:cxn ang="0">
                    <a:pos x="15" y="40"/>
                  </a:cxn>
                  <a:cxn ang="0">
                    <a:pos x="7" y="36"/>
                  </a:cxn>
                  <a:cxn ang="0">
                    <a:pos x="0" y="28"/>
                  </a:cxn>
                  <a:cxn ang="0">
                    <a:pos x="0" y="21"/>
                  </a:cxn>
                  <a:cxn ang="0">
                    <a:pos x="7" y="6"/>
                  </a:cxn>
                  <a:cxn ang="0">
                    <a:pos x="22" y="0"/>
                  </a:cxn>
                  <a:cxn ang="0">
                    <a:pos x="31" y="2"/>
                  </a:cxn>
                  <a:cxn ang="0">
                    <a:pos x="38" y="9"/>
                  </a:cxn>
                  <a:cxn ang="0">
                    <a:pos x="43" y="14"/>
                  </a:cxn>
                  <a:cxn ang="0">
                    <a:pos x="53" y="18"/>
                  </a:cxn>
                  <a:cxn ang="0">
                    <a:pos x="55" y="7"/>
                  </a:cxn>
                  <a:cxn ang="0">
                    <a:pos x="62" y="4"/>
                  </a:cxn>
                  <a:cxn ang="0">
                    <a:pos x="70" y="4"/>
                  </a:cxn>
                  <a:cxn ang="0">
                    <a:pos x="86" y="9"/>
                  </a:cxn>
                  <a:cxn ang="0">
                    <a:pos x="100" y="12"/>
                  </a:cxn>
                  <a:cxn ang="0">
                    <a:pos x="112" y="18"/>
                  </a:cxn>
                  <a:cxn ang="0">
                    <a:pos x="107" y="26"/>
                  </a:cxn>
                  <a:cxn ang="0">
                    <a:pos x="103" y="33"/>
                  </a:cxn>
                  <a:cxn ang="0">
                    <a:pos x="89" y="33"/>
                  </a:cxn>
                </a:cxnLst>
                <a:rect l="0" t="0" r="r" b="b"/>
                <a:pathLst>
                  <a:path w="112" h="43">
                    <a:moveTo>
                      <a:pt x="89" y="33"/>
                    </a:moveTo>
                    <a:lnTo>
                      <a:pt x="82" y="35"/>
                    </a:lnTo>
                    <a:lnTo>
                      <a:pt x="76" y="38"/>
                    </a:lnTo>
                    <a:lnTo>
                      <a:pt x="70" y="35"/>
                    </a:lnTo>
                    <a:lnTo>
                      <a:pt x="67" y="33"/>
                    </a:lnTo>
                    <a:lnTo>
                      <a:pt x="62" y="35"/>
                    </a:lnTo>
                    <a:lnTo>
                      <a:pt x="57" y="36"/>
                    </a:lnTo>
                    <a:lnTo>
                      <a:pt x="52" y="38"/>
                    </a:lnTo>
                    <a:lnTo>
                      <a:pt x="46" y="42"/>
                    </a:lnTo>
                    <a:lnTo>
                      <a:pt x="39" y="40"/>
                    </a:lnTo>
                    <a:lnTo>
                      <a:pt x="36" y="36"/>
                    </a:lnTo>
                    <a:lnTo>
                      <a:pt x="31" y="40"/>
                    </a:lnTo>
                    <a:lnTo>
                      <a:pt x="26" y="43"/>
                    </a:lnTo>
                    <a:lnTo>
                      <a:pt x="15" y="40"/>
                    </a:lnTo>
                    <a:lnTo>
                      <a:pt x="7" y="36"/>
                    </a:lnTo>
                    <a:lnTo>
                      <a:pt x="0" y="28"/>
                    </a:lnTo>
                    <a:lnTo>
                      <a:pt x="0" y="21"/>
                    </a:lnTo>
                    <a:lnTo>
                      <a:pt x="7" y="6"/>
                    </a:lnTo>
                    <a:lnTo>
                      <a:pt x="22" y="0"/>
                    </a:lnTo>
                    <a:lnTo>
                      <a:pt x="31" y="2"/>
                    </a:lnTo>
                    <a:lnTo>
                      <a:pt x="38" y="9"/>
                    </a:lnTo>
                    <a:lnTo>
                      <a:pt x="43" y="14"/>
                    </a:lnTo>
                    <a:lnTo>
                      <a:pt x="53" y="18"/>
                    </a:lnTo>
                    <a:lnTo>
                      <a:pt x="55" y="7"/>
                    </a:lnTo>
                    <a:lnTo>
                      <a:pt x="62" y="4"/>
                    </a:lnTo>
                    <a:lnTo>
                      <a:pt x="70" y="4"/>
                    </a:lnTo>
                    <a:lnTo>
                      <a:pt x="86" y="9"/>
                    </a:lnTo>
                    <a:lnTo>
                      <a:pt x="100" y="12"/>
                    </a:lnTo>
                    <a:lnTo>
                      <a:pt x="112" y="18"/>
                    </a:lnTo>
                    <a:lnTo>
                      <a:pt x="107" y="26"/>
                    </a:lnTo>
                    <a:lnTo>
                      <a:pt x="103" y="33"/>
                    </a:lnTo>
                    <a:lnTo>
                      <a:pt x="89"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89" name="Freeform 341"/>
              <p:cNvSpPr>
                <a:spLocks/>
              </p:cNvSpPr>
              <p:nvPr/>
            </p:nvSpPr>
            <p:spPr bwMode="auto">
              <a:xfrm>
                <a:off x="1629569" y="3248025"/>
                <a:ext cx="919163" cy="617537"/>
              </a:xfrm>
              <a:custGeom>
                <a:avLst/>
                <a:gdLst/>
                <a:ahLst/>
                <a:cxnLst>
                  <a:cxn ang="0">
                    <a:pos x="283" y="123"/>
                  </a:cxn>
                  <a:cxn ang="0">
                    <a:pos x="285" y="171"/>
                  </a:cxn>
                  <a:cxn ang="0">
                    <a:pos x="299" y="198"/>
                  </a:cxn>
                  <a:cxn ang="0">
                    <a:pos x="330" y="226"/>
                  </a:cxn>
                  <a:cxn ang="0">
                    <a:pos x="368" y="222"/>
                  </a:cxn>
                  <a:cxn ang="0">
                    <a:pos x="387" y="193"/>
                  </a:cxn>
                  <a:cxn ang="0">
                    <a:pos x="416" y="174"/>
                  </a:cxn>
                  <a:cxn ang="0">
                    <a:pos x="438" y="176"/>
                  </a:cxn>
                  <a:cxn ang="0">
                    <a:pos x="430" y="207"/>
                  </a:cxn>
                  <a:cxn ang="0">
                    <a:pos x="421" y="221"/>
                  </a:cxn>
                  <a:cxn ang="0">
                    <a:pos x="414" y="250"/>
                  </a:cxn>
                  <a:cxn ang="0">
                    <a:pos x="416" y="262"/>
                  </a:cxn>
                  <a:cxn ang="0">
                    <a:pos x="464" y="260"/>
                  </a:cxn>
                  <a:cxn ang="0">
                    <a:pos x="488" y="277"/>
                  </a:cxn>
                  <a:cxn ang="0">
                    <a:pos x="485" y="331"/>
                  </a:cxn>
                  <a:cxn ang="0">
                    <a:pos x="519" y="363"/>
                  </a:cxn>
                  <a:cxn ang="0">
                    <a:pos x="565" y="358"/>
                  </a:cxn>
                  <a:cxn ang="0">
                    <a:pos x="565" y="380"/>
                  </a:cxn>
                  <a:cxn ang="0">
                    <a:pos x="564" y="372"/>
                  </a:cxn>
                  <a:cxn ang="0">
                    <a:pos x="540" y="368"/>
                  </a:cxn>
                  <a:cxn ang="0">
                    <a:pos x="536" y="380"/>
                  </a:cxn>
                  <a:cxn ang="0">
                    <a:pos x="512" y="375"/>
                  </a:cxn>
                  <a:cxn ang="0">
                    <a:pos x="488" y="367"/>
                  </a:cxn>
                  <a:cxn ang="0">
                    <a:pos x="467" y="346"/>
                  </a:cxn>
                  <a:cxn ang="0">
                    <a:pos x="461" y="351"/>
                  </a:cxn>
                  <a:cxn ang="0">
                    <a:pos x="448" y="324"/>
                  </a:cxn>
                  <a:cxn ang="0">
                    <a:pos x="426" y="298"/>
                  </a:cxn>
                  <a:cxn ang="0">
                    <a:pos x="395" y="293"/>
                  </a:cxn>
                  <a:cxn ang="0">
                    <a:pos x="350" y="270"/>
                  </a:cxn>
                  <a:cxn ang="0">
                    <a:pos x="328" y="255"/>
                  </a:cxn>
                  <a:cxn ang="0">
                    <a:pos x="297" y="262"/>
                  </a:cxn>
                  <a:cxn ang="0">
                    <a:pos x="275" y="257"/>
                  </a:cxn>
                  <a:cxn ang="0">
                    <a:pos x="246" y="243"/>
                  </a:cxn>
                  <a:cxn ang="0">
                    <a:pos x="215" y="229"/>
                  </a:cxn>
                  <a:cxn ang="0">
                    <a:pos x="192" y="219"/>
                  </a:cxn>
                  <a:cxn ang="0">
                    <a:pos x="172" y="203"/>
                  </a:cxn>
                  <a:cxn ang="0">
                    <a:pos x="172" y="176"/>
                  </a:cxn>
                  <a:cxn ang="0">
                    <a:pos x="144" y="135"/>
                  </a:cxn>
                  <a:cxn ang="0">
                    <a:pos x="115" y="107"/>
                  </a:cxn>
                  <a:cxn ang="0">
                    <a:pos x="96" y="83"/>
                  </a:cxn>
                  <a:cxn ang="0">
                    <a:pos x="79" y="68"/>
                  </a:cxn>
                  <a:cxn ang="0">
                    <a:pos x="58" y="31"/>
                  </a:cxn>
                  <a:cxn ang="0">
                    <a:pos x="31" y="18"/>
                  </a:cxn>
                  <a:cxn ang="0">
                    <a:pos x="48" y="54"/>
                  </a:cxn>
                  <a:cxn ang="0">
                    <a:pos x="75" y="95"/>
                  </a:cxn>
                  <a:cxn ang="0">
                    <a:pos x="92" y="133"/>
                  </a:cxn>
                  <a:cxn ang="0">
                    <a:pos x="108" y="153"/>
                  </a:cxn>
                  <a:cxn ang="0">
                    <a:pos x="86" y="138"/>
                  </a:cxn>
                  <a:cxn ang="0">
                    <a:pos x="74" y="112"/>
                  </a:cxn>
                  <a:cxn ang="0">
                    <a:pos x="36" y="83"/>
                  </a:cxn>
                  <a:cxn ang="0">
                    <a:pos x="20" y="50"/>
                  </a:cxn>
                  <a:cxn ang="0">
                    <a:pos x="12" y="26"/>
                  </a:cxn>
                  <a:cxn ang="0">
                    <a:pos x="32" y="0"/>
                  </a:cxn>
                  <a:cxn ang="0">
                    <a:pos x="139" y="11"/>
                  </a:cxn>
                  <a:cxn ang="0">
                    <a:pos x="173" y="33"/>
                  </a:cxn>
                  <a:cxn ang="0">
                    <a:pos x="197" y="57"/>
                  </a:cxn>
                  <a:cxn ang="0">
                    <a:pos x="215" y="42"/>
                  </a:cxn>
                  <a:cxn ang="0">
                    <a:pos x="242" y="62"/>
                  </a:cxn>
                  <a:cxn ang="0">
                    <a:pos x="261" y="97"/>
                  </a:cxn>
                  <a:cxn ang="0">
                    <a:pos x="283" y="98"/>
                  </a:cxn>
                </a:cxnLst>
                <a:rect l="0" t="0" r="r" b="b"/>
                <a:pathLst>
                  <a:path w="579" h="389">
                    <a:moveTo>
                      <a:pt x="285" y="104"/>
                    </a:moveTo>
                    <a:lnTo>
                      <a:pt x="285" y="107"/>
                    </a:lnTo>
                    <a:lnTo>
                      <a:pt x="287" y="112"/>
                    </a:lnTo>
                    <a:lnTo>
                      <a:pt x="283" y="123"/>
                    </a:lnTo>
                    <a:lnTo>
                      <a:pt x="282" y="133"/>
                    </a:lnTo>
                    <a:lnTo>
                      <a:pt x="282" y="162"/>
                    </a:lnTo>
                    <a:lnTo>
                      <a:pt x="282" y="166"/>
                    </a:lnTo>
                    <a:lnTo>
                      <a:pt x="285" y="171"/>
                    </a:lnTo>
                    <a:lnTo>
                      <a:pt x="285" y="176"/>
                    </a:lnTo>
                    <a:lnTo>
                      <a:pt x="287" y="183"/>
                    </a:lnTo>
                    <a:lnTo>
                      <a:pt x="292" y="190"/>
                    </a:lnTo>
                    <a:lnTo>
                      <a:pt x="299" y="198"/>
                    </a:lnTo>
                    <a:lnTo>
                      <a:pt x="309" y="210"/>
                    </a:lnTo>
                    <a:lnTo>
                      <a:pt x="321" y="221"/>
                    </a:lnTo>
                    <a:lnTo>
                      <a:pt x="325" y="222"/>
                    </a:lnTo>
                    <a:lnTo>
                      <a:pt x="330" y="226"/>
                    </a:lnTo>
                    <a:lnTo>
                      <a:pt x="344" y="222"/>
                    </a:lnTo>
                    <a:lnTo>
                      <a:pt x="359" y="219"/>
                    </a:lnTo>
                    <a:lnTo>
                      <a:pt x="364" y="221"/>
                    </a:lnTo>
                    <a:lnTo>
                      <a:pt x="368" y="222"/>
                    </a:lnTo>
                    <a:lnTo>
                      <a:pt x="373" y="217"/>
                    </a:lnTo>
                    <a:lnTo>
                      <a:pt x="375" y="214"/>
                    </a:lnTo>
                    <a:lnTo>
                      <a:pt x="381" y="203"/>
                    </a:lnTo>
                    <a:lnTo>
                      <a:pt x="387" y="193"/>
                    </a:lnTo>
                    <a:lnTo>
                      <a:pt x="388" y="183"/>
                    </a:lnTo>
                    <a:lnTo>
                      <a:pt x="395" y="178"/>
                    </a:lnTo>
                    <a:lnTo>
                      <a:pt x="404" y="174"/>
                    </a:lnTo>
                    <a:lnTo>
                      <a:pt x="416" y="174"/>
                    </a:lnTo>
                    <a:lnTo>
                      <a:pt x="421" y="174"/>
                    </a:lnTo>
                    <a:lnTo>
                      <a:pt x="426" y="176"/>
                    </a:lnTo>
                    <a:lnTo>
                      <a:pt x="431" y="176"/>
                    </a:lnTo>
                    <a:lnTo>
                      <a:pt x="438" y="176"/>
                    </a:lnTo>
                    <a:lnTo>
                      <a:pt x="438" y="178"/>
                    </a:lnTo>
                    <a:lnTo>
                      <a:pt x="438" y="181"/>
                    </a:lnTo>
                    <a:lnTo>
                      <a:pt x="433" y="191"/>
                    </a:lnTo>
                    <a:lnTo>
                      <a:pt x="430" y="207"/>
                    </a:lnTo>
                    <a:lnTo>
                      <a:pt x="426" y="215"/>
                    </a:lnTo>
                    <a:lnTo>
                      <a:pt x="423" y="224"/>
                    </a:lnTo>
                    <a:lnTo>
                      <a:pt x="423" y="221"/>
                    </a:lnTo>
                    <a:lnTo>
                      <a:pt x="421" y="221"/>
                    </a:lnTo>
                    <a:lnTo>
                      <a:pt x="419" y="221"/>
                    </a:lnTo>
                    <a:lnTo>
                      <a:pt x="419" y="231"/>
                    </a:lnTo>
                    <a:lnTo>
                      <a:pt x="419" y="245"/>
                    </a:lnTo>
                    <a:lnTo>
                      <a:pt x="414" y="250"/>
                    </a:lnTo>
                    <a:lnTo>
                      <a:pt x="411" y="255"/>
                    </a:lnTo>
                    <a:lnTo>
                      <a:pt x="411" y="257"/>
                    </a:lnTo>
                    <a:lnTo>
                      <a:pt x="411" y="260"/>
                    </a:lnTo>
                    <a:lnTo>
                      <a:pt x="416" y="262"/>
                    </a:lnTo>
                    <a:lnTo>
                      <a:pt x="428" y="260"/>
                    </a:lnTo>
                    <a:lnTo>
                      <a:pt x="440" y="260"/>
                    </a:lnTo>
                    <a:lnTo>
                      <a:pt x="450" y="260"/>
                    </a:lnTo>
                    <a:lnTo>
                      <a:pt x="464" y="260"/>
                    </a:lnTo>
                    <a:lnTo>
                      <a:pt x="476" y="264"/>
                    </a:lnTo>
                    <a:lnTo>
                      <a:pt x="488" y="270"/>
                    </a:lnTo>
                    <a:lnTo>
                      <a:pt x="488" y="274"/>
                    </a:lnTo>
                    <a:lnTo>
                      <a:pt x="488" y="277"/>
                    </a:lnTo>
                    <a:lnTo>
                      <a:pt x="486" y="288"/>
                    </a:lnTo>
                    <a:lnTo>
                      <a:pt x="485" y="300"/>
                    </a:lnTo>
                    <a:lnTo>
                      <a:pt x="485" y="317"/>
                    </a:lnTo>
                    <a:lnTo>
                      <a:pt x="485" y="331"/>
                    </a:lnTo>
                    <a:lnTo>
                      <a:pt x="491" y="343"/>
                    </a:lnTo>
                    <a:lnTo>
                      <a:pt x="504" y="351"/>
                    </a:lnTo>
                    <a:lnTo>
                      <a:pt x="509" y="356"/>
                    </a:lnTo>
                    <a:lnTo>
                      <a:pt x="519" y="363"/>
                    </a:lnTo>
                    <a:lnTo>
                      <a:pt x="534" y="358"/>
                    </a:lnTo>
                    <a:lnTo>
                      <a:pt x="550" y="353"/>
                    </a:lnTo>
                    <a:lnTo>
                      <a:pt x="559" y="353"/>
                    </a:lnTo>
                    <a:lnTo>
                      <a:pt x="565" y="358"/>
                    </a:lnTo>
                    <a:lnTo>
                      <a:pt x="572" y="363"/>
                    </a:lnTo>
                    <a:lnTo>
                      <a:pt x="579" y="368"/>
                    </a:lnTo>
                    <a:lnTo>
                      <a:pt x="572" y="375"/>
                    </a:lnTo>
                    <a:lnTo>
                      <a:pt x="565" y="380"/>
                    </a:lnTo>
                    <a:lnTo>
                      <a:pt x="562" y="379"/>
                    </a:lnTo>
                    <a:lnTo>
                      <a:pt x="560" y="377"/>
                    </a:lnTo>
                    <a:lnTo>
                      <a:pt x="560" y="374"/>
                    </a:lnTo>
                    <a:lnTo>
                      <a:pt x="564" y="372"/>
                    </a:lnTo>
                    <a:lnTo>
                      <a:pt x="557" y="367"/>
                    </a:lnTo>
                    <a:lnTo>
                      <a:pt x="550" y="363"/>
                    </a:lnTo>
                    <a:lnTo>
                      <a:pt x="545" y="363"/>
                    </a:lnTo>
                    <a:lnTo>
                      <a:pt x="540" y="368"/>
                    </a:lnTo>
                    <a:lnTo>
                      <a:pt x="534" y="372"/>
                    </a:lnTo>
                    <a:lnTo>
                      <a:pt x="533" y="375"/>
                    </a:lnTo>
                    <a:lnTo>
                      <a:pt x="534" y="379"/>
                    </a:lnTo>
                    <a:lnTo>
                      <a:pt x="536" y="380"/>
                    </a:lnTo>
                    <a:lnTo>
                      <a:pt x="533" y="386"/>
                    </a:lnTo>
                    <a:lnTo>
                      <a:pt x="529" y="389"/>
                    </a:lnTo>
                    <a:lnTo>
                      <a:pt x="517" y="382"/>
                    </a:lnTo>
                    <a:lnTo>
                      <a:pt x="512" y="375"/>
                    </a:lnTo>
                    <a:lnTo>
                      <a:pt x="504" y="372"/>
                    </a:lnTo>
                    <a:lnTo>
                      <a:pt x="497" y="374"/>
                    </a:lnTo>
                    <a:lnTo>
                      <a:pt x="495" y="372"/>
                    </a:lnTo>
                    <a:lnTo>
                      <a:pt x="488" y="367"/>
                    </a:lnTo>
                    <a:lnTo>
                      <a:pt x="485" y="360"/>
                    </a:lnTo>
                    <a:lnTo>
                      <a:pt x="479" y="355"/>
                    </a:lnTo>
                    <a:lnTo>
                      <a:pt x="474" y="351"/>
                    </a:lnTo>
                    <a:lnTo>
                      <a:pt x="467" y="346"/>
                    </a:lnTo>
                    <a:lnTo>
                      <a:pt x="466" y="346"/>
                    </a:lnTo>
                    <a:lnTo>
                      <a:pt x="466" y="348"/>
                    </a:lnTo>
                    <a:lnTo>
                      <a:pt x="466" y="351"/>
                    </a:lnTo>
                    <a:lnTo>
                      <a:pt x="461" y="351"/>
                    </a:lnTo>
                    <a:lnTo>
                      <a:pt x="455" y="341"/>
                    </a:lnTo>
                    <a:lnTo>
                      <a:pt x="455" y="332"/>
                    </a:lnTo>
                    <a:lnTo>
                      <a:pt x="452" y="325"/>
                    </a:lnTo>
                    <a:lnTo>
                      <a:pt x="448" y="324"/>
                    </a:lnTo>
                    <a:lnTo>
                      <a:pt x="436" y="312"/>
                    </a:lnTo>
                    <a:lnTo>
                      <a:pt x="430" y="298"/>
                    </a:lnTo>
                    <a:lnTo>
                      <a:pt x="428" y="298"/>
                    </a:lnTo>
                    <a:lnTo>
                      <a:pt x="426" y="298"/>
                    </a:lnTo>
                    <a:lnTo>
                      <a:pt x="421" y="300"/>
                    </a:lnTo>
                    <a:lnTo>
                      <a:pt x="418" y="301"/>
                    </a:lnTo>
                    <a:lnTo>
                      <a:pt x="404" y="296"/>
                    </a:lnTo>
                    <a:lnTo>
                      <a:pt x="395" y="293"/>
                    </a:lnTo>
                    <a:lnTo>
                      <a:pt x="381" y="288"/>
                    </a:lnTo>
                    <a:lnTo>
                      <a:pt x="369" y="286"/>
                    </a:lnTo>
                    <a:lnTo>
                      <a:pt x="357" y="277"/>
                    </a:lnTo>
                    <a:lnTo>
                      <a:pt x="350" y="270"/>
                    </a:lnTo>
                    <a:lnTo>
                      <a:pt x="344" y="264"/>
                    </a:lnTo>
                    <a:lnTo>
                      <a:pt x="337" y="258"/>
                    </a:lnTo>
                    <a:lnTo>
                      <a:pt x="333" y="258"/>
                    </a:lnTo>
                    <a:lnTo>
                      <a:pt x="328" y="255"/>
                    </a:lnTo>
                    <a:lnTo>
                      <a:pt x="323" y="255"/>
                    </a:lnTo>
                    <a:lnTo>
                      <a:pt x="313" y="260"/>
                    </a:lnTo>
                    <a:lnTo>
                      <a:pt x="304" y="265"/>
                    </a:lnTo>
                    <a:lnTo>
                      <a:pt x="297" y="262"/>
                    </a:lnTo>
                    <a:lnTo>
                      <a:pt x="294" y="260"/>
                    </a:lnTo>
                    <a:lnTo>
                      <a:pt x="287" y="258"/>
                    </a:lnTo>
                    <a:lnTo>
                      <a:pt x="282" y="260"/>
                    </a:lnTo>
                    <a:lnTo>
                      <a:pt x="275" y="257"/>
                    </a:lnTo>
                    <a:lnTo>
                      <a:pt x="266" y="253"/>
                    </a:lnTo>
                    <a:lnTo>
                      <a:pt x="258" y="248"/>
                    </a:lnTo>
                    <a:lnTo>
                      <a:pt x="252" y="245"/>
                    </a:lnTo>
                    <a:lnTo>
                      <a:pt x="246" y="243"/>
                    </a:lnTo>
                    <a:lnTo>
                      <a:pt x="239" y="245"/>
                    </a:lnTo>
                    <a:lnTo>
                      <a:pt x="230" y="238"/>
                    </a:lnTo>
                    <a:lnTo>
                      <a:pt x="223" y="233"/>
                    </a:lnTo>
                    <a:lnTo>
                      <a:pt x="215" y="229"/>
                    </a:lnTo>
                    <a:lnTo>
                      <a:pt x="206" y="227"/>
                    </a:lnTo>
                    <a:lnTo>
                      <a:pt x="203" y="226"/>
                    </a:lnTo>
                    <a:lnTo>
                      <a:pt x="201" y="224"/>
                    </a:lnTo>
                    <a:lnTo>
                      <a:pt x="192" y="219"/>
                    </a:lnTo>
                    <a:lnTo>
                      <a:pt x="185" y="215"/>
                    </a:lnTo>
                    <a:lnTo>
                      <a:pt x="178" y="210"/>
                    </a:lnTo>
                    <a:lnTo>
                      <a:pt x="177" y="207"/>
                    </a:lnTo>
                    <a:lnTo>
                      <a:pt x="172" y="203"/>
                    </a:lnTo>
                    <a:lnTo>
                      <a:pt x="170" y="196"/>
                    </a:lnTo>
                    <a:lnTo>
                      <a:pt x="172" y="190"/>
                    </a:lnTo>
                    <a:lnTo>
                      <a:pt x="175" y="183"/>
                    </a:lnTo>
                    <a:lnTo>
                      <a:pt x="172" y="176"/>
                    </a:lnTo>
                    <a:lnTo>
                      <a:pt x="170" y="171"/>
                    </a:lnTo>
                    <a:lnTo>
                      <a:pt x="161" y="157"/>
                    </a:lnTo>
                    <a:lnTo>
                      <a:pt x="153" y="147"/>
                    </a:lnTo>
                    <a:lnTo>
                      <a:pt x="144" y="135"/>
                    </a:lnTo>
                    <a:lnTo>
                      <a:pt x="135" y="128"/>
                    </a:lnTo>
                    <a:lnTo>
                      <a:pt x="125" y="121"/>
                    </a:lnTo>
                    <a:lnTo>
                      <a:pt x="117" y="116"/>
                    </a:lnTo>
                    <a:lnTo>
                      <a:pt x="115" y="107"/>
                    </a:lnTo>
                    <a:lnTo>
                      <a:pt x="113" y="100"/>
                    </a:lnTo>
                    <a:lnTo>
                      <a:pt x="108" y="93"/>
                    </a:lnTo>
                    <a:lnTo>
                      <a:pt x="101" y="90"/>
                    </a:lnTo>
                    <a:lnTo>
                      <a:pt x="96" y="83"/>
                    </a:lnTo>
                    <a:lnTo>
                      <a:pt x="94" y="78"/>
                    </a:lnTo>
                    <a:lnTo>
                      <a:pt x="89" y="76"/>
                    </a:lnTo>
                    <a:lnTo>
                      <a:pt x="87" y="78"/>
                    </a:lnTo>
                    <a:lnTo>
                      <a:pt x="79" y="68"/>
                    </a:lnTo>
                    <a:lnTo>
                      <a:pt x="70" y="61"/>
                    </a:lnTo>
                    <a:lnTo>
                      <a:pt x="67" y="50"/>
                    </a:lnTo>
                    <a:lnTo>
                      <a:pt x="63" y="42"/>
                    </a:lnTo>
                    <a:lnTo>
                      <a:pt x="58" y="31"/>
                    </a:lnTo>
                    <a:lnTo>
                      <a:pt x="56" y="25"/>
                    </a:lnTo>
                    <a:lnTo>
                      <a:pt x="43" y="19"/>
                    </a:lnTo>
                    <a:lnTo>
                      <a:pt x="32" y="14"/>
                    </a:lnTo>
                    <a:lnTo>
                      <a:pt x="31" y="18"/>
                    </a:lnTo>
                    <a:lnTo>
                      <a:pt x="31" y="21"/>
                    </a:lnTo>
                    <a:lnTo>
                      <a:pt x="32" y="33"/>
                    </a:lnTo>
                    <a:lnTo>
                      <a:pt x="41" y="47"/>
                    </a:lnTo>
                    <a:lnTo>
                      <a:pt x="48" y="54"/>
                    </a:lnTo>
                    <a:lnTo>
                      <a:pt x="56" y="61"/>
                    </a:lnTo>
                    <a:lnTo>
                      <a:pt x="61" y="69"/>
                    </a:lnTo>
                    <a:lnTo>
                      <a:pt x="67" y="81"/>
                    </a:lnTo>
                    <a:lnTo>
                      <a:pt x="75" y="95"/>
                    </a:lnTo>
                    <a:lnTo>
                      <a:pt x="84" y="109"/>
                    </a:lnTo>
                    <a:lnTo>
                      <a:pt x="86" y="117"/>
                    </a:lnTo>
                    <a:lnTo>
                      <a:pt x="89" y="126"/>
                    </a:lnTo>
                    <a:lnTo>
                      <a:pt x="92" y="133"/>
                    </a:lnTo>
                    <a:lnTo>
                      <a:pt x="99" y="140"/>
                    </a:lnTo>
                    <a:lnTo>
                      <a:pt x="106" y="141"/>
                    </a:lnTo>
                    <a:lnTo>
                      <a:pt x="110" y="148"/>
                    </a:lnTo>
                    <a:lnTo>
                      <a:pt x="108" y="153"/>
                    </a:lnTo>
                    <a:lnTo>
                      <a:pt x="106" y="157"/>
                    </a:lnTo>
                    <a:lnTo>
                      <a:pt x="101" y="150"/>
                    </a:lnTo>
                    <a:lnTo>
                      <a:pt x="98" y="145"/>
                    </a:lnTo>
                    <a:lnTo>
                      <a:pt x="86" y="138"/>
                    </a:lnTo>
                    <a:lnTo>
                      <a:pt x="79" y="129"/>
                    </a:lnTo>
                    <a:lnTo>
                      <a:pt x="75" y="128"/>
                    </a:lnTo>
                    <a:lnTo>
                      <a:pt x="74" y="126"/>
                    </a:lnTo>
                    <a:lnTo>
                      <a:pt x="74" y="112"/>
                    </a:lnTo>
                    <a:lnTo>
                      <a:pt x="65" y="104"/>
                    </a:lnTo>
                    <a:lnTo>
                      <a:pt x="58" y="97"/>
                    </a:lnTo>
                    <a:lnTo>
                      <a:pt x="46" y="88"/>
                    </a:lnTo>
                    <a:lnTo>
                      <a:pt x="36" y="83"/>
                    </a:lnTo>
                    <a:lnTo>
                      <a:pt x="43" y="83"/>
                    </a:lnTo>
                    <a:lnTo>
                      <a:pt x="46" y="78"/>
                    </a:lnTo>
                    <a:lnTo>
                      <a:pt x="32" y="62"/>
                    </a:lnTo>
                    <a:lnTo>
                      <a:pt x="20" y="50"/>
                    </a:lnTo>
                    <a:lnTo>
                      <a:pt x="15" y="45"/>
                    </a:lnTo>
                    <a:lnTo>
                      <a:pt x="15" y="38"/>
                    </a:lnTo>
                    <a:lnTo>
                      <a:pt x="13" y="31"/>
                    </a:lnTo>
                    <a:lnTo>
                      <a:pt x="12" y="26"/>
                    </a:lnTo>
                    <a:lnTo>
                      <a:pt x="5" y="14"/>
                    </a:lnTo>
                    <a:lnTo>
                      <a:pt x="0" y="4"/>
                    </a:lnTo>
                    <a:lnTo>
                      <a:pt x="0" y="0"/>
                    </a:lnTo>
                    <a:lnTo>
                      <a:pt x="32" y="0"/>
                    </a:lnTo>
                    <a:lnTo>
                      <a:pt x="87" y="18"/>
                    </a:lnTo>
                    <a:lnTo>
                      <a:pt x="129" y="18"/>
                    </a:lnTo>
                    <a:lnTo>
                      <a:pt x="129" y="11"/>
                    </a:lnTo>
                    <a:lnTo>
                      <a:pt x="139" y="11"/>
                    </a:lnTo>
                    <a:lnTo>
                      <a:pt x="149" y="12"/>
                    </a:lnTo>
                    <a:lnTo>
                      <a:pt x="160" y="18"/>
                    </a:lnTo>
                    <a:lnTo>
                      <a:pt x="166" y="23"/>
                    </a:lnTo>
                    <a:lnTo>
                      <a:pt x="173" y="33"/>
                    </a:lnTo>
                    <a:lnTo>
                      <a:pt x="177" y="38"/>
                    </a:lnTo>
                    <a:lnTo>
                      <a:pt x="182" y="47"/>
                    </a:lnTo>
                    <a:lnTo>
                      <a:pt x="189" y="54"/>
                    </a:lnTo>
                    <a:lnTo>
                      <a:pt x="197" y="57"/>
                    </a:lnTo>
                    <a:lnTo>
                      <a:pt x="201" y="54"/>
                    </a:lnTo>
                    <a:lnTo>
                      <a:pt x="204" y="49"/>
                    </a:lnTo>
                    <a:lnTo>
                      <a:pt x="208" y="43"/>
                    </a:lnTo>
                    <a:lnTo>
                      <a:pt x="215" y="42"/>
                    </a:lnTo>
                    <a:lnTo>
                      <a:pt x="223" y="42"/>
                    </a:lnTo>
                    <a:lnTo>
                      <a:pt x="232" y="47"/>
                    </a:lnTo>
                    <a:lnTo>
                      <a:pt x="237" y="52"/>
                    </a:lnTo>
                    <a:lnTo>
                      <a:pt x="242" y="62"/>
                    </a:lnTo>
                    <a:lnTo>
                      <a:pt x="246" y="71"/>
                    </a:lnTo>
                    <a:lnTo>
                      <a:pt x="249" y="80"/>
                    </a:lnTo>
                    <a:lnTo>
                      <a:pt x="254" y="88"/>
                    </a:lnTo>
                    <a:lnTo>
                      <a:pt x="261" y="97"/>
                    </a:lnTo>
                    <a:lnTo>
                      <a:pt x="270" y="100"/>
                    </a:lnTo>
                    <a:lnTo>
                      <a:pt x="285" y="104"/>
                    </a:lnTo>
                    <a:lnTo>
                      <a:pt x="283" y="100"/>
                    </a:lnTo>
                    <a:lnTo>
                      <a:pt x="283" y="98"/>
                    </a:lnTo>
                    <a:lnTo>
                      <a:pt x="285" y="1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90" name="Freeform 342"/>
              <p:cNvSpPr>
                <a:spLocks/>
              </p:cNvSpPr>
              <p:nvPr/>
            </p:nvSpPr>
            <p:spPr bwMode="auto">
              <a:xfrm>
                <a:off x="2437607" y="2673350"/>
                <a:ext cx="26988" cy="12700"/>
              </a:xfrm>
              <a:custGeom>
                <a:avLst/>
                <a:gdLst/>
                <a:ahLst/>
                <a:cxnLst>
                  <a:cxn ang="0">
                    <a:pos x="0" y="0"/>
                  </a:cxn>
                  <a:cxn ang="0">
                    <a:pos x="10" y="1"/>
                  </a:cxn>
                  <a:cxn ang="0">
                    <a:pos x="17" y="8"/>
                  </a:cxn>
                  <a:cxn ang="0">
                    <a:pos x="15" y="8"/>
                  </a:cxn>
                  <a:cxn ang="0">
                    <a:pos x="13" y="8"/>
                  </a:cxn>
                  <a:cxn ang="0">
                    <a:pos x="5" y="7"/>
                  </a:cxn>
                  <a:cxn ang="0">
                    <a:pos x="0" y="3"/>
                  </a:cxn>
                  <a:cxn ang="0">
                    <a:pos x="0" y="0"/>
                  </a:cxn>
                </a:cxnLst>
                <a:rect l="0" t="0" r="r" b="b"/>
                <a:pathLst>
                  <a:path w="17" h="8">
                    <a:moveTo>
                      <a:pt x="0" y="0"/>
                    </a:moveTo>
                    <a:lnTo>
                      <a:pt x="10" y="1"/>
                    </a:lnTo>
                    <a:lnTo>
                      <a:pt x="17" y="8"/>
                    </a:lnTo>
                    <a:lnTo>
                      <a:pt x="15" y="8"/>
                    </a:lnTo>
                    <a:lnTo>
                      <a:pt x="13" y="8"/>
                    </a:lnTo>
                    <a:lnTo>
                      <a:pt x="5" y="7"/>
                    </a:lnTo>
                    <a:lnTo>
                      <a:pt x="0" y="3"/>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91" name="Freeform 343"/>
              <p:cNvSpPr>
                <a:spLocks/>
              </p:cNvSpPr>
              <p:nvPr/>
            </p:nvSpPr>
            <p:spPr bwMode="auto">
              <a:xfrm>
                <a:off x="1372394" y="2749550"/>
                <a:ext cx="109538" cy="68262"/>
              </a:xfrm>
              <a:custGeom>
                <a:avLst/>
                <a:gdLst/>
                <a:ahLst/>
                <a:cxnLst>
                  <a:cxn ang="0">
                    <a:pos x="0" y="2"/>
                  </a:cxn>
                  <a:cxn ang="0">
                    <a:pos x="3" y="0"/>
                  </a:cxn>
                  <a:cxn ang="0">
                    <a:pos x="7" y="0"/>
                  </a:cxn>
                  <a:cxn ang="0">
                    <a:pos x="14" y="2"/>
                  </a:cxn>
                  <a:cxn ang="0">
                    <a:pos x="21" y="7"/>
                  </a:cxn>
                  <a:cxn ang="0">
                    <a:pos x="34" y="12"/>
                  </a:cxn>
                  <a:cxn ang="0">
                    <a:pos x="46" y="20"/>
                  </a:cxn>
                  <a:cxn ang="0">
                    <a:pos x="57" y="29"/>
                  </a:cxn>
                  <a:cxn ang="0">
                    <a:pos x="69" y="39"/>
                  </a:cxn>
                  <a:cxn ang="0">
                    <a:pos x="69" y="43"/>
                  </a:cxn>
                  <a:cxn ang="0">
                    <a:pos x="65" y="43"/>
                  </a:cxn>
                  <a:cxn ang="0">
                    <a:pos x="64" y="43"/>
                  </a:cxn>
                  <a:cxn ang="0">
                    <a:pos x="53" y="39"/>
                  </a:cxn>
                  <a:cxn ang="0">
                    <a:pos x="43" y="34"/>
                  </a:cxn>
                  <a:cxn ang="0">
                    <a:pos x="33" y="27"/>
                  </a:cxn>
                  <a:cxn ang="0">
                    <a:pos x="26" y="24"/>
                  </a:cxn>
                  <a:cxn ang="0">
                    <a:pos x="27" y="20"/>
                  </a:cxn>
                  <a:cxn ang="0">
                    <a:pos x="31" y="19"/>
                  </a:cxn>
                  <a:cxn ang="0">
                    <a:pos x="22" y="17"/>
                  </a:cxn>
                  <a:cxn ang="0">
                    <a:pos x="14" y="15"/>
                  </a:cxn>
                  <a:cxn ang="0">
                    <a:pos x="7" y="12"/>
                  </a:cxn>
                  <a:cxn ang="0">
                    <a:pos x="5" y="8"/>
                  </a:cxn>
                  <a:cxn ang="0">
                    <a:pos x="7" y="5"/>
                  </a:cxn>
                  <a:cxn ang="0">
                    <a:pos x="10" y="3"/>
                  </a:cxn>
                  <a:cxn ang="0">
                    <a:pos x="3" y="2"/>
                  </a:cxn>
                  <a:cxn ang="0">
                    <a:pos x="2" y="2"/>
                  </a:cxn>
                  <a:cxn ang="0">
                    <a:pos x="0" y="2"/>
                  </a:cxn>
                </a:cxnLst>
                <a:rect l="0" t="0" r="r" b="b"/>
                <a:pathLst>
                  <a:path w="69" h="43">
                    <a:moveTo>
                      <a:pt x="0" y="2"/>
                    </a:moveTo>
                    <a:lnTo>
                      <a:pt x="3" y="0"/>
                    </a:lnTo>
                    <a:lnTo>
                      <a:pt x="7" y="0"/>
                    </a:lnTo>
                    <a:lnTo>
                      <a:pt x="14" y="2"/>
                    </a:lnTo>
                    <a:lnTo>
                      <a:pt x="21" y="7"/>
                    </a:lnTo>
                    <a:lnTo>
                      <a:pt x="34" y="12"/>
                    </a:lnTo>
                    <a:lnTo>
                      <a:pt x="46" y="20"/>
                    </a:lnTo>
                    <a:lnTo>
                      <a:pt x="57" y="29"/>
                    </a:lnTo>
                    <a:lnTo>
                      <a:pt x="69" y="39"/>
                    </a:lnTo>
                    <a:lnTo>
                      <a:pt x="69" y="43"/>
                    </a:lnTo>
                    <a:lnTo>
                      <a:pt x="65" y="43"/>
                    </a:lnTo>
                    <a:lnTo>
                      <a:pt x="64" y="43"/>
                    </a:lnTo>
                    <a:lnTo>
                      <a:pt x="53" y="39"/>
                    </a:lnTo>
                    <a:lnTo>
                      <a:pt x="43" y="34"/>
                    </a:lnTo>
                    <a:lnTo>
                      <a:pt x="33" y="27"/>
                    </a:lnTo>
                    <a:lnTo>
                      <a:pt x="26" y="24"/>
                    </a:lnTo>
                    <a:lnTo>
                      <a:pt x="27" y="20"/>
                    </a:lnTo>
                    <a:lnTo>
                      <a:pt x="31" y="19"/>
                    </a:lnTo>
                    <a:lnTo>
                      <a:pt x="22" y="17"/>
                    </a:lnTo>
                    <a:lnTo>
                      <a:pt x="14" y="15"/>
                    </a:lnTo>
                    <a:lnTo>
                      <a:pt x="7" y="12"/>
                    </a:lnTo>
                    <a:lnTo>
                      <a:pt x="5" y="8"/>
                    </a:lnTo>
                    <a:lnTo>
                      <a:pt x="7" y="5"/>
                    </a:lnTo>
                    <a:lnTo>
                      <a:pt x="10" y="3"/>
                    </a:lnTo>
                    <a:lnTo>
                      <a:pt x="3" y="2"/>
                    </a:lnTo>
                    <a:lnTo>
                      <a:pt x="2" y="2"/>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92" name="Freeform 344"/>
              <p:cNvSpPr>
                <a:spLocks/>
              </p:cNvSpPr>
              <p:nvPr/>
            </p:nvSpPr>
            <p:spPr bwMode="auto">
              <a:xfrm>
                <a:off x="1262857" y="2647950"/>
                <a:ext cx="33338" cy="55562"/>
              </a:xfrm>
              <a:custGeom>
                <a:avLst/>
                <a:gdLst/>
                <a:ahLst/>
                <a:cxnLst>
                  <a:cxn ang="0">
                    <a:pos x="7" y="12"/>
                  </a:cxn>
                  <a:cxn ang="0">
                    <a:pos x="4" y="9"/>
                  </a:cxn>
                  <a:cxn ang="0">
                    <a:pos x="0" y="4"/>
                  </a:cxn>
                  <a:cxn ang="0">
                    <a:pos x="0" y="0"/>
                  </a:cxn>
                  <a:cxn ang="0">
                    <a:pos x="5" y="0"/>
                  </a:cxn>
                  <a:cxn ang="0">
                    <a:pos x="12" y="4"/>
                  </a:cxn>
                  <a:cxn ang="0">
                    <a:pos x="9" y="5"/>
                  </a:cxn>
                  <a:cxn ang="0">
                    <a:pos x="9" y="9"/>
                  </a:cxn>
                  <a:cxn ang="0">
                    <a:pos x="14" y="5"/>
                  </a:cxn>
                  <a:cxn ang="0">
                    <a:pos x="16" y="2"/>
                  </a:cxn>
                  <a:cxn ang="0">
                    <a:pos x="16" y="7"/>
                  </a:cxn>
                  <a:cxn ang="0">
                    <a:pos x="16" y="14"/>
                  </a:cxn>
                  <a:cxn ang="0">
                    <a:pos x="17" y="16"/>
                  </a:cxn>
                  <a:cxn ang="0">
                    <a:pos x="19" y="19"/>
                  </a:cxn>
                  <a:cxn ang="0">
                    <a:pos x="17" y="21"/>
                  </a:cxn>
                  <a:cxn ang="0">
                    <a:pos x="16" y="24"/>
                  </a:cxn>
                  <a:cxn ang="0">
                    <a:pos x="19" y="29"/>
                  </a:cxn>
                  <a:cxn ang="0">
                    <a:pos x="21" y="35"/>
                  </a:cxn>
                  <a:cxn ang="0">
                    <a:pos x="14" y="31"/>
                  </a:cxn>
                  <a:cxn ang="0">
                    <a:pos x="14" y="24"/>
                  </a:cxn>
                  <a:cxn ang="0">
                    <a:pos x="14" y="21"/>
                  </a:cxn>
                  <a:cxn ang="0">
                    <a:pos x="16" y="19"/>
                  </a:cxn>
                  <a:cxn ang="0">
                    <a:pos x="10" y="14"/>
                  </a:cxn>
                  <a:cxn ang="0">
                    <a:pos x="7" y="12"/>
                  </a:cxn>
                </a:cxnLst>
                <a:rect l="0" t="0" r="r" b="b"/>
                <a:pathLst>
                  <a:path w="21" h="35">
                    <a:moveTo>
                      <a:pt x="7" y="12"/>
                    </a:moveTo>
                    <a:lnTo>
                      <a:pt x="4" y="9"/>
                    </a:lnTo>
                    <a:lnTo>
                      <a:pt x="0" y="4"/>
                    </a:lnTo>
                    <a:lnTo>
                      <a:pt x="0" y="0"/>
                    </a:lnTo>
                    <a:lnTo>
                      <a:pt x="5" y="0"/>
                    </a:lnTo>
                    <a:lnTo>
                      <a:pt x="12" y="4"/>
                    </a:lnTo>
                    <a:lnTo>
                      <a:pt x="9" y="5"/>
                    </a:lnTo>
                    <a:lnTo>
                      <a:pt x="9" y="9"/>
                    </a:lnTo>
                    <a:lnTo>
                      <a:pt x="14" y="5"/>
                    </a:lnTo>
                    <a:lnTo>
                      <a:pt x="16" y="2"/>
                    </a:lnTo>
                    <a:lnTo>
                      <a:pt x="16" y="7"/>
                    </a:lnTo>
                    <a:lnTo>
                      <a:pt x="16" y="14"/>
                    </a:lnTo>
                    <a:lnTo>
                      <a:pt x="17" y="16"/>
                    </a:lnTo>
                    <a:lnTo>
                      <a:pt x="19" y="19"/>
                    </a:lnTo>
                    <a:lnTo>
                      <a:pt x="17" y="21"/>
                    </a:lnTo>
                    <a:lnTo>
                      <a:pt x="16" y="24"/>
                    </a:lnTo>
                    <a:lnTo>
                      <a:pt x="19" y="29"/>
                    </a:lnTo>
                    <a:lnTo>
                      <a:pt x="21" y="35"/>
                    </a:lnTo>
                    <a:lnTo>
                      <a:pt x="14" y="31"/>
                    </a:lnTo>
                    <a:lnTo>
                      <a:pt x="14" y="24"/>
                    </a:lnTo>
                    <a:lnTo>
                      <a:pt x="14" y="21"/>
                    </a:lnTo>
                    <a:lnTo>
                      <a:pt x="16" y="19"/>
                    </a:lnTo>
                    <a:lnTo>
                      <a:pt x="10" y="14"/>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93" name="Freeform 345"/>
              <p:cNvSpPr>
                <a:spLocks/>
              </p:cNvSpPr>
              <p:nvPr/>
            </p:nvSpPr>
            <p:spPr bwMode="auto">
              <a:xfrm>
                <a:off x="772319" y="2525713"/>
                <a:ext cx="47625" cy="31750"/>
              </a:xfrm>
              <a:custGeom>
                <a:avLst/>
                <a:gdLst/>
                <a:ahLst/>
                <a:cxnLst>
                  <a:cxn ang="0">
                    <a:pos x="24" y="0"/>
                  </a:cxn>
                  <a:cxn ang="0">
                    <a:pos x="27" y="0"/>
                  </a:cxn>
                  <a:cxn ang="0">
                    <a:pos x="30" y="0"/>
                  </a:cxn>
                  <a:cxn ang="0">
                    <a:pos x="30" y="7"/>
                  </a:cxn>
                  <a:cxn ang="0">
                    <a:pos x="20" y="12"/>
                  </a:cxn>
                  <a:cxn ang="0">
                    <a:pos x="10" y="20"/>
                  </a:cxn>
                  <a:cxn ang="0">
                    <a:pos x="5" y="15"/>
                  </a:cxn>
                  <a:cxn ang="0">
                    <a:pos x="0" y="14"/>
                  </a:cxn>
                  <a:cxn ang="0">
                    <a:pos x="0" y="7"/>
                  </a:cxn>
                  <a:cxn ang="0">
                    <a:pos x="12" y="2"/>
                  </a:cxn>
                  <a:cxn ang="0">
                    <a:pos x="24" y="0"/>
                  </a:cxn>
                </a:cxnLst>
                <a:rect l="0" t="0" r="r" b="b"/>
                <a:pathLst>
                  <a:path w="30" h="20">
                    <a:moveTo>
                      <a:pt x="24" y="0"/>
                    </a:moveTo>
                    <a:lnTo>
                      <a:pt x="27" y="0"/>
                    </a:lnTo>
                    <a:lnTo>
                      <a:pt x="30" y="0"/>
                    </a:lnTo>
                    <a:lnTo>
                      <a:pt x="30" y="7"/>
                    </a:lnTo>
                    <a:lnTo>
                      <a:pt x="20" y="12"/>
                    </a:lnTo>
                    <a:lnTo>
                      <a:pt x="10" y="20"/>
                    </a:lnTo>
                    <a:lnTo>
                      <a:pt x="5" y="15"/>
                    </a:lnTo>
                    <a:lnTo>
                      <a:pt x="0" y="14"/>
                    </a:lnTo>
                    <a:lnTo>
                      <a:pt x="0" y="7"/>
                    </a:lnTo>
                    <a:lnTo>
                      <a:pt x="12" y="2"/>
                    </a:lnTo>
                    <a:lnTo>
                      <a:pt x="2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94" name="Freeform 346"/>
              <p:cNvSpPr>
                <a:spLocks/>
              </p:cNvSpPr>
              <p:nvPr/>
            </p:nvSpPr>
            <p:spPr bwMode="auto">
              <a:xfrm>
                <a:off x="4596607" y="3098800"/>
                <a:ext cx="63500" cy="38100"/>
              </a:xfrm>
              <a:custGeom>
                <a:avLst/>
                <a:gdLst/>
                <a:ahLst/>
                <a:cxnLst>
                  <a:cxn ang="0">
                    <a:pos x="0" y="2"/>
                  </a:cxn>
                  <a:cxn ang="0">
                    <a:pos x="0" y="5"/>
                  </a:cxn>
                  <a:cxn ang="0">
                    <a:pos x="4" y="7"/>
                  </a:cxn>
                  <a:cxn ang="0">
                    <a:pos x="9" y="8"/>
                  </a:cxn>
                  <a:cxn ang="0">
                    <a:pos x="19" y="14"/>
                  </a:cxn>
                  <a:cxn ang="0">
                    <a:pos x="31" y="22"/>
                  </a:cxn>
                  <a:cxn ang="0">
                    <a:pos x="33" y="22"/>
                  </a:cxn>
                  <a:cxn ang="0">
                    <a:pos x="35" y="24"/>
                  </a:cxn>
                  <a:cxn ang="0">
                    <a:pos x="36" y="22"/>
                  </a:cxn>
                  <a:cxn ang="0">
                    <a:pos x="38" y="21"/>
                  </a:cxn>
                  <a:cxn ang="0">
                    <a:pos x="36" y="15"/>
                  </a:cxn>
                  <a:cxn ang="0">
                    <a:pos x="36" y="12"/>
                  </a:cxn>
                  <a:cxn ang="0">
                    <a:pos x="36" y="8"/>
                  </a:cxn>
                  <a:cxn ang="0">
                    <a:pos x="38" y="7"/>
                  </a:cxn>
                  <a:cxn ang="0">
                    <a:pos x="40" y="0"/>
                  </a:cxn>
                  <a:cxn ang="0">
                    <a:pos x="31" y="2"/>
                  </a:cxn>
                  <a:cxn ang="0">
                    <a:pos x="22" y="3"/>
                  </a:cxn>
                  <a:cxn ang="0">
                    <a:pos x="12" y="0"/>
                  </a:cxn>
                  <a:cxn ang="0">
                    <a:pos x="0" y="2"/>
                  </a:cxn>
                </a:cxnLst>
                <a:rect l="0" t="0" r="r" b="b"/>
                <a:pathLst>
                  <a:path w="40" h="24">
                    <a:moveTo>
                      <a:pt x="0" y="2"/>
                    </a:moveTo>
                    <a:lnTo>
                      <a:pt x="0" y="5"/>
                    </a:lnTo>
                    <a:lnTo>
                      <a:pt x="4" y="7"/>
                    </a:lnTo>
                    <a:lnTo>
                      <a:pt x="9" y="8"/>
                    </a:lnTo>
                    <a:lnTo>
                      <a:pt x="19" y="14"/>
                    </a:lnTo>
                    <a:lnTo>
                      <a:pt x="31" y="22"/>
                    </a:lnTo>
                    <a:lnTo>
                      <a:pt x="33" y="22"/>
                    </a:lnTo>
                    <a:lnTo>
                      <a:pt x="35" y="24"/>
                    </a:lnTo>
                    <a:lnTo>
                      <a:pt x="36" y="22"/>
                    </a:lnTo>
                    <a:lnTo>
                      <a:pt x="38" y="21"/>
                    </a:lnTo>
                    <a:lnTo>
                      <a:pt x="36" y="15"/>
                    </a:lnTo>
                    <a:lnTo>
                      <a:pt x="36" y="12"/>
                    </a:lnTo>
                    <a:lnTo>
                      <a:pt x="36" y="8"/>
                    </a:lnTo>
                    <a:lnTo>
                      <a:pt x="38" y="7"/>
                    </a:lnTo>
                    <a:lnTo>
                      <a:pt x="40" y="0"/>
                    </a:lnTo>
                    <a:lnTo>
                      <a:pt x="31" y="2"/>
                    </a:lnTo>
                    <a:lnTo>
                      <a:pt x="22" y="3"/>
                    </a:lnTo>
                    <a:lnTo>
                      <a:pt x="12" y="0"/>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95" name="Freeform 347"/>
              <p:cNvSpPr>
                <a:spLocks/>
              </p:cNvSpPr>
              <p:nvPr/>
            </p:nvSpPr>
            <p:spPr bwMode="auto">
              <a:xfrm>
                <a:off x="4509294" y="2967038"/>
                <a:ext cx="22225" cy="41275"/>
              </a:xfrm>
              <a:custGeom>
                <a:avLst/>
                <a:gdLst/>
                <a:ahLst/>
                <a:cxnLst>
                  <a:cxn ang="0">
                    <a:pos x="4" y="6"/>
                  </a:cxn>
                  <a:cxn ang="0">
                    <a:pos x="7" y="2"/>
                  </a:cxn>
                  <a:cxn ang="0">
                    <a:pos x="12" y="0"/>
                  </a:cxn>
                  <a:cxn ang="0">
                    <a:pos x="12" y="4"/>
                  </a:cxn>
                  <a:cxn ang="0">
                    <a:pos x="14" y="7"/>
                  </a:cxn>
                  <a:cxn ang="0">
                    <a:pos x="10" y="18"/>
                  </a:cxn>
                  <a:cxn ang="0">
                    <a:pos x="10" y="26"/>
                  </a:cxn>
                  <a:cxn ang="0">
                    <a:pos x="5" y="23"/>
                  </a:cxn>
                  <a:cxn ang="0">
                    <a:pos x="4" y="18"/>
                  </a:cxn>
                  <a:cxn ang="0">
                    <a:pos x="2" y="11"/>
                  </a:cxn>
                  <a:cxn ang="0">
                    <a:pos x="0" y="7"/>
                  </a:cxn>
                  <a:cxn ang="0">
                    <a:pos x="2" y="6"/>
                  </a:cxn>
                  <a:cxn ang="0">
                    <a:pos x="4" y="6"/>
                  </a:cxn>
                </a:cxnLst>
                <a:rect l="0" t="0" r="r" b="b"/>
                <a:pathLst>
                  <a:path w="14" h="26">
                    <a:moveTo>
                      <a:pt x="4" y="6"/>
                    </a:moveTo>
                    <a:lnTo>
                      <a:pt x="7" y="2"/>
                    </a:lnTo>
                    <a:lnTo>
                      <a:pt x="12" y="0"/>
                    </a:lnTo>
                    <a:lnTo>
                      <a:pt x="12" y="4"/>
                    </a:lnTo>
                    <a:lnTo>
                      <a:pt x="14" y="7"/>
                    </a:lnTo>
                    <a:lnTo>
                      <a:pt x="10" y="18"/>
                    </a:lnTo>
                    <a:lnTo>
                      <a:pt x="10" y="26"/>
                    </a:lnTo>
                    <a:lnTo>
                      <a:pt x="5" y="23"/>
                    </a:lnTo>
                    <a:lnTo>
                      <a:pt x="4" y="18"/>
                    </a:lnTo>
                    <a:lnTo>
                      <a:pt x="2" y="11"/>
                    </a:lnTo>
                    <a:lnTo>
                      <a:pt x="0" y="7"/>
                    </a:lnTo>
                    <a:lnTo>
                      <a:pt x="2" y="6"/>
                    </a:lnTo>
                    <a:lnTo>
                      <a:pt x="4"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96" name="Freeform 348"/>
              <p:cNvSpPr>
                <a:spLocks/>
              </p:cNvSpPr>
              <p:nvPr/>
            </p:nvSpPr>
            <p:spPr bwMode="auto">
              <a:xfrm>
                <a:off x="4504532" y="3016250"/>
                <a:ext cx="31750" cy="60325"/>
              </a:xfrm>
              <a:custGeom>
                <a:avLst/>
                <a:gdLst/>
                <a:ahLst/>
                <a:cxnLst>
                  <a:cxn ang="0">
                    <a:pos x="5" y="17"/>
                  </a:cxn>
                  <a:cxn ang="0">
                    <a:pos x="1" y="11"/>
                  </a:cxn>
                  <a:cxn ang="0">
                    <a:pos x="0" y="5"/>
                  </a:cxn>
                  <a:cxn ang="0">
                    <a:pos x="5" y="2"/>
                  </a:cxn>
                  <a:cxn ang="0">
                    <a:pos x="10" y="0"/>
                  </a:cxn>
                  <a:cxn ang="0">
                    <a:pos x="13" y="0"/>
                  </a:cxn>
                  <a:cxn ang="0">
                    <a:pos x="17" y="2"/>
                  </a:cxn>
                  <a:cxn ang="0">
                    <a:pos x="20" y="12"/>
                  </a:cxn>
                  <a:cxn ang="0">
                    <a:pos x="20" y="23"/>
                  </a:cxn>
                  <a:cxn ang="0">
                    <a:pos x="15" y="33"/>
                  </a:cxn>
                  <a:cxn ang="0">
                    <a:pos x="7" y="38"/>
                  </a:cxn>
                  <a:cxn ang="0">
                    <a:pos x="1" y="33"/>
                  </a:cxn>
                  <a:cxn ang="0">
                    <a:pos x="1" y="26"/>
                  </a:cxn>
                  <a:cxn ang="0">
                    <a:pos x="3" y="21"/>
                  </a:cxn>
                  <a:cxn ang="0">
                    <a:pos x="5" y="17"/>
                  </a:cxn>
                </a:cxnLst>
                <a:rect l="0" t="0" r="r" b="b"/>
                <a:pathLst>
                  <a:path w="20" h="38">
                    <a:moveTo>
                      <a:pt x="5" y="17"/>
                    </a:moveTo>
                    <a:lnTo>
                      <a:pt x="1" y="11"/>
                    </a:lnTo>
                    <a:lnTo>
                      <a:pt x="0" y="5"/>
                    </a:lnTo>
                    <a:lnTo>
                      <a:pt x="5" y="2"/>
                    </a:lnTo>
                    <a:lnTo>
                      <a:pt x="10" y="0"/>
                    </a:lnTo>
                    <a:lnTo>
                      <a:pt x="13" y="0"/>
                    </a:lnTo>
                    <a:lnTo>
                      <a:pt x="17" y="2"/>
                    </a:lnTo>
                    <a:lnTo>
                      <a:pt x="20" y="12"/>
                    </a:lnTo>
                    <a:lnTo>
                      <a:pt x="20" y="23"/>
                    </a:lnTo>
                    <a:lnTo>
                      <a:pt x="15" y="33"/>
                    </a:lnTo>
                    <a:lnTo>
                      <a:pt x="7" y="38"/>
                    </a:lnTo>
                    <a:lnTo>
                      <a:pt x="1" y="33"/>
                    </a:lnTo>
                    <a:lnTo>
                      <a:pt x="1" y="26"/>
                    </a:lnTo>
                    <a:lnTo>
                      <a:pt x="3" y="21"/>
                    </a:lnTo>
                    <a:lnTo>
                      <a:pt x="5"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97" name="Freeform 349"/>
              <p:cNvSpPr>
                <a:spLocks/>
              </p:cNvSpPr>
              <p:nvPr/>
            </p:nvSpPr>
            <p:spPr bwMode="auto">
              <a:xfrm>
                <a:off x="4375944" y="3052763"/>
                <a:ext cx="15875" cy="12700"/>
              </a:xfrm>
              <a:custGeom>
                <a:avLst/>
                <a:gdLst/>
                <a:ahLst/>
                <a:cxnLst>
                  <a:cxn ang="0">
                    <a:pos x="10" y="5"/>
                  </a:cxn>
                  <a:cxn ang="0">
                    <a:pos x="7" y="7"/>
                  </a:cxn>
                  <a:cxn ang="0">
                    <a:pos x="5" y="8"/>
                  </a:cxn>
                  <a:cxn ang="0">
                    <a:pos x="2" y="5"/>
                  </a:cxn>
                  <a:cxn ang="0">
                    <a:pos x="0" y="3"/>
                  </a:cxn>
                  <a:cxn ang="0">
                    <a:pos x="3" y="0"/>
                  </a:cxn>
                  <a:cxn ang="0">
                    <a:pos x="7" y="0"/>
                  </a:cxn>
                  <a:cxn ang="0">
                    <a:pos x="8" y="1"/>
                  </a:cxn>
                  <a:cxn ang="0">
                    <a:pos x="10" y="5"/>
                  </a:cxn>
                </a:cxnLst>
                <a:rect l="0" t="0" r="r" b="b"/>
                <a:pathLst>
                  <a:path w="10" h="8">
                    <a:moveTo>
                      <a:pt x="10" y="5"/>
                    </a:moveTo>
                    <a:lnTo>
                      <a:pt x="7" y="7"/>
                    </a:lnTo>
                    <a:lnTo>
                      <a:pt x="5" y="8"/>
                    </a:lnTo>
                    <a:lnTo>
                      <a:pt x="2" y="5"/>
                    </a:lnTo>
                    <a:lnTo>
                      <a:pt x="0" y="3"/>
                    </a:lnTo>
                    <a:lnTo>
                      <a:pt x="3" y="0"/>
                    </a:lnTo>
                    <a:lnTo>
                      <a:pt x="7" y="0"/>
                    </a:lnTo>
                    <a:lnTo>
                      <a:pt x="8" y="1"/>
                    </a:lnTo>
                    <a:lnTo>
                      <a:pt x="1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98" name="Freeform 350"/>
              <p:cNvSpPr>
                <a:spLocks/>
              </p:cNvSpPr>
              <p:nvPr/>
            </p:nvSpPr>
            <p:spPr bwMode="auto">
              <a:xfrm>
                <a:off x="4542632" y="2587625"/>
                <a:ext cx="19050" cy="25400"/>
              </a:xfrm>
              <a:custGeom>
                <a:avLst/>
                <a:gdLst/>
                <a:ahLst/>
                <a:cxnLst>
                  <a:cxn ang="0">
                    <a:pos x="10" y="12"/>
                  </a:cxn>
                  <a:cxn ang="0">
                    <a:pos x="1" y="11"/>
                  </a:cxn>
                  <a:cxn ang="0">
                    <a:pos x="0" y="5"/>
                  </a:cxn>
                  <a:cxn ang="0">
                    <a:pos x="0" y="2"/>
                  </a:cxn>
                  <a:cxn ang="0">
                    <a:pos x="0" y="0"/>
                  </a:cxn>
                  <a:cxn ang="0">
                    <a:pos x="8" y="0"/>
                  </a:cxn>
                  <a:cxn ang="0">
                    <a:pos x="10" y="5"/>
                  </a:cxn>
                  <a:cxn ang="0">
                    <a:pos x="12" y="11"/>
                  </a:cxn>
                  <a:cxn ang="0">
                    <a:pos x="10" y="14"/>
                  </a:cxn>
                  <a:cxn ang="0">
                    <a:pos x="10" y="16"/>
                  </a:cxn>
                  <a:cxn ang="0">
                    <a:pos x="10" y="14"/>
                  </a:cxn>
                  <a:cxn ang="0">
                    <a:pos x="10" y="12"/>
                  </a:cxn>
                </a:cxnLst>
                <a:rect l="0" t="0" r="r" b="b"/>
                <a:pathLst>
                  <a:path w="12" h="16">
                    <a:moveTo>
                      <a:pt x="10" y="12"/>
                    </a:moveTo>
                    <a:lnTo>
                      <a:pt x="1" y="11"/>
                    </a:lnTo>
                    <a:lnTo>
                      <a:pt x="0" y="5"/>
                    </a:lnTo>
                    <a:lnTo>
                      <a:pt x="0" y="2"/>
                    </a:lnTo>
                    <a:lnTo>
                      <a:pt x="0" y="0"/>
                    </a:lnTo>
                    <a:lnTo>
                      <a:pt x="8" y="0"/>
                    </a:lnTo>
                    <a:lnTo>
                      <a:pt x="10" y="5"/>
                    </a:lnTo>
                    <a:lnTo>
                      <a:pt x="12" y="11"/>
                    </a:lnTo>
                    <a:lnTo>
                      <a:pt x="10" y="14"/>
                    </a:lnTo>
                    <a:lnTo>
                      <a:pt x="10" y="16"/>
                    </a:lnTo>
                    <a:lnTo>
                      <a:pt x="10" y="14"/>
                    </a:lnTo>
                    <a:lnTo>
                      <a:pt x="10"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999" name="Freeform 351"/>
              <p:cNvSpPr>
                <a:spLocks/>
              </p:cNvSpPr>
              <p:nvPr/>
            </p:nvSpPr>
            <p:spPr bwMode="auto">
              <a:xfrm>
                <a:off x="4566444" y="2566988"/>
                <a:ext cx="36513" cy="50800"/>
              </a:xfrm>
              <a:custGeom>
                <a:avLst/>
                <a:gdLst/>
                <a:ahLst/>
                <a:cxnLst>
                  <a:cxn ang="0">
                    <a:pos x="4" y="29"/>
                  </a:cxn>
                  <a:cxn ang="0">
                    <a:pos x="7" y="25"/>
                  </a:cxn>
                  <a:cxn ang="0">
                    <a:pos x="11" y="22"/>
                  </a:cxn>
                  <a:cxn ang="0">
                    <a:pos x="2" y="18"/>
                  </a:cxn>
                  <a:cxn ang="0">
                    <a:pos x="0" y="15"/>
                  </a:cxn>
                  <a:cxn ang="0">
                    <a:pos x="2" y="5"/>
                  </a:cxn>
                  <a:cxn ang="0">
                    <a:pos x="9" y="0"/>
                  </a:cxn>
                  <a:cxn ang="0">
                    <a:pos x="17" y="1"/>
                  </a:cxn>
                  <a:cxn ang="0">
                    <a:pos x="23" y="12"/>
                  </a:cxn>
                  <a:cxn ang="0">
                    <a:pos x="17" y="15"/>
                  </a:cxn>
                  <a:cxn ang="0">
                    <a:pos x="16" y="22"/>
                  </a:cxn>
                  <a:cxn ang="0">
                    <a:pos x="12" y="29"/>
                  </a:cxn>
                  <a:cxn ang="0">
                    <a:pos x="7" y="32"/>
                  </a:cxn>
                  <a:cxn ang="0">
                    <a:pos x="2" y="31"/>
                  </a:cxn>
                  <a:cxn ang="0">
                    <a:pos x="0" y="29"/>
                  </a:cxn>
                  <a:cxn ang="0">
                    <a:pos x="0" y="27"/>
                  </a:cxn>
                  <a:cxn ang="0">
                    <a:pos x="2" y="27"/>
                  </a:cxn>
                  <a:cxn ang="0">
                    <a:pos x="4" y="29"/>
                  </a:cxn>
                </a:cxnLst>
                <a:rect l="0" t="0" r="r" b="b"/>
                <a:pathLst>
                  <a:path w="23" h="32">
                    <a:moveTo>
                      <a:pt x="4" y="29"/>
                    </a:moveTo>
                    <a:lnTo>
                      <a:pt x="7" y="25"/>
                    </a:lnTo>
                    <a:lnTo>
                      <a:pt x="11" y="22"/>
                    </a:lnTo>
                    <a:lnTo>
                      <a:pt x="2" y="18"/>
                    </a:lnTo>
                    <a:lnTo>
                      <a:pt x="0" y="15"/>
                    </a:lnTo>
                    <a:lnTo>
                      <a:pt x="2" y="5"/>
                    </a:lnTo>
                    <a:lnTo>
                      <a:pt x="9" y="0"/>
                    </a:lnTo>
                    <a:lnTo>
                      <a:pt x="17" y="1"/>
                    </a:lnTo>
                    <a:lnTo>
                      <a:pt x="23" y="12"/>
                    </a:lnTo>
                    <a:lnTo>
                      <a:pt x="17" y="15"/>
                    </a:lnTo>
                    <a:lnTo>
                      <a:pt x="16" y="22"/>
                    </a:lnTo>
                    <a:lnTo>
                      <a:pt x="12" y="29"/>
                    </a:lnTo>
                    <a:lnTo>
                      <a:pt x="7" y="32"/>
                    </a:lnTo>
                    <a:lnTo>
                      <a:pt x="2" y="31"/>
                    </a:lnTo>
                    <a:lnTo>
                      <a:pt x="0" y="29"/>
                    </a:lnTo>
                    <a:lnTo>
                      <a:pt x="0" y="27"/>
                    </a:lnTo>
                    <a:lnTo>
                      <a:pt x="2" y="27"/>
                    </a:lnTo>
                    <a:lnTo>
                      <a:pt x="4"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00" name="Freeform 352"/>
              <p:cNvSpPr>
                <a:spLocks/>
              </p:cNvSpPr>
              <p:nvPr/>
            </p:nvSpPr>
            <p:spPr bwMode="auto">
              <a:xfrm>
                <a:off x="4725194" y="2506663"/>
                <a:ext cx="19050" cy="30162"/>
              </a:xfrm>
              <a:custGeom>
                <a:avLst/>
                <a:gdLst/>
                <a:ahLst/>
                <a:cxnLst>
                  <a:cxn ang="0">
                    <a:pos x="9" y="7"/>
                  </a:cxn>
                  <a:cxn ang="0">
                    <a:pos x="5" y="12"/>
                  </a:cxn>
                  <a:cxn ang="0">
                    <a:pos x="2" y="19"/>
                  </a:cxn>
                  <a:cxn ang="0">
                    <a:pos x="0" y="15"/>
                  </a:cxn>
                  <a:cxn ang="0">
                    <a:pos x="2" y="14"/>
                  </a:cxn>
                  <a:cxn ang="0">
                    <a:pos x="3" y="5"/>
                  </a:cxn>
                  <a:cxn ang="0">
                    <a:pos x="12" y="0"/>
                  </a:cxn>
                  <a:cxn ang="0">
                    <a:pos x="10" y="3"/>
                  </a:cxn>
                  <a:cxn ang="0">
                    <a:pos x="9" y="7"/>
                  </a:cxn>
                </a:cxnLst>
                <a:rect l="0" t="0" r="r" b="b"/>
                <a:pathLst>
                  <a:path w="12" h="19">
                    <a:moveTo>
                      <a:pt x="9" y="7"/>
                    </a:moveTo>
                    <a:lnTo>
                      <a:pt x="5" y="12"/>
                    </a:lnTo>
                    <a:lnTo>
                      <a:pt x="2" y="19"/>
                    </a:lnTo>
                    <a:lnTo>
                      <a:pt x="0" y="15"/>
                    </a:lnTo>
                    <a:lnTo>
                      <a:pt x="2" y="14"/>
                    </a:lnTo>
                    <a:lnTo>
                      <a:pt x="3" y="5"/>
                    </a:lnTo>
                    <a:lnTo>
                      <a:pt x="12" y="0"/>
                    </a:lnTo>
                    <a:lnTo>
                      <a:pt x="10" y="3"/>
                    </a:lnTo>
                    <a:lnTo>
                      <a:pt x="9"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01" name="Freeform 353"/>
              <p:cNvSpPr>
                <a:spLocks/>
              </p:cNvSpPr>
              <p:nvPr/>
            </p:nvSpPr>
            <p:spPr bwMode="auto">
              <a:xfrm>
                <a:off x="4809332" y="2465388"/>
                <a:ext cx="26988" cy="38100"/>
              </a:xfrm>
              <a:custGeom>
                <a:avLst/>
                <a:gdLst/>
                <a:ahLst/>
                <a:cxnLst>
                  <a:cxn ang="0">
                    <a:pos x="14" y="12"/>
                  </a:cxn>
                  <a:cxn ang="0">
                    <a:pos x="14" y="15"/>
                  </a:cxn>
                  <a:cxn ang="0">
                    <a:pos x="14" y="19"/>
                  </a:cxn>
                  <a:cxn ang="0">
                    <a:pos x="9" y="21"/>
                  </a:cxn>
                  <a:cxn ang="0">
                    <a:pos x="5" y="24"/>
                  </a:cxn>
                  <a:cxn ang="0">
                    <a:pos x="0" y="21"/>
                  </a:cxn>
                  <a:cxn ang="0">
                    <a:pos x="0" y="15"/>
                  </a:cxn>
                  <a:cxn ang="0">
                    <a:pos x="5" y="14"/>
                  </a:cxn>
                  <a:cxn ang="0">
                    <a:pos x="11" y="12"/>
                  </a:cxn>
                  <a:cxn ang="0">
                    <a:pos x="9" y="9"/>
                  </a:cxn>
                  <a:cxn ang="0">
                    <a:pos x="7" y="5"/>
                  </a:cxn>
                  <a:cxn ang="0">
                    <a:pos x="9" y="2"/>
                  </a:cxn>
                  <a:cxn ang="0">
                    <a:pos x="12" y="0"/>
                  </a:cxn>
                  <a:cxn ang="0">
                    <a:pos x="14" y="3"/>
                  </a:cxn>
                  <a:cxn ang="0">
                    <a:pos x="17" y="5"/>
                  </a:cxn>
                  <a:cxn ang="0">
                    <a:pos x="16" y="9"/>
                  </a:cxn>
                  <a:cxn ang="0">
                    <a:pos x="14" y="12"/>
                  </a:cxn>
                </a:cxnLst>
                <a:rect l="0" t="0" r="r" b="b"/>
                <a:pathLst>
                  <a:path w="17" h="24">
                    <a:moveTo>
                      <a:pt x="14" y="12"/>
                    </a:moveTo>
                    <a:lnTo>
                      <a:pt x="14" y="15"/>
                    </a:lnTo>
                    <a:lnTo>
                      <a:pt x="14" y="19"/>
                    </a:lnTo>
                    <a:lnTo>
                      <a:pt x="9" y="21"/>
                    </a:lnTo>
                    <a:lnTo>
                      <a:pt x="5" y="24"/>
                    </a:lnTo>
                    <a:lnTo>
                      <a:pt x="0" y="21"/>
                    </a:lnTo>
                    <a:lnTo>
                      <a:pt x="0" y="15"/>
                    </a:lnTo>
                    <a:lnTo>
                      <a:pt x="5" y="14"/>
                    </a:lnTo>
                    <a:lnTo>
                      <a:pt x="11" y="12"/>
                    </a:lnTo>
                    <a:lnTo>
                      <a:pt x="9" y="9"/>
                    </a:lnTo>
                    <a:lnTo>
                      <a:pt x="7" y="5"/>
                    </a:lnTo>
                    <a:lnTo>
                      <a:pt x="9" y="2"/>
                    </a:lnTo>
                    <a:lnTo>
                      <a:pt x="12" y="0"/>
                    </a:lnTo>
                    <a:lnTo>
                      <a:pt x="14" y="3"/>
                    </a:lnTo>
                    <a:lnTo>
                      <a:pt x="17" y="5"/>
                    </a:lnTo>
                    <a:lnTo>
                      <a:pt x="16" y="9"/>
                    </a:lnTo>
                    <a:lnTo>
                      <a:pt x="1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02" name="Freeform 354"/>
              <p:cNvSpPr>
                <a:spLocks/>
              </p:cNvSpPr>
              <p:nvPr/>
            </p:nvSpPr>
            <p:spPr bwMode="auto">
              <a:xfrm>
                <a:off x="4858544" y="3170238"/>
                <a:ext cx="52388" cy="7937"/>
              </a:xfrm>
              <a:custGeom>
                <a:avLst/>
                <a:gdLst/>
                <a:ahLst/>
                <a:cxnLst>
                  <a:cxn ang="0">
                    <a:pos x="33" y="5"/>
                  </a:cxn>
                  <a:cxn ang="0">
                    <a:pos x="24" y="5"/>
                  </a:cxn>
                  <a:cxn ang="0">
                    <a:pos x="19" y="5"/>
                  </a:cxn>
                  <a:cxn ang="0">
                    <a:pos x="11" y="3"/>
                  </a:cxn>
                  <a:cxn ang="0">
                    <a:pos x="0" y="1"/>
                  </a:cxn>
                  <a:cxn ang="0">
                    <a:pos x="17" y="0"/>
                  </a:cxn>
                  <a:cxn ang="0">
                    <a:pos x="33" y="5"/>
                  </a:cxn>
                </a:cxnLst>
                <a:rect l="0" t="0" r="r" b="b"/>
                <a:pathLst>
                  <a:path w="33" h="5">
                    <a:moveTo>
                      <a:pt x="33" y="5"/>
                    </a:moveTo>
                    <a:lnTo>
                      <a:pt x="24" y="5"/>
                    </a:lnTo>
                    <a:lnTo>
                      <a:pt x="19" y="5"/>
                    </a:lnTo>
                    <a:lnTo>
                      <a:pt x="11" y="3"/>
                    </a:lnTo>
                    <a:lnTo>
                      <a:pt x="0" y="1"/>
                    </a:lnTo>
                    <a:lnTo>
                      <a:pt x="17" y="0"/>
                    </a:lnTo>
                    <a:lnTo>
                      <a:pt x="3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03" name="Freeform 355"/>
              <p:cNvSpPr>
                <a:spLocks/>
              </p:cNvSpPr>
              <p:nvPr/>
            </p:nvSpPr>
            <p:spPr bwMode="auto">
              <a:xfrm>
                <a:off x="5052219" y="3160713"/>
                <a:ext cx="49213" cy="25400"/>
              </a:xfrm>
              <a:custGeom>
                <a:avLst/>
                <a:gdLst/>
                <a:ahLst/>
                <a:cxnLst>
                  <a:cxn ang="0">
                    <a:pos x="7" y="16"/>
                  </a:cxn>
                  <a:cxn ang="0">
                    <a:pos x="4" y="14"/>
                  </a:cxn>
                  <a:cxn ang="0">
                    <a:pos x="0" y="12"/>
                  </a:cxn>
                  <a:cxn ang="0">
                    <a:pos x="0" y="11"/>
                  </a:cxn>
                  <a:cxn ang="0">
                    <a:pos x="14" y="4"/>
                  </a:cxn>
                  <a:cxn ang="0">
                    <a:pos x="31" y="0"/>
                  </a:cxn>
                  <a:cxn ang="0">
                    <a:pos x="28" y="4"/>
                  </a:cxn>
                  <a:cxn ang="0">
                    <a:pos x="24" y="6"/>
                  </a:cxn>
                  <a:cxn ang="0">
                    <a:pos x="23" y="7"/>
                  </a:cxn>
                  <a:cxn ang="0">
                    <a:pos x="23" y="11"/>
                  </a:cxn>
                  <a:cxn ang="0">
                    <a:pos x="16" y="14"/>
                  </a:cxn>
                  <a:cxn ang="0">
                    <a:pos x="7" y="16"/>
                  </a:cxn>
                </a:cxnLst>
                <a:rect l="0" t="0" r="r" b="b"/>
                <a:pathLst>
                  <a:path w="31" h="16">
                    <a:moveTo>
                      <a:pt x="7" y="16"/>
                    </a:moveTo>
                    <a:lnTo>
                      <a:pt x="4" y="14"/>
                    </a:lnTo>
                    <a:lnTo>
                      <a:pt x="0" y="12"/>
                    </a:lnTo>
                    <a:lnTo>
                      <a:pt x="0" y="11"/>
                    </a:lnTo>
                    <a:lnTo>
                      <a:pt x="14" y="4"/>
                    </a:lnTo>
                    <a:lnTo>
                      <a:pt x="31" y="0"/>
                    </a:lnTo>
                    <a:lnTo>
                      <a:pt x="28" y="4"/>
                    </a:lnTo>
                    <a:lnTo>
                      <a:pt x="24" y="6"/>
                    </a:lnTo>
                    <a:lnTo>
                      <a:pt x="23" y="7"/>
                    </a:lnTo>
                    <a:lnTo>
                      <a:pt x="23" y="11"/>
                    </a:lnTo>
                    <a:lnTo>
                      <a:pt x="16" y="14"/>
                    </a:lnTo>
                    <a:lnTo>
                      <a:pt x="7"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04" name="Freeform 356"/>
              <p:cNvSpPr>
                <a:spLocks/>
              </p:cNvSpPr>
              <p:nvPr/>
            </p:nvSpPr>
            <p:spPr bwMode="auto">
              <a:xfrm>
                <a:off x="5530057" y="3729038"/>
                <a:ext cx="25400" cy="11112"/>
              </a:xfrm>
              <a:custGeom>
                <a:avLst/>
                <a:gdLst/>
                <a:ahLst/>
                <a:cxnLst>
                  <a:cxn ang="0">
                    <a:pos x="0" y="4"/>
                  </a:cxn>
                  <a:cxn ang="0">
                    <a:pos x="4" y="5"/>
                  </a:cxn>
                  <a:cxn ang="0">
                    <a:pos x="7" y="7"/>
                  </a:cxn>
                  <a:cxn ang="0">
                    <a:pos x="11" y="4"/>
                  </a:cxn>
                  <a:cxn ang="0">
                    <a:pos x="16" y="0"/>
                  </a:cxn>
                  <a:cxn ang="0">
                    <a:pos x="7" y="0"/>
                  </a:cxn>
                  <a:cxn ang="0">
                    <a:pos x="0" y="4"/>
                  </a:cxn>
                </a:cxnLst>
                <a:rect l="0" t="0" r="r" b="b"/>
                <a:pathLst>
                  <a:path w="16" h="7">
                    <a:moveTo>
                      <a:pt x="0" y="4"/>
                    </a:moveTo>
                    <a:lnTo>
                      <a:pt x="4" y="5"/>
                    </a:lnTo>
                    <a:lnTo>
                      <a:pt x="7" y="7"/>
                    </a:lnTo>
                    <a:lnTo>
                      <a:pt x="11" y="4"/>
                    </a:lnTo>
                    <a:lnTo>
                      <a:pt x="16" y="0"/>
                    </a:lnTo>
                    <a:lnTo>
                      <a:pt x="7" y="0"/>
                    </a:lnTo>
                    <a:lnTo>
                      <a:pt x="0"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05" name="Freeform 357"/>
              <p:cNvSpPr>
                <a:spLocks/>
              </p:cNvSpPr>
              <p:nvPr/>
            </p:nvSpPr>
            <p:spPr bwMode="auto">
              <a:xfrm>
                <a:off x="5407819" y="2081213"/>
                <a:ext cx="49213" cy="34925"/>
              </a:xfrm>
              <a:custGeom>
                <a:avLst/>
                <a:gdLst/>
                <a:ahLst/>
                <a:cxnLst>
                  <a:cxn ang="0">
                    <a:pos x="7" y="5"/>
                  </a:cxn>
                  <a:cxn ang="0">
                    <a:pos x="9" y="1"/>
                  </a:cxn>
                  <a:cxn ang="0">
                    <a:pos x="12" y="0"/>
                  </a:cxn>
                  <a:cxn ang="0">
                    <a:pos x="21" y="3"/>
                  </a:cxn>
                  <a:cxn ang="0">
                    <a:pos x="31" y="6"/>
                  </a:cxn>
                  <a:cxn ang="0">
                    <a:pos x="31" y="13"/>
                  </a:cxn>
                  <a:cxn ang="0">
                    <a:pos x="19" y="18"/>
                  </a:cxn>
                  <a:cxn ang="0">
                    <a:pos x="9" y="22"/>
                  </a:cxn>
                  <a:cxn ang="0">
                    <a:pos x="2" y="20"/>
                  </a:cxn>
                  <a:cxn ang="0">
                    <a:pos x="0" y="17"/>
                  </a:cxn>
                  <a:cxn ang="0">
                    <a:pos x="2" y="10"/>
                  </a:cxn>
                  <a:cxn ang="0">
                    <a:pos x="7" y="5"/>
                  </a:cxn>
                </a:cxnLst>
                <a:rect l="0" t="0" r="r" b="b"/>
                <a:pathLst>
                  <a:path w="31" h="22">
                    <a:moveTo>
                      <a:pt x="7" y="5"/>
                    </a:moveTo>
                    <a:lnTo>
                      <a:pt x="9" y="1"/>
                    </a:lnTo>
                    <a:lnTo>
                      <a:pt x="12" y="0"/>
                    </a:lnTo>
                    <a:lnTo>
                      <a:pt x="21" y="3"/>
                    </a:lnTo>
                    <a:lnTo>
                      <a:pt x="31" y="6"/>
                    </a:lnTo>
                    <a:lnTo>
                      <a:pt x="31" y="13"/>
                    </a:lnTo>
                    <a:lnTo>
                      <a:pt x="19" y="18"/>
                    </a:lnTo>
                    <a:lnTo>
                      <a:pt x="9" y="22"/>
                    </a:lnTo>
                    <a:lnTo>
                      <a:pt x="2" y="20"/>
                    </a:lnTo>
                    <a:lnTo>
                      <a:pt x="0" y="17"/>
                    </a:lnTo>
                    <a:lnTo>
                      <a:pt x="2"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06" name="Freeform 358"/>
              <p:cNvSpPr>
                <a:spLocks/>
              </p:cNvSpPr>
              <p:nvPr/>
            </p:nvSpPr>
            <p:spPr bwMode="auto">
              <a:xfrm>
                <a:off x="5647532" y="2047875"/>
                <a:ext cx="41275" cy="26987"/>
              </a:xfrm>
              <a:custGeom>
                <a:avLst/>
                <a:gdLst/>
                <a:ahLst/>
                <a:cxnLst>
                  <a:cxn ang="0">
                    <a:pos x="26" y="14"/>
                  </a:cxn>
                  <a:cxn ang="0">
                    <a:pos x="23" y="17"/>
                  </a:cxn>
                  <a:cxn ang="0">
                    <a:pos x="19" y="17"/>
                  </a:cxn>
                  <a:cxn ang="0">
                    <a:pos x="7" y="12"/>
                  </a:cxn>
                  <a:cxn ang="0">
                    <a:pos x="0" y="5"/>
                  </a:cxn>
                  <a:cxn ang="0">
                    <a:pos x="4" y="0"/>
                  </a:cxn>
                  <a:cxn ang="0">
                    <a:pos x="12" y="2"/>
                  </a:cxn>
                  <a:cxn ang="0">
                    <a:pos x="21" y="5"/>
                  </a:cxn>
                  <a:cxn ang="0">
                    <a:pos x="26" y="14"/>
                  </a:cxn>
                </a:cxnLst>
                <a:rect l="0" t="0" r="r" b="b"/>
                <a:pathLst>
                  <a:path w="26" h="17">
                    <a:moveTo>
                      <a:pt x="26" y="14"/>
                    </a:moveTo>
                    <a:lnTo>
                      <a:pt x="23" y="17"/>
                    </a:lnTo>
                    <a:lnTo>
                      <a:pt x="19" y="17"/>
                    </a:lnTo>
                    <a:lnTo>
                      <a:pt x="7" y="12"/>
                    </a:lnTo>
                    <a:lnTo>
                      <a:pt x="0" y="5"/>
                    </a:lnTo>
                    <a:lnTo>
                      <a:pt x="4" y="0"/>
                    </a:lnTo>
                    <a:lnTo>
                      <a:pt x="12" y="2"/>
                    </a:lnTo>
                    <a:lnTo>
                      <a:pt x="21" y="5"/>
                    </a:lnTo>
                    <a:lnTo>
                      <a:pt x="26"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07" name="Freeform 359"/>
              <p:cNvSpPr>
                <a:spLocks/>
              </p:cNvSpPr>
              <p:nvPr/>
            </p:nvSpPr>
            <p:spPr bwMode="auto">
              <a:xfrm>
                <a:off x="5909469" y="1908175"/>
                <a:ext cx="36513" cy="25400"/>
              </a:xfrm>
              <a:custGeom>
                <a:avLst/>
                <a:gdLst/>
                <a:ahLst/>
                <a:cxnLst>
                  <a:cxn ang="0">
                    <a:pos x="2" y="16"/>
                  </a:cxn>
                  <a:cxn ang="0">
                    <a:pos x="12" y="12"/>
                  </a:cxn>
                  <a:cxn ang="0">
                    <a:pos x="23" y="10"/>
                  </a:cxn>
                  <a:cxn ang="0">
                    <a:pos x="16" y="4"/>
                  </a:cxn>
                  <a:cxn ang="0">
                    <a:pos x="11" y="0"/>
                  </a:cxn>
                  <a:cxn ang="0">
                    <a:pos x="4" y="4"/>
                  </a:cxn>
                  <a:cxn ang="0">
                    <a:pos x="2" y="10"/>
                  </a:cxn>
                  <a:cxn ang="0">
                    <a:pos x="0" y="12"/>
                  </a:cxn>
                  <a:cxn ang="0">
                    <a:pos x="2" y="16"/>
                  </a:cxn>
                </a:cxnLst>
                <a:rect l="0" t="0" r="r" b="b"/>
                <a:pathLst>
                  <a:path w="23" h="16">
                    <a:moveTo>
                      <a:pt x="2" y="16"/>
                    </a:moveTo>
                    <a:lnTo>
                      <a:pt x="12" y="12"/>
                    </a:lnTo>
                    <a:lnTo>
                      <a:pt x="23" y="10"/>
                    </a:lnTo>
                    <a:lnTo>
                      <a:pt x="16" y="4"/>
                    </a:lnTo>
                    <a:lnTo>
                      <a:pt x="11" y="0"/>
                    </a:lnTo>
                    <a:lnTo>
                      <a:pt x="4" y="4"/>
                    </a:lnTo>
                    <a:lnTo>
                      <a:pt x="2" y="10"/>
                    </a:lnTo>
                    <a:lnTo>
                      <a:pt x="0" y="12"/>
                    </a:lnTo>
                    <a:lnTo>
                      <a:pt x="2"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08" name="Freeform 360"/>
              <p:cNvSpPr>
                <a:spLocks/>
              </p:cNvSpPr>
              <p:nvPr/>
            </p:nvSpPr>
            <p:spPr bwMode="auto">
              <a:xfrm>
                <a:off x="7527132" y="1885950"/>
                <a:ext cx="76200" cy="30162"/>
              </a:xfrm>
              <a:custGeom>
                <a:avLst/>
                <a:gdLst/>
                <a:ahLst/>
                <a:cxnLst>
                  <a:cxn ang="0">
                    <a:pos x="0" y="14"/>
                  </a:cxn>
                  <a:cxn ang="0">
                    <a:pos x="8" y="4"/>
                  </a:cxn>
                  <a:cxn ang="0">
                    <a:pos x="24" y="0"/>
                  </a:cxn>
                  <a:cxn ang="0">
                    <a:pos x="32" y="0"/>
                  </a:cxn>
                  <a:cxn ang="0">
                    <a:pos x="41" y="6"/>
                  </a:cxn>
                  <a:cxn ang="0">
                    <a:pos x="44" y="11"/>
                  </a:cxn>
                  <a:cxn ang="0">
                    <a:pos x="48" y="19"/>
                  </a:cxn>
                  <a:cxn ang="0">
                    <a:pos x="32" y="19"/>
                  </a:cxn>
                  <a:cxn ang="0">
                    <a:pos x="17" y="14"/>
                  </a:cxn>
                  <a:cxn ang="0">
                    <a:pos x="1" y="12"/>
                  </a:cxn>
                  <a:cxn ang="0">
                    <a:pos x="0" y="14"/>
                  </a:cxn>
                </a:cxnLst>
                <a:rect l="0" t="0" r="r" b="b"/>
                <a:pathLst>
                  <a:path w="48" h="19">
                    <a:moveTo>
                      <a:pt x="0" y="14"/>
                    </a:moveTo>
                    <a:lnTo>
                      <a:pt x="8" y="4"/>
                    </a:lnTo>
                    <a:lnTo>
                      <a:pt x="24" y="0"/>
                    </a:lnTo>
                    <a:lnTo>
                      <a:pt x="32" y="0"/>
                    </a:lnTo>
                    <a:lnTo>
                      <a:pt x="41" y="6"/>
                    </a:lnTo>
                    <a:lnTo>
                      <a:pt x="44" y="11"/>
                    </a:lnTo>
                    <a:lnTo>
                      <a:pt x="48" y="19"/>
                    </a:lnTo>
                    <a:lnTo>
                      <a:pt x="32" y="19"/>
                    </a:lnTo>
                    <a:lnTo>
                      <a:pt x="17" y="14"/>
                    </a:lnTo>
                    <a:lnTo>
                      <a:pt x="1" y="12"/>
                    </a:lnTo>
                    <a:lnTo>
                      <a:pt x="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09" name="Freeform 361"/>
              <p:cNvSpPr>
                <a:spLocks/>
              </p:cNvSpPr>
              <p:nvPr/>
            </p:nvSpPr>
            <p:spPr bwMode="auto">
              <a:xfrm>
                <a:off x="7671594" y="1809750"/>
                <a:ext cx="103188" cy="38100"/>
              </a:xfrm>
              <a:custGeom>
                <a:avLst/>
                <a:gdLst/>
                <a:ahLst/>
                <a:cxnLst>
                  <a:cxn ang="0">
                    <a:pos x="0" y="0"/>
                  </a:cxn>
                  <a:cxn ang="0">
                    <a:pos x="2" y="0"/>
                  </a:cxn>
                  <a:cxn ang="0">
                    <a:pos x="8" y="2"/>
                  </a:cxn>
                  <a:cxn ang="0">
                    <a:pos x="19" y="4"/>
                  </a:cxn>
                  <a:cxn ang="0">
                    <a:pos x="29" y="5"/>
                  </a:cxn>
                  <a:cxn ang="0">
                    <a:pos x="39" y="7"/>
                  </a:cxn>
                  <a:cxn ang="0">
                    <a:pos x="50" y="9"/>
                  </a:cxn>
                  <a:cxn ang="0">
                    <a:pos x="55" y="9"/>
                  </a:cxn>
                  <a:cxn ang="0">
                    <a:pos x="60" y="11"/>
                  </a:cxn>
                  <a:cxn ang="0">
                    <a:pos x="62" y="12"/>
                  </a:cxn>
                  <a:cxn ang="0">
                    <a:pos x="65" y="16"/>
                  </a:cxn>
                  <a:cxn ang="0">
                    <a:pos x="62" y="17"/>
                  </a:cxn>
                  <a:cxn ang="0">
                    <a:pos x="55" y="21"/>
                  </a:cxn>
                  <a:cxn ang="0">
                    <a:pos x="48" y="23"/>
                  </a:cxn>
                  <a:cxn ang="0">
                    <a:pos x="41" y="24"/>
                  </a:cxn>
                  <a:cxn ang="0">
                    <a:pos x="29" y="23"/>
                  </a:cxn>
                  <a:cxn ang="0">
                    <a:pos x="17" y="19"/>
                  </a:cxn>
                  <a:cxn ang="0">
                    <a:pos x="8" y="12"/>
                  </a:cxn>
                  <a:cxn ang="0">
                    <a:pos x="5" y="5"/>
                  </a:cxn>
                  <a:cxn ang="0">
                    <a:pos x="0" y="0"/>
                  </a:cxn>
                </a:cxnLst>
                <a:rect l="0" t="0" r="r" b="b"/>
                <a:pathLst>
                  <a:path w="65" h="24">
                    <a:moveTo>
                      <a:pt x="0" y="0"/>
                    </a:moveTo>
                    <a:lnTo>
                      <a:pt x="2" y="0"/>
                    </a:lnTo>
                    <a:lnTo>
                      <a:pt x="8" y="2"/>
                    </a:lnTo>
                    <a:lnTo>
                      <a:pt x="19" y="4"/>
                    </a:lnTo>
                    <a:lnTo>
                      <a:pt x="29" y="5"/>
                    </a:lnTo>
                    <a:lnTo>
                      <a:pt x="39" y="7"/>
                    </a:lnTo>
                    <a:lnTo>
                      <a:pt x="50" y="9"/>
                    </a:lnTo>
                    <a:lnTo>
                      <a:pt x="55" y="9"/>
                    </a:lnTo>
                    <a:lnTo>
                      <a:pt x="60" y="11"/>
                    </a:lnTo>
                    <a:lnTo>
                      <a:pt x="62" y="12"/>
                    </a:lnTo>
                    <a:lnTo>
                      <a:pt x="65" y="16"/>
                    </a:lnTo>
                    <a:lnTo>
                      <a:pt x="62" y="17"/>
                    </a:lnTo>
                    <a:lnTo>
                      <a:pt x="55" y="21"/>
                    </a:lnTo>
                    <a:lnTo>
                      <a:pt x="48" y="23"/>
                    </a:lnTo>
                    <a:lnTo>
                      <a:pt x="41" y="24"/>
                    </a:lnTo>
                    <a:lnTo>
                      <a:pt x="29" y="23"/>
                    </a:lnTo>
                    <a:lnTo>
                      <a:pt x="17" y="19"/>
                    </a:lnTo>
                    <a:lnTo>
                      <a:pt x="8" y="12"/>
                    </a:lnTo>
                    <a:lnTo>
                      <a:pt x="5" y="5"/>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10" name="Freeform 362"/>
              <p:cNvSpPr>
                <a:spLocks/>
              </p:cNvSpPr>
              <p:nvPr/>
            </p:nvSpPr>
            <p:spPr bwMode="auto">
              <a:xfrm>
                <a:off x="7523957" y="1865313"/>
                <a:ext cx="22225" cy="20637"/>
              </a:xfrm>
              <a:custGeom>
                <a:avLst/>
                <a:gdLst/>
                <a:ahLst/>
                <a:cxnLst>
                  <a:cxn ang="0">
                    <a:pos x="14" y="7"/>
                  </a:cxn>
                  <a:cxn ang="0">
                    <a:pos x="10" y="10"/>
                  </a:cxn>
                  <a:cxn ang="0">
                    <a:pos x="7" y="13"/>
                  </a:cxn>
                  <a:cxn ang="0">
                    <a:pos x="0" y="10"/>
                  </a:cxn>
                  <a:cxn ang="0">
                    <a:pos x="0" y="7"/>
                  </a:cxn>
                  <a:cxn ang="0">
                    <a:pos x="2" y="0"/>
                  </a:cxn>
                  <a:cxn ang="0">
                    <a:pos x="7" y="0"/>
                  </a:cxn>
                  <a:cxn ang="0">
                    <a:pos x="10" y="1"/>
                  </a:cxn>
                  <a:cxn ang="0">
                    <a:pos x="14" y="7"/>
                  </a:cxn>
                </a:cxnLst>
                <a:rect l="0" t="0" r="r" b="b"/>
                <a:pathLst>
                  <a:path w="14" h="13">
                    <a:moveTo>
                      <a:pt x="14" y="7"/>
                    </a:moveTo>
                    <a:lnTo>
                      <a:pt x="10" y="10"/>
                    </a:lnTo>
                    <a:lnTo>
                      <a:pt x="7" y="13"/>
                    </a:lnTo>
                    <a:lnTo>
                      <a:pt x="0" y="10"/>
                    </a:lnTo>
                    <a:lnTo>
                      <a:pt x="0" y="7"/>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11" name="Freeform 363"/>
              <p:cNvSpPr>
                <a:spLocks/>
              </p:cNvSpPr>
              <p:nvPr/>
            </p:nvSpPr>
            <p:spPr bwMode="auto">
              <a:xfrm>
                <a:off x="2840832" y="2768600"/>
                <a:ext cx="57150" cy="26987"/>
              </a:xfrm>
              <a:custGeom>
                <a:avLst/>
                <a:gdLst/>
                <a:ahLst/>
                <a:cxnLst>
                  <a:cxn ang="0">
                    <a:pos x="29" y="17"/>
                  </a:cxn>
                  <a:cxn ang="0">
                    <a:pos x="33" y="15"/>
                  </a:cxn>
                  <a:cxn ang="0">
                    <a:pos x="36" y="14"/>
                  </a:cxn>
                  <a:cxn ang="0">
                    <a:pos x="28" y="8"/>
                  </a:cxn>
                  <a:cxn ang="0">
                    <a:pos x="19" y="3"/>
                  </a:cxn>
                  <a:cxn ang="0">
                    <a:pos x="9" y="0"/>
                  </a:cxn>
                  <a:cxn ang="0">
                    <a:pos x="0" y="2"/>
                  </a:cxn>
                  <a:cxn ang="0">
                    <a:pos x="5" y="5"/>
                  </a:cxn>
                  <a:cxn ang="0">
                    <a:pos x="14" y="10"/>
                  </a:cxn>
                  <a:cxn ang="0">
                    <a:pos x="21" y="14"/>
                  </a:cxn>
                  <a:cxn ang="0">
                    <a:pos x="29" y="17"/>
                  </a:cxn>
                </a:cxnLst>
                <a:rect l="0" t="0" r="r" b="b"/>
                <a:pathLst>
                  <a:path w="36" h="17">
                    <a:moveTo>
                      <a:pt x="29" y="17"/>
                    </a:moveTo>
                    <a:lnTo>
                      <a:pt x="33" y="15"/>
                    </a:lnTo>
                    <a:lnTo>
                      <a:pt x="36" y="14"/>
                    </a:lnTo>
                    <a:lnTo>
                      <a:pt x="28" y="8"/>
                    </a:lnTo>
                    <a:lnTo>
                      <a:pt x="19" y="3"/>
                    </a:lnTo>
                    <a:lnTo>
                      <a:pt x="9" y="0"/>
                    </a:lnTo>
                    <a:lnTo>
                      <a:pt x="0" y="2"/>
                    </a:lnTo>
                    <a:lnTo>
                      <a:pt x="5" y="5"/>
                    </a:lnTo>
                    <a:lnTo>
                      <a:pt x="14" y="10"/>
                    </a:lnTo>
                    <a:lnTo>
                      <a:pt x="21" y="14"/>
                    </a:lnTo>
                    <a:lnTo>
                      <a:pt x="29"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12" name="Freeform 364"/>
              <p:cNvSpPr>
                <a:spLocks/>
              </p:cNvSpPr>
              <p:nvPr/>
            </p:nvSpPr>
            <p:spPr bwMode="auto">
              <a:xfrm>
                <a:off x="2847182" y="2859088"/>
                <a:ext cx="42863" cy="26987"/>
              </a:xfrm>
              <a:custGeom>
                <a:avLst/>
                <a:gdLst/>
                <a:ahLst/>
                <a:cxnLst>
                  <a:cxn ang="0">
                    <a:pos x="1" y="0"/>
                  </a:cxn>
                  <a:cxn ang="0">
                    <a:pos x="5" y="5"/>
                  </a:cxn>
                  <a:cxn ang="0">
                    <a:pos x="12" y="8"/>
                  </a:cxn>
                  <a:cxn ang="0">
                    <a:pos x="27" y="8"/>
                  </a:cxn>
                  <a:cxn ang="0">
                    <a:pos x="27" y="12"/>
                  </a:cxn>
                  <a:cxn ang="0">
                    <a:pos x="24" y="13"/>
                  </a:cxn>
                  <a:cxn ang="0">
                    <a:pos x="20" y="17"/>
                  </a:cxn>
                  <a:cxn ang="0">
                    <a:pos x="15" y="13"/>
                  </a:cxn>
                  <a:cxn ang="0">
                    <a:pos x="8" y="10"/>
                  </a:cxn>
                  <a:cxn ang="0">
                    <a:pos x="1" y="6"/>
                  </a:cxn>
                  <a:cxn ang="0">
                    <a:pos x="0" y="3"/>
                  </a:cxn>
                  <a:cxn ang="0">
                    <a:pos x="0" y="0"/>
                  </a:cxn>
                  <a:cxn ang="0">
                    <a:pos x="1" y="0"/>
                  </a:cxn>
                </a:cxnLst>
                <a:rect l="0" t="0" r="r" b="b"/>
                <a:pathLst>
                  <a:path w="27" h="17">
                    <a:moveTo>
                      <a:pt x="1" y="0"/>
                    </a:moveTo>
                    <a:lnTo>
                      <a:pt x="5" y="5"/>
                    </a:lnTo>
                    <a:lnTo>
                      <a:pt x="12" y="8"/>
                    </a:lnTo>
                    <a:lnTo>
                      <a:pt x="27" y="8"/>
                    </a:lnTo>
                    <a:lnTo>
                      <a:pt x="27" y="12"/>
                    </a:lnTo>
                    <a:lnTo>
                      <a:pt x="24" y="13"/>
                    </a:lnTo>
                    <a:lnTo>
                      <a:pt x="20" y="17"/>
                    </a:lnTo>
                    <a:lnTo>
                      <a:pt x="15" y="13"/>
                    </a:lnTo>
                    <a:lnTo>
                      <a:pt x="8" y="10"/>
                    </a:lnTo>
                    <a:lnTo>
                      <a:pt x="1" y="6"/>
                    </a:lnTo>
                    <a:lnTo>
                      <a:pt x="0" y="3"/>
                    </a:lnTo>
                    <a:lnTo>
                      <a:pt x="0" y="0"/>
                    </a:lnTo>
                    <a:lnTo>
                      <a:pt x="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13" name="Freeform 365"/>
              <p:cNvSpPr>
                <a:spLocks/>
              </p:cNvSpPr>
              <p:nvPr/>
            </p:nvSpPr>
            <p:spPr bwMode="auto">
              <a:xfrm>
                <a:off x="2909094" y="2859088"/>
                <a:ext cx="33338" cy="38100"/>
              </a:xfrm>
              <a:custGeom>
                <a:avLst/>
                <a:gdLst/>
                <a:ahLst/>
                <a:cxnLst>
                  <a:cxn ang="0">
                    <a:pos x="21" y="13"/>
                  </a:cxn>
                  <a:cxn ang="0">
                    <a:pos x="21" y="17"/>
                  </a:cxn>
                  <a:cxn ang="0">
                    <a:pos x="16" y="20"/>
                  </a:cxn>
                  <a:cxn ang="0">
                    <a:pos x="9" y="24"/>
                  </a:cxn>
                  <a:cxn ang="0">
                    <a:pos x="2" y="20"/>
                  </a:cxn>
                  <a:cxn ang="0">
                    <a:pos x="0" y="17"/>
                  </a:cxn>
                  <a:cxn ang="0">
                    <a:pos x="0" y="12"/>
                  </a:cxn>
                  <a:cxn ang="0">
                    <a:pos x="4" y="8"/>
                  </a:cxn>
                  <a:cxn ang="0">
                    <a:pos x="7" y="1"/>
                  </a:cxn>
                  <a:cxn ang="0">
                    <a:pos x="12" y="0"/>
                  </a:cxn>
                  <a:cxn ang="0">
                    <a:pos x="14" y="1"/>
                  </a:cxn>
                  <a:cxn ang="0">
                    <a:pos x="16" y="5"/>
                  </a:cxn>
                  <a:cxn ang="0">
                    <a:pos x="12" y="10"/>
                  </a:cxn>
                  <a:cxn ang="0">
                    <a:pos x="21" y="13"/>
                  </a:cxn>
                </a:cxnLst>
                <a:rect l="0" t="0" r="r" b="b"/>
                <a:pathLst>
                  <a:path w="21" h="24">
                    <a:moveTo>
                      <a:pt x="21" y="13"/>
                    </a:moveTo>
                    <a:lnTo>
                      <a:pt x="21" y="17"/>
                    </a:lnTo>
                    <a:lnTo>
                      <a:pt x="16" y="20"/>
                    </a:lnTo>
                    <a:lnTo>
                      <a:pt x="9" y="24"/>
                    </a:lnTo>
                    <a:lnTo>
                      <a:pt x="2" y="20"/>
                    </a:lnTo>
                    <a:lnTo>
                      <a:pt x="0" y="17"/>
                    </a:lnTo>
                    <a:lnTo>
                      <a:pt x="0" y="12"/>
                    </a:lnTo>
                    <a:lnTo>
                      <a:pt x="4" y="8"/>
                    </a:lnTo>
                    <a:lnTo>
                      <a:pt x="7" y="1"/>
                    </a:lnTo>
                    <a:lnTo>
                      <a:pt x="12" y="0"/>
                    </a:lnTo>
                    <a:lnTo>
                      <a:pt x="14" y="1"/>
                    </a:lnTo>
                    <a:lnTo>
                      <a:pt x="16" y="5"/>
                    </a:lnTo>
                    <a:lnTo>
                      <a:pt x="12" y="10"/>
                    </a:lnTo>
                    <a:lnTo>
                      <a:pt x="21"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14" name="Freeform 366"/>
              <p:cNvSpPr>
                <a:spLocks/>
              </p:cNvSpPr>
              <p:nvPr/>
            </p:nvSpPr>
            <p:spPr bwMode="auto">
              <a:xfrm>
                <a:off x="484982" y="2438400"/>
                <a:ext cx="34925" cy="15875"/>
              </a:xfrm>
              <a:custGeom>
                <a:avLst/>
                <a:gdLst/>
                <a:ahLst/>
                <a:cxnLst>
                  <a:cxn ang="0">
                    <a:pos x="7" y="5"/>
                  </a:cxn>
                  <a:cxn ang="0">
                    <a:pos x="9" y="0"/>
                  </a:cxn>
                  <a:cxn ang="0">
                    <a:pos x="15" y="1"/>
                  </a:cxn>
                  <a:cxn ang="0">
                    <a:pos x="21" y="3"/>
                  </a:cxn>
                  <a:cxn ang="0">
                    <a:pos x="22" y="10"/>
                  </a:cxn>
                  <a:cxn ang="0">
                    <a:pos x="5" y="10"/>
                  </a:cxn>
                  <a:cxn ang="0">
                    <a:pos x="2" y="7"/>
                  </a:cxn>
                  <a:cxn ang="0">
                    <a:pos x="0" y="5"/>
                  </a:cxn>
                  <a:cxn ang="0">
                    <a:pos x="7" y="5"/>
                  </a:cxn>
                </a:cxnLst>
                <a:rect l="0" t="0" r="r" b="b"/>
                <a:pathLst>
                  <a:path w="22" h="10">
                    <a:moveTo>
                      <a:pt x="7" y="5"/>
                    </a:moveTo>
                    <a:lnTo>
                      <a:pt x="9" y="0"/>
                    </a:lnTo>
                    <a:lnTo>
                      <a:pt x="15" y="1"/>
                    </a:lnTo>
                    <a:lnTo>
                      <a:pt x="21" y="3"/>
                    </a:lnTo>
                    <a:lnTo>
                      <a:pt x="22" y="10"/>
                    </a:lnTo>
                    <a:lnTo>
                      <a:pt x="5" y="10"/>
                    </a:lnTo>
                    <a:lnTo>
                      <a:pt x="2" y="7"/>
                    </a:lnTo>
                    <a:lnTo>
                      <a:pt x="0" y="5"/>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15" name="Freeform 367"/>
              <p:cNvSpPr>
                <a:spLocks/>
              </p:cNvSpPr>
              <p:nvPr/>
            </p:nvSpPr>
            <p:spPr bwMode="auto">
              <a:xfrm>
                <a:off x="751682" y="3579813"/>
                <a:ext cx="20638" cy="15875"/>
              </a:xfrm>
              <a:custGeom>
                <a:avLst/>
                <a:gdLst/>
                <a:ahLst/>
                <a:cxnLst>
                  <a:cxn ang="0">
                    <a:pos x="13" y="5"/>
                  </a:cxn>
                  <a:cxn ang="0">
                    <a:pos x="13" y="8"/>
                  </a:cxn>
                  <a:cxn ang="0">
                    <a:pos x="6" y="8"/>
                  </a:cxn>
                  <a:cxn ang="0">
                    <a:pos x="2" y="10"/>
                  </a:cxn>
                  <a:cxn ang="0">
                    <a:pos x="0" y="8"/>
                  </a:cxn>
                  <a:cxn ang="0">
                    <a:pos x="0" y="6"/>
                  </a:cxn>
                  <a:cxn ang="0">
                    <a:pos x="0" y="3"/>
                  </a:cxn>
                  <a:cxn ang="0">
                    <a:pos x="0" y="0"/>
                  </a:cxn>
                  <a:cxn ang="0">
                    <a:pos x="6" y="0"/>
                  </a:cxn>
                  <a:cxn ang="0">
                    <a:pos x="13" y="5"/>
                  </a:cxn>
                </a:cxnLst>
                <a:rect l="0" t="0" r="r" b="b"/>
                <a:pathLst>
                  <a:path w="13" h="10">
                    <a:moveTo>
                      <a:pt x="13" y="5"/>
                    </a:moveTo>
                    <a:lnTo>
                      <a:pt x="13" y="8"/>
                    </a:lnTo>
                    <a:lnTo>
                      <a:pt x="6" y="8"/>
                    </a:lnTo>
                    <a:lnTo>
                      <a:pt x="2" y="10"/>
                    </a:lnTo>
                    <a:lnTo>
                      <a:pt x="0" y="8"/>
                    </a:lnTo>
                    <a:lnTo>
                      <a:pt x="0" y="6"/>
                    </a:lnTo>
                    <a:lnTo>
                      <a:pt x="0" y="3"/>
                    </a:lnTo>
                    <a:lnTo>
                      <a:pt x="0" y="0"/>
                    </a:lnTo>
                    <a:lnTo>
                      <a:pt x="6" y="0"/>
                    </a:lnTo>
                    <a:lnTo>
                      <a:pt x="1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16" name="Freeform 368"/>
              <p:cNvSpPr>
                <a:spLocks/>
              </p:cNvSpPr>
              <p:nvPr/>
            </p:nvSpPr>
            <p:spPr bwMode="auto">
              <a:xfrm>
                <a:off x="735807" y="3551238"/>
                <a:ext cx="11113" cy="7937"/>
              </a:xfrm>
              <a:custGeom>
                <a:avLst/>
                <a:gdLst/>
                <a:ahLst/>
                <a:cxnLst>
                  <a:cxn ang="0">
                    <a:pos x="7" y="5"/>
                  </a:cxn>
                  <a:cxn ang="0">
                    <a:pos x="5" y="5"/>
                  </a:cxn>
                  <a:cxn ang="0">
                    <a:pos x="4" y="5"/>
                  </a:cxn>
                  <a:cxn ang="0">
                    <a:pos x="2" y="2"/>
                  </a:cxn>
                  <a:cxn ang="0">
                    <a:pos x="0" y="0"/>
                  </a:cxn>
                  <a:cxn ang="0">
                    <a:pos x="4" y="0"/>
                  </a:cxn>
                  <a:cxn ang="0">
                    <a:pos x="7" y="5"/>
                  </a:cxn>
                </a:cxnLst>
                <a:rect l="0" t="0" r="r" b="b"/>
                <a:pathLst>
                  <a:path w="7" h="5">
                    <a:moveTo>
                      <a:pt x="7" y="5"/>
                    </a:moveTo>
                    <a:lnTo>
                      <a:pt x="5" y="5"/>
                    </a:lnTo>
                    <a:lnTo>
                      <a:pt x="4" y="5"/>
                    </a:lnTo>
                    <a:lnTo>
                      <a:pt x="2" y="2"/>
                    </a:lnTo>
                    <a:lnTo>
                      <a:pt x="0" y="0"/>
                    </a:lnTo>
                    <a:lnTo>
                      <a:pt x="4" y="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17" name="Freeform 369"/>
              <p:cNvSpPr>
                <a:spLocks/>
              </p:cNvSpPr>
              <p:nvPr/>
            </p:nvSpPr>
            <p:spPr bwMode="auto">
              <a:xfrm>
                <a:off x="713582" y="3543300"/>
                <a:ext cx="17463" cy="7937"/>
              </a:xfrm>
              <a:custGeom>
                <a:avLst/>
                <a:gdLst/>
                <a:ahLst/>
                <a:cxnLst>
                  <a:cxn ang="0">
                    <a:pos x="11" y="0"/>
                  </a:cxn>
                  <a:cxn ang="0">
                    <a:pos x="7" y="4"/>
                  </a:cxn>
                  <a:cxn ang="0">
                    <a:pos x="4" y="5"/>
                  </a:cxn>
                  <a:cxn ang="0">
                    <a:pos x="0" y="2"/>
                  </a:cxn>
                  <a:cxn ang="0">
                    <a:pos x="0" y="0"/>
                  </a:cxn>
                  <a:cxn ang="0">
                    <a:pos x="11" y="0"/>
                  </a:cxn>
                </a:cxnLst>
                <a:rect l="0" t="0" r="r" b="b"/>
                <a:pathLst>
                  <a:path w="11" h="5">
                    <a:moveTo>
                      <a:pt x="11" y="0"/>
                    </a:moveTo>
                    <a:lnTo>
                      <a:pt x="7" y="4"/>
                    </a:lnTo>
                    <a:lnTo>
                      <a:pt x="4" y="5"/>
                    </a:lnTo>
                    <a:lnTo>
                      <a:pt x="0" y="2"/>
                    </a:lnTo>
                    <a:lnTo>
                      <a:pt x="0" y="0"/>
                    </a:lnTo>
                    <a:lnTo>
                      <a:pt x="1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18" name="Freeform 370"/>
              <p:cNvSpPr>
                <a:spLocks/>
              </p:cNvSpPr>
              <p:nvPr/>
            </p:nvSpPr>
            <p:spPr bwMode="auto">
              <a:xfrm>
                <a:off x="694532" y="3535363"/>
                <a:ext cx="14288" cy="7937"/>
              </a:xfrm>
              <a:custGeom>
                <a:avLst/>
                <a:gdLst/>
                <a:ahLst/>
                <a:cxnLst>
                  <a:cxn ang="0">
                    <a:pos x="4" y="0"/>
                  </a:cxn>
                  <a:cxn ang="0">
                    <a:pos x="6" y="0"/>
                  </a:cxn>
                  <a:cxn ang="0">
                    <a:pos x="9" y="0"/>
                  </a:cxn>
                  <a:cxn ang="0">
                    <a:pos x="9" y="2"/>
                  </a:cxn>
                  <a:cxn ang="0">
                    <a:pos x="7" y="3"/>
                  </a:cxn>
                  <a:cxn ang="0">
                    <a:pos x="6" y="5"/>
                  </a:cxn>
                  <a:cxn ang="0">
                    <a:pos x="2" y="3"/>
                  </a:cxn>
                  <a:cxn ang="0">
                    <a:pos x="0" y="2"/>
                  </a:cxn>
                  <a:cxn ang="0">
                    <a:pos x="2" y="0"/>
                  </a:cxn>
                  <a:cxn ang="0">
                    <a:pos x="6" y="0"/>
                  </a:cxn>
                  <a:cxn ang="0">
                    <a:pos x="4" y="0"/>
                  </a:cxn>
                </a:cxnLst>
                <a:rect l="0" t="0" r="r" b="b"/>
                <a:pathLst>
                  <a:path w="9" h="5">
                    <a:moveTo>
                      <a:pt x="4" y="0"/>
                    </a:moveTo>
                    <a:lnTo>
                      <a:pt x="6" y="0"/>
                    </a:lnTo>
                    <a:lnTo>
                      <a:pt x="9" y="0"/>
                    </a:lnTo>
                    <a:lnTo>
                      <a:pt x="9" y="2"/>
                    </a:lnTo>
                    <a:lnTo>
                      <a:pt x="7" y="3"/>
                    </a:lnTo>
                    <a:lnTo>
                      <a:pt x="6" y="5"/>
                    </a:lnTo>
                    <a:lnTo>
                      <a:pt x="2" y="3"/>
                    </a:lnTo>
                    <a:lnTo>
                      <a:pt x="0" y="2"/>
                    </a:lnTo>
                    <a:lnTo>
                      <a:pt x="2" y="0"/>
                    </a:lnTo>
                    <a:lnTo>
                      <a:pt x="6"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019" name="Freeform 371"/>
              <p:cNvSpPr>
                <a:spLocks/>
              </p:cNvSpPr>
              <p:nvPr/>
            </p:nvSpPr>
            <p:spPr bwMode="auto">
              <a:xfrm>
                <a:off x="662782" y="3516313"/>
                <a:ext cx="12700" cy="11112"/>
              </a:xfrm>
              <a:custGeom>
                <a:avLst/>
                <a:gdLst/>
                <a:ahLst/>
                <a:cxnLst>
                  <a:cxn ang="0">
                    <a:pos x="8" y="2"/>
                  </a:cxn>
                  <a:cxn ang="0">
                    <a:pos x="8" y="3"/>
                  </a:cxn>
                  <a:cxn ang="0">
                    <a:pos x="8" y="7"/>
                  </a:cxn>
                  <a:cxn ang="0">
                    <a:pos x="5" y="7"/>
                  </a:cxn>
                  <a:cxn ang="0">
                    <a:pos x="1" y="5"/>
                  </a:cxn>
                  <a:cxn ang="0">
                    <a:pos x="0" y="3"/>
                  </a:cxn>
                  <a:cxn ang="0">
                    <a:pos x="1" y="2"/>
                  </a:cxn>
                  <a:cxn ang="0">
                    <a:pos x="3" y="0"/>
                  </a:cxn>
                  <a:cxn ang="0">
                    <a:pos x="5" y="0"/>
                  </a:cxn>
                  <a:cxn ang="0">
                    <a:pos x="8" y="2"/>
                  </a:cxn>
                </a:cxnLst>
                <a:rect l="0" t="0" r="r" b="b"/>
                <a:pathLst>
                  <a:path w="8" h="7">
                    <a:moveTo>
                      <a:pt x="8" y="2"/>
                    </a:moveTo>
                    <a:lnTo>
                      <a:pt x="8" y="3"/>
                    </a:lnTo>
                    <a:lnTo>
                      <a:pt x="8" y="7"/>
                    </a:lnTo>
                    <a:lnTo>
                      <a:pt x="5" y="7"/>
                    </a:lnTo>
                    <a:lnTo>
                      <a:pt x="1" y="5"/>
                    </a:lnTo>
                    <a:lnTo>
                      <a:pt x="0" y="3"/>
                    </a:lnTo>
                    <a:lnTo>
                      <a:pt x="1" y="2"/>
                    </a:lnTo>
                    <a:lnTo>
                      <a:pt x="3" y="0"/>
                    </a:lnTo>
                    <a:lnTo>
                      <a:pt x="5" y="0"/>
                    </a:lnTo>
                    <a:lnTo>
                      <a:pt x="8"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grpSp>
        <p:cxnSp>
          <p:nvCxnSpPr>
            <p:cNvPr id="839" name="Straight Connector 838"/>
            <p:cNvCxnSpPr>
              <a:stCxn id="836" idx="1"/>
              <a:endCxn id="836" idx="3"/>
            </p:cNvCxnSpPr>
            <p:nvPr/>
          </p:nvCxnSpPr>
          <p:spPr>
            <a:xfrm>
              <a:off x="3542201" y="4851699"/>
              <a:ext cx="3684601"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pSp>
      <p:pic>
        <p:nvPicPr>
          <p:cNvPr id="1020" name="Picture 18" descr="Related imag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361920" y="3837379"/>
            <a:ext cx="529148" cy="589460"/>
          </a:xfrm>
          <a:prstGeom prst="rect">
            <a:avLst/>
          </a:prstGeom>
          <a:noFill/>
          <a:extLst>
            <a:ext uri="{909E8E84-426E-40DD-AFC4-6F175D3DCCD1}">
              <a14:hiddenFill xmlns:a14="http://schemas.microsoft.com/office/drawing/2010/main">
                <a:solidFill>
                  <a:srgbClr val="FFFFFF"/>
                </a:solidFill>
              </a14:hiddenFill>
            </a:ext>
          </a:extLst>
        </p:spPr>
      </p:pic>
      <p:pic>
        <p:nvPicPr>
          <p:cNvPr id="1021" name="Picture 1020"/>
          <p:cNvPicPr>
            <a:picLocks noChangeAspect="1"/>
          </p:cNvPicPr>
          <p:nvPr/>
        </p:nvPicPr>
        <p:blipFill rotWithShape="1">
          <a:blip r:embed="rId11" cstate="print">
            <a:extLst>
              <a:ext uri="{28A0092B-C50C-407E-A947-70E740481C1C}">
                <a14:useLocalDpi xmlns:a14="http://schemas.microsoft.com/office/drawing/2010/main" val="0"/>
              </a:ext>
            </a:extLst>
          </a:blip>
          <a:srcRect r="7198"/>
          <a:stretch/>
        </p:blipFill>
        <p:spPr>
          <a:xfrm>
            <a:off x="5756767" y="4203425"/>
            <a:ext cx="794442" cy="481538"/>
          </a:xfrm>
          <a:prstGeom prst="rect">
            <a:avLst/>
          </a:prstGeom>
        </p:spPr>
      </p:pic>
      <p:pic>
        <p:nvPicPr>
          <p:cNvPr id="1022" name="Picture 12" descr="Image result for nova merchant bank"/>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594463" y="4008528"/>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1023" name="Picture 2" descr="Image result for axa mansard logo"/>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699849" y="4479640"/>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4" descr="Image result for jpmorgan logo"/>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35128" b="38205"/>
          <a:stretch/>
        </p:blipFill>
        <p:spPr bwMode="auto">
          <a:xfrm>
            <a:off x="5427012" y="5281754"/>
            <a:ext cx="1011521" cy="273940"/>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1026" name="Picture 14" descr="Related image"/>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846165" y="5593846"/>
            <a:ext cx="771356" cy="259066"/>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1027" name="Picture 8" descr="Related image"/>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913430" y="5458149"/>
            <a:ext cx="462988" cy="461858"/>
          </a:xfrm>
          <a:prstGeom prst="rect">
            <a:avLst/>
          </a:prstGeom>
          <a:solidFill>
            <a:schemeClr val="bg1"/>
          </a:solidFill>
        </p:spPr>
      </p:pic>
      <p:pic>
        <p:nvPicPr>
          <p:cNvPr id="1028" name="Picture 1027"/>
          <p:cNvPicPr>
            <a:picLocks noChangeAspect="1"/>
          </p:cNvPicPr>
          <p:nvPr/>
        </p:nvPicPr>
        <p:blipFill rotWithShape="1">
          <a:blip r:embed="rId17">
            <a:extLst>
              <a:ext uri="{28A0092B-C50C-407E-A947-70E740481C1C}">
                <a14:useLocalDpi xmlns:a14="http://schemas.microsoft.com/office/drawing/2010/main" val="0"/>
              </a:ext>
            </a:extLst>
          </a:blip>
          <a:srcRect t="32902" b="25103"/>
          <a:stretch/>
        </p:blipFill>
        <p:spPr>
          <a:xfrm>
            <a:off x="5648502" y="4858625"/>
            <a:ext cx="811971" cy="271794"/>
          </a:xfrm>
          <a:prstGeom prst="rect">
            <a:avLst/>
          </a:prstGeom>
        </p:spPr>
      </p:pic>
      <p:pic>
        <p:nvPicPr>
          <p:cNvPr id="1029" name="Picture 10" descr="Image result for morgan stanley logo"/>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152353" y="6012106"/>
            <a:ext cx="1316309" cy="329077"/>
          </a:xfrm>
          <a:prstGeom prst="rect">
            <a:avLst/>
          </a:prstGeom>
          <a:solidFill>
            <a:srgbClr val="F4F9FD"/>
          </a:solidFill>
        </p:spPr>
      </p:pic>
      <p:sp>
        <p:nvSpPr>
          <p:cNvPr id="260" name="Title 2"/>
          <p:cNvSpPr txBox="1">
            <a:spLocks/>
          </p:cNvSpPr>
          <p:nvPr/>
        </p:nvSpPr>
        <p:spPr>
          <a:xfrm>
            <a:off x="3379898" y="56206"/>
            <a:ext cx="338328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Key </a:t>
            </a:r>
            <a:r>
              <a:rPr lang="en-US" sz="4400" b="0" kern="1200" dirty="0" smtClean="0">
                <a:latin typeface="KPMG Extralight" panose="020B0303030202040204" pitchFamily="34" charset="0"/>
                <a:cs typeface="+mj-cs"/>
              </a:rPr>
              <a:t>Findings &amp; Initiatives</a:t>
            </a:r>
            <a:endParaRPr lang="en-US" sz="4400" b="0" kern="1200" baseline="30000" dirty="0">
              <a:latin typeface="KPMG Extralight" panose="020B0303030202040204" pitchFamily="34" charset="0"/>
              <a:ea typeface="+mj-ea"/>
              <a:cs typeface="+mj-cs"/>
            </a:endParaRPr>
          </a:p>
        </p:txBody>
      </p:sp>
    </p:spTree>
    <p:extLst>
      <p:ext uri="{BB962C8B-B14F-4D97-AF65-F5344CB8AC3E}">
        <p14:creationId xmlns:p14="http://schemas.microsoft.com/office/powerpoint/2010/main" val="246925305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37"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42" name="behind">
            <a:extLst>
              <a:ext uri="{FF2B5EF4-FFF2-40B4-BE49-F238E27FC236}">
                <a16:creationId xmlns="" xmlns:a16="http://schemas.microsoft.com/office/drawing/2014/main" id="{38A877C1-DFD2-4C65-95CF-7836E459D0F3}"/>
              </a:ext>
            </a:extLst>
          </p:cNvPr>
          <p:cNvSpPr/>
          <p:nvPr/>
        </p:nvSpPr>
        <p:spPr>
          <a:xfrm>
            <a:off x="976529" y="2774081"/>
            <a:ext cx="6375677" cy="457200"/>
          </a:xfrm>
          <a:prstGeom prst="rect">
            <a:avLst/>
          </a:prstGeom>
          <a:solidFill>
            <a:srgbClr val="409DAD"/>
          </a:soli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i="0" u="none" strike="noStrike" kern="0" cap="none" spc="0" normalizeH="0" baseline="0" noProof="0" dirty="0" smtClean="0">
              <a:ln>
                <a:noFill/>
              </a:ln>
              <a:solidFill>
                <a:prstClr val="white"/>
              </a:solidFill>
              <a:effectLst/>
              <a:uLnTx/>
              <a:uFillTx/>
              <a:ea typeface="+mn-ea"/>
              <a:cs typeface="+mn-cs"/>
            </a:endParaRPr>
          </a:p>
        </p:txBody>
      </p:sp>
      <p:sp>
        <p:nvSpPr>
          <p:cNvPr id="43" name="mid">
            <a:extLst>
              <a:ext uri="{FF2B5EF4-FFF2-40B4-BE49-F238E27FC236}">
                <a16:creationId xmlns="" xmlns:a16="http://schemas.microsoft.com/office/drawing/2014/main" id="{875C7394-5D94-494E-9600-D61E780D8E05}"/>
              </a:ext>
            </a:extLst>
          </p:cNvPr>
          <p:cNvSpPr/>
          <p:nvPr/>
        </p:nvSpPr>
        <p:spPr>
          <a:xfrm>
            <a:off x="969708" y="2773122"/>
            <a:ext cx="720000" cy="457200"/>
          </a:xfrm>
          <a:prstGeom prst="rect">
            <a:avLst/>
          </a:prstGeom>
          <a:solidFill>
            <a:sysClr val="window" lastClr="FFFFFF">
              <a:alpha val="67000"/>
            </a:sysClr>
          </a:solidFill>
          <a:ln w="12700" cap="flat" cmpd="sng" algn="ctr">
            <a:noFill/>
            <a:prstDash val="solid"/>
            <a:miter lim="800000"/>
          </a:ln>
          <a:effectLst/>
        </p:spPr>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dirty="0" smtClean="0">
                <a:ln>
                  <a:noFill/>
                </a:ln>
                <a:solidFill>
                  <a:srgbClr val="00338D"/>
                </a:solidFill>
                <a:effectLst/>
                <a:uLnTx/>
                <a:uFillTx/>
                <a:ea typeface="+mn-ea"/>
                <a:cs typeface="+mn-cs"/>
              </a:rPr>
              <a:t>01</a:t>
            </a:r>
          </a:p>
        </p:txBody>
      </p:sp>
      <p:grpSp>
        <p:nvGrpSpPr>
          <p:cNvPr id="44" name="Group 43">
            <a:extLst>
              <a:ext uri="{FF2B5EF4-FFF2-40B4-BE49-F238E27FC236}">
                <a16:creationId xmlns="" xmlns:a16="http://schemas.microsoft.com/office/drawing/2014/main" id="{3E9DE34F-48C0-4B54-97BC-AE313EE9ECA2}"/>
              </a:ext>
            </a:extLst>
          </p:cNvPr>
          <p:cNvGrpSpPr/>
          <p:nvPr/>
        </p:nvGrpSpPr>
        <p:grpSpPr>
          <a:xfrm rot="16200000">
            <a:off x="1797189" y="2825417"/>
            <a:ext cx="139699" cy="354529"/>
            <a:chOff x="2254038" y="2460248"/>
            <a:chExt cx="139699" cy="354529"/>
          </a:xfrm>
        </p:grpSpPr>
        <p:sp>
          <p:nvSpPr>
            <p:cNvPr id="45" name="Oval 44">
              <a:extLst>
                <a:ext uri="{FF2B5EF4-FFF2-40B4-BE49-F238E27FC236}">
                  <a16:creationId xmlns="" xmlns:a16="http://schemas.microsoft.com/office/drawing/2014/main" id="{39A78A29-7B90-4A10-8B9F-54F4F13192E8}"/>
                </a:ext>
              </a:extLst>
            </p:cNvPr>
            <p:cNvSpPr/>
            <p:nvPr/>
          </p:nvSpPr>
          <p:spPr>
            <a:xfrm>
              <a:off x="2254038" y="2675078"/>
              <a:ext cx="139699" cy="139699"/>
            </a:xfrm>
            <a:prstGeom prst="ellipse">
              <a:avLst/>
            </a:prstGeom>
            <a:noFill/>
            <a:ln w="19050" cap="flat" cmpd="sng" algn="ctr">
              <a:solidFill>
                <a:sysClr val="window" lastClr="FFFFFF"/>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i="0" u="none" strike="noStrike" kern="0" cap="none" spc="0" normalizeH="0" baseline="0" noProof="0" dirty="0" smtClean="0">
                <a:ln>
                  <a:noFill/>
                </a:ln>
                <a:solidFill>
                  <a:prstClr val="white"/>
                </a:solidFill>
                <a:effectLst/>
                <a:uLnTx/>
                <a:uFillTx/>
                <a:ea typeface="+mn-ea"/>
                <a:cs typeface="+mn-cs"/>
              </a:endParaRPr>
            </a:p>
          </p:txBody>
        </p:sp>
        <p:cxnSp>
          <p:nvCxnSpPr>
            <p:cNvPr id="46" name="Straight Connector 45">
              <a:extLst>
                <a:ext uri="{FF2B5EF4-FFF2-40B4-BE49-F238E27FC236}">
                  <a16:creationId xmlns="" xmlns:a16="http://schemas.microsoft.com/office/drawing/2014/main" id="{DF080A14-F49A-47F6-93FF-6FAF479C74C0}"/>
                </a:ext>
              </a:extLst>
            </p:cNvPr>
            <p:cNvCxnSpPr>
              <a:cxnSpLocks/>
              <a:endCxn id="45" idx="0"/>
            </p:cNvCxnSpPr>
            <p:nvPr/>
          </p:nvCxnSpPr>
          <p:spPr>
            <a:xfrm flipH="1">
              <a:off x="2323888" y="2460248"/>
              <a:ext cx="2712" cy="214829"/>
            </a:xfrm>
            <a:prstGeom prst="line">
              <a:avLst/>
            </a:prstGeom>
            <a:solidFill>
              <a:sysClr val="window" lastClr="FFFFFF"/>
            </a:solidFill>
            <a:ln w="19050" cap="flat" cmpd="sng" algn="ctr">
              <a:solidFill>
                <a:sysClr val="window" lastClr="FFFFFF"/>
              </a:solidFill>
              <a:prstDash val="solid"/>
              <a:miter lim="800000"/>
            </a:ln>
            <a:effectLst/>
          </p:spPr>
        </p:cxnSp>
      </p:grpSp>
      <p:cxnSp>
        <p:nvCxnSpPr>
          <p:cNvPr id="47" name="Straight Connector 46">
            <a:extLst>
              <a:ext uri="{FF2B5EF4-FFF2-40B4-BE49-F238E27FC236}">
                <a16:creationId xmlns="" xmlns:a16="http://schemas.microsoft.com/office/drawing/2014/main" id="{E0D20DF4-9FA3-4757-AC69-FDB4960BDB41}"/>
              </a:ext>
            </a:extLst>
          </p:cNvPr>
          <p:cNvCxnSpPr>
            <a:cxnSpLocks/>
          </p:cNvCxnSpPr>
          <p:nvPr/>
        </p:nvCxnSpPr>
        <p:spPr>
          <a:xfrm>
            <a:off x="3228027" y="2999969"/>
            <a:ext cx="4114800" cy="0"/>
          </a:xfrm>
          <a:prstGeom prst="line">
            <a:avLst/>
          </a:prstGeom>
          <a:noFill/>
          <a:ln w="12700" cap="rnd" cmpd="sng" algn="ctr">
            <a:solidFill>
              <a:sysClr val="window" lastClr="FFFFFF"/>
            </a:solidFill>
            <a:prstDash val="sysDot"/>
            <a:miter lim="800000"/>
            <a:headEnd type="oval" w="sm" len="sm"/>
          </a:ln>
          <a:effectLst/>
        </p:spPr>
      </p:cxnSp>
      <p:sp>
        <p:nvSpPr>
          <p:cNvPr id="48" name="Rectangle 47">
            <a:extLst>
              <a:ext uri="{FF2B5EF4-FFF2-40B4-BE49-F238E27FC236}">
                <a16:creationId xmlns="" xmlns:a16="http://schemas.microsoft.com/office/drawing/2014/main" id="{D8F5E8CD-801A-4946-B69C-AEA549227958}"/>
              </a:ext>
            </a:extLst>
          </p:cNvPr>
          <p:cNvSpPr/>
          <p:nvPr/>
        </p:nvSpPr>
        <p:spPr>
          <a:xfrm>
            <a:off x="2109216" y="2767481"/>
            <a:ext cx="3069262" cy="457200"/>
          </a:xfrm>
          <a:prstGeom prst="rect">
            <a:avLst/>
          </a:prstGeom>
        </p:spPr>
        <p:txBody>
          <a:bodyPr lIns="0" tIns="0" rIns="0" bIns="0" anchor="ctr" anchorCtr="0">
            <a:noAutofit/>
          </a:bodyPr>
          <a:lstStyle/>
          <a:p>
            <a:pPr defTabSz="938515">
              <a:spcBef>
                <a:spcPts val="700"/>
              </a:spcBef>
              <a:spcAft>
                <a:spcPts val="700"/>
              </a:spcAft>
            </a:pPr>
            <a:r>
              <a:rPr lang="en-US" sz="1600" dirty="0" smtClean="0">
                <a:solidFill>
                  <a:prstClr val="white">
                    <a:lumMod val="95000"/>
                  </a:prstClr>
                </a:solidFill>
                <a:cs typeface="Arial" pitchFamily="34" charset="0"/>
              </a:rPr>
              <a:t>Background</a:t>
            </a:r>
            <a:endParaRPr lang="en-US" sz="1600" dirty="0">
              <a:solidFill>
                <a:prstClr val="white">
                  <a:lumMod val="95000"/>
                </a:prstClr>
              </a:solidFill>
              <a:cs typeface="Arial" pitchFamily="34" charset="0"/>
            </a:endParaRPr>
          </a:p>
        </p:txBody>
      </p:sp>
      <p:sp>
        <p:nvSpPr>
          <p:cNvPr id="49" name="behind">
            <a:extLst>
              <a:ext uri="{FF2B5EF4-FFF2-40B4-BE49-F238E27FC236}">
                <a16:creationId xmlns="" xmlns:a16="http://schemas.microsoft.com/office/drawing/2014/main" id="{630D6E81-2BE2-47C0-85E8-5D039238C243}"/>
              </a:ext>
            </a:extLst>
          </p:cNvPr>
          <p:cNvSpPr/>
          <p:nvPr/>
        </p:nvSpPr>
        <p:spPr>
          <a:xfrm>
            <a:off x="976529" y="3496789"/>
            <a:ext cx="6375677" cy="457200"/>
          </a:xfrm>
          <a:prstGeom prst="rect">
            <a:avLst/>
          </a:prstGeom>
          <a:solidFill>
            <a:srgbClr val="409DAD"/>
          </a:soli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i="0" u="none" strike="noStrike" kern="0" cap="none" spc="0" normalizeH="0" baseline="0" noProof="0" dirty="0" smtClean="0">
              <a:ln>
                <a:noFill/>
              </a:ln>
              <a:solidFill>
                <a:prstClr val="white"/>
              </a:solidFill>
              <a:effectLst/>
              <a:uLnTx/>
              <a:uFillTx/>
              <a:ea typeface="+mn-ea"/>
              <a:cs typeface="+mn-cs"/>
            </a:endParaRPr>
          </a:p>
        </p:txBody>
      </p:sp>
      <p:sp>
        <p:nvSpPr>
          <p:cNvPr id="50" name="mid">
            <a:extLst>
              <a:ext uri="{FF2B5EF4-FFF2-40B4-BE49-F238E27FC236}">
                <a16:creationId xmlns="" xmlns:a16="http://schemas.microsoft.com/office/drawing/2014/main" id="{5D5E5DFE-A053-48A1-930F-F4EA5E1DEA35}"/>
              </a:ext>
            </a:extLst>
          </p:cNvPr>
          <p:cNvSpPr/>
          <p:nvPr/>
        </p:nvSpPr>
        <p:spPr>
          <a:xfrm>
            <a:off x="969708" y="3496789"/>
            <a:ext cx="720000" cy="449864"/>
          </a:xfrm>
          <a:prstGeom prst="rect">
            <a:avLst/>
          </a:prstGeom>
          <a:solidFill>
            <a:sysClr val="window" lastClr="FFFFFF">
              <a:alpha val="67000"/>
            </a:sysClr>
          </a:solidFill>
          <a:ln w="12700" cap="flat" cmpd="sng" algn="ctr">
            <a:noFill/>
            <a:prstDash val="solid"/>
            <a:miter lim="800000"/>
          </a:ln>
          <a:effectLst/>
        </p:spPr>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dirty="0" smtClean="0">
                <a:ln>
                  <a:noFill/>
                </a:ln>
                <a:solidFill>
                  <a:srgbClr val="00338D"/>
                </a:solidFill>
                <a:effectLst/>
                <a:uLnTx/>
                <a:uFillTx/>
                <a:ea typeface="+mn-ea"/>
                <a:cs typeface="+mn-cs"/>
              </a:rPr>
              <a:t>02</a:t>
            </a:r>
          </a:p>
        </p:txBody>
      </p:sp>
      <p:grpSp>
        <p:nvGrpSpPr>
          <p:cNvPr id="51" name="Group 50">
            <a:extLst>
              <a:ext uri="{FF2B5EF4-FFF2-40B4-BE49-F238E27FC236}">
                <a16:creationId xmlns="" xmlns:a16="http://schemas.microsoft.com/office/drawing/2014/main" id="{80283B8D-7AA9-4FC4-B428-85F935C50FD3}"/>
              </a:ext>
            </a:extLst>
          </p:cNvPr>
          <p:cNvGrpSpPr/>
          <p:nvPr/>
        </p:nvGrpSpPr>
        <p:grpSpPr>
          <a:xfrm rot="16200000">
            <a:off x="1797190" y="3548125"/>
            <a:ext cx="139699" cy="354529"/>
            <a:chOff x="2254038" y="2460248"/>
            <a:chExt cx="139699" cy="354529"/>
          </a:xfrm>
        </p:grpSpPr>
        <p:sp>
          <p:nvSpPr>
            <p:cNvPr id="52" name="Oval 51">
              <a:extLst>
                <a:ext uri="{FF2B5EF4-FFF2-40B4-BE49-F238E27FC236}">
                  <a16:creationId xmlns="" xmlns:a16="http://schemas.microsoft.com/office/drawing/2014/main" id="{DED32DDA-649F-4800-8A4F-20D8D3983C8F}"/>
                </a:ext>
              </a:extLst>
            </p:cNvPr>
            <p:cNvSpPr/>
            <p:nvPr/>
          </p:nvSpPr>
          <p:spPr>
            <a:xfrm>
              <a:off x="2254038" y="2675078"/>
              <a:ext cx="139699" cy="139699"/>
            </a:xfrm>
            <a:prstGeom prst="ellipse">
              <a:avLst/>
            </a:prstGeom>
            <a:noFill/>
            <a:ln w="19050" cap="flat" cmpd="sng" algn="ctr">
              <a:solidFill>
                <a:sysClr val="window" lastClr="FFFFFF"/>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i="0" u="none" strike="noStrike" kern="0" cap="none" spc="0" normalizeH="0" baseline="0" noProof="0" dirty="0" smtClean="0">
                <a:ln>
                  <a:noFill/>
                </a:ln>
                <a:solidFill>
                  <a:prstClr val="white"/>
                </a:solidFill>
                <a:effectLst/>
                <a:uLnTx/>
                <a:uFillTx/>
                <a:ea typeface="+mn-ea"/>
                <a:cs typeface="+mn-cs"/>
              </a:endParaRPr>
            </a:p>
          </p:txBody>
        </p:sp>
        <p:cxnSp>
          <p:nvCxnSpPr>
            <p:cNvPr id="53" name="Straight Connector 52">
              <a:extLst>
                <a:ext uri="{FF2B5EF4-FFF2-40B4-BE49-F238E27FC236}">
                  <a16:creationId xmlns="" xmlns:a16="http://schemas.microsoft.com/office/drawing/2014/main" id="{930369A5-96F7-4B0C-97B6-EB3DA96799F1}"/>
                </a:ext>
              </a:extLst>
            </p:cNvPr>
            <p:cNvCxnSpPr>
              <a:cxnSpLocks/>
              <a:endCxn id="52" idx="0"/>
            </p:cNvCxnSpPr>
            <p:nvPr/>
          </p:nvCxnSpPr>
          <p:spPr>
            <a:xfrm flipH="1">
              <a:off x="2323888" y="2460248"/>
              <a:ext cx="2712" cy="214829"/>
            </a:xfrm>
            <a:prstGeom prst="line">
              <a:avLst/>
            </a:prstGeom>
            <a:solidFill>
              <a:sysClr val="window" lastClr="FFFFFF"/>
            </a:solidFill>
            <a:ln w="19050" cap="flat" cmpd="sng" algn="ctr">
              <a:solidFill>
                <a:sysClr val="window" lastClr="FFFFFF"/>
              </a:solidFill>
              <a:prstDash val="solid"/>
              <a:miter lim="800000"/>
            </a:ln>
            <a:effectLst/>
          </p:spPr>
        </p:cxnSp>
      </p:grpSp>
      <p:cxnSp>
        <p:nvCxnSpPr>
          <p:cNvPr id="54" name="Straight Connector 53">
            <a:extLst>
              <a:ext uri="{FF2B5EF4-FFF2-40B4-BE49-F238E27FC236}">
                <a16:creationId xmlns="" xmlns:a16="http://schemas.microsoft.com/office/drawing/2014/main" id="{9BC4B4E3-F3EC-42CE-99FA-5C542314531D}"/>
              </a:ext>
            </a:extLst>
          </p:cNvPr>
          <p:cNvCxnSpPr>
            <a:cxnSpLocks/>
          </p:cNvCxnSpPr>
          <p:nvPr/>
        </p:nvCxnSpPr>
        <p:spPr>
          <a:xfrm>
            <a:off x="4873495" y="3725389"/>
            <a:ext cx="2468880" cy="0"/>
          </a:xfrm>
          <a:prstGeom prst="line">
            <a:avLst/>
          </a:prstGeom>
          <a:noFill/>
          <a:ln w="12700" cap="rnd" cmpd="sng" algn="ctr">
            <a:solidFill>
              <a:sysClr val="window" lastClr="FFFFFF"/>
            </a:solidFill>
            <a:prstDash val="sysDot"/>
            <a:miter lim="800000"/>
            <a:headEnd type="oval" w="sm" len="sm"/>
          </a:ln>
          <a:effectLst/>
        </p:spPr>
      </p:cxnSp>
      <p:sp>
        <p:nvSpPr>
          <p:cNvPr id="55" name="Rectangle 54">
            <a:extLst>
              <a:ext uri="{FF2B5EF4-FFF2-40B4-BE49-F238E27FC236}">
                <a16:creationId xmlns="" xmlns:a16="http://schemas.microsoft.com/office/drawing/2014/main" id="{315A2CB8-45FD-45C6-B28C-550592367137}"/>
              </a:ext>
            </a:extLst>
          </p:cNvPr>
          <p:cNvSpPr/>
          <p:nvPr/>
        </p:nvSpPr>
        <p:spPr>
          <a:xfrm>
            <a:off x="2149987" y="3499565"/>
            <a:ext cx="2696009" cy="457200"/>
          </a:xfrm>
          <a:prstGeom prst="rect">
            <a:avLst/>
          </a:prstGeom>
        </p:spPr>
        <p:txBody>
          <a:bodyPr lIns="0" tIns="0" rIns="0" bIns="0" anchor="ctr" anchorCtr="0">
            <a:noAutofit/>
          </a:bodyPr>
          <a:lstStyle/>
          <a:p>
            <a:pPr defTabSz="938515">
              <a:spcBef>
                <a:spcPts val="700"/>
              </a:spcBef>
              <a:spcAft>
                <a:spcPts val="700"/>
              </a:spcAft>
            </a:pPr>
            <a:r>
              <a:rPr lang="en-US" sz="1600" dirty="0" smtClean="0">
                <a:solidFill>
                  <a:prstClr val="white">
                    <a:lumMod val="95000"/>
                  </a:prstClr>
                </a:solidFill>
                <a:cs typeface="Arial" pitchFamily="34" charset="0"/>
              </a:rPr>
              <a:t>Key </a:t>
            </a:r>
            <a:r>
              <a:rPr lang="en-US" sz="1600" dirty="0" smtClean="0">
                <a:solidFill>
                  <a:prstClr val="white">
                    <a:lumMod val="95000"/>
                  </a:prstClr>
                </a:solidFill>
                <a:cs typeface="Arial" pitchFamily="34" charset="0"/>
              </a:rPr>
              <a:t>Findings &amp; Initiatives</a:t>
            </a:r>
            <a:endParaRPr lang="en-US" sz="1600" dirty="0">
              <a:solidFill>
                <a:prstClr val="white">
                  <a:lumMod val="95000"/>
                </a:prstClr>
              </a:solidFill>
              <a:cs typeface="Arial" pitchFamily="34" charset="0"/>
            </a:endParaRPr>
          </a:p>
        </p:txBody>
      </p:sp>
      <p:cxnSp>
        <p:nvCxnSpPr>
          <p:cNvPr id="56" name="Straight Connector 55">
            <a:extLst>
              <a:ext uri="{FF2B5EF4-FFF2-40B4-BE49-F238E27FC236}">
                <a16:creationId xmlns="" xmlns:a16="http://schemas.microsoft.com/office/drawing/2014/main" id="{03875840-D076-4D9F-B4F2-6ABE5FD23878}"/>
              </a:ext>
            </a:extLst>
          </p:cNvPr>
          <p:cNvCxnSpPr>
            <a:cxnSpLocks/>
          </p:cNvCxnSpPr>
          <p:nvPr/>
        </p:nvCxnSpPr>
        <p:spPr>
          <a:xfrm>
            <a:off x="7352206" y="2769473"/>
            <a:ext cx="0" cy="457200"/>
          </a:xfrm>
          <a:prstGeom prst="line">
            <a:avLst/>
          </a:prstGeom>
          <a:solidFill>
            <a:sysClr val="window" lastClr="FFFFFF"/>
          </a:solidFill>
          <a:ln w="19050" cap="flat" cmpd="sng" algn="ctr">
            <a:solidFill>
              <a:sysClr val="window" lastClr="FFFFFF"/>
            </a:solidFill>
            <a:prstDash val="solid"/>
            <a:miter lim="800000"/>
          </a:ln>
          <a:effectLst/>
        </p:spPr>
      </p:cxnSp>
      <p:sp>
        <p:nvSpPr>
          <p:cNvPr id="57" name="Oval 56">
            <a:extLst>
              <a:ext uri="{FF2B5EF4-FFF2-40B4-BE49-F238E27FC236}">
                <a16:creationId xmlns="" xmlns:a16="http://schemas.microsoft.com/office/drawing/2014/main" id="{FA1334BB-F7CA-4719-B94B-AB9FA2BB802B}"/>
              </a:ext>
            </a:extLst>
          </p:cNvPr>
          <p:cNvSpPr/>
          <p:nvPr/>
        </p:nvSpPr>
        <p:spPr>
          <a:xfrm rot="5400000">
            <a:off x="7312056" y="2964488"/>
            <a:ext cx="67170" cy="67170"/>
          </a:xfrm>
          <a:prstGeom prst="ellipse">
            <a:avLst/>
          </a:prstGeom>
          <a:solidFill>
            <a:srgbClr val="A5A5A5"/>
          </a:solidFill>
          <a:ln w="19050" cap="flat" cmpd="sng" algn="ctr">
            <a:solidFill>
              <a:sysClr val="window" lastClr="FFFFFF"/>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i="0" u="none" strike="noStrike" kern="0" cap="none" spc="0" normalizeH="0" baseline="0" noProof="0" dirty="0" smtClean="0">
              <a:ln>
                <a:noFill/>
              </a:ln>
              <a:solidFill>
                <a:prstClr val="white"/>
              </a:solidFill>
              <a:effectLst/>
              <a:uLnTx/>
              <a:uFillTx/>
              <a:ea typeface="+mn-ea"/>
              <a:cs typeface="+mn-cs"/>
            </a:endParaRPr>
          </a:p>
        </p:txBody>
      </p:sp>
      <p:cxnSp>
        <p:nvCxnSpPr>
          <p:cNvPr id="58" name="Straight Connector 57">
            <a:extLst>
              <a:ext uri="{FF2B5EF4-FFF2-40B4-BE49-F238E27FC236}">
                <a16:creationId xmlns="" xmlns:a16="http://schemas.microsoft.com/office/drawing/2014/main" id="{2A70E60C-6334-4B49-8901-7B945FAEA8C5}"/>
              </a:ext>
            </a:extLst>
          </p:cNvPr>
          <p:cNvCxnSpPr>
            <a:cxnSpLocks/>
          </p:cNvCxnSpPr>
          <p:nvPr/>
        </p:nvCxnSpPr>
        <p:spPr>
          <a:xfrm>
            <a:off x="7352206" y="3495830"/>
            <a:ext cx="0" cy="457200"/>
          </a:xfrm>
          <a:prstGeom prst="line">
            <a:avLst/>
          </a:prstGeom>
          <a:solidFill>
            <a:sysClr val="window" lastClr="FFFFFF"/>
          </a:solidFill>
          <a:ln w="19050" cap="flat" cmpd="sng" algn="ctr">
            <a:solidFill>
              <a:sysClr val="window" lastClr="FFFFFF"/>
            </a:solidFill>
            <a:prstDash val="solid"/>
            <a:miter lim="800000"/>
          </a:ln>
          <a:effectLst/>
        </p:spPr>
      </p:cxnSp>
      <p:sp>
        <p:nvSpPr>
          <p:cNvPr id="59" name="Oval 58">
            <a:extLst>
              <a:ext uri="{FF2B5EF4-FFF2-40B4-BE49-F238E27FC236}">
                <a16:creationId xmlns="" xmlns:a16="http://schemas.microsoft.com/office/drawing/2014/main" id="{BFADD441-F90C-4852-8A81-219CF65592CF}"/>
              </a:ext>
            </a:extLst>
          </p:cNvPr>
          <p:cNvSpPr/>
          <p:nvPr/>
        </p:nvSpPr>
        <p:spPr>
          <a:xfrm rot="5400000">
            <a:off x="7318365" y="3690845"/>
            <a:ext cx="67170" cy="67170"/>
          </a:xfrm>
          <a:prstGeom prst="ellipse">
            <a:avLst/>
          </a:prstGeom>
          <a:solidFill>
            <a:srgbClr val="5B9BD5"/>
          </a:solidFill>
          <a:ln w="19050" cap="flat" cmpd="sng" algn="ctr">
            <a:solidFill>
              <a:sysClr val="window" lastClr="FFFFFF"/>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i="0" u="none" strike="noStrike" kern="0" cap="none" spc="0" normalizeH="0" baseline="0" noProof="0" dirty="0" smtClean="0">
              <a:ln>
                <a:noFill/>
              </a:ln>
              <a:solidFill>
                <a:prstClr val="white"/>
              </a:solidFill>
              <a:effectLst/>
              <a:uLnTx/>
              <a:uFillTx/>
              <a:ea typeface="+mn-ea"/>
              <a:cs typeface="+mn-cs"/>
            </a:endParaRPr>
          </a:p>
        </p:txBody>
      </p:sp>
      <p:sp>
        <p:nvSpPr>
          <p:cNvPr id="79" name="Title 2"/>
          <p:cNvSpPr txBox="1">
            <a:spLocks/>
          </p:cNvSpPr>
          <p:nvPr/>
        </p:nvSpPr>
        <p:spPr>
          <a:xfrm>
            <a:off x="879206" y="864044"/>
            <a:ext cx="7463515" cy="2232265"/>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8000" dirty="0" smtClean="0"/>
              <a:t>Content</a:t>
            </a:r>
          </a:p>
        </p:txBody>
      </p:sp>
    </p:spTree>
    <p:extLst>
      <p:ext uri="{BB962C8B-B14F-4D97-AF65-F5344CB8AC3E}">
        <p14:creationId xmlns:p14="http://schemas.microsoft.com/office/powerpoint/2010/main" val="205191859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92"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118" name="Title 2"/>
          <p:cNvSpPr txBox="1">
            <a:spLocks/>
          </p:cNvSpPr>
          <p:nvPr/>
        </p:nvSpPr>
        <p:spPr>
          <a:xfrm>
            <a:off x="879206" y="864044"/>
            <a:ext cx="7463515" cy="2232265"/>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8000" dirty="0" smtClean="0"/>
              <a:t>Background</a:t>
            </a:r>
          </a:p>
        </p:txBody>
      </p:sp>
    </p:spTree>
    <p:extLst>
      <p:ext uri="{BB962C8B-B14F-4D97-AF65-F5344CB8AC3E}">
        <p14:creationId xmlns:p14="http://schemas.microsoft.com/office/powerpoint/2010/main" val="8010519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Background</a:t>
            </a:r>
            <a:endParaRPr lang="en-US" sz="4400" b="0" kern="1200" dirty="0">
              <a:latin typeface="KPMG Extralight" panose="020B0303030202040204" pitchFamily="34" charset="0"/>
              <a:cs typeface="+mj-cs"/>
            </a:endParaRPr>
          </a:p>
        </p:txBody>
      </p:sp>
      <p:sp>
        <p:nvSpPr>
          <p:cNvPr id="170" name="Rectangle 169"/>
          <p:cNvSpPr/>
          <p:nvPr/>
        </p:nvSpPr>
        <p:spPr>
          <a:xfrm>
            <a:off x="86590" y="602065"/>
            <a:ext cx="4080424" cy="211083"/>
          </a:xfrm>
          <a:prstGeom prst="rect">
            <a:avLst/>
          </a:prstGeom>
        </p:spPr>
        <p:txBody>
          <a:bodyPr wrap="square">
            <a:spAutoFit/>
          </a:bodyPr>
          <a:lstStyle/>
          <a:p>
            <a:pPr>
              <a:lnSpc>
                <a:spcPct val="70000"/>
              </a:lnSpc>
            </a:pPr>
            <a:r>
              <a:rPr lang="en-US" sz="1050" b="1" dirty="0" smtClean="0">
                <a:solidFill>
                  <a:srgbClr val="005EB8">
                    <a:lumMod val="75000"/>
                  </a:srgbClr>
                </a:solidFill>
              </a:rPr>
              <a:t>Context &amp; Objectives</a:t>
            </a:r>
            <a:endParaRPr lang="en-US" sz="1050" b="1" dirty="0">
              <a:solidFill>
                <a:srgbClr val="005EB8">
                  <a:lumMod val="75000"/>
                </a:srgbClr>
              </a:solidFill>
            </a:endParaRPr>
          </a:p>
        </p:txBody>
      </p:sp>
      <p:grpSp>
        <p:nvGrpSpPr>
          <p:cNvPr id="13" name="Group 12"/>
          <p:cNvGrpSpPr/>
          <p:nvPr/>
        </p:nvGrpSpPr>
        <p:grpSpPr>
          <a:xfrm>
            <a:off x="5553075" y="813148"/>
            <a:ext cx="6173146" cy="5791470"/>
            <a:chOff x="4915845" y="1037687"/>
            <a:chExt cx="6547269" cy="7110054"/>
          </a:xfrm>
        </p:grpSpPr>
        <p:sp>
          <p:nvSpPr>
            <p:cNvPr id="267" name="AutoShape 7"/>
            <p:cNvSpPr>
              <a:spLocks noChangeArrowheads="1"/>
            </p:cNvSpPr>
            <p:nvPr/>
          </p:nvSpPr>
          <p:spPr bwMode="auto">
            <a:xfrm rot="5400000">
              <a:off x="8148832" y="-1161755"/>
              <a:ext cx="964015" cy="5664547"/>
            </a:xfrm>
            <a:prstGeom prst="homePlate">
              <a:avLst>
                <a:gd name="adj" fmla="val 51862"/>
              </a:avLst>
            </a:prstGeom>
            <a:solidFill>
              <a:srgbClr val="005EB8">
                <a:lumMod val="20000"/>
                <a:lumOff val="80000"/>
              </a:srgbClr>
            </a:solidFill>
            <a:ln w="9525">
              <a:noFill/>
              <a:miter lim="800000"/>
              <a:headEnd/>
              <a:tailEnd/>
            </a:ln>
            <a:effectLst/>
          </p:spPr>
          <p:txBody>
            <a:bodyPr vert="vert270" wrap="none"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srgbClr val="FFFFFF"/>
                </a:solidFill>
                <a:effectLst/>
                <a:uLnTx/>
                <a:uFillTx/>
              </a:endParaRPr>
            </a:p>
          </p:txBody>
        </p:sp>
        <p:sp>
          <p:nvSpPr>
            <p:cNvPr id="268" name="AutoShape 8"/>
            <p:cNvSpPr>
              <a:spLocks noChangeArrowheads="1"/>
            </p:cNvSpPr>
            <p:nvPr/>
          </p:nvSpPr>
          <p:spPr bwMode="auto">
            <a:xfrm rot="5400000">
              <a:off x="7798493" y="-264937"/>
              <a:ext cx="1664694" cy="5664546"/>
            </a:xfrm>
            <a:prstGeom prst="chevron">
              <a:avLst>
                <a:gd name="adj" fmla="val 31035"/>
              </a:avLst>
            </a:prstGeom>
            <a:solidFill>
              <a:srgbClr val="F5DFE1"/>
            </a:solidFill>
            <a:ln w="9525">
              <a:noFill/>
              <a:miter lim="800000"/>
              <a:headEnd/>
              <a:tailEnd/>
            </a:ln>
            <a:effectLst/>
          </p:spPr>
          <p:txBody>
            <a:bodyPr vert="vert270" wrap="none" anchor="ctr"/>
            <a:lstStyle/>
            <a:p>
              <a:pPr algn="ctr" defTabSz="457200"/>
              <a:endParaRPr lang="en-US" sz="800" dirty="0">
                <a:solidFill>
                  <a:srgbClr val="FFFFFF"/>
                </a:solidFill>
              </a:endParaRPr>
            </a:p>
          </p:txBody>
        </p:sp>
        <p:sp>
          <p:nvSpPr>
            <p:cNvPr id="269" name="AutoShape 9"/>
            <p:cNvSpPr>
              <a:spLocks noChangeArrowheads="1"/>
            </p:cNvSpPr>
            <p:nvPr/>
          </p:nvSpPr>
          <p:spPr bwMode="auto">
            <a:xfrm rot="5400000">
              <a:off x="6967081" y="1792591"/>
              <a:ext cx="3327519" cy="5664546"/>
            </a:xfrm>
            <a:prstGeom prst="chevron">
              <a:avLst>
                <a:gd name="adj" fmla="val 15515"/>
              </a:avLst>
            </a:prstGeom>
            <a:solidFill>
              <a:srgbClr val="483698">
                <a:lumMod val="20000"/>
                <a:lumOff val="80000"/>
              </a:srgbClr>
            </a:solidFill>
            <a:ln w="9525">
              <a:noFill/>
              <a:miter lim="800000"/>
              <a:headEnd/>
              <a:tailEnd/>
            </a:ln>
            <a:effectLst/>
          </p:spPr>
          <p:txBody>
            <a:bodyPr vert="vert270" wrap="none"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srgbClr val="FFFFFF"/>
                </a:solidFill>
                <a:effectLst/>
                <a:uLnTx/>
                <a:uFillTx/>
              </a:endParaRPr>
            </a:p>
          </p:txBody>
        </p:sp>
        <p:sp>
          <p:nvSpPr>
            <p:cNvPr id="270" name="AutoShape 10"/>
            <p:cNvSpPr>
              <a:spLocks noChangeArrowheads="1"/>
            </p:cNvSpPr>
            <p:nvPr/>
          </p:nvSpPr>
          <p:spPr bwMode="auto">
            <a:xfrm rot="5400000">
              <a:off x="7515427" y="4137680"/>
              <a:ext cx="2230827" cy="5664546"/>
            </a:xfrm>
            <a:prstGeom prst="chevron">
              <a:avLst>
                <a:gd name="adj" fmla="val 22694"/>
              </a:avLst>
            </a:prstGeom>
            <a:solidFill>
              <a:srgbClr val="EAEAEA"/>
            </a:solidFill>
            <a:ln w="9525">
              <a:noFill/>
              <a:miter lim="800000"/>
              <a:headEnd/>
              <a:tailEnd/>
            </a:ln>
            <a:effectLst/>
          </p:spPr>
          <p:txBody>
            <a:bodyPr vert="vert270" wrap="none" anchor="ctr"/>
            <a:lstStyle/>
            <a:p>
              <a:pPr algn="ctr" defTabSz="457200"/>
              <a:endParaRPr lang="en-US" sz="800" dirty="0">
                <a:solidFill>
                  <a:srgbClr val="FFFFFF"/>
                </a:solidFill>
              </a:endParaRPr>
            </a:p>
          </p:txBody>
        </p:sp>
        <p:sp>
          <p:nvSpPr>
            <p:cNvPr id="271" name="Freeform 270"/>
            <p:cNvSpPr/>
            <p:nvPr/>
          </p:nvSpPr>
          <p:spPr>
            <a:xfrm>
              <a:off x="7732501" y="6380039"/>
              <a:ext cx="1767704" cy="1767702"/>
            </a:xfrm>
            <a:custGeom>
              <a:avLst/>
              <a:gdLst>
                <a:gd name="connsiteX0" fmla="*/ 0 w 2221259"/>
                <a:gd name="connsiteY0" fmla="*/ 1110630 h 2221259"/>
                <a:gd name="connsiteX1" fmla="*/ 1110630 w 2221259"/>
                <a:gd name="connsiteY1" fmla="*/ 0 h 2221259"/>
                <a:gd name="connsiteX2" fmla="*/ 2221260 w 2221259"/>
                <a:gd name="connsiteY2" fmla="*/ 1110630 h 2221259"/>
                <a:gd name="connsiteX3" fmla="*/ 1110630 w 2221259"/>
                <a:gd name="connsiteY3" fmla="*/ 2221260 h 2221259"/>
                <a:gd name="connsiteX4" fmla="*/ 0 w 2221259"/>
                <a:gd name="connsiteY4" fmla="*/ 1110630 h 2221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1259" h="2221259">
                  <a:moveTo>
                    <a:pt x="0" y="1110630"/>
                  </a:moveTo>
                  <a:cubicBezTo>
                    <a:pt x="0" y="497246"/>
                    <a:pt x="497246" y="0"/>
                    <a:pt x="1110630" y="0"/>
                  </a:cubicBezTo>
                  <a:cubicBezTo>
                    <a:pt x="1724014" y="0"/>
                    <a:pt x="2221260" y="497246"/>
                    <a:pt x="2221260" y="1110630"/>
                  </a:cubicBezTo>
                  <a:cubicBezTo>
                    <a:pt x="2221260" y="1724014"/>
                    <a:pt x="1724014" y="2221260"/>
                    <a:pt x="1110630" y="2221260"/>
                  </a:cubicBezTo>
                  <a:cubicBezTo>
                    <a:pt x="497246" y="2221260"/>
                    <a:pt x="0" y="1724014"/>
                    <a:pt x="0" y="1110630"/>
                  </a:cubicBezTo>
                  <a:close/>
                </a:path>
              </a:pathLst>
            </a:custGeom>
            <a:solidFill>
              <a:srgbClr val="FFFFFF">
                <a:lumMod val="75000"/>
              </a:srgbClr>
            </a:solidFill>
            <a:ln w="25400" cap="flat" cmpd="sng" algn="ctr">
              <a:solidFill>
                <a:srgbClr val="FFFFFF">
                  <a:lumMod val="50000"/>
                </a:srgbClr>
              </a:solidFill>
              <a:prstDash val="solid"/>
            </a:ln>
            <a:effectLst/>
          </p:spPr>
          <p:txBody>
            <a:bodyPr spcFirstLastPara="0" vert="horz" wrap="none" lIns="349426" tIns="349426" rIns="349426" bIns="349426" numCol="1" spcCol="1270" anchor="ctr" anchorCtr="0">
              <a:noAutofit/>
            </a:bodyPr>
            <a:lstStyle/>
            <a:p>
              <a:pPr marL="0" marR="0" lvl="0" indent="0" algn="ctr" defTabSz="844550" eaLnBrk="1" fontAlgn="auto" latinLnBrk="0" hangingPunct="1">
                <a:lnSpc>
                  <a:spcPct val="90000"/>
                </a:lnSpc>
                <a:spcBef>
                  <a:spcPct val="0"/>
                </a:spcBef>
                <a:spcAft>
                  <a:spcPct val="35000"/>
                </a:spcAft>
                <a:buClrTx/>
                <a:buSzTx/>
                <a:buFontTx/>
                <a:buNone/>
                <a:tabLst/>
                <a:defRPr/>
              </a:pPr>
              <a:r>
                <a:rPr kumimoji="0" lang="en-GB" sz="800" b="1" i="0" u="none" strike="noStrike" kern="0" cap="none" spc="0" normalizeH="0" baseline="0" noProof="0" dirty="0" smtClean="0">
                  <a:ln>
                    <a:noFill/>
                  </a:ln>
                  <a:solidFill>
                    <a:srgbClr val="000000"/>
                  </a:solidFill>
                  <a:effectLst/>
                  <a:uLnTx/>
                  <a:uFillTx/>
                  <a:ea typeface="+mn-ea"/>
                  <a:cs typeface="+mn-cs"/>
                </a:rPr>
                <a:t>Digital </a:t>
              </a:r>
            </a:p>
            <a:p>
              <a:pPr marL="0" marR="0" lvl="0" indent="0" algn="ctr" defTabSz="844550" eaLnBrk="1" fontAlgn="auto" latinLnBrk="0" hangingPunct="1">
                <a:lnSpc>
                  <a:spcPct val="90000"/>
                </a:lnSpc>
                <a:spcBef>
                  <a:spcPct val="0"/>
                </a:spcBef>
                <a:spcAft>
                  <a:spcPct val="35000"/>
                </a:spcAft>
                <a:buClrTx/>
                <a:buSzTx/>
                <a:buFontTx/>
                <a:buNone/>
                <a:tabLst/>
                <a:defRPr/>
              </a:pPr>
              <a:r>
                <a:rPr kumimoji="0" lang="en-GB" sz="800" b="1" i="0" u="none" strike="noStrike" kern="0" cap="none" spc="0" normalizeH="0" baseline="0" noProof="0" dirty="0" smtClean="0">
                  <a:ln>
                    <a:noFill/>
                  </a:ln>
                  <a:solidFill>
                    <a:srgbClr val="000000"/>
                  </a:solidFill>
                  <a:effectLst/>
                  <a:uLnTx/>
                  <a:uFillTx/>
                  <a:ea typeface="+mn-ea"/>
                  <a:cs typeface="+mn-cs"/>
                </a:rPr>
                <a:t>Transformation </a:t>
              </a:r>
            </a:p>
            <a:p>
              <a:pPr marL="0" marR="0" lvl="0" indent="0" algn="ctr" defTabSz="844550" eaLnBrk="1" fontAlgn="auto" latinLnBrk="0" hangingPunct="1">
                <a:lnSpc>
                  <a:spcPct val="90000"/>
                </a:lnSpc>
                <a:spcBef>
                  <a:spcPct val="0"/>
                </a:spcBef>
                <a:spcAft>
                  <a:spcPct val="35000"/>
                </a:spcAft>
                <a:buClrTx/>
                <a:buSzTx/>
                <a:buFontTx/>
                <a:buNone/>
                <a:tabLst/>
                <a:defRPr/>
              </a:pPr>
              <a:r>
                <a:rPr kumimoji="0" lang="en-GB" sz="800" b="1" i="0" u="none" strike="noStrike" kern="0" cap="none" spc="0" normalizeH="0" baseline="0" noProof="0" dirty="0" smtClean="0">
                  <a:ln>
                    <a:noFill/>
                  </a:ln>
                  <a:solidFill>
                    <a:srgbClr val="000000"/>
                  </a:solidFill>
                  <a:effectLst/>
                  <a:uLnTx/>
                  <a:uFillTx/>
                  <a:ea typeface="+mn-ea"/>
                  <a:cs typeface="+mn-cs"/>
                </a:rPr>
                <a:t>Roadmap</a:t>
              </a:r>
              <a:endParaRPr kumimoji="0" lang="en-US" sz="800" b="1" i="0" u="none" strike="noStrike" kern="0" cap="none" spc="0" normalizeH="0" baseline="0" noProof="0" dirty="0" smtClean="0">
                <a:ln>
                  <a:noFill/>
                </a:ln>
                <a:solidFill>
                  <a:srgbClr val="000000"/>
                </a:solidFill>
                <a:effectLst/>
                <a:uLnTx/>
                <a:uFillTx/>
                <a:ea typeface="+mn-ea"/>
                <a:cs typeface="+mn-cs"/>
              </a:endParaRPr>
            </a:p>
          </p:txBody>
        </p:sp>
        <p:sp>
          <p:nvSpPr>
            <p:cNvPr id="272" name="Freeform 271"/>
            <p:cNvSpPr/>
            <p:nvPr/>
          </p:nvSpPr>
          <p:spPr>
            <a:xfrm>
              <a:off x="8093571" y="1037687"/>
              <a:ext cx="1045564" cy="1045562"/>
            </a:xfrm>
            <a:custGeom>
              <a:avLst/>
              <a:gdLst>
                <a:gd name="connsiteX0" fmla="*/ 0 w 2221259"/>
                <a:gd name="connsiteY0" fmla="*/ 1110630 h 2221259"/>
                <a:gd name="connsiteX1" fmla="*/ 1110630 w 2221259"/>
                <a:gd name="connsiteY1" fmla="*/ 0 h 2221259"/>
                <a:gd name="connsiteX2" fmla="*/ 2221260 w 2221259"/>
                <a:gd name="connsiteY2" fmla="*/ 1110630 h 2221259"/>
                <a:gd name="connsiteX3" fmla="*/ 1110630 w 2221259"/>
                <a:gd name="connsiteY3" fmla="*/ 2221260 h 2221259"/>
                <a:gd name="connsiteX4" fmla="*/ 0 w 2221259"/>
                <a:gd name="connsiteY4" fmla="*/ 1110630 h 2221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1259" h="2221259">
                  <a:moveTo>
                    <a:pt x="0" y="1110630"/>
                  </a:moveTo>
                  <a:cubicBezTo>
                    <a:pt x="0" y="497246"/>
                    <a:pt x="497246" y="0"/>
                    <a:pt x="1110630" y="0"/>
                  </a:cubicBezTo>
                  <a:cubicBezTo>
                    <a:pt x="1724014" y="0"/>
                    <a:pt x="2221260" y="497246"/>
                    <a:pt x="2221260" y="1110630"/>
                  </a:cubicBezTo>
                  <a:cubicBezTo>
                    <a:pt x="2221260" y="1724014"/>
                    <a:pt x="1724014" y="2221260"/>
                    <a:pt x="1110630" y="2221260"/>
                  </a:cubicBezTo>
                  <a:cubicBezTo>
                    <a:pt x="497246" y="2221260"/>
                    <a:pt x="0" y="1724014"/>
                    <a:pt x="0" y="1110630"/>
                  </a:cubicBezTo>
                  <a:close/>
                </a:path>
              </a:pathLst>
            </a:custGeom>
            <a:solidFill>
              <a:srgbClr val="005EB8">
                <a:hueOff val="0"/>
                <a:satOff val="0"/>
                <a:lumOff val="0"/>
                <a:alphaOff val="0"/>
              </a:srgbClr>
            </a:solidFill>
            <a:ln w="25400" cap="flat" cmpd="sng" algn="ctr">
              <a:solidFill>
                <a:srgbClr val="FFFFFF">
                  <a:hueOff val="0"/>
                  <a:satOff val="0"/>
                  <a:lumOff val="0"/>
                  <a:alphaOff val="0"/>
                </a:srgbClr>
              </a:solidFill>
              <a:prstDash val="solid"/>
            </a:ln>
            <a:effectLst/>
          </p:spPr>
          <p:txBody>
            <a:bodyPr spcFirstLastPara="0" vert="horz" wrap="square" lIns="175348" tIns="175348" rIns="175348" bIns="175348"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r>
                <a:rPr kumimoji="0" lang="en-GB" sz="800" b="1" i="0" u="none" strike="noStrike" kern="0" cap="none" spc="0" normalizeH="0" baseline="0" noProof="0" dirty="0" smtClean="0">
                  <a:ln>
                    <a:noFill/>
                  </a:ln>
                  <a:solidFill>
                    <a:srgbClr val="FFFFFF"/>
                  </a:solidFill>
                  <a:effectLst/>
                  <a:uLnTx/>
                  <a:uFillTx/>
                  <a:ea typeface="+mn-ea"/>
                  <a:cs typeface="+mn-cs"/>
                </a:rPr>
                <a:t>Program Initiation</a:t>
              </a:r>
              <a:endParaRPr kumimoji="0" lang="en-US" sz="800" b="1" i="0" u="none" strike="noStrike" kern="0" cap="none" spc="0" normalizeH="0" baseline="0" noProof="0" dirty="0" smtClean="0">
                <a:ln>
                  <a:noFill/>
                </a:ln>
                <a:solidFill>
                  <a:srgbClr val="FFFFFF"/>
                </a:solidFill>
                <a:effectLst/>
                <a:uLnTx/>
                <a:uFillTx/>
                <a:ea typeface="+mn-ea"/>
                <a:cs typeface="+mn-cs"/>
              </a:endParaRPr>
            </a:p>
          </p:txBody>
        </p:sp>
        <p:sp>
          <p:nvSpPr>
            <p:cNvPr id="273" name="Freeform 272"/>
            <p:cNvSpPr/>
            <p:nvPr/>
          </p:nvSpPr>
          <p:spPr>
            <a:xfrm>
              <a:off x="8093571" y="2301157"/>
              <a:ext cx="1045564" cy="1045562"/>
            </a:xfrm>
            <a:custGeom>
              <a:avLst/>
              <a:gdLst>
                <a:gd name="connsiteX0" fmla="*/ 0 w 2221259"/>
                <a:gd name="connsiteY0" fmla="*/ 1110630 h 2221259"/>
                <a:gd name="connsiteX1" fmla="*/ 1110630 w 2221259"/>
                <a:gd name="connsiteY1" fmla="*/ 0 h 2221259"/>
                <a:gd name="connsiteX2" fmla="*/ 2221260 w 2221259"/>
                <a:gd name="connsiteY2" fmla="*/ 1110630 h 2221259"/>
                <a:gd name="connsiteX3" fmla="*/ 1110630 w 2221259"/>
                <a:gd name="connsiteY3" fmla="*/ 2221260 h 2221259"/>
                <a:gd name="connsiteX4" fmla="*/ 0 w 2221259"/>
                <a:gd name="connsiteY4" fmla="*/ 1110630 h 2221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1259" h="2221259">
                  <a:moveTo>
                    <a:pt x="0" y="1110630"/>
                  </a:moveTo>
                  <a:cubicBezTo>
                    <a:pt x="0" y="497246"/>
                    <a:pt x="497246" y="0"/>
                    <a:pt x="1110630" y="0"/>
                  </a:cubicBezTo>
                  <a:cubicBezTo>
                    <a:pt x="1724014" y="0"/>
                    <a:pt x="2221260" y="497246"/>
                    <a:pt x="2221260" y="1110630"/>
                  </a:cubicBezTo>
                  <a:cubicBezTo>
                    <a:pt x="2221260" y="1724014"/>
                    <a:pt x="1724014" y="2221260"/>
                    <a:pt x="1110630" y="2221260"/>
                  </a:cubicBezTo>
                  <a:cubicBezTo>
                    <a:pt x="497246" y="2221260"/>
                    <a:pt x="0" y="1724014"/>
                    <a:pt x="0" y="1110630"/>
                  </a:cubicBezTo>
                  <a:close/>
                </a:path>
              </a:pathLst>
            </a:custGeom>
            <a:solidFill>
              <a:srgbClr val="9E3039"/>
            </a:solidFill>
            <a:ln w="25400" cap="flat" cmpd="sng" algn="ctr">
              <a:solidFill>
                <a:srgbClr val="FFFFFF">
                  <a:hueOff val="0"/>
                  <a:satOff val="0"/>
                  <a:lumOff val="0"/>
                  <a:alphaOff val="0"/>
                </a:srgbClr>
              </a:solidFill>
              <a:prstDash val="solid"/>
            </a:ln>
            <a:effectLst/>
          </p:spPr>
          <p:txBody>
            <a:bodyPr spcFirstLastPara="0" vert="horz" wrap="square" lIns="175348" tIns="175348" rIns="175348" bIns="175348"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r>
                <a:rPr kumimoji="0" lang="en-GB" sz="800" b="1" i="0" u="none" strike="noStrike" kern="0" cap="none" spc="0" normalizeH="0" baseline="0" noProof="0" dirty="0" smtClean="0">
                  <a:ln>
                    <a:noFill/>
                  </a:ln>
                  <a:solidFill>
                    <a:srgbClr val="FFFFFF"/>
                  </a:solidFill>
                  <a:effectLst/>
                  <a:uLnTx/>
                  <a:uFillTx/>
                  <a:ea typeface="+mn-ea"/>
                  <a:cs typeface="+mn-cs"/>
                </a:rPr>
                <a:t>Digital Maturity Assessment</a:t>
              </a:r>
              <a:endParaRPr kumimoji="0" lang="en-US" sz="800" b="1" i="0" u="none" strike="noStrike" kern="0" cap="none" spc="0" normalizeH="0" baseline="0" noProof="0" dirty="0" smtClean="0">
                <a:ln>
                  <a:noFill/>
                </a:ln>
                <a:solidFill>
                  <a:srgbClr val="FFFFFF"/>
                </a:solidFill>
                <a:effectLst/>
                <a:uLnTx/>
                <a:uFillTx/>
                <a:ea typeface="+mn-ea"/>
                <a:cs typeface="+mn-cs"/>
              </a:endParaRPr>
            </a:p>
          </p:txBody>
        </p:sp>
        <p:sp>
          <p:nvSpPr>
            <p:cNvPr id="274" name="Oval 273"/>
            <p:cNvSpPr/>
            <p:nvPr/>
          </p:nvSpPr>
          <p:spPr>
            <a:xfrm>
              <a:off x="6120787" y="4066915"/>
              <a:ext cx="4898690" cy="853440"/>
            </a:xfrm>
            <a:prstGeom prst="ellipse">
              <a:avLst/>
            </a:prstGeom>
            <a:solidFill>
              <a:srgbClr val="005EB8">
                <a:tint val="50000"/>
                <a:alpha val="40000"/>
                <a:hueOff val="0"/>
                <a:satOff val="0"/>
                <a:lumOff val="0"/>
                <a:alphaOff val="0"/>
              </a:srgbClr>
            </a:solidFill>
            <a:ln>
              <a:noFill/>
            </a:ln>
            <a:effectLst/>
          </p:spPr>
        </p:sp>
        <p:sp>
          <p:nvSpPr>
            <p:cNvPr id="275" name="Freeform 274"/>
            <p:cNvSpPr/>
            <p:nvPr/>
          </p:nvSpPr>
          <p:spPr>
            <a:xfrm>
              <a:off x="6646174" y="3963687"/>
              <a:ext cx="1110629" cy="1110629"/>
            </a:xfrm>
            <a:custGeom>
              <a:avLst/>
              <a:gdLst>
                <a:gd name="connsiteX0" fmla="*/ 0 w 1110629"/>
                <a:gd name="connsiteY0" fmla="*/ 555315 h 1110629"/>
                <a:gd name="connsiteX1" fmla="*/ 555315 w 1110629"/>
                <a:gd name="connsiteY1" fmla="*/ 0 h 1110629"/>
                <a:gd name="connsiteX2" fmla="*/ 1110630 w 1110629"/>
                <a:gd name="connsiteY2" fmla="*/ 555315 h 1110629"/>
                <a:gd name="connsiteX3" fmla="*/ 555315 w 1110629"/>
                <a:gd name="connsiteY3" fmla="*/ 1110630 h 1110629"/>
                <a:gd name="connsiteX4" fmla="*/ 0 w 1110629"/>
                <a:gd name="connsiteY4" fmla="*/ 555315 h 1110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629" h="1110629">
                  <a:moveTo>
                    <a:pt x="0" y="555315"/>
                  </a:moveTo>
                  <a:cubicBezTo>
                    <a:pt x="0" y="248623"/>
                    <a:pt x="248623" y="0"/>
                    <a:pt x="555315" y="0"/>
                  </a:cubicBezTo>
                  <a:cubicBezTo>
                    <a:pt x="862007" y="0"/>
                    <a:pt x="1110630" y="248623"/>
                    <a:pt x="1110630" y="555315"/>
                  </a:cubicBezTo>
                  <a:cubicBezTo>
                    <a:pt x="1110630" y="862007"/>
                    <a:pt x="862007" y="1110630"/>
                    <a:pt x="555315" y="1110630"/>
                  </a:cubicBezTo>
                  <a:cubicBezTo>
                    <a:pt x="248623" y="1110630"/>
                    <a:pt x="0" y="862007"/>
                    <a:pt x="0" y="555315"/>
                  </a:cubicBezTo>
                  <a:close/>
                </a:path>
              </a:pathLst>
            </a:custGeom>
            <a:solidFill>
              <a:srgbClr val="8E258D"/>
            </a:solidFill>
            <a:ln w="25400" cap="flat" cmpd="sng" algn="ctr">
              <a:solidFill>
                <a:srgbClr val="FFFFFF">
                  <a:hueOff val="0"/>
                  <a:satOff val="0"/>
                  <a:lumOff val="0"/>
                  <a:alphaOff val="0"/>
                </a:srgbClr>
              </a:solidFill>
              <a:prstDash val="solid"/>
            </a:ln>
            <a:effectLst/>
          </p:spPr>
          <p:txBody>
            <a:bodyPr spcFirstLastPara="0" vert="horz" wrap="square" lIns="175348" tIns="175348" rIns="175348" bIns="175348" numCol="1" spcCol="1270" anchor="ctr" anchorCtr="0">
              <a:noAutofit/>
            </a:bodyPr>
            <a:lstStyle/>
            <a:p>
              <a:pPr marL="0" marR="0" lvl="0" indent="0" defTabSz="444500" eaLnBrk="1" fontAlgn="auto" latinLnBrk="0" hangingPunct="1">
                <a:lnSpc>
                  <a:spcPct val="90000"/>
                </a:lnSpc>
                <a:spcBef>
                  <a:spcPct val="0"/>
                </a:spcBef>
                <a:spcAft>
                  <a:spcPct val="35000"/>
                </a:spcAft>
                <a:buClrTx/>
                <a:buSzTx/>
                <a:buFontTx/>
                <a:buNone/>
                <a:tabLst/>
                <a:defRPr/>
              </a:pPr>
              <a:r>
                <a:rPr kumimoji="0" lang="en-GB" sz="800" b="1" i="0" u="none" strike="noStrike" kern="0" cap="none" spc="0" normalizeH="0" baseline="0" noProof="0" dirty="0" smtClean="0">
                  <a:ln>
                    <a:noFill/>
                  </a:ln>
                  <a:solidFill>
                    <a:srgbClr val="FFFFFF"/>
                  </a:solidFill>
                  <a:effectLst/>
                  <a:uLnTx/>
                  <a:uFillTx/>
                  <a:ea typeface="+mn-ea"/>
                  <a:cs typeface="+mn-cs"/>
                </a:rPr>
                <a:t>Value Management</a:t>
              </a:r>
              <a:endParaRPr kumimoji="0" lang="en-US" sz="800" b="1" i="0" u="none" strike="noStrike" kern="0" cap="none" spc="0" normalizeH="0" baseline="0" noProof="0" dirty="0" smtClean="0">
                <a:ln>
                  <a:noFill/>
                </a:ln>
                <a:solidFill>
                  <a:srgbClr val="FFFFFF"/>
                </a:solidFill>
                <a:effectLst/>
                <a:uLnTx/>
                <a:uFillTx/>
                <a:ea typeface="+mn-ea"/>
                <a:cs typeface="+mn-cs"/>
              </a:endParaRPr>
            </a:p>
          </p:txBody>
        </p:sp>
        <p:sp>
          <p:nvSpPr>
            <p:cNvPr id="276" name="Freeform 275"/>
            <p:cNvSpPr/>
            <p:nvPr/>
          </p:nvSpPr>
          <p:spPr>
            <a:xfrm>
              <a:off x="7777978" y="3745945"/>
              <a:ext cx="1110629" cy="1110629"/>
            </a:xfrm>
            <a:custGeom>
              <a:avLst/>
              <a:gdLst>
                <a:gd name="connsiteX0" fmla="*/ 0 w 1110629"/>
                <a:gd name="connsiteY0" fmla="*/ 555315 h 1110629"/>
                <a:gd name="connsiteX1" fmla="*/ 555315 w 1110629"/>
                <a:gd name="connsiteY1" fmla="*/ 0 h 1110629"/>
                <a:gd name="connsiteX2" fmla="*/ 1110630 w 1110629"/>
                <a:gd name="connsiteY2" fmla="*/ 555315 h 1110629"/>
                <a:gd name="connsiteX3" fmla="*/ 555315 w 1110629"/>
                <a:gd name="connsiteY3" fmla="*/ 1110630 h 1110629"/>
                <a:gd name="connsiteX4" fmla="*/ 0 w 1110629"/>
                <a:gd name="connsiteY4" fmla="*/ 555315 h 1110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629" h="1110629">
                  <a:moveTo>
                    <a:pt x="0" y="555315"/>
                  </a:moveTo>
                  <a:cubicBezTo>
                    <a:pt x="0" y="248623"/>
                    <a:pt x="248623" y="0"/>
                    <a:pt x="555315" y="0"/>
                  </a:cubicBezTo>
                  <a:cubicBezTo>
                    <a:pt x="862007" y="0"/>
                    <a:pt x="1110630" y="248623"/>
                    <a:pt x="1110630" y="555315"/>
                  </a:cubicBezTo>
                  <a:cubicBezTo>
                    <a:pt x="1110630" y="862007"/>
                    <a:pt x="862007" y="1110630"/>
                    <a:pt x="555315" y="1110630"/>
                  </a:cubicBezTo>
                  <a:cubicBezTo>
                    <a:pt x="248623" y="1110630"/>
                    <a:pt x="0" y="862007"/>
                    <a:pt x="0" y="555315"/>
                  </a:cubicBezTo>
                  <a:close/>
                </a:path>
              </a:pathLst>
            </a:custGeom>
            <a:solidFill>
              <a:srgbClr val="005EB8">
                <a:lumMod val="50000"/>
              </a:srgbClr>
            </a:solidFill>
            <a:ln w="25400" cap="flat" cmpd="sng" algn="ctr">
              <a:solidFill>
                <a:srgbClr val="FFFFFF">
                  <a:hueOff val="0"/>
                  <a:satOff val="0"/>
                  <a:lumOff val="0"/>
                  <a:alphaOff val="0"/>
                </a:srgbClr>
              </a:solidFill>
              <a:prstDash val="solid"/>
            </a:ln>
            <a:effectLst/>
          </p:spPr>
          <p:txBody>
            <a:bodyPr spcFirstLastPara="0" vert="horz" wrap="square" lIns="175348" tIns="175348" rIns="175348" bIns="175348"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r>
                <a:rPr kumimoji="0" lang="en-GB" sz="800" b="1" i="0" u="none" strike="noStrike" kern="0" cap="none" spc="0" normalizeH="0" baseline="0" noProof="0" dirty="0" smtClean="0">
                  <a:ln>
                    <a:noFill/>
                  </a:ln>
                  <a:solidFill>
                    <a:srgbClr val="FFFFFF"/>
                  </a:solidFill>
                  <a:effectLst/>
                  <a:uLnTx/>
                  <a:uFillTx/>
                  <a:ea typeface="+mn-ea"/>
                  <a:cs typeface="+mn-cs"/>
                </a:rPr>
                <a:t>Customer Propositions</a:t>
              </a:r>
              <a:endParaRPr kumimoji="0" lang="en-US" sz="800" b="1" i="0" u="none" strike="noStrike" kern="0" cap="none" spc="0" normalizeH="0" baseline="0" noProof="0" dirty="0" smtClean="0">
                <a:ln>
                  <a:noFill/>
                </a:ln>
                <a:solidFill>
                  <a:srgbClr val="FFFFFF"/>
                </a:solidFill>
                <a:effectLst/>
                <a:uLnTx/>
                <a:uFillTx/>
                <a:ea typeface="+mn-ea"/>
                <a:cs typeface="+mn-cs"/>
              </a:endParaRPr>
            </a:p>
          </p:txBody>
        </p:sp>
        <p:sp>
          <p:nvSpPr>
            <p:cNvPr id="277" name="Freeform 276"/>
            <p:cNvSpPr/>
            <p:nvPr/>
          </p:nvSpPr>
          <p:spPr>
            <a:xfrm>
              <a:off x="9512590" y="3911430"/>
              <a:ext cx="1110629" cy="1110629"/>
            </a:xfrm>
            <a:custGeom>
              <a:avLst/>
              <a:gdLst>
                <a:gd name="connsiteX0" fmla="*/ 0 w 1110629"/>
                <a:gd name="connsiteY0" fmla="*/ 555315 h 1110629"/>
                <a:gd name="connsiteX1" fmla="*/ 555315 w 1110629"/>
                <a:gd name="connsiteY1" fmla="*/ 0 h 1110629"/>
                <a:gd name="connsiteX2" fmla="*/ 1110630 w 1110629"/>
                <a:gd name="connsiteY2" fmla="*/ 555315 h 1110629"/>
                <a:gd name="connsiteX3" fmla="*/ 555315 w 1110629"/>
                <a:gd name="connsiteY3" fmla="*/ 1110630 h 1110629"/>
                <a:gd name="connsiteX4" fmla="*/ 0 w 1110629"/>
                <a:gd name="connsiteY4" fmla="*/ 555315 h 1110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629" h="1110629">
                  <a:moveTo>
                    <a:pt x="0" y="555315"/>
                  </a:moveTo>
                  <a:cubicBezTo>
                    <a:pt x="0" y="248623"/>
                    <a:pt x="248623" y="0"/>
                    <a:pt x="555315" y="0"/>
                  </a:cubicBezTo>
                  <a:cubicBezTo>
                    <a:pt x="862007" y="0"/>
                    <a:pt x="1110630" y="248623"/>
                    <a:pt x="1110630" y="555315"/>
                  </a:cubicBezTo>
                  <a:cubicBezTo>
                    <a:pt x="1110630" y="862007"/>
                    <a:pt x="862007" y="1110630"/>
                    <a:pt x="555315" y="1110630"/>
                  </a:cubicBezTo>
                  <a:cubicBezTo>
                    <a:pt x="248623" y="1110630"/>
                    <a:pt x="0" y="862007"/>
                    <a:pt x="0" y="555315"/>
                  </a:cubicBezTo>
                  <a:close/>
                </a:path>
              </a:pathLst>
            </a:custGeom>
            <a:solidFill>
              <a:srgbClr val="EBB700"/>
            </a:solidFill>
            <a:ln w="25400" cap="flat" cmpd="sng" algn="ctr">
              <a:solidFill>
                <a:srgbClr val="FFFFFF">
                  <a:hueOff val="0"/>
                  <a:satOff val="0"/>
                  <a:lumOff val="0"/>
                  <a:alphaOff val="0"/>
                </a:srgbClr>
              </a:solidFill>
              <a:prstDash val="solid"/>
            </a:ln>
            <a:effectLst/>
          </p:spPr>
          <p:txBody>
            <a:bodyPr spcFirstLastPara="0" vert="horz" wrap="square" lIns="175348" tIns="175348" rIns="175348" bIns="175348" numCol="1" spcCol="1270" anchor="ctr" anchorCtr="0">
              <a:noAutofit/>
            </a:bodyPr>
            <a:lstStyle/>
            <a:p>
              <a:pPr marL="0" marR="0" lvl="0" indent="0" algn="r" defTabSz="444500" eaLnBrk="1" fontAlgn="auto" latinLnBrk="0" hangingPunct="1">
                <a:lnSpc>
                  <a:spcPct val="90000"/>
                </a:lnSpc>
                <a:spcBef>
                  <a:spcPct val="0"/>
                </a:spcBef>
                <a:spcAft>
                  <a:spcPct val="35000"/>
                </a:spcAft>
                <a:buClrTx/>
                <a:buSzTx/>
                <a:buFontTx/>
                <a:buNone/>
                <a:tabLst/>
                <a:defRPr/>
              </a:pPr>
              <a:r>
                <a:rPr kumimoji="0" lang="en-GB" sz="800" b="1" i="0" u="none" strike="noStrike" kern="0" cap="none" spc="0" normalizeH="0" baseline="0" noProof="0" dirty="0" smtClean="0">
                  <a:ln>
                    <a:noFill/>
                  </a:ln>
                  <a:solidFill>
                    <a:srgbClr val="000000">
                      <a:lumMod val="95000"/>
                      <a:lumOff val="5000"/>
                    </a:srgbClr>
                  </a:solidFill>
                  <a:effectLst/>
                  <a:uLnTx/>
                  <a:uFillTx/>
                  <a:ea typeface="+mn-ea"/>
                  <a:cs typeface="+mn-cs"/>
                </a:rPr>
                <a:t>Operating Model</a:t>
              </a:r>
              <a:endParaRPr kumimoji="0" lang="en-US" sz="800" b="1" i="0" u="none" strike="noStrike" kern="0" cap="none" spc="0" normalizeH="0" baseline="0" noProof="0" dirty="0" smtClean="0">
                <a:ln>
                  <a:noFill/>
                </a:ln>
                <a:solidFill>
                  <a:srgbClr val="000000">
                    <a:lumMod val="95000"/>
                    <a:lumOff val="5000"/>
                  </a:srgbClr>
                </a:solidFill>
                <a:effectLst/>
                <a:uLnTx/>
                <a:uFillTx/>
                <a:ea typeface="+mn-ea"/>
                <a:cs typeface="+mn-cs"/>
              </a:endParaRPr>
            </a:p>
          </p:txBody>
        </p:sp>
        <p:sp>
          <p:nvSpPr>
            <p:cNvPr id="278" name="Freeform 277"/>
            <p:cNvSpPr/>
            <p:nvPr/>
          </p:nvSpPr>
          <p:spPr>
            <a:xfrm>
              <a:off x="8711977" y="4227354"/>
              <a:ext cx="1110629" cy="1110629"/>
            </a:xfrm>
            <a:custGeom>
              <a:avLst/>
              <a:gdLst>
                <a:gd name="connsiteX0" fmla="*/ 0 w 1110629"/>
                <a:gd name="connsiteY0" fmla="*/ 555315 h 1110629"/>
                <a:gd name="connsiteX1" fmla="*/ 555315 w 1110629"/>
                <a:gd name="connsiteY1" fmla="*/ 0 h 1110629"/>
                <a:gd name="connsiteX2" fmla="*/ 1110630 w 1110629"/>
                <a:gd name="connsiteY2" fmla="*/ 555315 h 1110629"/>
                <a:gd name="connsiteX3" fmla="*/ 555315 w 1110629"/>
                <a:gd name="connsiteY3" fmla="*/ 1110630 h 1110629"/>
                <a:gd name="connsiteX4" fmla="*/ 0 w 1110629"/>
                <a:gd name="connsiteY4" fmla="*/ 555315 h 1110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629" h="1110629">
                  <a:moveTo>
                    <a:pt x="0" y="555315"/>
                  </a:moveTo>
                  <a:cubicBezTo>
                    <a:pt x="0" y="248623"/>
                    <a:pt x="248623" y="0"/>
                    <a:pt x="555315" y="0"/>
                  </a:cubicBezTo>
                  <a:cubicBezTo>
                    <a:pt x="862007" y="0"/>
                    <a:pt x="1110630" y="248623"/>
                    <a:pt x="1110630" y="555315"/>
                  </a:cubicBezTo>
                  <a:cubicBezTo>
                    <a:pt x="1110630" y="862007"/>
                    <a:pt x="862007" y="1110630"/>
                    <a:pt x="555315" y="1110630"/>
                  </a:cubicBezTo>
                  <a:cubicBezTo>
                    <a:pt x="248623" y="1110630"/>
                    <a:pt x="0" y="862007"/>
                    <a:pt x="0" y="555315"/>
                  </a:cubicBezTo>
                  <a:close/>
                </a:path>
              </a:pathLst>
            </a:custGeom>
            <a:solidFill>
              <a:srgbClr val="7AB800"/>
            </a:solidFill>
            <a:ln w="25400" cap="flat" cmpd="sng" algn="ctr">
              <a:solidFill>
                <a:srgbClr val="FFFFFF">
                  <a:hueOff val="0"/>
                  <a:satOff val="0"/>
                  <a:lumOff val="0"/>
                  <a:alphaOff val="0"/>
                </a:srgbClr>
              </a:solidFill>
              <a:prstDash val="solid"/>
            </a:ln>
            <a:effectLst/>
          </p:spPr>
          <p:txBody>
            <a:bodyPr spcFirstLastPara="0" vert="horz" wrap="square" lIns="175348" tIns="175348" rIns="175348" bIns="175348"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r>
                <a:rPr kumimoji="0" lang="en-GB" sz="800" b="1" i="0" u="none" strike="noStrike" kern="0" cap="none" spc="0" normalizeH="0" baseline="0" noProof="0" dirty="0" smtClean="0">
                  <a:ln>
                    <a:noFill/>
                  </a:ln>
                  <a:solidFill>
                    <a:srgbClr val="FFFFFF"/>
                  </a:solidFill>
                  <a:effectLst/>
                  <a:uLnTx/>
                  <a:uFillTx/>
                  <a:ea typeface="+mn-ea"/>
                  <a:cs typeface="+mn-cs"/>
                </a:rPr>
                <a:t>Technology Enablement</a:t>
              </a:r>
              <a:endParaRPr kumimoji="0" lang="en-US" sz="800" b="1" i="0" u="none" strike="noStrike" kern="0" cap="none" spc="0" normalizeH="0" baseline="0" noProof="0" dirty="0" smtClean="0">
                <a:ln>
                  <a:noFill/>
                </a:ln>
                <a:solidFill>
                  <a:srgbClr val="FFFFFF"/>
                </a:solidFill>
                <a:effectLst/>
                <a:uLnTx/>
                <a:uFillTx/>
                <a:ea typeface="+mn-ea"/>
                <a:cs typeface="+mn-cs"/>
              </a:endParaRPr>
            </a:p>
          </p:txBody>
        </p:sp>
        <p:sp>
          <p:nvSpPr>
            <p:cNvPr id="279" name="Freeform 278"/>
            <p:cNvSpPr/>
            <p:nvPr/>
          </p:nvSpPr>
          <p:spPr>
            <a:xfrm>
              <a:off x="7192192" y="4625882"/>
              <a:ext cx="1110629" cy="1110629"/>
            </a:xfrm>
            <a:custGeom>
              <a:avLst/>
              <a:gdLst>
                <a:gd name="connsiteX0" fmla="*/ 0 w 1110629"/>
                <a:gd name="connsiteY0" fmla="*/ 555315 h 1110629"/>
                <a:gd name="connsiteX1" fmla="*/ 555315 w 1110629"/>
                <a:gd name="connsiteY1" fmla="*/ 0 h 1110629"/>
                <a:gd name="connsiteX2" fmla="*/ 1110630 w 1110629"/>
                <a:gd name="connsiteY2" fmla="*/ 555315 h 1110629"/>
                <a:gd name="connsiteX3" fmla="*/ 555315 w 1110629"/>
                <a:gd name="connsiteY3" fmla="*/ 1110630 h 1110629"/>
                <a:gd name="connsiteX4" fmla="*/ 0 w 1110629"/>
                <a:gd name="connsiteY4" fmla="*/ 555315 h 1110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629" h="1110629">
                  <a:moveTo>
                    <a:pt x="0" y="555315"/>
                  </a:moveTo>
                  <a:cubicBezTo>
                    <a:pt x="0" y="248623"/>
                    <a:pt x="248623" y="0"/>
                    <a:pt x="555315" y="0"/>
                  </a:cubicBezTo>
                  <a:cubicBezTo>
                    <a:pt x="862007" y="0"/>
                    <a:pt x="1110630" y="248623"/>
                    <a:pt x="1110630" y="555315"/>
                  </a:cubicBezTo>
                  <a:cubicBezTo>
                    <a:pt x="1110630" y="862007"/>
                    <a:pt x="862007" y="1110630"/>
                    <a:pt x="555315" y="1110630"/>
                  </a:cubicBezTo>
                  <a:cubicBezTo>
                    <a:pt x="248623" y="1110630"/>
                    <a:pt x="0" y="862007"/>
                    <a:pt x="0" y="555315"/>
                  </a:cubicBezTo>
                  <a:close/>
                </a:path>
              </a:pathLst>
            </a:custGeom>
            <a:solidFill>
              <a:srgbClr val="007C92"/>
            </a:solidFill>
            <a:ln w="25400" cap="flat" cmpd="sng" algn="ctr">
              <a:solidFill>
                <a:srgbClr val="FFFFFF">
                  <a:hueOff val="0"/>
                  <a:satOff val="0"/>
                  <a:lumOff val="0"/>
                  <a:alphaOff val="0"/>
                </a:srgbClr>
              </a:solidFill>
              <a:prstDash val="solid"/>
            </a:ln>
            <a:effectLst/>
          </p:spPr>
          <p:txBody>
            <a:bodyPr spcFirstLastPara="0" vert="horz" wrap="square" lIns="175348" tIns="175348" rIns="175348" bIns="175348"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r>
                <a:rPr kumimoji="0" lang="en-GB" sz="800" b="1" i="0" u="none" strike="noStrike" kern="0" cap="none" spc="0" normalizeH="0" baseline="0" noProof="0" dirty="0" smtClean="0">
                  <a:ln>
                    <a:noFill/>
                  </a:ln>
                  <a:solidFill>
                    <a:srgbClr val="FFFFFF"/>
                  </a:solidFill>
                  <a:effectLst/>
                  <a:uLnTx/>
                  <a:uFillTx/>
                  <a:ea typeface="+mn-ea"/>
                  <a:cs typeface="+mn-cs"/>
                </a:rPr>
                <a:t>Risk Model</a:t>
              </a:r>
              <a:endParaRPr kumimoji="0" lang="en-US" sz="800" b="1" i="0" u="none" strike="noStrike" kern="0" cap="none" spc="0" normalizeH="0" baseline="0" noProof="0" dirty="0" smtClean="0">
                <a:ln>
                  <a:noFill/>
                </a:ln>
                <a:solidFill>
                  <a:srgbClr val="FFFFFF"/>
                </a:solidFill>
                <a:effectLst/>
                <a:uLnTx/>
                <a:uFillTx/>
                <a:ea typeface="+mn-ea"/>
                <a:cs typeface="+mn-cs"/>
              </a:endParaRPr>
            </a:p>
          </p:txBody>
        </p:sp>
        <p:sp>
          <p:nvSpPr>
            <p:cNvPr id="280" name="Freeform 279"/>
            <p:cNvSpPr/>
            <p:nvPr/>
          </p:nvSpPr>
          <p:spPr>
            <a:xfrm>
              <a:off x="8074915" y="4934242"/>
              <a:ext cx="1110629" cy="1110629"/>
            </a:xfrm>
            <a:custGeom>
              <a:avLst/>
              <a:gdLst>
                <a:gd name="connsiteX0" fmla="*/ 0 w 1110629"/>
                <a:gd name="connsiteY0" fmla="*/ 555315 h 1110629"/>
                <a:gd name="connsiteX1" fmla="*/ 555315 w 1110629"/>
                <a:gd name="connsiteY1" fmla="*/ 0 h 1110629"/>
                <a:gd name="connsiteX2" fmla="*/ 1110630 w 1110629"/>
                <a:gd name="connsiteY2" fmla="*/ 555315 h 1110629"/>
                <a:gd name="connsiteX3" fmla="*/ 555315 w 1110629"/>
                <a:gd name="connsiteY3" fmla="*/ 1110630 h 1110629"/>
                <a:gd name="connsiteX4" fmla="*/ 0 w 1110629"/>
                <a:gd name="connsiteY4" fmla="*/ 555315 h 1110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629" h="1110629">
                  <a:moveTo>
                    <a:pt x="0" y="555315"/>
                  </a:moveTo>
                  <a:cubicBezTo>
                    <a:pt x="0" y="248623"/>
                    <a:pt x="248623" y="0"/>
                    <a:pt x="555315" y="0"/>
                  </a:cubicBezTo>
                  <a:cubicBezTo>
                    <a:pt x="862007" y="0"/>
                    <a:pt x="1110630" y="248623"/>
                    <a:pt x="1110630" y="555315"/>
                  </a:cubicBezTo>
                  <a:cubicBezTo>
                    <a:pt x="1110630" y="862007"/>
                    <a:pt x="862007" y="1110630"/>
                    <a:pt x="555315" y="1110630"/>
                  </a:cubicBezTo>
                  <a:cubicBezTo>
                    <a:pt x="248623" y="1110630"/>
                    <a:pt x="0" y="862007"/>
                    <a:pt x="0" y="555315"/>
                  </a:cubicBezTo>
                  <a:close/>
                </a:path>
              </a:pathLst>
            </a:custGeom>
            <a:solidFill>
              <a:srgbClr val="00338D"/>
            </a:solidFill>
            <a:ln w="25400" cap="flat" cmpd="sng" algn="ctr">
              <a:solidFill>
                <a:srgbClr val="FFFFFF">
                  <a:hueOff val="0"/>
                  <a:satOff val="0"/>
                  <a:lumOff val="0"/>
                  <a:alphaOff val="0"/>
                </a:srgbClr>
              </a:solidFill>
              <a:prstDash val="solid"/>
            </a:ln>
            <a:effectLst/>
          </p:spPr>
          <p:txBody>
            <a:bodyPr spcFirstLastPara="0" vert="horz" wrap="square" lIns="175348" tIns="175348" rIns="175348" bIns="175348"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r>
                <a:rPr kumimoji="0" lang="en-GB" sz="800" b="1" i="0" u="none" strike="noStrike" kern="0" cap="none" spc="0" normalizeH="0" baseline="0" noProof="0" dirty="0" smtClean="0">
                  <a:ln>
                    <a:noFill/>
                  </a:ln>
                  <a:solidFill>
                    <a:srgbClr val="FFFFFF"/>
                  </a:solidFill>
                  <a:effectLst/>
                  <a:uLnTx/>
                  <a:uFillTx/>
                  <a:ea typeface="+mn-ea"/>
                  <a:cs typeface="+mn-cs"/>
                </a:rPr>
                <a:t>Co-creation Model</a:t>
              </a:r>
              <a:endParaRPr kumimoji="0" lang="en-US" sz="800" b="1" i="0" u="none" strike="noStrike" kern="0" cap="none" spc="0" normalizeH="0" baseline="0" noProof="0" dirty="0" smtClean="0">
                <a:ln>
                  <a:noFill/>
                </a:ln>
                <a:solidFill>
                  <a:srgbClr val="FFFFFF"/>
                </a:solidFill>
                <a:effectLst/>
                <a:uLnTx/>
                <a:uFillTx/>
                <a:ea typeface="+mn-ea"/>
                <a:cs typeface="+mn-cs"/>
              </a:endParaRPr>
            </a:p>
          </p:txBody>
        </p:sp>
        <p:sp>
          <p:nvSpPr>
            <p:cNvPr id="281" name="Shape 280"/>
            <p:cNvSpPr/>
            <p:nvPr/>
          </p:nvSpPr>
          <p:spPr>
            <a:xfrm>
              <a:off x="5915738" y="3447223"/>
              <a:ext cx="5316408" cy="2749999"/>
            </a:xfrm>
            <a:prstGeom prst="funnel">
              <a:avLst/>
            </a:prstGeom>
            <a:solidFill>
              <a:srgbClr val="FFFFFF">
                <a:alpha val="40000"/>
                <a:hueOff val="0"/>
                <a:satOff val="0"/>
                <a:lumOff val="0"/>
                <a:alphaOff val="0"/>
              </a:srgbClr>
            </a:solidFill>
            <a:ln w="9525" cap="flat" cmpd="sng" algn="ctr">
              <a:solidFill>
                <a:srgbClr val="005EB8">
                  <a:hueOff val="0"/>
                  <a:satOff val="0"/>
                  <a:lumOff val="0"/>
                  <a:alphaOff val="0"/>
                  <a:shade val="95000"/>
                  <a:satMod val="105000"/>
                </a:srgbClr>
              </a:solidFill>
              <a:prstDash val="solid"/>
            </a:ln>
            <a:effectLst/>
          </p:spPr>
        </p:sp>
        <p:sp>
          <p:nvSpPr>
            <p:cNvPr id="282" name="Rectangle 281"/>
            <p:cNvSpPr/>
            <p:nvPr/>
          </p:nvSpPr>
          <p:spPr>
            <a:xfrm>
              <a:off x="4915845" y="1188511"/>
              <a:ext cx="804640" cy="424032"/>
            </a:xfrm>
            <a:prstGeom prst="rect">
              <a:avLst/>
            </a:prstGeom>
            <a:solidFill>
              <a:srgbClr val="BEDFFF"/>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rgbClr val="000000"/>
                  </a:solidFill>
                  <a:effectLst/>
                  <a:uLnTx/>
                  <a:uFillTx/>
                  <a:ea typeface="+mn-ea"/>
                  <a:cs typeface="+mn-cs"/>
                </a:rPr>
                <a:t>Initiate</a:t>
              </a:r>
            </a:p>
          </p:txBody>
        </p:sp>
        <p:sp>
          <p:nvSpPr>
            <p:cNvPr id="283" name="Rectangle 282"/>
            <p:cNvSpPr/>
            <p:nvPr/>
          </p:nvSpPr>
          <p:spPr>
            <a:xfrm>
              <a:off x="4915845" y="1734988"/>
              <a:ext cx="804639" cy="1141328"/>
            </a:xfrm>
            <a:prstGeom prst="rect">
              <a:avLst/>
            </a:prstGeom>
            <a:solidFill>
              <a:srgbClr val="F5DFE1"/>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rgbClr val="000000"/>
                  </a:solidFill>
                  <a:effectLst/>
                  <a:uLnTx/>
                  <a:uFillTx/>
                  <a:ea typeface="+mn-ea"/>
                  <a:cs typeface="+mn-cs"/>
                </a:rPr>
                <a:t>Assess</a:t>
              </a:r>
            </a:p>
          </p:txBody>
        </p:sp>
        <p:sp>
          <p:nvSpPr>
            <p:cNvPr id="284" name="Rectangle 283"/>
            <p:cNvSpPr/>
            <p:nvPr/>
          </p:nvSpPr>
          <p:spPr>
            <a:xfrm>
              <a:off x="4915845" y="2961103"/>
              <a:ext cx="804640" cy="2775408"/>
            </a:xfrm>
            <a:prstGeom prst="rect">
              <a:avLst/>
            </a:prstGeom>
            <a:solidFill>
              <a:srgbClr val="D7D2EF"/>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rgbClr val="000000"/>
                  </a:solidFill>
                  <a:effectLst/>
                  <a:uLnTx/>
                  <a:uFillTx/>
                  <a:ea typeface="+mn-ea"/>
                  <a:cs typeface="+mn-cs"/>
                </a:rPr>
                <a:t>Strategize</a:t>
              </a:r>
            </a:p>
          </p:txBody>
        </p:sp>
        <p:sp>
          <p:nvSpPr>
            <p:cNvPr id="285" name="Rectangle 284"/>
            <p:cNvSpPr/>
            <p:nvPr/>
          </p:nvSpPr>
          <p:spPr>
            <a:xfrm>
              <a:off x="4915845" y="5854539"/>
              <a:ext cx="804639" cy="1692436"/>
            </a:xfrm>
            <a:prstGeom prst="rect">
              <a:avLst/>
            </a:prstGeom>
            <a:solidFill>
              <a:srgbClr val="EAEAEA"/>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rgbClr val="000000"/>
                  </a:solidFill>
                  <a:effectLst/>
                  <a:uLnTx/>
                  <a:uFillTx/>
                  <a:ea typeface="+mn-ea"/>
                  <a:cs typeface="+mn-cs"/>
                </a:rPr>
                <a:t>Plan</a:t>
              </a:r>
            </a:p>
          </p:txBody>
        </p:sp>
      </p:grpSp>
      <p:pic>
        <p:nvPicPr>
          <p:cNvPr id="286" name="Picture 28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99071" y="1662969"/>
            <a:ext cx="308006" cy="308006"/>
          </a:xfrm>
          <a:prstGeom prst="rect">
            <a:avLst/>
          </a:prstGeom>
        </p:spPr>
      </p:pic>
      <p:sp>
        <p:nvSpPr>
          <p:cNvPr id="14" name="Snip Diagonal Corner Rectangle 13"/>
          <p:cNvSpPr/>
          <p:nvPr/>
        </p:nvSpPr>
        <p:spPr>
          <a:xfrm>
            <a:off x="153265" y="936001"/>
            <a:ext cx="4990235" cy="5179265"/>
          </a:xfrm>
          <a:prstGeom prst="snip2Diag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marL="171450" lvl="1" indent="-171450">
              <a:lnSpc>
                <a:spcPct val="115000"/>
              </a:lnSpc>
              <a:spcBef>
                <a:spcPts val="1125"/>
              </a:spcBef>
              <a:spcAft>
                <a:spcPts val="150"/>
              </a:spcAft>
              <a:buFont typeface="Arial" panose="020B0604020202020204" pitchFamily="34" charset="0"/>
              <a:buChar char="•"/>
              <a:defRPr/>
            </a:pPr>
            <a:r>
              <a:rPr lang="en-US" sz="1200" dirty="0" smtClean="0"/>
              <a:t>Following the Group’s ambition of becoming the leading Merchant Bank and Asset Manager in Africa, </a:t>
            </a:r>
            <a:r>
              <a:rPr lang="en-US" sz="1200" dirty="0" err="1" smtClean="0"/>
              <a:t>FBNQuest</a:t>
            </a:r>
            <a:r>
              <a:rPr lang="en-US" sz="1200" dirty="0" smtClean="0"/>
              <a:t> has identified digital as a critical enabler for the realization of this ambition. Consequently, the Group has engaged KPMG, a global leader in digital strategy and transformation services, to provide the assistance required to drive the development of its digital strategy intended to reposition the Group within its target markets.</a:t>
            </a:r>
          </a:p>
          <a:p>
            <a:pPr marL="171450" lvl="1" indent="-171450">
              <a:lnSpc>
                <a:spcPct val="115000"/>
              </a:lnSpc>
              <a:spcBef>
                <a:spcPts val="1125"/>
              </a:spcBef>
              <a:spcAft>
                <a:spcPts val="150"/>
              </a:spcAft>
              <a:buFont typeface="Arial" panose="020B0604020202020204" pitchFamily="34" charset="0"/>
              <a:buChar char="•"/>
              <a:defRPr/>
            </a:pPr>
            <a:r>
              <a:rPr lang="en-US" sz="1200" dirty="0" smtClean="0"/>
              <a:t>As part of the Assess phase of Digital Strategy Program, we have run a Digital Maturity Assessment (DMA) to prepare this report on </a:t>
            </a:r>
            <a:r>
              <a:rPr lang="en-US" sz="1200" dirty="0" err="1" smtClean="0"/>
              <a:t>FBNQuest’s</a:t>
            </a:r>
            <a:r>
              <a:rPr lang="en-US" sz="1200" dirty="0" smtClean="0"/>
              <a:t> current baseline / starting position for Digital.</a:t>
            </a:r>
          </a:p>
          <a:p>
            <a:pPr marL="171450" indent="-171450">
              <a:buFont typeface="Arial" panose="020B0604020202020204" pitchFamily="34" charset="0"/>
              <a:buChar char="•"/>
            </a:pPr>
            <a:endParaRPr lang="en-US" sz="1200" dirty="0" smtClean="0"/>
          </a:p>
          <a:p>
            <a:pPr marL="171450" indent="-171450">
              <a:buFont typeface="Arial" panose="020B0604020202020204" pitchFamily="34" charset="0"/>
              <a:buChar char="•"/>
            </a:pPr>
            <a:r>
              <a:rPr lang="en-US" sz="1200" dirty="0" smtClean="0"/>
              <a:t>The objective of the Digital Maturity Assessment is to obtain a diagnosis of how well positioned </a:t>
            </a:r>
            <a:r>
              <a:rPr lang="en-US" sz="1200" dirty="0" err="1" smtClean="0"/>
              <a:t>FBNQuest</a:t>
            </a:r>
            <a:r>
              <a:rPr lang="en-US" sz="1200" dirty="0" smtClean="0"/>
              <a:t> is to successfully navigate digital transformation journey and identify existing gaps by benchmarking its capabilities against those of its peers and global players in similar lines of business.</a:t>
            </a:r>
          </a:p>
        </p:txBody>
      </p:sp>
    </p:spTree>
    <p:extLst>
      <p:ext uri="{BB962C8B-B14F-4D97-AF65-F5344CB8AC3E}">
        <p14:creationId xmlns:p14="http://schemas.microsoft.com/office/powerpoint/2010/main" val="18804938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Background</a:t>
            </a:r>
            <a:endParaRPr lang="en-US" sz="4400" b="0" kern="1200" dirty="0">
              <a:latin typeface="KPMG Extralight" panose="020B0303030202040204" pitchFamily="34" charset="0"/>
              <a:cs typeface="+mj-cs"/>
            </a:endParaRPr>
          </a:p>
        </p:txBody>
      </p:sp>
      <p:sp>
        <p:nvSpPr>
          <p:cNvPr id="170" name="Rectangle 169"/>
          <p:cNvSpPr/>
          <p:nvPr/>
        </p:nvSpPr>
        <p:spPr>
          <a:xfrm>
            <a:off x="86590" y="602065"/>
            <a:ext cx="4080424" cy="211083"/>
          </a:xfrm>
          <a:prstGeom prst="rect">
            <a:avLst/>
          </a:prstGeom>
        </p:spPr>
        <p:txBody>
          <a:bodyPr wrap="square">
            <a:spAutoFit/>
          </a:bodyPr>
          <a:lstStyle/>
          <a:p>
            <a:pPr>
              <a:lnSpc>
                <a:spcPct val="70000"/>
              </a:lnSpc>
            </a:pPr>
            <a:r>
              <a:rPr lang="en-US" sz="1050" b="1" dirty="0" smtClean="0">
                <a:solidFill>
                  <a:srgbClr val="005EB8">
                    <a:lumMod val="75000"/>
                  </a:srgbClr>
                </a:solidFill>
              </a:rPr>
              <a:t>Digital Maturity Assessment Approach</a:t>
            </a:r>
            <a:endParaRPr lang="en-US" sz="1050" b="1" dirty="0">
              <a:solidFill>
                <a:srgbClr val="005EB8">
                  <a:lumMod val="75000"/>
                </a:srgbClr>
              </a:solidFill>
            </a:endParaRPr>
          </a:p>
        </p:txBody>
      </p:sp>
      <p:sp>
        <p:nvSpPr>
          <p:cNvPr id="4" name="Rectangle 3"/>
          <p:cNvSpPr/>
          <p:nvPr/>
        </p:nvSpPr>
        <p:spPr>
          <a:xfrm>
            <a:off x="153265" y="1285875"/>
            <a:ext cx="11876810" cy="5095875"/>
          </a:xfrm>
          <a:prstGeom prst="rect">
            <a:avLst/>
          </a:prstGeom>
          <a:solidFill>
            <a:srgbClr val="2D549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a:solidFill>
                <a:srgbClr val="FFFFFF"/>
              </a:solidFill>
            </a:endParaRPr>
          </a:p>
        </p:txBody>
      </p:sp>
      <p:sp>
        <p:nvSpPr>
          <p:cNvPr id="8" name="Rectangle 7"/>
          <p:cNvSpPr/>
          <p:nvPr/>
        </p:nvSpPr>
        <p:spPr>
          <a:xfrm>
            <a:off x="1136093" y="1457528"/>
            <a:ext cx="2285495" cy="954107"/>
          </a:xfrm>
          <a:prstGeom prst="rect">
            <a:avLst/>
          </a:prstGeom>
        </p:spPr>
        <p:txBody>
          <a:bodyPr wrap="square">
            <a:spAutoFit/>
          </a:bodyPr>
          <a:lstStyle/>
          <a:p>
            <a:r>
              <a:rPr lang="en-AU" sz="1400" dirty="0">
                <a:solidFill>
                  <a:srgbClr val="FFFFFF"/>
                </a:solidFill>
              </a:rPr>
              <a:t>R</a:t>
            </a:r>
            <a:r>
              <a:rPr lang="en-AU" sz="1400" dirty="0" smtClean="0">
                <a:solidFill>
                  <a:srgbClr val="FFFFFF"/>
                </a:solidFill>
              </a:rPr>
              <a:t>elevant domains and sub-domains were identified for the Digital Maturity Assessment</a:t>
            </a:r>
            <a:endParaRPr lang="en-AU" sz="1400" dirty="0">
              <a:solidFill>
                <a:srgbClr val="FFFFFF"/>
              </a:solidFill>
            </a:endParaRPr>
          </a:p>
        </p:txBody>
      </p:sp>
      <p:grpSp>
        <p:nvGrpSpPr>
          <p:cNvPr id="46" name="Group 45"/>
          <p:cNvGrpSpPr/>
          <p:nvPr/>
        </p:nvGrpSpPr>
        <p:grpSpPr>
          <a:xfrm>
            <a:off x="3565400" y="1542217"/>
            <a:ext cx="1047575" cy="467832"/>
            <a:chOff x="3470150" y="1542217"/>
            <a:chExt cx="1047575" cy="467832"/>
          </a:xfrm>
        </p:grpSpPr>
        <p:sp>
          <p:nvSpPr>
            <p:cNvPr id="9" name="Isosceles Triangle 8"/>
            <p:cNvSpPr/>
            <p:nvPr/>
          </p:nvSpPr>
          <p:spPr>
            <a:xfrm rot="5400000">
              <a:off x="3394016" y="1634773"/>
              <a:ext cx="451410" cy="299141"/>
            </a:xfrm>
            <a:prstGeom prst="triangl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grpSp>
          <p:nvGrpSpPr>
            <p:cNvPr id="10" name="Group 9"/>
            <p:cNvGrpSpPr/>
            <p:nvPr/>
          </p:nvGrpSpPr>
          <p:grpSpPr>
            <a:xfrm>
              <a:off x="3881121" y="1542217"/>
              <a:ext cx="636604" cy="457200"/>
              <a:chOff x="465650" y="1194187"/>
              <a:chExt cx="636604" cy="457200"/>
            </a:xfrm>
          </p:grpSpPr>
          <p:sp>
            <p:nvSpPr>
              <p:cNvPr id="11" name="Oval 10"/>
              <p:cNvSpPr/>
              <p:nvPr/>
            </p:nvSpPr>
            <p:spPr>
              <a:xfrm>
                <a:off x="465650" y="1194187"/>
                <a:ext cx="457200" cy="457200"/>
              </a:xfrm>
              <a:prstGeom prst="ellipse">
                <a:avLst/>
              </a:prstGeom>
              <a:solidFill>
                <a:srgbClr val="FFFFFF"/>
              </a:solidFill>
              <a:ln w="12700" cap="rnd" cmpd="sng" algn="ctr">
                <a:noFill/>
                <a:prstDash val="solid"/>
              </a:ln>
              <a:effectLst/>
            </p:spPr>
            <p:txBody>
              <a:bodyPr lIns="54610" tIns="54610" rIns="54610" bIns="54610" rtlCol="0" anchor="ctr"/>
              <a:lstStyle/>
              <a:p>
                <a:pPr defTabSz="914198">
                  <a:defRPr/>
                </a:pPr>
                <a:endParaRPr lang="en-GB" sz="1500" kern="0" dirty="0" smtClean="0">
                  <a:solidFill>
                    <a:prstClr val="white"/>
                  </a:solidFill>
                  <a:latin typeface="Arial"/>
                </a:endParaRPr>
              </a:p>
            </p:txBody>
          </p:sp>
          <p:sp>
            <p:nvSpPr>
              <p:cNvPr id="12" name="TextBox 11"/>
              <p:cNvSpPr txBox="1"/>
              <p:nvPr/>
            </p:nvSpPr>
            <p:spPr>
              <a:xfrm>
                <a:off x="628484" y="1263253"/>
                <a:ext cx="473770" cy="307777"/>
              </a:xfrm>
              <a:prstGeom prst="rect">
                <a:avLst/>
              </a:prstGeom>
              <a:noFill/>
            </p:spPr>
            <p:txBody>
              <a:bodyPr wrap="square" lIns="0" tIns="0" rIns="0" bIns="0" rtlCol="0">
                <a:spAutoFit/>
              </a:bodyPr>
              <a:lstStyle/>
              <a:p>
                <a:r>
                  <a:rPr lang="en-US" sz="2000" b="1" dirty="0">
                    <a:solidFill>
                      <a:srgbClr val="00468A"/>
                    </a:solidFill>
                    <a:cs typeface="Arial" pitchFamily="34" charset="0"/>
                  </a:rPr>
                  <a:t>2</a:t>
                </a:r>
                <a:endParaRPr lang="en-US" sz="2400" b="1" dirty="0" smtClean="0">
                  <a:solidFill>
                    <a:srgbClr val="00468A"/>
                  </a:solidFill>
                  <a:cs typeface="Arial" pitchFamily="34" charset="0"/>
                </a:endParaRPr>
              </a:p>
            </p:txBody>
          </p:sp>
        </p:grpSp>
      </p:grpSp>
      <p:sp>
        <p:nvSpPr>
          <p:cNvPr id="13" name="Oval 12"/>
          <p:cNvSpPr/>
          <p:nvPr/>
        </p:nvSpPr>
        <p:spPr>
          <a:xfrm>
            <a:off x="4030888" y="2897323"/>
            <a:ext cx="365760" cy="365760"/>
          </a:xfrm>
          <a:prstGeom prst="ellipse">
            <a:avLst/>
          </a:prstGeom>
          <a:solidFill>
            <a:srgbClr val="FFFFFF"/>
          </a:solidFill>
          <a:ln w="12700" cap="rnd" cmpd="sng" algn="ctr">
            <a:noFill/>
            <a:prstDash val="solid"/>
          </a:ln>
          <a:effectLst/>
        </p:spPr>
        <p:txBody>
          <a:bodyPr lIns="54610" tIns="54610" rIns="54610" bIns="54610" rtlCol="0" anchor="ctr"/>
          <a:lstStyle/>
          <a:p>
            <a:pPr defTabSz="914198">
              <a:defRPr/>
            </a:pPr>
            <a:r>
              <a:rPr lang="en-GB" sz="1500" b="1" kern="0" dirty="0" smtClean="0">
                <a:solidFill>
                  <a:srgbClr val="00468A"/>
                </a:solidFill>
              </a:rPr>
              <a:t>A</a:t>
            </a:r>
          </a:p>
        </p:txBody>
      </p:sp>
      <p:sp>
        <p:nvSpPr>
          <p:cNvPr id="15" name="Oval 14"/>
          <p:cNvSpPr/>
          <p:nvPr/>
        </p:nvSpPr>
        <p:spPr>
          <a:xfrm>
            <a:off x="4030888" y="4790279"/>
            <a:ext cx="365760" cy="365760"/>
          </a:xfrm>
          <a:prstGeom prst="ellipse">
            <a:avLst/>
          </a:prstGeom>
          <a:solidFill>
            <a:srgbClr val="FFFFFF"/>
          </a:solidFill>
          <a:ln w="12700" cap="rnd" cmpd="sng" algn="ctr">
            <a:noFill/>
            <a:prstDash val="solid"/>
          </a:ln>
          <a:effectLst/>
        </p:spPr>
        <p:txBody>
          <a:bodyPr lIns="54610" tIns="54610" rIns="54610" bIns="54610" rtlCol="0" anchor="ctr"/>
          <a:lstStyle/>
          <a:p>
            <a:pPr defTabSz="914198">
              <a:defRPr/>
            </a:pPr>
            <a:r>
              <a:rPr lang="en-GB" sz="1500" b="1" kern="0" dirty="0">
                <a:solidFill>
                  <a:srgbClr val="00468A"/>
                </a:solidFill>
              </a:rPr>
              <a:t>B</a:t>
            </a:r>
            <a:endParaRPr lang="en-GB" sz="1500" b="1" kern="0" dirty="0" smtClean="0">
              <a:solidFill>
                <a:srgbClr val="00468A"/>
              </a:solidFill>
            </a:endParaRPr>
          </a:p>
        </p:txBody>
      </p:sp>
      <p:sp>
        <p:nvSpPr>
          <p:cNvPr id="16" name="Rectangle 15"/>
          <p:cNvSpPr/>
          <p:nvPr/>
        </p:nvSpPr>
        <p:spPr>
          <a:xfrm>
            <a:off x="4507330" y="1442452"/>
            <a:ext cx="2807074" cy="1169551"/>
          </a:xfrm>
          <a:prstGeom prst="rect">
            <a:avLst/>
          </a:prstGeom>
        </p:spPr>
        <p:txBody>
          <a:bodyPr wrap="square">
            <a:spAutoFit/>
          </a:bodyPr>
          <a:lstStyle/>
          <a:p>
            <a:r>
              <a:rPr lang="en-AU" sz="1400" dirty="0" smtClean="0">
                <a:solidFill>
                  <a:srgbClr val="FFFFFF"/>
                </a:solidFill>
              </a:rPr>
              <a:t>For each domain and sub-domain, current state assessment and benchmarking were carried out utilising the following sources of information: </a:t>
            </a:r>
            <a:endParaRPr lang="en-AU" sz="1400" dirty="0">
              <a:solidFill>
                <a:srgbClr val="FFFFFF"/>
              </a:solidFill>
            </a:endParaRPr>
          </a:p>
        </p:txBody>
      </p:sp>
      <p:sp>
        <p:nvSpPr>
          <p:cNvPr id="17" name="Rectangle 16"/>
          <p:cNvSpPr/>
          <p:nvPr/>
        </p:nvSpPr>
        <p:spPr>
          <a:xfrm>
            <a:off x="4507330" y="2709054"/>
            <a:ext cx="3422732" cy="492443"/>
          </a:xfrm>
          <a:prstGeom prst="rect">
            <a:avLst/>
          </a:prstGeom>
        </p:spPr>
        <p:txBody>
          <a:bodyPr wrap="none">
            <a:spAutoFit/>
          </a:bodyPr>
          <a:lstStyle/>
          <a:p>
            <a:r>
              <a:rPr lang="en-AU" sz="1300" b="1" dirty="0" smtClean="0">
                <a:solidFill>
                  <a:schemeClr val="bg1"/>
                </a:solidFill>
              </a:rPr>
              <a:t>Digital Maturity Survey, Interviews </a:t>
            </a:r>
          </a:p>
          <a:p>
            <a:r>
              <a:rPr lang="en-AU" sz="1300" b="1" dirty="0" smtClean="0">
                <a:solidFill>
                  <a:schemeClr val="bg1"/>
                </a:solidFill>
              </a:rPr>
              <a:t>&amp; Current State Documentation Review</a:t>
            </a:r>
            <a:endParaRPr lang="en-AU" sz="1300" b="1" dirty="0">
              <a:solidFill>
                <a:schemeClr val="bg1"/>
              </a:solidFill>
            </a:endParaRPr>
          </a:p>
        </p:txBody>
      </p:sp>
      <p:sp>
        <p:nvSpPr>
          <p:cNvPr id="19" name="Rectangle 18"/>
          <p:cNvSpPr/>
          <p:nvPr/>
        </p:nvSpPr>
        <p:spPr>
          <a:xfrm>
            <a:off x="4507330" y="4680771"/>
            <a:ext cx="2531078" cy="292388"/>
          </a:xfrm>
          <a:prstGeom prst="rect">
            <a:avLst/>
          </a:prstGeom>
        </p:spPr>
        <p:txBody>
          <a:bodyPr wrap="none">
            <a:spAutoFit/>
          </a:bodyPr>
          <a:lstStyle/>
          <a:p>
            <a:r>
              <a:rPr lang="en-AU" sz="1300" b="1" dirty="0">
                <a:solidFill>
                  <a:schemeClr val="bg1"/>
                </a:solidFill>
                <a:latin typeface="+mj-lt"/>
              </a:rPr>
              <a:t>Relative </a:t>
            </a:r>
            <a:r>
              <a:rPr lang="en-AU" sz="1300" b="1" dirty="0" smtClean="0">
                <a:solidFill>
                  <a:schemeClr val="bg1"/>
                </a:solidFill>
                <a:latin typeface="+mj-lt"/>
              </a:rPr>
              <a:t>Industry Comparison</a:t>
            </a:r>
          </a:p>
        </p:txBody>
      </p:sp>
      <p:grpSp>
        <p:nvGrpSpPr>
          <p:cNvPr id="49" name="Group 48"/>
          <p:cNvGrpSpPr/>
          <p:nvPr/>
        </p:nvGrpSpPr>
        <p:grpSpPr>
          <a:xfrm>
            <a:off x="7866394" y="1542217"/>
            <a:ext cx="883322" cy="467832"/>
            <a:chOff x="7866394" y="1542217"/>
            <a:chExt cx="883322" cy="467832"/>
          </a:xfrm>
        </p:grpSpPr>
        <p:sp>
          <p:nvSpPr>
            <p:cNvPr id="20" name="Isosceles Triangle 19"/>
            <p:cNvSpPr/>
            <p:nvPr/>
          </p:nvSpPr>
          <p:spPr>
            <a:xfrm rot="5400000">
              <a:off x="7790260" y="1634773"/>
              <a:ext cx="451410" cy="299141"/>
            </a:xfrm>
            <a:prstGeom prst="triangl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grpSp>
          <p:nvGrpSpPr>
            <p:cNvPr id="21" name="Group 20"/>
            <p:cNvGrpSpPr/>
            <p:nvPr/>
          </p:nvGrpSpPr>
          <p:grpSpPr>
            <a:xfrm>
              <a:off x="8275946" y="1542217"/>
              <a:ext cx="473770" cy="457200"/>
              <a:chOff x="451913" y="1125947"/>
              <a:chExt cx="473770" cy="457200"/>
            </a:xfrm>
          </p:grpSpPr>
          <p:sp>
            <p:nvSpPr>
              <p:cNvPr id="22" name="Oval 21"/>
              <p:cNvSpPr/>
              <p:nvPr/>
            </p:nvSpPr>
            <p:spPr>
              <a:xfrm>
                <a:off x="465650" y="1125947"/>
                <a:ext cx="457200" cy="457200"/>
              </a:xfrm>
              <a:prstGeom prst="ellipse">
                <a:avLst/>
              </a:prstGeom>
              <a:solidFill>
                <a:srgbClr val="FFFFFF"/>
              </a:solidFill>
              <a:ln w="12700" cap="rnd" cmpd="sng" algn="ctr">
                <a:noFill/>
                <a:prstDash val="solid"/>
              </a:ln>
              <a:effectLst/>
            </p:spPr>
            <p:txBody>
              <a:bodyPr lIns="54610" tIns="54610" rIns="54610" bIns="54610" rtlCol="0" anchor="ctr"/>
              <a:lstStyle/>
              <a:p>
                <a:pPr defTabSz="914198">
                  <a:defRPr/>
                </a:pPr>
                <a:endParaRPr lang="en-GB" sz="1500" kern="0" dirty="0" smtClean="0">
                  <a:solidFill>
                    <a:prstClr val="white"/>
                  </a:solidFill>
                  <a:latin typeface="Arial"/>
                </a:endParaRPr>
              </a:p>
            </p:txBody>
          </p:sp>
          <p:sp>
            <p:nvSpPr>
              <p:cNvPr id="23" name="TextBox 22"/>
              <p:cNvSpPr txBox="1"/>
              <p:nvPr/>
            </p:nvSpPr>
            <p:spPr>
              <a:xfrm>
                <a:off x="451913" y="1203333"/>
                <a:ext cx="473770" cy="307777"/>
              </a:xfrm>
              <a:prstGeom prst="rect">
                <a:avLst/>
              </a:prstGeom>
              <a:noFill/>
            </p:spPr>
            <p:txBody>
              <a:bodyPr wrap="square" lIns="0" tIns="0" rIns="0" bIns="0" rtlCol="0">
                <a:spAutoFit/>
              </a:bodyPr>
              <a:lstStyle/>
              <a:p>
                <a:pPr algn="ctr"/>
                <a:r>
                  <a:rPr lang="en-US" sz="2000" b="1" dirty="0" smtClean="0">
                    <a:solidFill>
                      <a:srgbClr val="00468A"/>
                    </a:solidFill>
                    <a:cs typeface="Arial" pitchFamily="34" charset="0"/>
                  </a:rPr>
                  <a:t>3</a:t>
                </a:r>
              </a:p>
            </p:txBody>
          </p:sp>
        </p:grpSp>
      </p:grpSp>
      <p:sp>
        <p:nvSpPr>
          <p:cNvPr id="24" name="Rectangle 23"/>
          <p:cNvSpPr/>
          <p:nvPr/>
        </p:nvSpPr>
        <p:spPr>
          <a:xfrm>
            <a:off x="8956708" y="1457528"/>
            <a:ext cx="2807074" cy="954107"/>
          </a:xfrm>
          <a:prstGeom prst="rect">
            <a:avLst/>
          </a:prstGeom>
        </p:spPr>
        <p:txBody>
          <a:bodyPr wrap="square">
            <a:spAutoFit/>
          </a:bodyPr>
          <a:lstStyle/>
          <a:p>
            <a:r>
              <a:rPr lang="en-US" sz="1400" dirty="0" smtClean="0">
                <a:solidFill>
                  <a:srgbClr val="FFFFFF"/>
                </a:solidFill>
              </a:rPr>
              <a:t>Calibrate </a:t>
            </a:r>
            <a:r>
              <a:rPr lang="en-US" sz="1400" dirty="0" err="1" smtClean="0">
                <a:solidFill>
                  <a:srgbClr val="FFFFFF"/>
                </a:solidFill>
              </a:rPr>
              <a:t>FBNQuest’s</a:t>
            </a:r>
            <a:r>
              <a:rPr lang="en-US" sz="1400" dirty="0">
                <a:solidFill>
                  <a:srgbClr val="FFFFFF"/>
                </a:solidFill>
              </a:rPr>
              <a:t> </a:t>
            </a:r>
            <a:r>
              <a:rPr lang="en-US" sz="1400" dirty="0" smtClean="0">
                <a:solidFill>
                  <a:srgbClr val="FFFFFF"/>
                </a:solidFill>
              </a:rPr>
              <a:t>current maturity </a:t>
            </a:r>
            <a:r>
              <a:rPr lang="en-US" sz="1400" dirty="0">
                <a:solidFill>
                  <a:srgbClr val="FFFFFF"/>
                </a:solidFill>
              </a:rPr>
              <a:t>relative to </a:t>
            </a:r>
            <a:r>
              <a:rPr lang="en-US" sz="1400" dirty="0" smtClean="0">
                <a:solidFill>
                  <a:srgbClr val="FFFFFF"/>
                </a:solidFill>
              </a:rPr>
              <a:t>local &amp; global benchmarks and the aspiration state</a:t>
            </a:r>
            <a:endParaRPr lang="en-US" sz="1400" dirty="0">
              <a:solidFill>
                <a:srgbClr val="FFFFFF"/>
              </a:solidFill>
            </a:endParaRPr>
          </a:p>
        </p:txBody>
      </p:sp>
      <p:sp>
        <p:nvSpPr>
          <p:cNvPr id="25" name="Rectangle 24"/>
          <p:cNvSpPr/>
          <p:nvPr/>
        </p:nvSpPr>
        <p:spPr>
          <a:xfrm>
            <a:off x="4507330" y="3164583"/>
            <a:ext cx="3305839" cy="1384995"/>
          </a:xfrm>
          <a:prstGeom prst="rect">
            <a:avLst/>
          </a:prstGeom>
        </p:spPr>
        <p:txBody>
          <a:bodyPr wrap="square">
            <a:spAutoFit/>
          </a:bodyPr>
          <a:lstStyle/>
          <a:p>
            <a:r>
              <a:rPr lang="en-US" sz="1200" dirty="0" smtClean="0">
                <a:solidFill>
                  <a:srgbClr val="FFFFFF"/>
                </a:solidFill>
              </a:rPr>
              <a:t>Digital </a:t>
            </a:r>
            <a:r>
              <a:rPr lang="en-US" sz="1200" dirty="0">
                <a:solidFill>
                  <a:srgbClr val="FFFFFF"/>
                </a:solidFill>
              </a:rPr>
              <a:t>maturity assessment </a:t>
            </a:r>
            <a:r>
              <a:rPr lang="en-US" sz="1200" dirty="0" smtClean="0">
                <a:solidFill>
                  <a:srgbClr val="FFFFFF"/>
                </a:solidFill>
              </a:rPr>
              <a:t>surveys were deployed, current-state documents were reviewed and relevant stakeholders were interviewed across </a:t>
            </a:r>
            <a:r>
              <a:rPr lang="en-US" sz="1200" dirty="0" err="1" smtClean="0">
                <a:solidFill>
                  <a:srgbClr val="FFFFFF"/>
                </a:solidFill>
              </a:rPr>
              <a:t>FBNQuest</a:t>
            </a:r>
            <a:r>
              <a:rPr lang="en-US" sz="1200" dirty="0" smtClean="0">
                <a:solidFill>
                  <a:srgbClr val="FFFFFF"/>
                </a:solidFill>
              </a:rPr>
              <a:t> business entities and enabling functions to </a:t>
            </a:r>
            <a:r>
              <a:rPr lang="en-US" sz="1200" dirty="0">
                <a:solidFill>
                  <a:srgbClr val="FFFFFF"/>
                </a:solidFill>
              </a:rPr>
              <a:t>elicit feedback on </a:t>
            </a:r>
            <a:r>
              <a:rPr lang="en-US" sz="1200" dirty="0" smtClean="0">
                <a:solidFill>
                  <a:srgbClr val="FFFFFF"/>
                </a:solidFill>
              </a:rPr>
              <a:t>the current </a:t>
            </a:r>
            <a:r>
              <a:rPr lang="en-US" sz="1200" dirty="0">
                <a:solidFill>
                  <a:srgbClr val="FFFFFF"/>
                </a:solidFill>
              </a:rPr>
              <a:t>state </a:t>
            </a:r>
            <a:r>
              <a:rPr lang="en-US" sz="1200" dirty="0" smtClean="0">
                <a:solidFill>
                  <a:srgbClr val="FFFFFF"/>
                </a:solidFill>
              </a:rPr>
              <a:t>with respect to the digital journey.</a:t>
            </a:r>
            <a:endParaRPr lang="en-US" sz="1200" dirty="0">
              <a:solidFill>
                <a:srgbClr val="FFFFFF"/>
              </a:solidFill>
            </a:endParaRPr>
          </a:p>
        </p:txBody>
      </p:sp>
      <p:sp>
        <p:nvSpPr>
          <p:cNvPr id="26" name="Rectangle 25"/>
          <p:cNvSpPr/>
          <p:nvPr/>
        </p:nvSpPr>
        <p:spPr>
          <a:xfrm>
            <a:off x="8889473" y="2461797"/>
            <a:ext cx="3044537" cy="2429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27" name="Shape 1186"/>
          <p:cNvSpPr/>
          <p:nvPr/>
        </p:nvSpPr>
        <p:spPr>
          <a:xfrm>
            <a:off x="9006452" y="2567682"/>
            <a:ext cx="2784223" cy="2204168"/>
          </a:xfrm>
          <a:prstGeom prst="rect">
            <a:avLst/>
          </a:prstGeom>
          <a:no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endParaRPr lang="en-AU" sz="800" dirty="0">
              <a:latin typeface="+mj-lt"/>
              <a:ea typeface="Arial Narrow"/>
              <a:cs typeface="Arial Narrow"/>
              <a:sym typeface="Arial Narrow"/>
            </a:endParaRPr>
          </a:p>
        </p:txBody>
      </p:sp>
      <p:grpSp>
        <p:nvGrpSpPr>
          <p:cNvPr id="28" name="Group 27"/>
          <p:cNvGrpSpPr/>
          <p:nvPr/>
        </p:nvGrpSpPr>
        <p:grpSpPr>
          <a:xfrm>
            <a:off x="9127233" y="2937112"/>
            <a:ext cx="892812" cy="1628497"/>
            <a:chOff x="9850795" y="4126374"/>
            <a:chExt cx="708599" cy="1395666"/>
          </a:xfrm>
        </p:grpSpPr>
        <p:sp>
          <p:nvSpPr>
            <p:cNvPr id="29" name="Shape 1182"/>
            <p:cNvSpPr/>
            <p:nvPr/>
          </p:nvSpPr>
          <p:spPr>
            <a:xfrm>
              <a:off x="9850795" y="4126374"/>
              <a:ext cx="708599" cy="223254"/>
            </a:xfrm>
            <a:prstGeom prst="rect">
              <a:avLst/>
            </a:prstGeom>
            <a:solidFill>
              <a:srgbClr val="EA9999"/>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a:latin typeface="+mj-lt"/>
                  <a:ea typeface="Arial Narrow"/>
                  <a:cs typeface="Arial Narrow"/>
                  <a:sym typeface="Arial Narrow"/>
                </a:rPr>
                <a:t>Lagging</a:t>
              </a:r>
            </a:p>
          </p:txBody>
        </p:sp>
        <p:sp>
          <p:nvSpPr>
            <p:cNvPr id="30" name="Shape 1183"/>
            <p:cNvSpPr/>
            <p:nvPr/>
          </p:nvSpPr>
          <p:spPr>
            <a:xfrm>
              <a:off x="9850795" y="4419477"/>
              <a:ext cx="708599" cy="223254"/>
            </a:xfrm>
            <a:prstGeom prst="rect">
              <a:avLst/>
            </a:prstGeom>
            <a:solidFill>
              <a:srgbClr val="FFE599"/>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dirty="0">
                  <a:latin typeface="+mj-lt"/>
                  <a:ea typeface="Arial Narrow"/>
                  <a:cs typeface="Arial Narrow"/>
                  <a:sym typeface="Arial Narrow"/>
                </a:rPr>
                <a:t>Basic</a:t>
              </a:r>
            </a:p>
          </p:txBody>
        </p:sp>
        <p:sp>
          <p:nvSpPr>
            <p:cNvPr id="31" name="Shape 1184"/>
            <p:cNvSpPr/>
            <p:nvPr/>
          </p:nvSpPr>
          <p:spPr>
            <a:xfrm>
              <a:off x="9850795" y="4712580"/>
              <a:ext cx="708599" cy="223254"/>
            </a:xfrm>
            <a:prstGeom prst="rect">
              <a:avLst/>
            </a:prstGeom>
            <a:solidFill>
              <a:srgbClr val="C6DFBB"/>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dirty="0" smtClean="0">
                  <a:latin typeface="+mj-lt"/>
                  <a:ea typeface="Arial Narrow"/>
                  <a:cs typeface="Arial Narrow"/>
                  <a:sym typeface="Arial Narrow"/>
                </a:rPr>
                <a:t>Progressed</a:t>
              </a:r>
              <a:endParaRPr lang="en-AU" sz="800" dirty="0">
                <a:latin typeface="+mj-lt"/>
                <a:ea typeface="Arial Narrow"/>
                <a:cs typeface="Arial Narrow"/>
                <a:sym typeface="Arial Narrow"/>
              </a:endParaRPr>
            </a:p>
          </p:txBody>
        </p:sp>
        <p:sp>
          <p:nvSpPr>
            <p:cNvPr id="32" name="Shape 1185"/>
            <p:cNvSpPr/>
            <p:nvPr/>
          </p:nvSpPr>
          <p:spPr>
            <a:xfrm>
              <a:off x="9850795" y="5298786"/>
              <a:ext cx="708599" cy="223254"/>
            </a:xfrm>
            <a:prstGeom prst="rect">
              <a:avLst/>
            </a:prstGeom>
            <a:solidFill>
              <a:srgbClr val="00B0F0"/>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dirty="0">
                  <a:solidFill>
                    <a:schemeClr val="bg1"/>
                  </a:solidFill>
                  <a:latin typeface="+mj-lt"/>
                  <a:ea typeface="Arial Narrow"/>
                  <a:cs typeface="Arial Narrow"/>
                  <a:sym typeface="Arial Narrow"/>
                </a:rPr>
                <a:t>Innovating</a:t>
              </a:r>
            </a:p>
          </p:txBody>
        </p:sp>
        <p:sp>
          <p:nvSpPr>
            <p:cNvPr id="33" name="Shape 1183"/>
            <p:cNvSpPr/>
            <p:nvPr/>
          </p:nvSpPr>
          <p:spPr>
            <a:xfrm>
              <a:off x="9850795" y="5005683"/>
              <a:ext cx="708599" cy="223254"/>
            </a:xfrm>
            <a:prstGeom prst="rect">
              <a:avLst/>
            </a:prstGeom>
            <a:solidFill>
              <a:srgbClr val="00B050"/>
            </a:solidFill>
            <a:ln w="9525" cap="flat" cmpd="sng">
              <a:solidFill>
                <a:srgbClr val="D8D8D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en-AU" sz="800" dirty="0" smtClean="0">
                  <a:solidFill>
                    <a:schemeClr val="bg1"/>
                  </a:solidFill>
                  <a:latin typeface="+mj-lt"/>
                  <a:ea typeface="Arial Narrow"/>
                  <a:cs typeface="Arial Narrow"/>
                  <a:sym typeface="Arial Narrow"/>
                </a:rPr>
                <a:t>Leading</a:t>
              </a:r>
              <a:endParaRPr lang="en-AU" sz="800" dirty="0">
                <a:solidFill>
                  <a:schemeClr val="bg1"/>
                </a:solidFill>
                <a:latin typeface="+mj-lt"/>
                <a:ea typeface="Arial Narrow"/>
                <a:cs typeface="Arial Narrow"/>
                <a:sym typeface="Arial Narrow"/>
              </a:endParaRPr>
            </a:p>
          </p:txBody>
        </p:sp>
      </p:grpSp>
      <p:sp>
        <p:nvSpPr>
          <p:cNvPr id="34" name="TextBox 33"/>
          <p:cNvSpPr txBox="1"/>
          <p:nvPr/>
        </p:nvSpPr>
        <p:spPr>
          <a:xfrm>
            <a:off x="9094741" y="2752124"/>
            <a:ext cx="925303" cy="138722"/>
          </a:xfrm>
          <a:prstGeom prst="rect">
            <a:avLst/>
          </a:prstGeom>
          <a:noFill/>
          <a:ln>
            <a:noFill/>
          </a:ln>
        </p:spPr>
        <p:txBody>
          <a:bodyPr wrap="square" lIns="36000" tIns="36000" rIns="36000" bIns="36000" rtlCol="0" anchor="ctr" anchorCtr="0">
            <a:noAutofit/>
          </a:bodyPr>
          <a:lstStyle/>
          <a:p>
            <a:pPr algn="ctr"/>
            <a:r>
              <a:rPr lang="en-AU" sz="800" b="1" dirty="0" smtClean="0">
                <a:latin typeface="+mj-lt"/>
              </a:rPr>
              <a:t>Maturity Rating</a:t>
            </a:r>
            <a:endParaRPr lang="en-AU" sz="800" b="1" dirty="0">
              <a:latin typeface="+mj-lt"/>
            </a:endParaRPr>
          </a:p>
        </p:txBody>
      </p:sp>
      <p:grpSp>
        <p:nvGrpSpPr>
          <p:cNvPr id="35" name="Group 34"/>
          <p:cNvGrpSpPr/>
          <p:nvPr/>
        </p:nvGrpSpPr>
        <p:grpSpPr>
          <a:xfrm>
            <a:off x="10020050" y="2946532"/>
            <a:ext cx="1887072" cy="1586115"/>
            <a:chOff x="9850795" y="4083842"/>
            <a:chExt cx="755198" cy="1586115"/>
          </a:xfrm>
          <a:noFill/>
        </p:grpSpPr>
        <p:sp>
          <p:nvSpPr>
            <p:cNvPr id="36" name="Shape 1182"/>
            <p:cNvSpPr/>
            <p:nvPr/>
          </p:nvSpPr>
          <p:spPr>
            <a:xfrm>
              <a:off x="9850795" y="4083842"/>
              <a:ext cx="708599" cy="223254"/>
            </a:xfrm>
            <a:prstGeom prst="rect">
              <a:avLst/>
            </a:prstGeom>
            <a:grpFill/>
            <a:ln w="9525" cap="flat" cmpd="sng">
              <a:noFill/>
              <a:prstDash val="solid"/>
              <a:round/>
              <a:headEnd type="none" w="med" len="med"/>
              <a:tailEnd type="none" w="med" len="med"/>
            </a:ln>
          </p:spPr>
          <p:txBody>
            <a:bodyPr lIns="91425" tIns="45700" rIns="91425" bIns="45700" anchor="ctr" anchorCtr="0">
              <a:noAutofit/>
            </a:bodyPr>
            <a:lstStyle/>
            <a:p>
              <a:pPr lvl="0">
                <a:buSzPct val="25000"/>
              </a:pPr>
              <a:r>
                <a:rPr lang="en-AU" sz="800" dirty="0">
                  <a:latin typeface="+mj-lt"/>
                  <a:ea typeface="Arial Narrow"/>
                  <a:cs typeface="Arial Narrow"/>
                  <a:sym typeface="Arial Narrow"/>
                </a:rPr>
                <a:t>Behind the industry</a:t>
              </a:r>
            </a:p>
          </p:txBody>
        </p:sp>
        <p:sp>
          <p:nvSpPr>
            <p:cNvPr id="37" name="Shape 1183"/>
            <p:cNvSpPr/>
            <p:nvPr/>
          </p:nvSpPr>
          <p:spPr>
            <a:xfrm>
              <a:off x="9850795" y="4430110"/>
              <a:ext cx="708599" cy="223254"/>
            </a:xfrm>
            <a:prstGeom prst="rect">
              <a:avLst/>
            </a:prstGeom>
            <a:grpFill/>
            <a:ln w="9525" cap="flat" cmpd="sng">
              <a:noFill/>
              <a:prstDash val="solid"/>
              <a:round/>
              <a:headEnd type="none" w="med" len="med"/>
              <a:tailEnd type="none" w="med" len="med"/>
            </a:ln>
          </p:spPr>
          <p:txBody>
            <a:bodyPr lIns="91425" tIns="45700" rIns="91425" bIns="45700" anchor="ctr" anchorCtr="0">
              <a:noAutofit/>
            </a:bodyPr>
            <a:lstStyle/>
            <a:p>
              <a:pPr lvl="0">
                <a:buSzPct val="25000"/>
              </a:pPr>
              <a:r>
                <a:rPr lang="en-AU" sz="800" dirty="0">
                  <a:latin typeface="+mj-lt"/>
                  <a:ea typeface="Arial Narrow"/>
                  <a:cs typeface="Arial Narrow"/>
                  <a:sym typeface="Arial Narrow"/>
                </a:rPr>
                <a:t>Fit for purpose </a:t>
              </a:r>
            </a:p>
          </p:txBody>
        </p:sp>
        <p:sp>
          <p:nvSpPr>
            <p:cNvPr id="38" name="Shape 1184"/>
            <p:cNvSpPr/>
            <p:nvPr/>
          </p:nvSpPr>
          <p:spPr>
            <a:xfrm>
              <a:off x="9850795" y="4787011"/>
              <a:ext cx="755198" cy="211903"/>
            </a:xfrm>
            <a:prstGeom prst="rect">
              <a:avLst/>
            </a:prstGeom>
            <a:grpFill/>
            <a:ln w="9525" cap="flat" cmpd="sng">
              <a:noFill/>
              <a:prstDash val="solid"/>
              <a:round/>
              <a:headEnd type="none" w="med" len="med"/>
              <a:tailEnd type="none" w="med" len="med"/>
            </a:ln>
          </p:spPr>
          <p:txBody>
            <a:bodyPr lIns="91425" tIns="45700" rIns="91425" bIns="45700" anchor="ctr" anchorCtr="0">
              <a:noAutofit/>
            </a:bodyPr>
            <a:lstStyle/>
            <a:p>
              <a:pPr lvl="0">
                <a:buSzPct val="25000"/>
              </a:pPr>
              <a:r>
                <a:rPr lang="en-AU" sz="800" dirty="0" smtClean="0">
                  <a:latin typeface="+mj-lt"/>
                  <a:ea typeface="Arial Narrow"/>
                  <a:cs typeface="Arial Narrow"/>
                  <a:sym typeface="Arial Narrow"/>
                </a:rPr>
                <a:t>Foundational </a:t>
              </a:r>
              <a:r>
                <a:rPr lang="en-AU" sz="800" dirty="0">
                  <a:latin typeface="+mj-lt"/>
                  <a:ea typeface="Arial Narrow"/>
                  <a:cs typeface="Arial Narrow"/>
                  <a:sym typeface="Arial Narrow"/>
                </a:rPr>
                <a:t>capability in place to </a:t>
              </a:r>
              <a:r>
                <a:rPr lang="en-AU" sz="800" dirty="0" smtClean="0">
                  <a:latin typeface="+mj-lt"/>
                  <a:ea typeface="Arial Narrow"/>
                  <a:cs typeface="Arial Narrow"/>
                  <a:sym typeface="Arial Narrow"/>
                </a:rPr>
                <a:t>enable progression to leading state</a:t>
              </a:r>
              <a:endParaRPr lang="en-AU" sz="800" dirty="0">
                <a:latin typeface="+mj-lt"/>
                <a:ea typeface="Arial Narrow"/>
                <a:cs typeface="Arial Narrow"/>
                <a:sym typeface="Arial Narrow"/>
              </a:endParaRPr>
            </a:p>
          </p:txBody>
        </p:sp>
        <p:sp>
          <p:nvSpPr>
            <p:cNvPr id="39" name="Shape 1185"/>
            <p:cNvSpPr/>
            <p:nvPr/>
          </p:nvSpPr>
          <p:spPr>
            <a:xfrm>
              <a:off x="9850795" y="5446703"/>
              <a:ext cx="708599" cy="223254"/>
            </a:xfrm>
            <a:prstGeom prst="rect">
              <a:avLst/>
            </a:prstGeom>
            <a:grpFill/>
            <a:ln w="9525" cap="flat" cmpd="sng">
              <a:noFill/>
              <a:prstDash val="solid"/>
              <a:round/>
              <a:headEnd type="none" w="med" len="med"/>
              <a:tailEnd type="none" w="med" len="med"/>
            </a:ln>
          </p:spPr>
          <p:txBody>
            <a:bodyPr lIns="91425" tIns="45700" rIns="91425" bIns="45700" anchor="ctr" anchorCtr="0">
              <a:noAutofit/>
            </a:bodyPr>
            <a:lstStyle/>
            <a:p>
              <a:pPr>
                <a:buSzPct val="25000"/>
              </a:pPr>
              <a:r>
                <a:rPr lang="en-AU" sz="800" dirty="0">
                  <a:latin typeface="+mj-lt"/>
                  <a:ea typeface="Arial Narrow"/>
                  <a:cs typeface="Arial Narrow"/>
                  <a:sym typeface="Arial Narrow"/>
                </a:rPr>
                <a:t>Leading the leaders, experimenting with emerging </a:t>
              </a:r>
              <a:r>
                <a:rPr lang="en-AU" sz="800" dirty="0" smtClean="0">
                  <a:latin typeface="+mj-lt"/>
                  <a:ea typeface="Arial Narrow"/>
                  <a:cs typeface="Arial Narrow"/>
                  <a:sym typeface="Arial Narrow"/>
                </a:rPr>
                <a:t>capability</a:t>
              </a:r>
              <a:endParaRPr lang="en-AU" sz="800" dirty="0">
                <a:latin typeface="+mj-lt"/>
                <a:ea typeface="Arial Narrow"/>
                <a:cs typeface="Arial Narrow"/>
                <a:sym typeface="Arial Narrow"/>
              </a:endParaRPr>
            </a:p>
          </p:txBody>
        </p:sp>
        <p:sp>
          <p:nvSpPr>
            <p:cNvPr id="40" name="Shape 1183"/>
            <p:cNvSpPr/>
            <p:nvPr/>
          </p:nvSpPr>
          <p:spPr>
            <a:xfrm>
              <a:off x="9850795" y="5107631"/>
              <a:ext cx="708599" cy="223254"/>
            </a:xfrm>
            <a:prstGeom prst="rect">
              <a:avLst/>
            </a:prstGeom>
            <a:grpFill/>
            <a:ln w="9525" cap="flat" cmpd="sng">
              <a:noFill/>
              <a:prstDash val="solid"/>
              <a:round/>
              <a:headEnd type="none" w="med" len="med"/>
              <a:tailEnd type="none" w="med" len="med"/>
            </a:ln>
          </p:spPr>
          <p:txBody>
            <a:bodyPr lIns="91425" tIns="45700" rIns="91425" bIns="45700" anchor="ctr" anchorCtr="0">
              <a:noAutofit/>
            </a:bodyPr>
            <a:lstStyle/>
            <a:p>
              <a:pPr lvl="0">
                <a:buSzPct val="25000"/>
              </a:pPr>
              <a:r>
                <a:rPr lang="en-AU" sz="800" dirty="0">
                  <a:latin typeface="+mj-lt"/>
                  <a:ea typeface="Arial Narrow"/>
                  <a:cs typeface="Arial Narrow"/>
                  <a:sym typeface="Arial Narrow"/>
                </a:rPr>
                <a:t>Aligned to leading industry players</a:t>
              </a:r>
            </a:p>
          </p:txBody>
        </p:sp>
      </p:grpSp>
      <p:sp>
        <p:nvSpPr>
          <p:cNvPr id="42" name="Rectangle 41"/>
          <p:cNvSpPr/>
          <p:nvPr/>
        </p:nvSpPr>
        <p:spPr>
          <a:xfrm>
            <a:off x="4507329" y="4937433"/>
            <a:ext cx="3520251" cy="1384995"/>
          </a:xfrm>
          <a:prstGeom prst="rect">
            <a:avLst/>
          </a:prstGeom>
        </p:spPr>
        <p:txBody>
          <a:bodyPr wrap="square">
            <a:spAutoFit/>
          </a:bodyPr>
          <a:lstStyle/>
          <a:p>
            <a:r>
              <a:rPr lang="en-US" sz="1200" dirty="0">
                <a:solidFill>
                  <a:srgbClr val="FFFFFF"/>
                </a:solidFill>
              </a:rPr>
              <a:t>Based </a:t>
            </a:r>
            <a:r>
              <a:rPr lang="en-US" sz="1200" dirty="0" smtClean="0">
                <a:solidFill>
                  <a:srgbClr val="FFFFFF"/>
                </a:solidFill>
              </a:rPr>
              <a:t>on external insights from research and industry-knowledge, </a:t>
            </a:r>
            <a:r>
              <a:rPr lang="en-US" sz="1200" dirty="0" err="1" smtClean="0">
                <a:solidFill>
                  <a:srgbClr val="FFFFFF"/>
                </a:solidFill>
              </a:rPr>
              <a:t>FBNQuest</a:t>
            </a:r>
            <a:r>
              <a:rPr lang="en-US" sz="1200" dirty="0" smtClean="0">
                <a:solidFill>
                  <a:srgbClr val="FFFFFF"/>
                </a:solidFill>
              </a:rPr>
              <a:t> was benchmarked against local peers and global leaders in its line of business. Consequently, the bank’s aspirational state was defined based on input from the benchmarking as well as the inferred target state per the DMA survey.</a:t>
            </a:r>
            <a:endParaRPr lang="en-US" sz="1200" dirty="0">
              <a:solidFill>
                <a:srgbClr val="FFFFFF"/>
              </a:solidFill>
            </a:endParaRPr>
          </a:p>
        </p:txBody>
      </p:sp>
      <p:sp>
        <p:nvSpPr>
          <p:cNvPr id="43" name="Rectangle 42"/>
          <p:cNvSpPr/>
          <p:nvPr/>
        </p:nvSpPr>
        <p:spPr>
          <a:xfrm>
            <a:off x="86590" y="845861"/>
            <a:ext cx="11362460" cy="307777"/>
          </a:xfrm>
          <a:prstGeom prst="rect">
            <a:avLst/>
          </a:prstGeom>
        </p:spPr>
        <p:txBody>
          <a:bodyPr wrap="square">
            <a:spAutoFit/>
          </a:bodyPr>
          <a:lstStyle/>
          <a:p>
            <a:pPr defTabSz="713603">
              <a:defRPr/>
            </a:pPr>
            <a:r>
              <a:rPr lang="en-US" sz="1400" dirty="0" smtClean="0">
                <a:solidFill>
                  <a:srgbClr val="00338D"/>
                </a:solidFill>
              </a:rPr>
              <a:t>The </a:t>
            </a:r>
            <a:r>
              <a:rPr lang="en-US" sz="1400" dirty="0">
                <a:solidFill>
                  <a:srgbClr val="00338D"/>
                </a:solidFill>
              </a:rPr>
              <a:t>digital maturity assessment </a:t>
            </a:r>
            <a:r>
              <a:rPr lang="en-US" sz="1400" dirty="0" smtClean="0">
                <a:solidFill>
                  <a:srgbClr val="00338D"/>
                </a:solidFill>
              </a:rPr>
              <a:t>(DMA) for </a:t>
            </a:r>
            <a:r>
              <a:rPr lang="en-US" sz="1400" dirty="0" err="1" smtClean="0">
                <a:solidFill>
                  <a:srgbClr val="00338D"/>
                </a:solidFill>
              </a:rPr>
              <a:t>FBNQuest</a:t>
            </a:r>
            <a:r>
              <a:rPr lang="en-US" sz="1400" dirty="0" smtClean="0">
                <a:solidFill>
                  <a:srgbClr val="00338D"/>
                </a:solidFill>
              </a:rPr>
              <a:t> Group covered six (6) domains and twenty-one (21) sub-domains, as follows:</a:t>
            </a:r>
          </a:p>
        </p:txBody>
      </p:sp>
      <p:grpSp>
        <p:nvGrpSpPr>
          <p:cNvPr id="45" name="Group 44"/>
          <p:cNvGrpSpPr/>
          <p:nvPr/>
        </p:nvGrpSpPr>
        <p:grpSpPr>
          <a:xfrm>
            <a:off x="205081" y="1542217"/>
            <a:ext cx="835779" cy="467833"/>
            <a:chOff x="205081" y="1542217"/>
            <a:chExt cx="835779" cy="467833"/>
          </a:xfrm>
        </p:grpSpPr>
        <p:grpSp>
          <p:nvGrpSpPr>
            <p:cNvPr id="5" name="Group 4"/>
            <p:cNvGrpSpPr/>
            <p:nvPr/>
          </p:nvGrpSpPr>
          <p:grpSpPr>
            <a:xfrm>
              <a:off x="564619" y="1542217"/>
              <a:ext cx="476241" cy="457200"/>
              <a:chOff x="487553" y="1180539"/>
              <a:chExt cx="476241" cy="457200"/>
            </a:xfrm>
          </p:grpSpPr>
          <p:sp>
            <p:nvSpPr>
              <p:cNvPr id="6" name="Oval 5"/>
              <p:cNvSpPr/>
              <p:nvPr/>
            </p:nvSpPr>
            <p:spPr>
              <a:xfrm>
                <a:off x="506594" y="1180539"/>
                <a:ext cx="457200" cy="457200"/>
              </a:xfrm>
              <a:prstGeom prst="ellipse">
                <a:avLst/>
              </a:prstGeom>
              <a:solidFill>
                <a:srgbClr val="FFFFFF"/>
              </a:solidFill>
              <a:ln w="12700" cap="rnd" cmpd="sng" algn="ctr">
                <a:noFill/>
                <a:prstDash val="solid"/>
              </a:ln>
              <a:effectLst/>
            </p:spPr>
            <p:txBody>
              <a:bodyPr lIns="54610" tIns="54610" rIns="54610" bIns="54610" rtlCol="0" anchor="ctr"/>
              <a:lstStyle/>
              <a:p>
                <a:pPr defTabSz="914198">
                  <a:defRPr/>
                </a:pPr>
                <a:endParaRPr lang="en-GB" sz="1500" kern="0" dirty="0" smtClean="0">
                  <a:solidFill>
                    <a:prstClr val="white"/>
                  </a:solidFill>
                  <a:latin typeface="Arial"/>
                </a:endParaRPr>
              </a:p>
            </p:txBody>
          </p:sp>
          <p:sp>
            <p:nvSpPr>
              <p:cNvPr id="7" name="TextBox 6"/>
              <p:cNvSpPr txBox="1"/>
              <p:nvPr/>
            </p:nvSpPr>
            <p:spPr>
              <a:xfrm>
                <a:off x="487553" y="1255250"/>
                <a:ext cx="473770" cy="307777"/>
              </a:xfrm>
              <a:prstGeom prst="rect">
                <a:avLst/>
              </a:prstGeom>
              <a:noFill/>
              <a:ln>
                <a:noFill/>
              </a:ln>
            </p:spPr>
            <p:txBody>
              <a:bodyPr wrap="square" lIns="0" tIns="0" rIns="0" bIns="0" rtlCol="0">
                <a:spAutoFit/>
              </a:bodyPr>
              <a:lstStyle/>
              <a:p>
                <a:pPr algn="ctr"/>
                <a:r>
                  <a:rPr lang="en-US" sz="2000" b="1" dirty="0" smtClean="0">
                    <a:solidFill>
                      <a:srgbClr val="00468A"/>
                    </a:solidFill>
                    <a:cs typeface="Arial" pitchFamily="34" charset="0"/>
                  </a:rPr>
                  <a:t>1</a:t>
                </a:r>
              </a:p>
            </p:txBody>
          </p:sp>
        </p:grpSp>
        <p:sp>
          <p:nvSpPr>
            <p:cNvPr id="48" name="Isosceles Triangle 47"/>
            <p:cNvSpPr/>
            <p:nvPr/>
          </p:nvSpPr>
          <p:spPr>
            <a:xfrm rot="5400000">
              <a:off x="128947" y="1634774"/>
              <a:ext cx="451410" cy="299141"/>
            </a:xfrm>
            <a:prstGeom prst="triangl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grpSp>
    </p:spTree>
    <p:extLst>
      <p:ext uri="{BB962C8B-B14F-4D97-AF65-F5344CB8AC3E}">
        <p14:creationId xmlns:p14="http://schemas.microsoft.com/office/powerpoint/2010/main" val="220708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Background</a:t>
            </a:r>
            <a:endParaRPr lang="en-US" sz="4400" b="0" kern="1200" dirty="0">
              <a:latin typeface="KPMG Extralight" panose="020B0303030202040204" pitchFamily="34" charset="0"/>
              <a:cs typeface="+mj-cs"/>
            </a:endParaRPr>
          </a:p>
        </p:txBody>
      </p:sp>
      <p:sp>
        <p:nvSpPr>
          <p:cNvPr id="170" name="Rectangle 169"/>
          <p:cNvSpPr/>
          <p:nvPr/>
        </p:nvSpPr>
        <p:spPr>
          <a:xfrm>
            <a:off x="86590" y="602065"/>
            <a:ext cx="4080424" cy="211083"/>
          </a:xfrm>
          <a:prstGeom prst="rect">
            <a:avLst/>
          </a:prstGeom>
        </p:spPr>
        <p:txBody>
          <a:bodyPr wrap="square">
            <a:spAutoFit/>
          </a:bodyPr>
          <a:lstStyle/>
          <a:p>
            <a:pPr>
              <a:lnSpc>
                <a:spcPct val="70000"/>
              </a:lnSpc>
            </a:pPr>
            <a:r>
              <a:rPr lang="en-US" sz="1050" b="1" dirty="0" smtClean="0">
                <a:solidFill>
                  <a:srgbClr val="005EB8">
                    <a:lumMod val="75000"/>
                  </a:srgbClr>
                </a:solidFill>
              </a:rPr>
              <a:t>Digital Maturity Assessment Scope</a:t>
            </a:r>
            <a:endParaRPr lang="en-US" sz="1050" b="1" dirty="0">
              <a:solidFill>
                <a:srgbClr val="005EB8">
                  <a:lumMod val="75000"/>
                </a:srgbClr>
              </a:solidFill>
            </a:endParaRPr>
          </a:p>
        </p:txBody>
      </p:sp>
      <p:grpSp>
        <p:nvGrpSpPr>
          <p:cNvPr id="28" name="Group 27"/>
          <p:cNvGrpSpPr/>
          <p:nvPr/>
        </p:nvGrpSpPr>
        <p:grpSpPr>
          <a:xfrm>
            <a:off x="906046" y="1496362"/>
            <a:ext cx="11003789" cy="4586884"/>
            <a:chOff x="809131" y="1617508"/>
            <a:chExt cx="10964735" cy="4510920"/>
          </a:xfrm>
        </p:grpSpPr>
        <p:sp>
          <p:nvSpPr>
            <p:cNvPr id="29" name="Rectangle 28"/>
            <p:cNvSpPr/>
            <p:nvPr/>
          </p:nvSpPr>
          <p:spPr>
            <a:xfrm>
              <a:off x="5132785" y="3630270"/>
              <a:ext cx="1156383" cy="529689"/>
            </a:xfrm>
            <a:prstGeom prst="rect">
              <a:avLst/>
            </a:prstGeom>
            <a:noFill/>
            <a:ln w="12700" cap="flat" cmpd="sng" algn="ctr">
              <a:noFill/>
              <a:prstDash val="solid"/>
              <a:miter lim="800000"/>
            </a:ln>
            <a:effectLst/>
          </p:spPr>
          <p:txBody>
            <a:bodyPr spcFirstLastPara="0" vert="horz" wrap="square" lIns="0" tIns="0" rIns="0" bIns="0" numCol="1" spcCol="1270" anchor="ctr" anchorCtr="0">
              <a:spAutoFit/>
            </a:bodyPr>
            <a:lstStyle/>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500" b="1" i="0" u="none" strike="noStrike" kern="0" cap="none" spc="0" normalizeH="0" baseline="0" noProof="0" dirty="0" smtClean="0">
                  <a:ln>
                    <a:noFill/>
                  </a:ln>
                  <a:solidFill>
                    <a:srgbClr val="00338D"/>
                  </a:solidFill>
                  <a:effectLst/>
                  <a:uLnTx/>
                  <a:uFillTx/>
                  <a:latin typeface="+mj-lt"/>
                  <a:ea typeface="+mn-ea"/>
                  <a:cs typeface="+mn-cs"/>
                </a:rPr>
                <a:t>Focus</a:t>
              </a:r>
            </a:p>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500" b="1" i="0" u="none" strike="noStrike" kern="0" cap="none" spc="0" normalizeH="0" baseline="0" noProof="0" dirty="0" smtClean="0">
                  <a:ln>
                    <a:noFill/>
                  </a:ln>
                  <a:solidFill>
                    <a:srgbClr val="00338D"/>
                  </a:solidFill>
                  <a:effectLst/>
                  <a:uLnTx/>
                  <a:uFillTx/>
                  <a:latin typeface="+mj-lt"/>
                  <a:ea typeface="+mn-ea"/>
                  <a:cs typeface="+mn-cs"/>
                </a:rPr>
                <a:t>Areas</a:t>
              </a:r>
            </a:p>
          </p:txBody>
        </p:sp>
        <p:sp>
          <p:nvSpPr>
            <p:cNvPr id="30" name="Freeform 5"/>
            <p:cNvSpPr>
              <a:spLocks/>
            </p:cNvSpPr>
            <p:nvPr/>
          </p:nvSpPr>
          <p:spPr bwMode="auto">
            <a:xfrm>
              <a:off x="3288993" y="3023184"/>
              <a:ext cx="1535862" cy="1709560"/>
            </a:xfrm>
            <a:custGeom>
              <a:avLst/>
              <a:gdLst>
                <a:gd name="T0" fmla="*/ 270 w 539"/>
                <a:gd name="T1" fmla="*/ 0 h 600"/>
                <a:gd name="T2" fmla="*/ 232 w 539"/>
                <a:gd name="T3" fmla="*/ 10 h 600"/>
                <a:gd name="T4" fmla="*/ 37 w 539"/>
                <a:gd name="T5" fmla="*/ 123 h 600"/>
                <a:gd name="T6" fmla="*/ 0 w 539"/>
                <a:gd name="T7" fmla="*/ 188 h 600"/>
                <a:gd name="T8" fmla="*/ 0 w 539"/>
                <a:gd name="T9" fmla="*/ 412 h 600"/>
                <a:gd name="T10" fmla="*/ 37 w 539"/>
                <a:gd name="T11" fmla="*/ 477 h 600"/>
                <a:gd name="T12" fmla="*/ 232 w 539"/>
                <a:gd name="T13" fmla="*/ 590 h 600"/>
                <a:gd name="T14" fmla="*/ 270 w 539"/>
                <a:gd name="T15" fmla="*/ 600 h 600"/>
                <a:gd name="T16" fmla="*/ 307 w 539"/>
                <a:gd name="T17" fmla="*/ 590 h 600"/>
                <a:gd name="T18" fmla="*/ 502 w 539"/>
                <a:gd name="T19" fmla="*/ 477 h 600"/>
                <a:gd name="T20" fmla="*/ 539 w 539"/>
                <a:gd name="T21" fmla="*/ 412 h 600"/>
                <a:gd name="T22" fmla="*/ 539 w 539"/>
                <a:gd name="T23" fmla="*/ 188 h 600"/>
                <a:gd name="T24" fmla="*/ 502 w 539"/>
                <a:gd name="T25" fmla="*/ 123 h 600"/>
                <a:gd name="T26" fmla="*/ 307 w 539"/>
                <a:gd name="T27" fmla="*/ 10 h 600"/>
                <a:gd name="T28" fmla="*/ 270 w 539"/>
                <a:gd name="T29"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9" h="600">
                  <a:moveTo>
                    <a:pt x="270" y="0"/>
                  </a:moveTo>
                  <a:cubicBezTo>
                    <a:pt x="257" y="0"/>
                    <a:pt x="244" y="4"/>
                    <a:pt x="232" y="10"/>
                  </a:cubicBezTo>
                  <a:cubicBezTo>
                    <a:pt x="37" y="123"/>
                    <a:pt x="37" y="123"/>
                    <a:pt x="37" y="123"/>
                  </a:cubicBezTo>
                  <a:cubicBezTo>
                    <a:pt x="14" y="136"/>
                    <a:pt x="0" y="161"/>
                    <a:pt x="0" y="188"/>
                  </a:cubicBezTo>
                  <a:cubicBezTo>
                    <a:pt x="0" y="412"/>
                    <a:pt x="0" y="412"/>
                    <a:pt x="0" y="412"/>
                  </a:cubicBezTo>
                  <a:cubicBezTo>
                    <a:pt x="0" y="439"/>
                    <a:pt x="14" y="464"/>
                    <a:pt x="37" y="477"/>
                  </a:cubicBezTo>
                  <a:cubicBezTo>
                    <a:pt x="232" y="590"/>
                    <a:pt x="232" y="590"/>
                    <a:pt x="232" y="590"/>
                  </a:cubicBezTo>
                  <a:cubicBezTo>
                    <a:pt x="244" y="596"/>
                    <a:pt x="257" y="600"/>
                    <a:pt x="270" y="600"/>
                  </a:cubicBezTo>
                  <a:cubicBezTo>
                    <a:pt x="283" y="600"/>
                    <a:pt x="296" y="596"/>
                    <a:pt x="307" y="590"/>
                  </a:cubicBezTo>
                  <a:cubicBezTo>
                    <a:pt x="502" y="477"/>
                    <a:pt x="502" y="477"/>
                    <a:pt x="502" y="477"/>
                  </a:cubicBezTo>
                  <a:cubicBezTo>
                    <a:pt x="525" y="464"/>
                    <a:pt x="539" y="439"/>
                    <a:pt x="539" y="412"/>
                  </a:cubicBezTo>
                  <a:cubicBezTo>
                    <a:pt x="539" y="188"/>
                    <a:pt x="539" y="188"/>
                    <a:pt x="539" y="188"/>
                  </a:cubicBezTo>
                  <a:cubicBezTo>
                    <a:pt x="539" y="161"/>
                    <a:pt x="525" y="136"/>
                    <a:pt x="502" y="123"/>
                  </a:cubicBezTo>
                  <a:cubicBezTo>
                    <a:pt x="307" y="10"/>
                    <a:pt x="307" y="10"/>
                    <a:pt x="307" y="10"/>
                  </a:cubicBezTo>
                  <a:cubicBezTo>
                    <a:pt x="296" y="4"/>
                    <a:pt x="283" y="0"/>
                    <a:pt x="270" y="0"/>
                  </a:cubicBezTo>
                </a:path>
              </a:pathLst>
            </a:custGeom>
            <a:solidFill>
              <a:srgbClr val="00A3A1"/>
            </a:solidFill>
            <a:ln>
              <a:noFill/>
            </a:ln>
            <a:extLst/>
          </p:spPr>
          <p:txBody>
            <a:bodyPr vert="horz" wrap="square" lIns="91440" tIns="45720" rIns="274320" bIns="45720" numCol="1" anchor="ctr" anchorCtr="0" compatLnSpc="1">
              <a:prstTxWarp prst="textNoShape">
                <a:avLst/>
              </a:prstTxWarp>
            </a:bodyPr>
            <a:lstStyle/>
            <a:p>
              <a:pPr marL="0" marR="0" lvl="1" indent="0" algn="ctr" defTabSz="914400" eaLnBrk="1" fontAlgn="auto" latinLnBrk="0" hangingPunct="1">
                <a:lnSpc>
                  <a:spcPct val="100000"/>
                </a:lnSpc>
                <a:spcBef>
                  <a:spcPts val="0"/>
                </a:spcBef>
                <a:spcAft>
                  <a:spcPts val="600"/>
                </a:spcAft>
                <a:buClrTx/>
                <a:buSzTx/>
                <a:buFontTx/>
                <a:buNone/>
                <a:tabLst/>
                <a:defRPr/>
              </a:pPr>
              <a:endParaRPr kumimoji="0" lang="en-US" sz="1500" b="0" i="0" u="none" strike="noStrike" kern="0" cap="none" spc="0" normalizeH="0" baseline="0" noProof="0" dirty="0" smtClean="0">
                <a:ln>
                  <a:noFill/>
                </a:ln>
                <a:solidFill>
                  <a:prstClr val="white"/>
                </a:solidFill>
                <a:effectLst/>
                <a:uLnTx/>
                <a:uFillTx/>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endParaRPr lang="en-US" sz="300" kern="0" dirty="0">
                <a:solidFill>
                  <a:prstClr val="white"/>
                </a:solidFill>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500" b="0" i="0" u="none" strike="noStrike" kern="0" cap="none" spc="0" normalizeH="0" baseline="0" noProof="0" dirty="0" smtClean="0">
                  <a:ln>
                    <a:noFill/>
                  </a:ln>
                  <a:solidFill>
                    <a:prstClr val="white"/>
                  </a:solidFill>
                  <a:effectLst/>
                  <a:uLnTx/>
                  <a:uFillTx/>
                  <a:latin typeface="+mj-lt"/>
                </a:rPr>
                <a:t>Risk Model</a:t>
              </a:r>
            </a:p>
          </p:txBody>
        </p:sp>
        <p:sp>
          <p:nvSpPr>
            <p:cNvPr id="31" name="Freeform 7"/>
            <p:cNvSpPr>
              <a:spLocks/>
            </p:cNvSpPr>
            <p:nvPr/>
          </p:nvSpPr>
          <p:spPr bwMode="auto">
            <a:xfrm>
              <a:off x="4095016" y="4421915"/>
              <a:ext cx="1538909" cy="1706513"/>
            </a:xfrm>
            <a:custGeom>
              <a:avLst/>
              <a:gdLst>
                <a:gd name="T0" fmla="*/ 270 w 540"/>
                <a:gd name="T1" fmla="*/ 0 h 599"/>
                <a:gd name="T2" fmla="*/ 232 w 540"/>
                <a:gd name="T3" fmla="*/ 10 h 599"/>
                <a:gd name="T4" fmla="*/ 38 w 540"/>
                <a:gd name="T5" fmla="*/ 122 h 599"/>
                <a:gd name="T6" fmla="*/ 0 w 540"/>
                <a:gd name="T7" fmla="*/ 187 h 599"/>
                <a:gd name="T8" fmla="*/ 0 w 540"/>
                <a:gd name="T9" fmla="*/ 412 h 599"/>
                <a:gd name="T10" fmla="*/ 38 w 540"/>
                <a:gd name="T11" fmla="*/ 477 h 599"/>
                <a:gd name="T12" fmla="*/ 232 w 540"/>
                <a:gd name="T13" fmla="*/ 589 h 599"/>
                <a:gd name="T14" fmla="*/ 270 w 540"/>
                <a:gd name="T15" fmla="*/ 599 h 599"/>
                <a:gd name="T16" fmla="*/ 307 w 540"/>
                <a:gd name="T17" fmla="*/ 589 h 599"/>
                <a:gd name="T18" fmla="*/ 502 w 540"/>
                <a:gd name="T19" fmla="*/ 477 h 599"/>
                <a:gd name="T20" fmla="*/ 540 w 540"/>
                <a:gd name="T21" fmla="*/ 412 h 599"/>
                <a:gd name="T22" fmla="*/ 540 w 540"/>
                <a:gd name="T23" fmla="*/ 187 h 599"/>
                <a:gd name="T24" fmla="*/ 502 w 540"/>
                <a:gd name="T25" fmla="*/ 122 h 599"/>
                <a:gd name="T26" fmla="*/ 307 w 540"/>
                <a:gd name="T27" fmla="*/ 10 h 599"/>
                <a:gd name="T28" fmla="*/ 270 w 540"/>
                <a:gd name="T29"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0" h="599">
                  <a:moveTo>
                    <a:pt x="270" y="0"/>
                  </a:moveTo>
                  <a:cubicBezTo>
                    <a:pt x="257" y="0"/>
                    <a:pt x="244" y="3"/>
                    <a:pt x="232" y="10"/>
                  </a:cubicBezTo>
                  <a:cubicBezTo>
                    <a:pt x="38" y="122"/>
                    <a:pt x="38" y="122"/>
                    <a:pt x="38" y="122"/>
                  </a:cubicBezTo>
                  <a:cubicBezTo>
                    <a:pt x="14" y="135"/>
                    <a:pt x="0" y="160"/>
                    <a:pt x="0" y="187"/>
                  </a:cubicBezTo>
                  <a:cubicBezTo>
                    <a:pt x="0" y="412"/>
                    <a:pt x="0" y="412"/>
                    <a:pt x="0" y="412"/>
                  </a:cubicBezTo>
                  <a:cubicBezTo>
                    <a:pt x="0" y="439"/>
                    <a:pt x="14" y="463"/>
                    <a:pt x="38" y="477"/>
                  </a:cubicBezTo>
                  <a:cubicBezTo>
                    <a:pt x="232" y="589"/>
                    <a:pt x="232" y="589"/>
                    <a:pt x="232" y="589"/>
                  </a:cubicBezTo>
                  <a:cubicBezTo>
                    <a:pt x="244" y="596"/>
                    <a:pt x="257" y="599"/>
                    <a:pt x="270" y="599"/>
                  </a:cubicBezTo>
                  <a:cubicBezTo>
                    <a:pt x="283" y="599"/>
                    <a:pt x="296" y="596"/>
                    <a:pt x="307" y="589"/>
                  </a:cubicBezTo>
                  <a:cubicBezTo>
                    <a:pt x="502" y="477"/>
                    <a:pt x="502" y="477"/>
                    <a:pt x="502" y="477"/>
                  </a:cubicBezTo>
                  <a:cubicBezTo>
                    <a:pt x="525" y="463"/>
                    <a:pt x="540" y="439"/>
                    <a:pt x="540" y="412"/>
                  </a:cubicBezTo>
                  <a:cubicBezTo>
                    <a:pt x="540" y="187"/>
                    <a:pt x="540" y="187"/>
                    <a:pt x="540" y="187"/>
                  </a:cubicBezTo>
                  <a:cubicBezTo>
                    <a:pt x="540" y="160"/>
                    <a:pt x="525" y="135"/>
                    <a:pt x="502" y="122"/>
                  </a:cubicBezTo>
                  <a:cubicBezTo>
                    <a:pt x="307" y="10"/>
                    <a:pt x="307" y="10"/>
                    <a:pt x="307" y="10"/>
                  </a:cubicBezTo>
                  <a:cubicBezTo>
                    <a:pt x="296" y="3"/>
                    <a:pt x="283" y="0"/>
                    <a:pt x="270" y="0"/>
                  </a:cubicBezTo>
                </a:path>
              </a:pathLst>
            </a:custGeom>
            <a:solidFill>
              <a:srgbClr val="6D2077"/>
            </a:solidFill>
            <a:ln>
              <a:noFill/>
            </a:ln>
            <a:extLst/>
          </p:spPr>
          <p:txBody>
            <a:bodyPr vert="horz" wrap="square" lIns="91440" tIns="182880" rIns="91440" bIns="45720" numCol="1" anchor="ctr" anchorCtr="0" compatLnSpc="1">
              <a:prstTxWarp prst="textNoShape">
                <a:avLst/>
              </a:prstTxWarp>
            </a:bodyPr>
            <a:lstStyle/>
            <a:p>
              <a:pPr marL="0" marR="0" lvl="1" indent="0" algn="ctr" defTabSz="914400" eaLnBrk="1" fontAlgn="auto" latinLnBrk="0" hangingPunct="1">
                <a:lnSpc>
                  <a:spcPct val="100000"/>
                </a:lnSpc>
                <a:spcBef>
                  <a:spcPts val="0"/>
                </a:spcBef>
                <a:spcAft>
                  <a:spcPts val="600"/>
                </a:spcAft>
                <a:buClrTx/>
                <a:buSzTx/>
                <a:buFontTx/>
                <a:buNone/>
                <a:tabLst/>
                <a:defRPr/>
              </a:pPr>
              <a:endParaRPr kumimoji="0" lang="en-US" sz="3600" b="0" i="0" u="none" strike="noStrike" kern="0" cap="none" spc="0" normalizeH="0" baseline="0" noProof="0" dirty="0" smtClean="0">
                <a:ln>
                  <a:noFill/>
                </a:ln>
                <a:solidFill>
                  <a:prstClr val="white"/>
                </a:solidFill>
                <a:effectLst/>
                <a:uLnTx/>
                <a:uFillTx/>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r>
                <a:rPr lang="en-GB" sz="1500" kern="0" noProof="0" dirty="0" smtClean="0">
                  <a:solidFill>
                    <a:prstClr val="white"/>
                  </a:solidFill>
                  <a:latin typeface="+mj-lt"/>
                </a:rPr>
                <a:t>Co-Creation Model</a:t>
              </a:r>
            </a:p>
          </p:txBody>
        </p:sp>
        <p:sp>
          <p:nvSpPr>
            <p:cNvPr id="32" name="Freeform 9"/>
            <p:cNvSpPr>
              <a:spLocks/>
            </p:cNvSpPr>
            <p:nvPr/>
          </p:nvSpPr>
          <p:spPr bwMode="auto">
            <a:xfrm>
              <a:off x="5707062" y="4421915"/>
              <a:ext cx="1538909" cy="1706513"/>
            </a:xfrm>
            <a:custGeom>
              <a:avLst/>
              <a:gdLst>
                <a:gd name="T0" fmla="*/ 270 w 540"/>
                <a:gd name="T1" fmla="*/ 0 h 599"/>
                <a:gd name="T2" fmla="*/ 233 w 540"/>
                <a:gd name="T3" fmla="*/ 10 h 599"/>
                <a:gd name="T4" fmla="*/ 38 w 540"/>
                <a:gd name="T5" fmla="*/ 122 h 599"/>
                <a:gd name="T6" fmla="*/ 0 w 540"/>
                <a:gd name="T7" fmla="*/ 187 h 599"/>
                <a:gd name="T8" fmla="*/ 0 w 540"/>
                <a:gd name="T9" fmla="*/ 412 h 599"/>
                <a:gd name="T10" fmla="*/ 38 w 540"/>
                <a:gd name="T11" fmla="*/ 477 h 599"/>
                <a:gd name="T12" fmla="*/ 233 w 540"/>
                <a:gd name="T13" fmla="*/ 589 h 599"/>
                <a:gd name="T14" fmla="*/ 270 w 540"/>
                <a:gd name="T15" fmla="*/ 599 h 599"/>
                <a:gd name="T16" fmla="*/ 308 w 540"/>
                <a:gd name="T17" fmla="*/ 589 h 599"/>
                <a:gd name="T18" fmla="*/ 502 w 540"/>
                <a:gd name="T19" fmla="*/ 477 h 599"/>
                <a:gd name="T20" fmla="*/ 540 w 540"/>
                <a:gd name="T21" fmla="*/ 412 h 599"/>
                <a:gd name="T22" fmla="*/ 540 w 540"/>
                <a:gd name="T23" fmla="*/ 187 h 599"/>
                <a:gd name="T24" fmla="*/ 502 w 540"/>
                <a:gd name="T25" fmla="*/ 122 h 599"/>
                <a:gd name="T26" fmla="*/ 308 w 540"/>
                <a:gd name="T27" fmla="*/ 10 h 599"/>
                <a:gd name="T28" fmla="*/ 270 w 540"/>
                <a:gd name="T29"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0" h="599">
                  <a:moveTo>
                    <a:pt x="270" y="0"/>
                  </a:moveTo>
                  <a:cubicBezTo>
                    <a:pt x="257" y="0"/>
                    <a:pt x="244" y="3"/>
                    <a:pt x="233" y="10"/>
                  </a:cubicBezTo>
                  <a:cubicBezTo>
                    <a:pt x="38" y="122"/>
                    <a:pt x="38" y="122"/>
                    <a:pt x="38" y="122"/>
                  </a:cubicBezTo>
                  <a:cubicBezTo>
                    <a:pt x="15" y="135"/>
                    <a:pt x="0" y="160"/>
                    <a:pt x="0" y="187"/>
                  </a:cubicBezTo>
                  <a:cubicBezTo>
                    <a:pt x="0" y="412"/>
                    <a:pt x="0" y="412"/>
                    <a:pt x="0" y="412"/>
                  </a:cubicBezTo>
                  <a:cubicBezTo>
                    <a:pt x="0" y="439"/>
                    <a:pt x="15" y="463"/>
                    <a:pt x="38" y="477"/>
                  </a:cubicBezTo>
                  <a:cubicBezTo>
                    <a:pt x="233" y="589"/>
                    <a:pt x="233" y="589"/>
                    <a:pt x="233" y="589"/>
                  </a:cubicBezTo>
                  <a:cubicBezTo>
                    <a:pt x="244" y="596"/>
                    <a:pt x="257" y="599"/>
                    <a:pt x="270" y="599"/>
                  </a:cubicBezTo>
                  <a:cubicBezTo>
                    <a:pt x="283" y="599"/>
                    <a:pt x="296" y="596"/>
                    <a:pt x="308" y="589"/>
                  </a:cubicBezTo>
                  <a:cubicBezTo>
                    <a:pt x="502" y="477"/>
                    <a:pt x="502" y="477"/>
                    <a:pt x="502" y="477"/>
                  </a:cubicBezTo>
                  <a:cubicBezTo>
                    <a:pt x="526" y="463"/>
                    <a:pt x="540" y="439"/>
                    <a:pt x="540" y="412"/>
                  </a:cubicBezTo>
                  <a:cubicBezTo>
                    <a:pt x="540" y="187"/>
                    <a:pt x="540" y="187"/>
                    <a:pt x="540" y="187"/>
                  </a:cubicBezTo>
                  <a:cubicBezTo>
                    <a:pt x="540" y="160"/>
                    <a:pt x="526" y="135"/>
                    <a:pt x="502" y="122"/>
                  </a:cubicBezTo>
                  <a:cubicBezTo>
                    <a:pt x="308" y="10"/>
                    <a:pt x="308" y="10"/>
                    <a:pt x="308" y="10"/>
                  </a:cubicBezTo>
                  <a:cubicBezTo>
                    <a:pt x="296" y="3"/>
                    <a:pt x="283" y="0"/>
                    <a:pt x="270" y="0"/>
                  </a:cubicBezTo>
                </a:path>
              </a:pathLst>
            </a:custGeom>
            <a:solidFill>
              <a:srgbClr val="470A68"/>
            </a:solidFill>
            <a:ln>
              <a:noFill/>
            </a:ln>
            <a:extLst/>
          </p:spPr>
          <p:txBody>
            <a:bodyPr vert="horz" wrap="square" lIns="91440" tIns="182880" rIns="91440" bIns="45720" numCol="1" anchor="ctr" anchorCtr="0" compatLnSpc="1">
              <a:prstTxWarp prst="textNoShape">
                <a:avLst/>
              </a:prstTxWarp>
            </a:bodyPr>
            <a:lstStyle/>
            <a:p>
              <a:pPr marL="0" marR="0" lvl="1" indent="0" algn="ctr" defTabSz="914400" eaLnBrk="1" fontAlgn="auto" latinLnBrk="0" hangingPunct="1">
                <a:lnSpc>
                  <a:spcPct val="100000"/>
                </a:lnSpc>
                <a:spcBef>
                  <a:spcPts val="0"/>
                </a:spcBef>
                <a:spcAft>
                  <a:spcPts val="600"/>
                </a:spcAft>
                <a:buClrTx/>
                <a:buSzTx/>
                <a:buFontTx/>
                <a:buNone/>
                <a:tabLst/>
                <a:defRPr/>
              </a:pPr>
              <a:endParaRPr kumimoji="0" lang="en-US" sz="1500" b="0" i="0" u="none" strike="noStrike" kern="0" cap="none" spc="0" normalizeH="0" baseline="0" noProof="0" dirty="0" smtClean="0">
                <a:ln>
                  <a:noFill/>
                </a:ln>
                <a:solidFill>
                  <a:prstClr val="white"/>
                </a:solidFill>
                <a:effectLst/>
                <a:uLnTx/>
                <a:uFillTx/>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endParaRPr kumimoji="0" lang="en-US" sz="1100" b="0" i="0" u="none" strike="noStrike" kern="0" cap="none" spc="0" normalizeH="0" baseline="0" noProof="0" dirty="0" smtClean="0">
                <a:ln>
                  <a:noFill/>
                </a:ln>
                <a:solidFill>
                  <a:prstClr val="white"/>
                </a:solidFill>
                <a:effectLst/>
                <a:uLnTx/>
                <a:uFillTx/>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500" b="0" i="0" u="none" strike="noStrike" kern="0" cap="none" spc="0" normalizeH="0" baseline="0" noProof="0" dirty="0" smtClean="0">
                  <a:ln>
                    <a:noFill/>
                  </a:ln>
                  <a:solidFill>
                    <a:prstClr val="white"/>
                  </a:solidFill>
                  <a:effectLst/>
                  <a:uLnTx/>
                  <a:uFillTx/>
                  <a:latin typeface="+mj-lt"/>
                </a:rPr>
                <a:t>Technology Enablement</a:t>
              </a:r>
            </a:p>
          </p:txBody>
        </p:sp>
        <p:sp>
          <p:nvSpPr>
            <p:cNvPr id="33" name="Freeform 11"/>
            <p:cNvSpPr>
              <a:spLocks/>
            </p:cNvSpPr>
            <p:nvPr/>
          </p:nvSpPr>
          <p:spPr bwMode="auto">
            <a:xfrm>
              <a:off x="6516130" y="3023184"/>
              <a:ext cx="1569707" cy="1709560"/>
            </a:xfrm>
            <a:custGeom>
              <a:avLst/>
              <a:gdLst>
                <a:gd name="T0" fmla="*/ 269 w 539"/>
                <a:gd name="T1" fmla="*/ 0 h 600"/>
                <a:gd name="T2" fmla="*/ 232 w 539"/>
                <a:gd name="T3" fmla="*/ 10 h 600"/>
                <a:gd name="T4" fmla="*/ 37 w 539"/>
                <a:gd name="T5" fmla="*/ 123 h 600"/>
                <a:gd name="T6" fmla="*/ 0 w 539"/>
                <a:gd name="T7" fmla="*/ 188 h 600"/>
                <a:gd name="T8" fmla="*/ 0 w 539"/>
                <a:gd name="T9" fmla="*/ 412 h 600"/>
                <a:gd name="T10" fmla="*/ 37 w 539"/>
                <a:gd name="T11" fmla="*/ 477 h 600"/>
                <a:gd name="T12" fmla="*/ 232 w 539"/>
                <a:gd name="T13" fmla="*/ 590 h 600"/>
                <a:gd name="T14" fmla="*/ 269 w 539"/>
                <a:gd name="T15" fmla="*/ 600 h 600"/>
                <a:gd name="T16" fmla="*/ 307 w 539"/>
                <a:gd name="T17" fmla="*/ 590 h 600"/>
                <a:gd name="T18" fmla="*/ 502 w 539"/>
                <a:gd name="T19" fmla="*/ 477 h 600"/>
                <a:gd name="T20" fmla="*/ 539 w 539"/>
                <a:gd name="T21" fmla="*/ 412 h 600"/>
                <a:gd name="T22" fmla="*/ 539 w 539"/>
                <a:gd name="T23" fmla="*/ 188 h 600"/>
                <a:gd name="T24" fmla="*/ 502 w 539"/>
                <a:gd name="T25" fmla="*/ 123 h 600"/>
                <a:gd name="T26" fmla="*/ 307 w 539"/>
                <a:gd name="T27" fmla="*/ 10 h 600"/>
                <a:gd name="T28" fmla="*/ 269 w 539"/>
                <a:gd name="T29"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9" h="600">
                  <a:moveTo>
                    <a:pt x="269" y="0"/>
                  </a:moveTo>
                  <a:cubicBezTo>
                    <a:pt x="256" y="0"/>
                    <a:pt x="243" y="4"/>
                    <a:pt x="232" y="10"/>
                  </a:cubicBezTo>
                  <a:cubicBezTo>
                    <a:pt x="37" y="123"/>
                    <a:pt x="37" y="123"/>
                    <a:pt x="37" y="123"/>
                  </a:cubicBezTo>
                  <a:cubicBezTo>
                    <a:pt x="14" y="136"/>
                    <a:pt x="0" y="161"/>
                    <a:pt x="0" y="188"/>
                  </a:cubicBezTo>
                  <a:cubicBezTo>
                    <a:pt x="0" y="412"/>
                    <a:pt x="0" y="412"/>
                    <a:pt x="0" y="412"/>
                  </a:cubicBezTo>
                  <a:cubicBezTo>
                    <a:pt x="0" y="439"/>
                    <a:pt x="14" y="464"/>
                    <a:pt x="37" y="477"/>
                  </a:cubicBezTo>
                  <a:cubicBezTo>
                    <a:pt x="232" y="590"/>
                    <a:pt x="232" y="590"/>
                    <a:pt x="232" y="590"/>
                  </a:cubicBezTo>
                  <a:cubicBezTo>
                    <a:pt x="243" y="596"/>
                    <a:pt x="256" y="600"/>
                    <a:pt x="269" y="600"/>
                  </a:cubicBezTo>
                  <a:cubicBezTo>
                    <a:pt x="282" y="600"/>
                    <a:pt x="295" y="596"/>
                    <a:pt x="307" y="590"/>
                  </a:cubicBezTo>
                  <a:cubicBezTo>
                    <a:pt x="502" y="477"/>
                    <a:pt x="502" y="477"/>
                    <a:pt x="502" y="477"/>
                  </a:cubicBezTo>
                  <a:cubicBezTo>
                    <a:pt x="525" y="464"/>
                    <a:pt x="539" y="439"/>
                    <a:pt x="539" y="412"/>
                  </a:cubicBezTo>
                  <a:cubicBezTo>
                    <a:pt x="539" y="188"/>
                    <a:pt x="539" y="188"/>
                    <a:pt x="539" y="188"/>
                  </a:cubicBezTo>
                  <a:cubicBezTo>
                    <a:pt x="539" y="161"/>
                    <a:pt x="525" y="136"/>
                    <a:pt x="502" y="123"/>
                  </a:cubicBezTo>
                  <a:cubicBezTo>
                    <a:pt x="307" y="10"/>
                    <a:pt x="307" y="10"/>
                    <a:pt x="307" y="10"/>
                  </a:cubicBezTo>
                  <a:cubicBezTo>
                    <a:pt x="295" y="4"/>
                    <a:pt x="282" y="0"/>
                    <a:pt x="269" y="0"/>
                  </a:cubicBezTo>
                </a:path>
              </a:pathLst>
            </a:custGeom>
            <a:solidFill>
              <a:srgbClr val="483698"/>
            </a:solidFill>
            <a:ln>
              <a:noFill/>
            </a:ln>
            <a:extLst/>
          </p:spPr>
          <p:txBody>
            <a:bodyPr vert="horz" wrap="square" lIns="274320" tIns="45720" rIns="91440" bIns="45720" numCol="1" anchor="ctr" anchorCtr="0" compatLnSpc="1">
              <a:prstTxWarp prst="textNoShape">
                <a:avLst/>
              </a:prstTxWarp>
            </a:bodyPr>
            <a:lstStyle/>
            <a:p>
              <a:pPr marL="0" marR="0" lvl="1" indent="0" algn="ctr" defTabSz="914400" eaLnBrk="1" fontAlgn="auto" latinLnBrk="0" hangingPunct="1">
                <a:lnSpc>
                  <a:spcPct val="100000"/>
                </a:lnSpc>
                <a:spcBef>
                  <a:spcPts val="0"/>
                </a:spcBef>
                <a:spcAft>
                  <a:spcPts val="600"/>
                </a:spcAft>
                <a:buClrTx/>
                <a:buSzTx/>
                <a:buFontTx/>
                <a:buNone/>
                <a:tabLst/>
                <a:defRPr/>
              </a:pPr>
              <a:endParaRPr kumimoji="0" lang="en-US" sz="1500" b="0" i="0" u="none" strike="noStrike" kern="0" cap="none" spc="0" normalizeH="0" baseline="0" noProof="0" dirty="0" smtClean="0">
                <a:ln>
                  <a:noFill/>
                </a:ln>
                <a:solidFill>
                  <a:prstClr val="white"/>
                </a:solidFill>
                <a:effectLst/>
                <a:uLnTx/>
                <a:uFillTx/>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endParaRPr kumimoji="0" lang="en-US" sz="1050" b="0" i="0" u="none" strike="noStrike" kern="0" cap="none" spc="0" normalizeH="0" baseline="0" noProof="0" dirty="0" smtClean="0">
                <a:ln>
                  <a:noFill/>
                </a:ln>
                <a:solidFill>
                  <a:prstClr val="white"/>
                </a:solidFill>
                <a:effectLst/>
                <a:uLnTx/>
                <a:uFillTx/>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500" b="0" i="0" u="none" strike="noStrike" kern="0" cap="none" spc="0" normalizeH="0" noProof="0" dirty="0" smtClean="0">
                  <a:ln>
                    <a:noFill/>
                  </a:ln>
                  <a:solidFill>
                    <a:prstClr val="white"/>
                  </a:solidFill>
                  <a:effectLst/>
                  <a:uLnTx/>
                  <a:uFillTx/>
                  <a:latin typeface="+mj-lt"/>
                </a:rPr>
                <a:t>Operating Model</a:t>
              </a:r>
              <a:endParaRPr kumimoji="0" lang="en-US" sz="1500" b="0" i="0" u="none" strike="noStrike" kern="0" cap="none" spc="0" normalizeH="0" baseline="0" noProof="0" dirty="0" smtClean="0">
                <a:ln>
                  <a:noFill/>
                </a:ln>
                <a:solidFill>
                  <a:prstClr val="white"/>
                </a:solidFill>
                <a:effectLst/>
                <a:uLnTx/>
                <a:uFillTx/>
                <a:latin typeface="+mj-lt"/>
              </a:endParaRPr>
            </a:p>
          </p:txBody>
        </p:sp>
        <p:sp>
          <p:nvSpPr>
            <p:cNvPr id="34" name="Freeform 13"/>
            <p:cNvSpPr>
              <a:spLocks/>
            </p:cNvSpPr>
            <p:nvPr/>
          </p:nvSpPr>
          <p:spPr bwMode="auto">
            <a:xfrm>
              <a:off x="5707062" y="1617508"/>
              <a:ext cx="1538909" cy="1706513"/>
            </a:xfrm>
            <a:custGeom>
              <a:avLst/>
              <a:gdLst>
                <a:gd name="T0" fmla="*/ 270 w 540"/>
                <a:gd name="T1" fmla="*/ 0 h 599"/>
                <a:gd name="T2" fmla="*/ 233 w 540"/>
                <a:gd name="T3" fmla="*/ 10 h 599"/>
                <a:gd name="T4" fmla="*/ 38 w 540"/>
                <a:gd name="T5" fmla="*/ 122 h 599"/>
                <a:gd name="T6" fmla="*/ 0 w 540"/>
                <a:gd name="T7" fmla="*/ 187 h 599"/>
                <a:gd name="T8" fmla="*/ 0 w 540"/>
                <a:gd name="T9" fmla="*/ 412 h 599"/>
                <a:gd name="T10" fmla="*/ 38 w 540"/>
                <a:gd name="T11" fmla="*/ 477 h 599"/>
                <a:gd name="T12" fmla="*/ 233 w 540"/>
                <a:gd name="T13" fmla="*/ 589 h 599"/>
                <a:gd name="T14" fmla="*/ 270 w 540"/>
                <a:gd name="T15" fmla="*/ 599 h 599"/>
                <a:gd name="T16" fmla="*/ 308 w 540"/>
                <a:gd name="T17" fmla="*/ 589 h 599"/>
                <a:gd name="T18" fmla="*/ 502 w 540"/>
                <a:gd name="T19" fmla="*/ 477 h 599"/>
                <a:gd name="T20" fmla="*/ 540 w 540"/>
                <a:gd name="T21" fmla="*/ 412 h 599"/>
                <a:gd name="T22" fmla="*/ 540 w 540"/>
                <a:gd name="T23" fmla="*/ 187 h 599"/>
                <a:gd name="T24" fmla="*/ 502 w 540"/>
                <a:gd name="T25" fmla="*/ 122 h 599"/>
                <a:gd name="T26" fmla="*/ 308 w 540"/>
                <a:gd name="T27" fmla="*/ 10 h 599"/>
                <a:gd name="T28" fmla="*/ 270 w 540"/>
                <a:gd name="T29"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0" h="599">
                  <a:moveTo>
                    <a:pt x="270" y="0"/>
                  </a:moveTo>
                  <a:cubicBezTo>
                    <a:pt x="257" y="0"/>
                    <a:pt x="244" y="3"/>
                    <a:pt x="233" y="10"/>
                  </a:cubicBezTo>
                  <a:cubicBezTo>
                    <a:pt x="38" y="122"/>
                    <a:pt x="38" y="122"/>
                    <a:pt x="38" y="122"/>
                  </a:cubicBezTo>
                  <a:cubicBezTo>
                    <a:pt x="15" y="136"/>
                    <a:pt x="0" y="160"/>
                    <a:pt x="0" y="187"/>
                  </a:cubicBezTo>
                  <a:cubicBezTo>
                    <a:pt x="0" y="412"/>
                    <a:pt x="0" y="412"/>
                    <a:pt x="0" y="412"/>
                  </a:cubicBezTo>
                  <a:cubicBezTo>
                    <a:pt x="0" y="439"/>
                    <a:pt x="15" y="464"/>
                    <a:pt x="38" y="477"/>
                  </a:cubicBezTo>
                  <a:cubicBezTo>
                    <a:pt x="233" y="589"/>
                    <a:pt x="233" y="589"/>
                    <a:pt x="233" y="589"/>
                  </a:cubicBezTo>
                  <a:cubicBezTo>
                    <a:pt x="244" y="596"/>
                    <a:pt x="257" y="599"/>
                    <a:pt x="270" y="599"/>
                  </a:cubicBezTo>
                  <a:cubicBezTo>
                    <a:pt x="283" y="599"/>
                    <a:pt x="296" y="596"/>
                    <a:pt x="308" y="589"/>
                  </a:cubicBezTo>
                  <a:cubicBezTo>
                    <a:pt x="502" y="477"/>
                    <a:pt x="502" y="477"/>
                    <a:pt x="502" y="477"/>
                  </a:cubicBezTo>
                  <a:cubicBezTo>
                    <a:pt x="526" y="464"/>
                    <a:pt x="540" y="439"/>
                    <a:pt x="540" y="412"/>
                  </a:cubicBezTo>
                  <a:cubicBezTo>
                    <a:pt x="540" y="187"/>
                    <a:pt x="540" y="187"/>
                    <a:pt x="540" y="187"/>
                  </a:cubicBezTo>
                  <a:cubicBezTo>
                    <a:pt x="540" y="160"/>
                    <a:pt x="526" y="136"/>
                    <a:pt x="502" y="122"/>
                  </a:cubicBezTo>
                  <a:cubicBezTo>
                    <a:pt x="308" y="10"/>
                    <a:pt x="308" y="10"/>
                    <a:pt x="308" y="10"/>
                  </a:cubicBezTo>
                  <a:cubicBezTo>
                    <a:pt x="296" y="3"/>
                    <a:pt x="283" y="0"/>
                    <a:pt x="270" y="0"/>
                  </a:cubicBezTo>
                </a:path>
              </a:pathLst>
            </a:custGeom>
            <a:solidFill>
              <a:srgbClr val="0091DA"/>
            </a:solidFill>
            <a:ln>
              <a:noFill/>
            </a:ln>
            <a:extLst/>
          </p:spPr>
          <p:txBody>
            <a:bodyPr vert="horz" wrap="square" lIns="91440" tIns="45720" rIns="91440" bIns="274320" numCol="1" anchor="ctr" anchorCtr="0" compatLnSpc="1">
              <a:prstTxWarp prst="textNoShape">
                <a:avLst/>
              </a:prstTxWarp>
            </a:bodyPr>
            <a:lstStyle/>
            <a:p>
              <a:pPr marL="0" marR="0" lvl="1" indent="0" algn="ctr" defTabSz="914400" eaLnBrk="1" fontAlgn="auto" latinLnBrk="0" hangingPunct="1">
                <a:lnSpc>
                  <a:spcPct val="100000"/>
                </a:lnSpc>
                <a:spcBef>
                  <a:spcPts val="0"/>
                </a:spcBef>
                <a:spcAft>
                  <a:spcPts val="60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500" b="0" i="0" u="none" strike="noStrike" kern="0" cap="none" spc="0" normalizeH="0" baseline="0" noProof="0" dirty="0" smtClean="0">
                  <a:ln>
                    <a:noFill/>
                  </a:ln>
                  <a:solidFill>
                    <a:prstClr val="white"/>
                  </a:solidFill>
                  <a:effectLst/>
                  <a:uLnTx/>
                  <a:uFillTx/>
                  <a:latin typeface="+mj-lt"/>
                </a:rPr>
                <a:t>Customer</a:t>
              </a:r>
              <a:r>
                <a:rPr kumimoji="0" lang="en-US" sz="1500" b="0" i="0" u="none" strike="noStrike" kern="0" cap="none" spc="0" normalizeH="0" noProof="0" dirty="0" smtClean="0">
                  <a:ln>
                    <a:noFill/>
                  </a:ln>
                  <a:solidFill>
                    <a:prstClr val="white"/>
                  </a:solidFill>
                  <a:effectLst/>
                  <a:uLnTx/>
                  <a:uFillTx/>
                  <a:latin typeface="+mj-lt"/>
                </a:rPr>
                <a:t> Experience Mgt.</a:t>
              </a:r>
              <a:endParaRPr kumimoji="0" lang="en-US" sz="1500" b="0" i="0" u="none" strike="noStrike" kern="0" cap="none" spc="0" normalizeH="0" baseline="0" noProof="0" dirty="0" smtClean="0">
                <a:ln>
                  <a:noFill/>
                </a:ln>
                <a:solidFill>
                  <a:prstClr val="white"/>
                </a:solidFill>
                <a:effectLst/>
                <a:uLnTx/>
                <a:uFillTx/>
                <a:latin typeface="+mj-lt"/>
              </a:endParaRPr>
            </a:p>
          </p:txBody>
        </p:sp>
        <p:grpSp>
          <p:nvGrpSpPr>
            <p:cNvPr id="35" name="Group 34"/>
            <p:cNvGrpSpPr/>
            <p:nvPr/>
          </p:nvGrpSpPr>
          <p:grpSpPr>
            <a:xfrm>
              <a:off x="5707062" y="2726003"/>
              <a:ext cx="955343" cy="655179"/>
              <a:chOff x="8578851" y="2533583"/>
              <a:chExt cx="995363" cy="682625"/>
            </a:xfrm>
          </p:grpSpPr>
          <p:sp>
            <p:nvSpPr>
              <p:cNvPr id="103" name="Freeform 14"/>
              <p:cNvSpPr>
                <a:spLocks/>
              </p:cNvSpPr>
              <p:nvPr/>
            </p:nvSpPr>
            <p:spPr bwMode="auto">
              <a:xfrm>
                <a:off x="8578851" y="2533583"/>
                <a:ext cx="995363" cy="682625"/>
              </a:xfrm>
              <a:custGeom>
                <a:avLst/>
                <a:gdLst>
                  <a:gd name="T0" fmla="*/ 0 w 627"/>
                  <a:gd name="T1" fmla="*/ 0 h 430"/>
                  <a:gd name="T2" fmla="*/ 0 w 627"/>
                  <a:gd name="T3" fmla="*/ 0 h 430"/>
                  <a:gd name="T4" fmla="*/ 0 w 627"/>
                  <a:gd name="T5" fmla="*/ 139 h 430"/>
                  <a:gd name="T6" fmla="*/ 505 w 627"/>
                  <a:gd name="T7" fmla="*/ 430 h 430"/>
                  <a:gd name="T8" fmla="*/ 627 w 627"/>
                  <a:gd name="T9" fmla="*/ 361 h 430"/>
                  <a:gd name="T10" fmla="*/ 627 w 627"/>
                  <a:gd name="T11" fmla="*/ 361 h 430"/>
                  <a:gd name="T12" fmla="*/ 0 w 627"/>
                  <a:gd name="T13" fmla="*/ 0 h 430"/>
                </a:gdLst>
                <a:ahLst/>
                <a:cxnLst>
                  <a:cxn ang="0">
                    <a:pos x="T0" y="T1"/>
                  </a:cxn>
                  <a:cxn ang="0">
                    <a:pos x="T2" y="T3"/>
                  </a:cxn>
                  <a:cxn ang="0">
                    <a:pos x="T4" y="T5"/>
                  </a:cxn>
                  <a:cxn ang="0">
                    <a:pos x="T6" y="T7"/>
                  </a:cxn>
                  <a:cxn ang="0">
                    <a:pos x="T8" y="T9"/>
                  </a:cxn>
                  <a:cxn ang="0">
                    <a:pos x="T10" y="T11"/>
                  </a:cxn>
                  <a:cxn ang="0">
                    <a:pos x="T12" y="T13"/>
                  </a:cxn>
                </a:cxnLst>
                <a:rect l="0" t="0" r="r" b="b"/>
                <a:pathLst>
                  <a:path w="627" h="430">
                    <a:moveTo>
                      <a:pt x="0" y="0"/>
                    </a:moveTo>
                    <a:lnTo>
                      <a:pt x="0" y="0"/>
                    </a:lnTo>
                    <a:lnTo>
                      <a:pt x="0" y="139"/>
                    </a:lnTo>
                    <a:lnTo>
                      <a:pt x="505" y="430"/>
                    </a:lnTo>
                    <a:lnTo>
                      <a:pt x="627" y="361"/>
                    </a:lnTo>
                    <a:lnTo>
                      <a:pt x="627" y="361"/>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104" name="Freeform 20"/>
              <p:cNvSpPr>
                <a:spLocks/>
              </p:cNvSpPr>
              <p:nvPr/>
            </p:nvSpPr>
            <p:spPr bwMode="auto">
              <a:xfrm>
                <a:off x="8772526" y="2630488"/>
                <a:ext cx="512763" cy="515938"/>
              </a:xfrm>
              <a:custGeom>
                <a:avLst/>
                <a:gdLst>
                  <a:gd name="T0" fmla="*/ 48 w 173"/>
                  <a:gd name="T1" fmla="*/ 153 h 174"/>
                  <a:gd name="T2" fmla="*/ 21 w 173"/>
                  <a:gd name="T3" fmla="*/ 49 h 174"/>
                  <a:gd name="T4" fmla="*/ 124 w 173"/>
                  <a:gd name="T5" fmla="*/ 21 h 174"/>
                  <a:gd name="T6" fmla="*/ 152 w 173"/>
                  <a:gd name="T7" fmla="*/ 125 h 174"/>
                  <a:gd name="T8" fmla="*/ 48 w 173"/>
                  <a:gd name="T9" fmla="*/ 153 h 174"/>
                </a:gdLst>
                <a:ahLst/>
                <a:cxnLst>
                  <a:cxn ang="0">
                    <a:pos x="T0" y="T1"/>
                  </a:cxn>
                  <a:cxn ang="0">
                    <a:pos x="T2" y="T3"/>
                  </a:cxn>
                  <a:cxn ang="0">
                    <a:pos x="T4" y="T5"/>
                  </a:cxn>
                  <a:cxn ang="0">
                    <a:pos x="T6" y="T7"/>
                  </a:cxn>
                  <a:cxn ang="0">
                    <a:pos x="T8" y="T9"/>
                  </a:cxn>
                </a:cxnLst>
                <a:rect l="0" t="0" r="r" b="b"/>
                <a:pathLst>
                  <a:path w="173" h="174">
                    <a:moveTo>
                      <a:pt x="48" y="153"/>
                    </a:moveTo>
                    <a:cubicBezTo>
                      <a:pt x="12" y="132"/>
                      <a:pt x="0" y="86"/>
                      <a:pt x="21" y="49"/>
                    </a:cubicBezTo>
                    <a:cubicBezTo>
                      <a:pt x="42" y="13"/>
                      <a:pt x="88" y="0"/>
                      <a:pt x="124" y="21"/>
                    </a:cubicBezTo>
                    <a:cubicBezTo>
                      <a:pt x="161" y="42"/>
                      <a:pt x="173" y="89"/>
                      <a:pt x="152" y="125"/>
                    </a:cubicBezTo>
                    <a:cubicBezTo>
                      <a:pt x="131" y="162"/>
                      <a:pt x="85" y="174"/>
                      <a:pt x="48" y="153"/>
                    </a:cubicBezTo>
                    <a:close/>
                  </a:path>
                </a:pathLst>
              </a:custGeom>
              <a:solidFill>
                <a:srgbClr val="0091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105" name="Freeform 24"/>
              <p:cNvSpPr>
                <a:spLocks/>
              </p:cNvSpPr>
              <p:nvPr/>
            </p:nvSpPr>
            <p:spPr bwMode="auto">
              <a:xfrm>
                <a:off x="8834438" y="2774951"/>
                <a:ext cx="450850" cy="371475"/>
              </a:xfrm>
              <a:custGeom>
                <a:avLst/>
                <a:gdLst>
                  <a:gd name="T0" fmla="*/ 0 w 152"/>
                  <a:gd name="T1" fmla="*/ 76 h 125"/>
                  <a:gd name="T2" fmla="*/ 103 w 152"/>
                  <a:gd name="T3" fmla="*/ 104 h 125"/>
                  <a:gd name="T4" fmla="*/ 131 w 152"/>
                  <a:gd name="T5" fmla="*/ 0 h 125"/>
                  <a:gd name="T6" fmla="*/ 0 w 152"/>
                  <a:gd name="T7" fmla="*/ 76 h 125"/>
                </a:gdLst>
                <a:ahLst/>
                <a:cxnLst>
                  <a:cxn ang="0">
                    <a:pos x="T0" y="T1"/>
                  </a:cxn>
                  <a:cxn ang="0">
                    <a:pos x="T2" y="T3"/>
                  </a:cxn>
                  <a:cxn ang="0">
                    <a:pos x="T4" y="T5"/>
                  </a:cxn>
                  <a:cxn ang="0">
                    <a:pos x="T6" y="T7"/>
                  </a:cxn>
                </a:cxnLst>
                <a:rect l="0" t="0" r="r" b="b"/>
                <a:pathLst>
                  <a:path w="152" h="125">
                    <a:moveTo>
                      <a:pt x="0" y="76"/>
                    </a:moveTo>
                    <a:cubicBezTo>
                      <a:pt x="21" y="113"/>
                      <a:pt x="67" y="125"/>
                      <a:pt x="103" y="104"/>
                    </a:cubicBezTo>
                    <a:cubicBezTo>
                      <a:pt x="140" y="83"/>
                      <a:pt x="152" y="37"/>
                      <a:pt x="131" y="0"/>
                    </a:cubicBezTo>
                    <a:lnTo>
                      <a:pt x="0" y="76"/>
                    </a:lnTo>
                    <a:close/>
                  </a:path>
                </a:pathLst>
              </a:custGeom>
              <a:solidFill>
                <a:srgbClr val="0091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grpSp>
        <p:grpSp>
          <p:nvGrpSpPr>
            <p:cNvPr id="36" name="Group 35"/>
            <p:cNvGrpSpPr/>
            <p:nvPr/>
          </p:nvGrpSpPr>
          <p:grpSpPr>
            <a:xfrm>
              <a:off x="5707062" y="4374746"/>
              <a:ext cx="955343" cy="655179"/>
              <a:chOff x="8578851" y="4251393"/>
              <a:chExt cx="995363" cy="682625"/>
            </a:xfrm>
            <a:solidFill>
              <a:srgbClr val="470A68"/>
            </a:solidFill>
          </p:grpSpPr>
          <p:sp>
            <p:nvSpPr>
              <p:cNvPr id="100" name="Freeform 10"/>
              <p:cNvSpPr>
                <a:spLocks/>
              </p:cNvSpPr>
              <p:nvPr/>
            </p:nvSpPr>
            <p:spPr bwMode="auto">
              <a:xfrm>
                <a:off x="8578851" y="4251393"/>
                <a:ext cx="995363" cy="682625"/>
              </a:xfrm>
              <a:custGeom>
                <a:avLst/>
                <a:gdLst>
                  <a:gd name="T0" fmla="*/ 0 w 627"/>
                  <a:gd name="T1" fmla="*/ 291 h 430"/>
                  <a:gd name="T2" fmla="*/ 0 w 627"/>
                  <a:gd name="T3" fmla="*/ 430 h 430"/>
                  <a:gd name="T4" fmla="*/ 627 w 627"/>
                  <a:gd name="T5" fmla="*/ 69 h 430"/>
                  <a:gd name="T6" fmla="*/ 505 w 627"/>
                  <a:gd name="T7" fmla="*/ 0 h 430"/>
                  <a:gd name="T8" fmla="*/ 0 w 627"/>
                  <a:gd name="T9" fmla="*/ 291 h 430"/>
                </a:gdLst>
                <a:ahLst/>
                <a:cxnLst>
                  <a:cxn ang="0">
                    <a:pos x="T0" y="T1"/>
                  </a:cxn>
                  <a:cxn ang="0">
                    <a:pos x="T2" y="T3"/>
                  </a:cxn>
                  <a:cxn ang="0">
                    <a:pos x="T4" y="T5"/>
                  </a:cxn>
                  <a:cxn ang="0">
                    <a:pos x="T6" y="T7"/>
                  </a:cxn>
                  <a:cxn ang="0">
                    <a:pos x="T8" y="T9"/>
                  </a:cxn>
                </a:cxnLst>
                <a:rect l="0" t="0" r="r" b="b"/>
                <a:pathLst>
                  <a:path w="627" h="430">
                    <a:moveTo>
                      <a:pt x="0" y="291"/>
                    </a:moveTo>
                    <a:lnTo>
                      <a:pt x="0" y="430"/>
                    </a:lnTo>
                    <a:lnTo>
                      <a:pt x="627" y="69"/>
                    </a:lnTo>
                    <a:lnTo>
                      <a:pt x="505" y="0"/>
                    </a:lnTo>
                    <a:lnTo>
                      <a:pt x="0" y="29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101" name="Freeform 21"/>
              <p:cNvSpPr>
                <a:spLocks/>
              </p:cNvSpPr>
              <p:nvPr/>
            </p:nvSpPr>
            <p:spPr bwMode="auto">
              <a:xfrm>
                <a:off x="8772526" y="4321176"/>
                <a:ext cx="512763" cy="515938"/>
              </a:xfrm>
              <a:custGeom>
                <a:avLst/>
                <a:gdLst>
                  <a:gd name="T0" fmla="*/ 48 w 173"/>
                  <a:gd name="T1" fmla="*/ 21 h 174"/>
                  <a:gd name="T2" fmla="*/ 152 w 173"/>
                  <a:gd name="T3" fmla="*/ 49 h 174"/>
                  <a:gd name="T4" fmla="*/ 124 w 173"/>
                  <a:gd name="T5" fmla="*/ 153 h 174"/>
                  <a:gd name="T6" fmla="*/ 21 w 173"/>
                  <a:gd name="T7" fmla="*/ 125 h 174"/>
                  <a:gd name="T8" fmla="*/ 48 w 173"/>
                  <a:gd name="T9" fmla="*/ 21 h 174"/>
                </a:gdLst>
                <a:ahLst/>
                <a:cxnLst>
                  <a:cxn ang="0">
                    <a:pos x="T0" y="T1"/>
                  </a:cxn>
                  <a:cxn ang="0">
                    <a:pos x="T2" y="T3"/>
                  </a:cxn>
                  <a:cxn ang="0">
                    <a:pos x="T4" y="T5"/>
                  </a:cxn>
                  <a:cxn ang="0">
                    <a:pos x="T6" y="T7"/>
                  </a:cxn>
                  <a:cxn ang="0">
                    <a:pos x="T8" y="T9"/>
                  </a:cxn>
                </a:cxnLst>
                <a:rect l="0" t="0" r="r" b="b"/>
                <a:pathLst>
                  <a:path w="173" h="174">
                    <a:moveTo>
                      <a:pt x="48" y="21"/>
                    </a:moveTo>
                    <a:cubicBezTo>
                      <a:pt x="85" y="0"/>
                      <a:pt x="131" y="12"/>
                      <a:pt x="152" y="49"/>
                    </a:cubicBezTo>
                    <a:cubicBezTo>
                      <a:pt x="173" y="85"/>
                      <a:pt x="161" y="132"/>
                      <a:pt x="124" y="153"/>
                    </a:cubicBezTo>
                    <a:cubicBezTo>
                      <a:pt x="88" y="174"/>
                      <a:pt x="42" y="161"/>
                      <a:pt x="21" y="125"/>
                    </a:cubicBezTo>
                    <a:cubicBezTo>
                      <a:pt x="0" y="88"/>
                      <a:pt x="12" y="42"/>
                      <a:pt x="48"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102" name="Freeform 25"/>
              <p:cNvSpPr>
                <a:spLocks/>
              </p:cNvSpPr>
              <p:nvPr/>
            </p:nvSpPr>
            <p:spPr bwMode="auto">
              <a:xfrm>
                <a:off x="8834438" y="4464051"/>
                <a:ext cx="450850" cy="371475"/>
              </a:xfrm>
              <a:custGeom>
                <a:avLst/>
                <a:gdLst>
                  <a:gd name="T0" fmla="*/ 0 w 152"/>
                  <a:gd name="T1" fmla="*/ 76 h 125"/>
                  <a:gd name="T2" fmla="*/ 103 w 152"/>
                  <a:gd name="T3" fmla="*/ 104 h 125"/>
                  <a:gd name="T4" fmla="*/ 131 w 152"/>
                  <a:gd name="T5" fmla="*/ 0 h 125"/>
                  <a:gd name="T6" fmla="*/ 0 w 152"/>
                  <a:gd name="T7" fmla="*/ 76 h 125"/>
                </a:gdLst>
                <a:ahLst/>
                <a:cxnLst>
                  <a:cxn ang="0">
                    <a:pos x="T0" y="T1"/>
                  </a:cxn>
                  <a:cxn ang="0">
                    <a:pos x="T2" y="T3"/>
                  </a:cxn>
                  <a:cxn ang="0">
                    <a:pos x="T4" y="T5"/>
                  </a:cxn>
                  <a:cxn ang="0">
                    <a:pos x="T6" y="T7"/>
                  </a:cxn>
                </a:cxnLst>
                <a:rect l="0" t="0" r="r" b="b"/>
                <a:pathLst>
                  <a:path w="152" h="125">
                    <a:moveTo>
                      <a:pt x="0" y="76"/>
                    </a:moveTo>
                    <a:cubicBezTo>
                      <a:pt x="21" y="113"/>
                      <a:pt x="67" y="125"/>
                      <a:pt x="103" y="104"/>
                    </a:cubicBezTo>
                    <a:cubicBezTo>
                      <a:pt x="140" y="83"/>
                      <a:pt x="152" y="37"/>
                      <a:pt x="131" y="0"/>
                    </a:cubicBezTo>
                    <a:lnTo>
                      <a:pt x="0"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grpSp>
        <p:grpSp>
          <p:nvGrpSpPr>
            <p:cNvPr id="37" name="Group 36"/>
            <p:cNvGrpSpPr/>
            <p:nvPr/>
          </p:nvGrpSpPr>
          <p:grpSpPr>
            <a:xfrm>
              <a:off x="4678582" y="4361098"/>
              <a:ext cx="955343" cy="655179"/>
              <a:chOff x="7507288" y="4237173"/>
              <a:chExt cx="995363" cy="682625"/>
            </a:xfrm>
            <a:solidFill>
              <a:srgbClr val="6D2077"/>
            </a:solidFill>
          </p:grpSpPr>
          <p:sp>
            <p:nvSpPr>
              <p:cNvPr id="97" name="Freeform 8"/>
              <p:cNvSpPr>
                <a:spLocks/>
              </p:cNvSpPr>
              <p:nvPr/>
            </p:nvSpPr>
            <p:spPr bwMode="auto">
              <a:xfrm>
                <a:off x="7507288" y="4237173"/>
                <a:ext cx="995363" cy="682625"/>
              </a:xfrm>
              <a:custGeom>
                <a:avLst/>
                <a:gdLst>
                  <a:gd name="T0" fmla="*/ 122 w 627"/>
                  <a:gd name="T1" fmla="*/ 0 h 430"/>
                  <a:gd name="T2" fmla="*/ 0 w 627"/>
                  <a:gd name="T3" fmla="*/ 69 h 430"/>
                  <a:gd name="T4" fmla="*/ 627 w 627"/>
                  <a:gd name="T5" fmla="*/ 430 h 430"/>
                  <a:gd name="T6" fmla="*/ 627 w 627"/>
                  <a:gd name="T7" fmla="*/ 291 h 430"/>
                  <a:gd name="T8" fmla="*/ 122 w 627"/>
                  <a:gd name="T9" fmla="*/ 0 h 430"/>
                </a:gdLst>
                <a:ahLst/>
                <a:cxnLst>
                  <a:cxn ang="0">
                    <a:pos x="T0" y="T1"/>
                  </a:cxn>
                  <a:cxn ang="0">
                    <a:pos x="T2" y="T3"/>
                  </a:cxn>
                  <a:cxn ang="0">
                    <a:pos x="T4" y="T5"/>
                  </a:cxn>
                  <a:cxn ang="0">
                    <a:pos x="T6" y="T7"/>
                  </a:cxn>
                  <a:cxn ang="0">
                    <a:pos x="T8" y="T9"/>
                  </a:cxn>
                </a:cxnLst>
                <a:rect l="0" t="0" r="r" b="b"/>
                <a:pathLst>
                  <a:path w="627" h="430">
                    <a:moveTo>
                      <a:pt x="122" y="0"/>
                    </a:moveTo>
                    <a:lnTo>
                      <a:pt x="0" y="69"/>
                    </a:lnTo>
                    <a:lnTo>
                      <a:pt x="627" y="430"/>
                    </a:lnTo>
                    <a:lnTo>
                      <a:pt x="627" y="291"/>
                    </a:lnTo>
                    <a:lnTo>
                      <a:pt x="12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98" name="Freeform 19"/>
              <p:cNvSpPr>
                <a:spLocks/>
              </p:cNvSpPr>
              <p:nvPr/>
            </p:nvSpPr>
            <p:spPr bwMode="auto">
              <a:xfrm>
                <a:off x="7796213" y="4321176"/>
                <a:ext cx="512763" cy="515938"/>
              </a:xfrm>
              <a:custGeom>
                <a:avLst/>
                <a:gdLst>
                  <a:gd name="T0" fmla="*/ 125 w 173"/>
                  <a:gd name="T1" fmla="*/ 21 h 174"/>
                  <a:gd name="T2" fmla="*/ 152 w 173"/>
                  <a:gd name="T3" fmla="*/ 125 h 174"/>
                  <a:gd name="T4" fmla="*/ 49 w 173"/>
                  <a:gd name="T5" fmla="*/ 153 h 174"/>
                  <a:gd name="T6" fmla="*/ 21 w 173"/>
                  <a:gd name="T7" fmla="*/ 49 h 174"/>
                  <a:gd name="T8" fmla="*/ 125 w 173"/>
                  <a:gd name="T9" fmla="*/ 21 h 174"/>
                </a:gdLst>
                <a:ahLst/>
                <a:cxnLst>
                  <a:cxn ang="0">
                    <a:pos x="T0" y="T1"/>
                  </a:cxn>
                  <a:cxn ang="0">
                    <a:pos x="T2" y="T3"/>
                  </a:cxn>
                  <a:cxn ang="0">
                    <a:pos x="T4" y="T5"/>
                  </a:cxn>
                  <a:cxn ang="0">
                    <a:pos x="T6" y="T7"/>
                  </a:cxn>
                  <a:cxn ang="0">
                    <a:pos x="T8" y="T9"/>
                  </a:cxn>
                </a:cxnLst>
                <a:rect l="0" t="0" r="r" b="b"/>
                <a:pathLst>
                  <a:path w="173" h="174">
                    <a:moveTo>
                      <a:pt x="125" y="21"/>
                    </a:moveTo>
                    <a:cubicBezTo>
                      <a:pt x="161" y="42"/>
                      <a:pt x="173" y="88"/>
                      <a:pt x="152" y="125"/>
                    </a:cubicBezTo>
                    <a:cubicBezTo>
                      <a:pt x="131" y="161"/>
                      <a:pt x="85" y="174"/>
                      <a:pt x="49" y="153"/>
                    </a:cubicBezTo>
                    <a:cubicBezTo>
                      <a:pt x="12" y="132"/>
                      <a:pt x="0" y="85"/>
                      <a:pt x="21" y="49"/>
                    </a:cubicBezTo>
                    <a:cubicBezTo>
                      <a:pt x="42" y="12"/>
                      <a:pt x="88" y="0"/>
                      <a:pt x="12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99" name="Freeform 26"/>
              <p:cNvSpPr>
                <a:spLocks/>
              </p:cNvSpPr>
              <p:nvPr/>
            </p:nvSpPr>
            <p:spPr bwMode="auto">
              <a:xfrm>
                <a:off x="7858126" y="4467226"/>
                <a:ext cx="450850" cy="369888"/>
              </a:xfrm>
              <a:custGeom>
                <a:avLst/>
                <a:gdLst>
                  <a:gd name="T0" fmla="*/ 0 w 152"/>
                  <a:gd name="T1" fmla="*/ 76 h 125"/>
                  <a:gd name="T2" fmla="*/ 104 w 152"/>
                  <a:gd name="T3" fmla="*/ 104 h 125"/>
                  <a:gd name="T4" fmla="*/ 131 w 152"/>
                  <a:gd name="T5" fmla="*/ 0 h 125"/>
                  <a:gd name="T6" fmla="*/ 0 w 152"/>
                  <a:gd name="T7" fmla="*/ 76 h 125"/>
                </a:gdLst>
                <a:ahLst/>
                <a:cxnLst>
                  <a:cxn ang="0">
                    <a:pos x="T0" y="T1"/>
                  </a:cxn>
                  <a:cxn ang="0">
                    <a:pos x="T2" y="T3"/>
                  </a:cxn>
                  <a:cxn ang="0">
                    <a:pos x="T4" y="T5"/>
                  </a:cxn>
                  <a:cxn ang="0">
                    <a:pos x="T6" y="T7"/>
                  </a:cxn>
                </a:cxnLst>
                <a:rect l="0" t="0" r="r" b="b"/>
                <a:pathLst>
                  <a:path w="152" h="125">
                    <a:moveTo>
                      <a:pt x="0" y="76"/>
                    </a:moveTo>
                    <a:cubicBezTo>
                      <a:pt x="21" y="112"/>
                      <a:pt x="67" y="125"/>
                      <a:pt x="104" y="104"/>
                    </a:cubicBezTo>
                    <a:cubicBezTo>
                      <a:pt x="140" y="83"/>
                      <a:pt x="152" y="36"/>
                      <a:pt x="131" y="0"/>
                    </a:cubicBezTo>
                    <a:lnTo>
                      <a:pt x="0"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grpSp>
        <p:grpSp>
          <p:nvGrpSpPr>
            <p:cNvPr id="38" name="Group 37"/>
            <p:cNvGrpSpPr/>
            <p:nvPr/>
          </p:nvGrpSpPr>
          <p:grpSpPr>
            <a:xfrm>
              <a:off x="4517073" y="3327918"/>
              <a:ext cx="464721" cy="1100091"/>
              <a:chOff x="7339013" y="3160713"/>
              <a:chExt cx="484188" cy="1146175"/>
            </a:xfrm>
            <a:solidFill>
              <a:srgbClr val="00A3A1"/>
            </a:solidFill>
          </p:grpSpPr>
          <p:sp>
            <p:nvSpPr>
              <p:cNvPr id="94" name="Freeform 6"/>
              <p:cNvSpPr>
                <a:spLocks/>
              </p:cNvSpPr>
              <p:nvPr/>
            </p:nvSpPr>
            <p:spPr bwMode="auto">
              <a:xfrm>
                <a:off x="7483407" y="3160713"/>
                <a:ext cx="190500" cy="1146175"/>
              </a:xfrm>
              <a:custGeom>
                <a:avLst/>
                <a:gdLst>
                  <a:gd name="T0" fmla="*/ 120 w 120"/>
                  <a:gd name="T1" fmla="*/ 69 h 722"/>
                  <a:gd name="T2" fmla="*/ 0 w 120"/>
                  <a:gd name="T3" fmla="*/ 0 h 722"/>
                  <a:gd name="T4" fmla="*/ 0 w 120"/>
                  <a:gd name="T5" fmla="*/ 722 h 722"/>
                  <a:gd name="T6" fmla="*/ 0 w 120"/>
                  <a:gd name="T7" fmla="*/ 722 h 722"/>
                  <a:gd name="T8" fmla="*/ 120 w 120"/>
                  <a:gd name="T9" fmla="*/ 653 h 722"/>
                  <a:gd name="T10" fmla="*/ 120 w 120"/>
                  <a:gd name="T11" fmla="*/ 69 h 722"/>
                </a:gdLst>
                <a:ahLst/>
                <a:cxnLst>
                  <a:cxn ang="0">
                    <a:pos x="T0" y="T1"/>
                  </a:cxn>
                  <a:cxn ang="0">
                    <a:pos x="T2" y="T3"/>
                  </a:cxn>
                  <a:cxn ang="0">
                    <a:pos x="T4" y="T5"/>
                  </a:cxn>
                  <a:cxn ang="0">
                    <a:pos x="T6" y="T7"/>
                  </a:cxn>
                  <a:cxn ang="0">
                    <a:pos x="T8" y="T9"/>
                  </a:cxn>
                  <a:cxn ang="0">
                    <a:pos x="T10" y="T11"/>
                  </a:cxn>
                </a:cxnLst>
                <a:rect l="0" t="0" r="r" b="b"/>
                <a:pathLst>
                  <a:path w="120" h="722">
                    <a:moveTo>
                      <a:pt x="120" y="69"/>
                    </a:moveTo>
                    <a:lnTo>
                      <a:pt x="0" y="0"/>
                    </a:lnTo>
                    <a:lnTo>
                      <a:pt x="0" y="722"/>
                    </a:lnTo>
                    <a:lnTo>
                      <a:pt x="0" y="722"/>
                    </a:lnTo>
                    <a:lnTo>
                      <a:pt x="120" y="653"/>
                    </a:lnTo>
                    <a:lnTo>
                      <a:pt x="120" y="6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95" name="Oval 17"/>
              <p:cNvSpPr>
                <a:spLocks noChangeArrowheads="1"/>
              </p:cNvSpPr>
              <p:nvPr/>
            </p:nvSpPr>
            <p:spPr bwMode="auto">
              <a:xfrm>
                <a:off x="7339013" y="3508376"/>
                <a:ext cx="450850" cy="450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96" name="Freeform 27"/>
              <p:cNvSpPr>
                <a:spLocks/>
              </p:cNvSpPr>
              <p:nvPr/>
            </p:nvSpPr>
            <p:spPr bwMode="auto">
              <a:xfrm>
                <a:off x="7367588" y="3621088"/>
                <a:ext cx="455613" cy="371475"/>
              </a:xfrm>
              <a:custGeom>
                <a:avLst/>
                <a:gdLst>
                  <a:gd name="T0" fmla="*/ 0 w 153"/>
                  <a:gd name="T1" fmla="*/ 76 h 125"/>
                  <a:gd name="T2" fmla="*/ 104 w 153"/>
                  <a:gd name="T3" fmla="*/ 104 h 125"/>
                  <a:gd name="T4" fmla="*/ 132 w 153"/>
                  <a:gd name="T5" fmla="*/ 0 h 125"/>
                  <a:gd name="T6" fmla="*/ 0 w 153"/>
                  <a:gd name="T7" fmla="*/ 76 h 125"/>
                </a:gdLst>
                <a:ahLst/>
                <a:cxnLst>
                  <a:cxn ang="0">
                    <a:pos x="T0" y="T1"/>
                  </a:cxn>
                  <a:cxn ang="0">
                    <a:pos x="T2" y="T3"/>
                  </a:cxn>
                  <a:cxn ang="0">
                    <a:pos x="T4" y="T5"/>
                  </a:cxn>
                  <a:cxn ang="0">
                    <a:pos x="T6" y="T7"/>
                  </a:cxn>
                </a:cxnLst>
                <a:rect l="0" t="0" r="r" b="b"/>
                <a:pathLst>
                  <a:path w="153" h="125">
                    <a:moveTo>
                      <a:pt x="0" y="76"/>
                    </a:moveTo>
                    <a:cubicBezTo>
                      <a:pt x="21" y="112"/>
                      <a:pt x="68" y="125"/>
                      <a:pt x="104" y="104"/>
                    </a:cubicBezTo>
                    <a:cubicBezTo>
                      <a:pt x="141" y="83"/>
                      <a:pt x="153" y="36"/>
                      <a:pt x="132" y="0"/>
                    </a:cubicBezTo>
                    <a:lnTo>
                      <a:pt x="0"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grpSp>
        <p:grpSp>
          <p:nvGrpSpPr>
            <p:cNvPr id="39" name="Group 38"/>
            <p:cNvGrpSpPr/>
            <p:nvPr/>
          </p:nvGrpSpPr>
          <p:grpSpPr>
            <a:xfrm>
              <a:off x="6391190" y="3322417"/>
              <a:ext cx="464721" cy="1111092"/>
              <a:chOff x="9291638" y="3154982"/>
              <a:chExt cx="484188" cy="1157637"/>
            </a:xfrm>
            <a:solidFill>
              <a:srgbClr val="483698"/>
            </a:solidFill>
          </p:grpSpPr>
          <p:sp>
            <p:nvSpPr>
              <p:cNvPr id="91" name="Freeform 12"/>
              <p:cNvSpPr>
                <a:spLocks/>
              </p:cNvSpPr>
              <p:nvPr/>
            </p:nvSpPr>
            <p:spPr bwMode="auto">
              <a:xfrm>
                <a:off x="9421813" y="3154982"/>
                <a:ext cx="190500" cy="1157637"/>
              </a:xfrm>
              <a:custGeom>
                <a:avLst/>
                <a:gdLst>
                  <a:gd name="T0" fmla="*/ 120 w 120"/>
                  <a:gd name="T1" fmla="*/ 0 h 722"/>
                  <a:gd name="T2" fmla="*/ 120 w 120"/>
                  <a:gd name="T3" fmla="*/ 0 h 722"/>
                  <a:gd name="T4" fmla="*/ 0 w 120"/>
                  <a:gd name="T5" fmla="*/ 69 h 722"/>
                  <a:gd name="T6" fmla="*/ 0 w 120"/>
                  <a:gd name="T7" fmla="*/ 653 h 722"/>
                  <a:gd name="T8" fmla="*/ 120 w 120"/>
                  <a:gd name="T9" fmla="*/ 722 h 722"/>
                  <a:gd name="T10" fmla="*/ 120 w 120"/>
                  <a:gd name="T11" fmla="*/ 722 h 722"/>
                  <a:gd name="T12" fmla="*/ 120 w 120"/>
                  <a:gd name="T13" fmla="*/ 0 h 722"/>
                </a:gdLst>
                <a:ahLst/>
                <a:cxnLst>
                  <a:cxn ang="0">
                    <a:pos x="T0" y="T1"/>
                  </a:cxn>
                  <a:cxn ang="0">
                    <a:pos x="T2" y="T3"/>
                  </a:cxn>
                  <a:cxn ang="0">
                    <a:pos x="T4" y="T5"/>
                  </a:cxn>
                  <a:cxn ang="0">
                    <a:pos x="T6" y="T7"/>
                  </a:cxn>
                  <a:cxn ang="0">
                    <a:pos x="T8" y="T9"/>
                  </a:cxn>
                  <a:cxn ang="0">
                    <a:pos x="T10" y="T11"/>
                  </a:cxn>
                  <a:cxn ang="0">
                    <a:pos x="T12" y="T13"/>
                  </a:cxn>
                </a:cxnLst>
                <a:rect l="0" t="0" r="r" b="b"/>
                <a:pathLst>
                  <a:path w="120" h="722">
                    <a:moveTo>
                      <a:pt x="120" y="0"/>
                    </a:moveTo>
                    <a:lnTo>
                      <a:pt x="120" y="0"/>
                    </a:lnTo>
                    <a:lnTo>
                      <a:pt x="0" y="69"/>
                    </a:lnTo>
                    <a:lnTo>
                      <a:pt x="0" y="653"/>
                    </a:lnTo>
                    <a:lnTo>
                      <a:pt x="120" y="722"/>
                    </a:lnTo>
                    <a:lnTo>
                      <a:pt x="120" y="722"/>
                    </a:lnTo>
                    <a:lnTo>
                      <a:pt x="12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92" name="Oval 18"/>
              <p:cNvSpPr>
                <a:spLocks noChangeArrowheads="1"/>
              </p:cNvSpPr>
              <p:nvPr/>
            </p:nvSpPr>
            <p:spPr bwMode="auto">
              <a:xfrm>
                <a:off x="9291638" y="3508376"/>
                <a:ext cx="450850" cy="450850"/>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93" name="Freeform 28"/>
              <p:cNvSpPr>
                <a:spLocks/>
              </p:cNvSpPr>
              <p:nvPr/>
            </p:nvSpPr>
            <p:spPr bwMode="auto">
              <a:xfrm>
                <a:off x="9321801" y="3621088"/>
                <a:ext cx="454025" cy="371475"/>
              </a:xfrm>
              <a:custGeom>
                <a:avLst/>
                <a:gdLst>
                  <a:gd name="T0" fmla="*/ 0 w 153"/>
                  <a:gd name="T1" fmla="*/ 76 h 125"/>
                  <a:gd name="T2" fmla="*/ 104 w 153"/>
                  <a:gd name="T3" fmla="*/ 104 h 125"/>
                  <a:gd name="T4" fmla="*/ 132 w 153"/>
                  <a:gd name="T5" fmla="*/ 0 h 125"/>
                  <a:gd name="T6" fmla="*/ 0 w 153"/>
                  <a:gd name="T7" fmla="*/ 76 h 125"/>
                </a:gdLst>
                <a:ahLst/>
                <a:cxnLst>
                  <a:cxn ang="0">
                    <a:pos x="T0" y="T1"/>
                  </a:cxn>
                  <a:cxn ang="0">
                    <a:pos x="T2" y="T3"/>
                  </a:cxn>
                  <a:cxn ang="0">
                    <a:pos x="T4" y="T5"/>
                  </a:cxn>
                  <a:cxn ang="0">
                    <a:pos x="T6" y="T7"/>
                  </a:cxn>
                </a:cxnLst>
                <a:rect l="0" t="0" r="r" b="b"/>
                <a:pathLst>
                  <a:path w="153" h="125">
                    <a:moveTo>
                      <a:pt x="0" y="76"/>
                    </a:moveTo>
                    <a:cubicBezTo>
                      <a:pt x="21" y="112"/>
                      <a:pt x="67" y="125"/>
                      <a:pt x="104" y="104"/>
                    </a:cubicBezTo>
                    <a:cubicBezTo>
                      <a:pt x="140" y="83"/>
                      <a:pt x="153" y="36"/>
                      <a:pt x="132" y="0"/>
                    </a:cubicBezTo>
                    <a:lnTo>
                      <a:pt x="0" y="7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grpSp>
        <p:sp>
          <p:nvSpPr>
            <p:cNvPr id="40" name="TextBox 39"/>
            <p:cNvSpPr txBox="1"/>
            <p:nvPr/>
          </p:nvSpPr>
          <p:spPr>
            <a:xfrm>
              <a:off x="6018985" y="2937850"/>
              <a:ext cx="214802" cy="230832"/>
            </a:xfrm>
            <a:prstGeom prst="rect">
              <a:avLst/>
            </a:prstGeom>
            <a:noFill/>
          </p:spPr>
          <p:txBody>
            <a:bodyPr wrap="none" lIns="0" tIns="0" rIns="0" bIns="0" rtlCol="0" anchor="ctr">
              <a:spAutoFit/>
            </a:bodyPr>
            <a:lstStyle/>
            <a:p>
              <a:pPr marL="0" marR="0" lvl="1" indent="0" defTabSz="914400" eaLnBrk="1" fontAlgn="auto" latinLnBrk="0" hangingPunct="1">
                <a:lnSpc>
                  <a:spcPct val="100000"/>
                </a:lnSpc>
                <a:spcBef>
                  <a:spcPts val="0"/>
                </a:spcBef>
                <a:spcAft>
                  <a:spcPts val="600"/>
                </a:spcAft>
                <a:buClrTx/>
                <a:buSzTx/>
                <a:buFontTx/>
                <a:buNone/>
                <a:tabLst/>
                <a:defRPr/>
              </a:pPr>
              <a:r>
                <a:rPr kumimoji="0" lang="en-US" sz="1500" b="1" i="0" u="none" strike="noStrike" kern="0" cap="none" spc="0" normalizeH="0" baseline="0" noProof="0" dirty="0" smtClean="0">
                  <a:ln>
                    <a:noFill/>
                  </a:ln>
                  <a:solidFill>
                    <a:prstClr val="white"/>
                  </a:solidFill>
                  <a:effectLst/>
                  <a:uLnTx/>
                  <a:uFillTx/>
                  <a:latin typeface="+mj-lt"/>
                </a:rPr>
                <a:t>02</a:t>
              </a:r>
            </a:p>
          </p:txBody>
        </p:sp>
        <p:sp>
          <p:nvSpPr>
            <p:cNvPr id="41" name="TextBox 40"/>
            <p:cNvSpPr txBox="1"/>
            <p:nvPr/>
          </p:nvSpPr>
          <p:spPr>
            <a:xfrm>
              <a:off x="6482943" y="3760633"/>
              <a:ext cx="214802" cy="230832"/>
            </a:xfrm>
            <a:prstGeom prst="rect">
              <a:avLst/>
            </a:prstGeom>
            <a:noFill/>
          </p:spPr>
          <p:txBody>
            <a:bodyPr wrap="none" lIns="0" tIns="0" rIns="0" bIns="0" rtlCol="0" anchor="ctr">
              <a:spAutoFit/>
            </a:bodyPr>
            <a:lstStyle/>
            <a:p>
              <a:pPr marL="0" marR="0" lvl="1" indent="0" defTabSz="914400" eaLnBrk="1" fontAlgn="auto" latinLnBrk="0" hangingPunct="1">
                <a:lnSpc>
                  <a:spcPct val="100000"/>
                </a:lnSpc>
                <a:spcBef>
                  <a:spcPts val="0"/>
                </a:spcBef>
                <a:spcAft>
                  <a:spcPts val="600"/>
                </a:spcAft>
                <a:buClrTx/>
                <a:buSzTx/>
                <a:buFontTx/>
                <a:buNone/>
                <a:tabLst/>
                <a:defRPr/>
              </a:pPr>
              <a:r>
                <a:rPr kumimoji="0" lang="en-US" sz="1500" b="1" i="0" u="none" strike="noStrike" kern="0" cap="none" spc="0" normalizeH="0" baseline="0" noProof="0" dirty="0" smtClean="0">
                  <a:ln>
                    <a:noFill/>
                  </a:ln>
                  <a:solidFill>
                    <a:prstClr val="white"/>
                  </a:solidFill>
                  <a:effectLst/>
                  <a:uLnTx/>
                  <a:uFillTx/>
                  <a:latin typeface="+mj-lt"/>
                </a:rPr>
                <a:t>03</a:t>
              </a:r>
            </a:p>
          </p:txBody>
        </p:sp>
        <p:sp>
          <p:nvSpPr>
            <p:cNvPr id="42" name="TextBox 41"/>
            <p:cNvSpPr txBox="1"/>
            <p:nvPr/>
          </p:nvSpPr>
          <p:spPr>
            <a:xfrm>
              <a:off x="6033925" y="4542438"/>
              <a:ext cx="214802" cy="230832"/>
            </a:xfrm>
            <a:prstGeom prst="rect">
              <a:avLst/>
            </a:prstGeom>
            <a:noFill/>
          </p:spPr>
          <p:txBody>
            <a:bodyPr wrap="none" lIns="0" tIns="0" rIns="0" bIns="0" rtlCol="0" anchor="ctr">
              <a:spAutoFit/>
            </a:bodyPr>
            <a:lstStyle/>
            <a:p>
              <a:pPr marL="0" marR="0" lvl="1" indent="0" defTabSz="914400" eaLnBrk="1" fontAlgn="auto" latinLnBrk="0" hangingPunct="1">
                <a:lnSpc>
                  <a:spcPct val="100000"/>
                </a:lnSpc>
                <a:spcBef>
                  <a:spcPts val="0"/>
                </a:spcBef>
                <a:spcAft>
                  <a:spcPts val="600"/>
                </a:spcAft>
                <a:buClrTx/>
                <a:buSzTx/>
                <a:buFontTx/>
                <a:buNone/>
                <a:tabLst/>
                <a:defRPr/>
              </a:pPr>
              <a:r>
                <a:rPr kumimoji="0" lang="en-US" sz="1500" b="1" i="0" u="none" strike="noStrike" kern="0" cap="none" spc="0" normalizeH="0" baseline="0" noProof="0" dirty="0" smtClean="0">
                  <a:ln>
                    <a:noFill/>
                  </a:ln>
                  <a:solidFill>
                    <a:prstClr val="white"/>
                  </a:solidFill>
                  <a:effectLst/>
                  <a:uLnTx/>
                  <a:uFillTx/>
                  <a:latin typeface="+mj-lt"/>
                </a:rPr>
                <a:t>04</a:t>
              </a:r>
            </a:p>
          </p:txBody>
        </p:sp>
        <p:sp>
          <p:nvSpPr>
            <p:cNvPr id="43" name="TextBox 42"/>
            <p:cNvSpPr txBox="1"/>
            <p:nvPr/>
          </p:nvSpPr>
          <p:spPr>
            <a:xfrm>
              <a:off x="5092296" y="4554928"/>
              <a:ext cx="214802" cy="230832"/>
            </a:xfrm>
            <a:prstGeom prst="rect">
              <a:avLst/>
            </a:prstGeom>
            <a:noFill/>
          </p:spPr>
          <p:txBody>
            <a:bodyPr wrap="none" lIns="0" tIns="0" rIns="0" bIns="0" rtlCol="0" anchor="ctr">
              <a:spAutoFit/>
            </a:bodyPr>
            <a:lstStyle/>
            <a:p>
              <a:pPr marL="0" marR="0" lvl="1" indent="0" defTabSz="914400" eaLnBrk="1" fontAlgn="auto" latinLnBrk="0" hangingPunct="1">
                <a:lnSpc>
                  <a:spcPct val="100000"/>
                </a:lnSpc>
                <a:spcBef>
                  <a:spcPts val="0"/>
                </a:spcBef>
                <a:spcAft>
                  <a:spcPts val="600"/>
                </a:spcAft>
                <a:buClrTx/>
                <a:buSzTx/>
                <a:buFontTx/>
                <a:buNone/>
                <a:tabLst/>
                <a:defRPr/>
              </a:pPr>
              <a:r>
                <a:rPr kumimoji="0" lang="en-US" sz="1500" b="1" i="0" u="none" strike="noStrike" kern="0" cap="none" spc="0" normalizeH="0" baseline="0" noProof="0" dirty="0" smtClean="0">
                  <a:ln>
                    <a:noFill/>
                  </a:ln>
                  <a:solidFill>
                    <a:prstClr val="white"/>
                  </a:solidFill>
                  <a:effectLst/>
                  <a:uLnTx/>
                  <a:uFillTx/>
                  <a:latin typeface="+mj-lt"/>
                </a:rPr>
                <a:t>05</a:t>
              </a:r>
            </a:p>
          </p:txBody>
        </p:sp>
        <p:sp>
          <p:nvSpPr>
            <p:cNvPr id="44" name="TextBox 43"/>
            <p:cNvSpPr txBox="1"/>
            <p:nvPr/>
          </p:nvSpPr>
          <p:spPr>
            <a:xfrm>
              <a:off x="4610350" y="3759871"/>
              <a:ext cx="214802" cy="230832"/>
            </a:xfrm>
            <a:prstGeom prst="rect">
              <a:avLst/>
            </a:prstGeom>
            <a:noFill/>
          </p:spPr>
          <p:txBody>
            <a:bodyPr wrap="none" lIns="0" tIns="0" rIns="0" bIns="0" rtlCol="0" anchor="ctr">
              <a:spAutoFit/>
            </a:bodyPr>
            <a:lstStyle/>
            <a:p>
              <a:pPr marL="0" marR="0" lvl="1" indent="0" defTabSz="914400" eaLnBrk="1" fontAlgn="auto" latinLnBrk="0" hangingPunct="1">
                <a:lnSpc>
                  <a:spcPct val="100000"/>
                </a:lnSpc>
                <a:spcBef>
                  <a:spcPts val="0"/>
                </a:spcBef>
                <a:spcAft>
                  <a:spcPts val="600"/>
                </a:spcAft>
                <a:buClrTx/>
                <a:buSzTx/>
                <a:buFontTx/>
                <a:buNone/>
                <a:tabLst/>
                <a:defRPr/>
              </a:pPr>
              <a:r>
                <a:rPr kumimoji="0" lang="en-US" sz="1500" b="1" i="0" u="none" strike="noStrike" kern="0" cap="none" spc="0" normalizeH="0" baseline="0" noProof="0" dirty="0" smtClean="0">
                  <a:ln>
                    <a:noFill/>
                  </a:ln>
                  <a:solidFill>
                    <a:prstClr val="white"/>
                  </a:solidFill>
                  <a:effectLst/>
                  <a:uLnTx/>
                  <a:uFillTx/>
                  <a:latin typeface="+mj-lt"/>
                </a:rPr>
                <a:t>06</a:t>
              </a:r>
            </a:p>
          </p:txBody>
        </p:sp>
        <p:sp>
          <p:nvSpPr>
            <p:cNvPr id="45" name="TextBox 44"/>
            <p:cNvSpPr txBox="1"/>
            <p:nvPr/>
          </p:nvSpPr>
          <p:spPr>
            <a:xfrm>
              <a:off x="1942710" y="1984050"/>
              <a:ext cx="2678860" cy="897949"/>
            </a:xfrm>
            <a:prstGeom prst="rect">
              <a:avLst/>
            </a:prstGeom>
            <a:noFill/>
          </p:spPr>
          <p:txBody>
            <a:bodyPr wrap="square" lIns="0" tIns="0" rIns="0" bIns="0" rtlCol="0">
              <a:spAutoFit/>
            </a:bodyPr>
            <a:lstStyle/>
            <a:p>
              <a:pPr marL="171450" indent="-171450">
                <a:spcBef>
                  <a:spcPts val="200"/>
                </a:spcBef>
                <a:spcAft>
                  <a:spcPts val="200"/>
                </a:spcAft>
                <a:buFont typeface="Arial" panose="020B0604020202020204" pitchFamily="34" charset="0"/>
                <a:buChar char="•"/>
              </a:pPr>
              <a:r>
                <a:rPr lang="en-US" sz="1400" dirty="0" smtClean="0">
                  <a:solidFill>
                    <a:srgbClr val="005EB8"/>
                  </a:solidFill>
                  <a:latin typeface="+mj-lt"/>
                  <a:cs typeface="Arial" pitchFamily="34" charset="0"/>
                </a:rPr>
                <a:t>Leadership, Ambition &amp; Strategy</a:t>
              </a:r>
              <a:endParaRPr lang="en-US" sz="1400" dirty="0">
                <a:solidFill>
                  <a:srgbClr val="005EB8"/>
                </a:solidFill>
                <a:latin typeface="+mj-lt"/>
                <a:cs typeface="Arial" pitchFamily="34" charset="0"/>
              </a:endParaRPr>
            </a:p>
            <a:p>
              <a:pPr marL="171450" indent="-171450">
                <a:spcBef>
                  <a:spcPts val="200"/>
                </a:spcBef>
                <a:spcAft>
                  <a:spcPts val="200"/>
                </a:spcAft>
                <a:buFont typeface="Arial" panose="020B0604020202020204" pitchFamily="34" charset="0"/>
                <a:buChar char="•"/>
              </a:pPr>
              <a:r>
                <a:rPr lang="en-US" sz="1400" dirty="0" smtClean="0">
                  <a:solidFill>
                    <a:srgbClr val="005EB8"/>
                  </a:solidFill>
                  <a:latin typeface="+mj-lt"/>
                  <a:cs typeface="Arial" pitchFamily="34" charset="0"/>
                </a:rPr>
                <a:t>Digital KPIs and Value Realisation</a:t>
              </a:r>
              <a:endParaRPr lang="en-US" sz="1400" dirty="0">
                <a:solidFill>
                  <a:srgbClr val="005EB8"/>
                </a:solidFill>
                <a:latin typeface="+mj-lt"/>
                <a:cs typeface="Arial" pitchFamily="34" charset="0"/>
              </a:endParaRPr>
            </a:p>
          </p:txBody>
        </p:sp>
        <p:sp>
          <p:nvSpPr>
            <p:cNvPr id="46" name="TextBox 45"/>
            <p:cNvSpPr txBox="1"/>
            <p:nvPr/>
          </p:nvSpPr>
          <p:spPr>
            <a:xfrm>
              <a:off x="7438843" y="1908834"/>
              <a:ext cx="4335023" cy="1261164"/>
            </a:xfrm>
            <a:prstGeom prst="rect">
              <a:avLst/>
            </a:prstGeom>
            <a:noFill/>
          </p:spPr>
          <p:txBody>
            <a:bodyPr wrap="square" lIns="0" tIns="0" rIns="0" bIns="0" rtlCol="0">
              <a:spAutoFit/>
            </a:bodyPr>
            <a:lstStyle/>
            <a:p>
              <a:pPr marL="171450" indent="-171450">
                <a:spcBef>
                  <a:spcPts val="200"/>
                </a:spcBef>
                <a:spcAft>
                  <a:spcPts val="200"/>
                </a:spcAft>
                <a:buFont typeface="Arial" panose="020B0604020202020204" pitchFamily="34" charset="0"/>
                <a:buChar char="•"/>
              </a:pPr>
              <a:r>
                <a:rPr lang="en-US" sz="1400" dirty="0">
                  <a:solidFill>
                    <a:srgbClr val="0091DA"/>
                  </a:solidFill>
                  <a:latin typeface="+mj-lt"/>
                  <a:cs typeface="Arial" pitchFamily="34" charset="0"/>
                </a:rPr>
                <a:t>Market/Customer Insight</a:t>
              </a:r>
            </a:p>
            <a:p>
              <a:pPr marL="171450" indent="-171450">
                <a:spcBef>
                  <a:spcPts val="200"/>
                </a:spcBef>
                <a:spcAft>
                  <a:spcPts val="200"/>
                </a:spcAft>
                <a:buFont typeface="Arial" panose="020B0604020202020204" pitchFamily="34" charset="0"/>
                <a:buChar char="•"/>
              </a:pPr>
              <a:r>
                <a:rPr lang="en-US" sz="1400" dirty="0">
                  <a:solidFill>
                    <a:srgbClr val="0091DA"/>
                  </a:solidFill>
                  <a:cs typeface="Arial" pitchFamily="34" charset="0"/>
                </a:rPr>
                <a:t>Customer E</a:t>
              </a:r>
              <a:r>
                <a:rPr lang="en-US" sz="1400" dirty="0" smtClean="0">
                  <a:solidFill>
                    <a:srgbClr val="0091DA"/>
                  </a:solidFill>
                  <a:cs typeface="Arial" pitchFamily="34" charset="0"/>
                </a:rPr>
                <a:t>xperience </a:t>
              </a:r>
              <a:r>
                <a:rPr lang="en-US" sz="1400" dirty="0">
                  <a:solidFill>
                    <a:srgbClr val="0091DA"/>
                  </a:solidFill>
                  <a:cs typeface="Arial" pitchFamily="34" charset="0"/>
                </a:rPr>
                <a:t>M</a:t>
              </a:r>
              <a:r>
                <a:rPr lang="en-US" sz="1400" dirty="0" smtClean="0">
                  <a:solidFill>
                    <a:srgbClr val="0091DA"/>
                  </a:solidFill>
                  <a:cs typeface="Arial" pitchFamily="34" charset="0"/>
                </a:rPr>
                <a:t>anagement </a:t>
              </a:r>
            </a:p>
            <a:p>
              <a:pPr marL="171450" indent="-171450">
                <a:spcBef>
                  <a:spcPts val="200"/>
                </a:spcBef>
                <a:spcAft>
                  <a:spcPts val="200"/>
                </a:spcAft>
                <a:buFont typeface="Arial" panose="020B0604020202020204" pitchFamily="34" charset="0"/>
                <a:buChar char="•"/>
              </a:pPr>
              <a:r>
                <a:rPr lang="en-US" sz="1400" dirty="0" smtClean="0">
                  <a:solidFill>
                    <a:srgbClr val="0091DA"/>
                  </a:solidFill>
                  <a:cs typeface="Arial" pitchFamily="34" charset="0"/>
                </a:rPr>
                <a:t>Digital Marketing &amp; Sales</a:t>
              </a:r>
              <a:endParaRPr lang="en-US" sz="1400" dirty="0">
                <a:solidFill>
                  <a:srgbClr val="0091DA"/>
                </a:solidFill>
                <a:cs typeface="Arial" pitchFamily="34" charset="0"/>
              </a:endParaRPr>
            </a:p>
            <a:p>
              <a:pPr marL="171450" indent="-171450">
                <a:spcBef>
                  <a:spcPts val="200"/>
                </a:spcBef>
                <a:spcAft>
                  <a:spcPts val="200"/>
                </a:spcAft>
                <a:buFont typeface="Arial" panose="020B0604020202020204" pitchFamily="34" charset="0"/>
                <a:buChar char="•"/>
              </a:pPr>
              <a:r>
                <a:rPr lang="en-US" sz="1400" dirty="0" smtClean="0">
                  <a:solidFill>
                    <a:srgbClr val="0091DA"/>
                  </a:solidFill>
                  <a:cs typeface="Arial" pitchFamily="34" charset="0"/>
                </a:rPr>
                <a:t>Digital Channels</a:t>
              </a:r>
              <a:endParaRPr lang="en-US" sz="1400" dirty="0">
                <a:solidFill>
                  <a:srgbClr val="0091DA"/>
                </a:solidFill>
                <a:cs typeface="Arial" pitchFamily="34" charset="0"/>
              </a:endParaRPr>
            </a:p>
            <a:p>
              <a:pPr marL="171450" indent="-171450">
                <a:spcBef>
                  <a:spcPts val="200"/>
                </a:spcBef>
                <a:spcAft>
                  <a:spcPts val="200"/>
                </a:spcAft>
                <a:buFont typeface="Arial" panose="020B0604020202020204" pitchFamily="34" charset="0"/>
                <a:buChar char="•"/>
              </a:pPr>
              <a:endParaRPr lang="en-US" sz="1400" dirty="0">
                <a:solidFill>
                  <a:srgbClr val="0091DA"/>
                </a:solidFill>
                <a:latin typeface="+mj-lt"/>
                <a:cs typeface="Arial" pitchFamily="34" charset="0"/>
              </a:endParaRPr>
            </a:p>
          </p:txBody>
        </p:sp>
        <p:sp>
          <p:nvSpPr>
            <p:cNvPr id="47" name="TextBox 46"/>
            <p:cNvSpPr txBox="1"/>
            <p:nvPr/>
          </p:nvSpPr>
          <p:spPr>
            <a:xfrm>
              <a:off x="8287532" y="3526206"/>
              <a:ext cx="2502053" cy="736520"/>
            </a:xfrm>
            <a:prstGeom prst="rect">
              <a:avLst/>
            </a:prstGeom>
            <a:noFill/>
          </p:spPr>
          <p:txBody>
            <a:bodyPr wrap="square" lIns="0" tIns="0" rIns="0" bIns="0" rtlCol="0">
              <a:spAutoFit/>
            </a:bodyPr>
            <a:lstStyle/>
            <a:p>
              <a:pPr marL="171450" indent="-171450">
                <a:spcBef>
                  <a:spcPts val="200"/>
                </a:spcBef>
                <a:spcAft>
                  <a:spcPts val="200"/>
                </a:spcAft>
                <a:buFont typeface="Arial" panose="020B0604020202020204" pitchFamily="34" charset="0"/>
                <a:buChar char="•"/>
              </a:pPr>
              <a:r>
                <a:rPr lang="en-US" sz="1400" dirty="0">
                  <a:solidFill>
                    <a:srgbClr val="483698"/>
                  </a:solidFill>
                  <a:latin typeface="+mj-lt"/>
                  <a:cs typeface="Arial" pitchFamily="34" charset="0"/>
                </a:rPr>
                <a:t>Governance M</a:t>
              </a:r>
              <a:r>
                <a:rPr lang="en-US" sz="1400" dirty="0" smtClean="0">
                  <a:solidFill>
                    <a:srgbClr val="483698"/>
                  </a:solidFill>
                  <a:latin typeface="+mj-lt"/>
                  <a:cs typeface="Arial" pitchFamily="34" charset="0"/>
                </a:rPr>
                <a:t>odel</a:t>
              </a:r>
            </a:p>
            <a:p>
              <a:pPr marL="171450" indent="-171450">
                <a:spcBef>
                  <a:spcPts val="200"/>
                </a:spcBef>
                <a:spcAft>
                  <a:spcPts val="200"/>
                </a:spcAft>
                <a:buFont typeface="Arial" panose="020B0604020202020204" pitchFamily="34" charset="0"/>
                <a:buChar char="•"/>
              </a:pPr>
              <a:r>
                <a:rPr lang="en-US" sz="1400" dirty="0" smtClean="0">
                  <a:solidFill>
                    <a:srgbClr val="483698"/>
                  </a:solidFill>
                  <a:latin typeface="+mj-lt"/>
                  <a:cs typeface="Arial" pitchFamily="34" charset="0"/>
                </a:rPr>
                <a:t>Digital Workforce</a:t>
              </a:r>
              <a:endParaRPr lang="en-US" sz="1400" dirty="0">
                <a:solidFill>
                  <a:srgbClr val="483698"/>
                </a:solidFill>
                <a:latin typeface="+mj-lt"/>
                <a:cs typeface="Arial" pitchFamily="34" charset="0"/>
              </a:endParaRPr>
            </a:p>
            <a:p>
              <a:pPr marL="171450" indent="-171450">
                <a:spcBef>
                  <a:spcPts val="200"/>
                </a:spcBef>
                <a:spcAft>
                  <a:spcPts val="200"/>
                </a:spcAft>
                <a:buFont typeface="Arial" panose="020B0604020202020204" pitchFamily="34" charset="0"/>
                <a:buChar char="•"/>
              </a:pPr>
              <a:r>
                <a:rPr lang="en-US" sz="1400" dirty="0" smtClean="0">
                  <a:solidFill>
                    <a:srgbClr val="483698"/>
                  </a:solidFill>
                  <a:latin typeface="+mj-lt"/>
                  <a:cs typeface="Arial" pitchFamily="34" charset="0"/>
                </a:rPr>
                <a:t>Process </a:t>
              </a:r>
              <a:r>
                <a:rPr lang="en-US" sz="1400" dirty="0">
                  <a:solidFill>
                    <a:srgbClr val="483698"/>
                  </a:solidFill>
                  <a:latin typeface="+mj-lt"/>
                  <a:cs typeface="Arial" pitchFamily="34" charset="0"/>
                </a:rPr>
                <a:t>D</a:t>
              </a:r>
              <a:r>
                <a:rPr lang="en-US" sz="1400" dirty="0" smtClean="0">
                  <a:solidFill>
                    <a:srgbClr val="483698"/>
                  </a:solidFill>
                  <a:latin typeface="+mj-lt"/>
                  <a:cs typeface="Arial" pitchFamily="34" charset="0"/>
                </a:rPr>
                <a:t>igitization</a:t>
              </a:r>
            </a:p>
          </p:txBody>
        </p:sp>
        <p:sp>
          <p:nvSpPr>
            <p:cNvPr id="48" name="TextBox 47"/>
            <p:cNvSpPr txBox="1"/>
            <p:nvPr/>
          </p:nvSpPr>
          <p:spPr>
            <a:xfrm>
              <a:off x="7470792" y="4837952"/>
              <a:ext cx="3730030" cy="998842"/>
            </a:xfrm>
            <a:prstGeom prst="rect">
              <a:avLst/>
            </a:prstGeom>
            <a:noFill/>
          </p:spPr>
          <p:txBody>
            <a:bodyPr wrap="square" lIns="0" tIns="0" rIns="0" bIns="0" rtlCol="0">
              <a:spAutoFit/>
            </a:bodyPr>
            <a:lstStyle/>
            <a:p>
              <a:pPr marL="171450" indent="-171450">
                <a:spcBef>
                  <a:spcPts val="200"/>
                </a:spcBef>
                <a:spcAft>
                  <a:spcPts val="200"/>
                </a:spcAft>
                <a:buFont typeface="Arial" panose="020B0604020202020204" pitchFamily="34" charset="0"/>
                <a:buChar char="•"/>
              </a:pPr>
              <a:r>
                <a:rPr lang="en-US" sz="1400" dirty="0" smtClean="0">
                  <a:solidFill>
                    <a:srgbClr val="470A68"/>
                  </a:solidFill>
                  <a:latin typeface="+mj-lt"/>
                  <a:cs typeface="Arial" pitchFamily="34" charset="0"/>
                </a:rPr>
                <a:t>Application Programming Interfaces (APIs)</a:t>
              </a:r>
              <a:endParaRPr lang="en-US" sz="1400" dirty="0">
                <a:solidFill>
                  <a:srgbClr val="470A68"/>
                </a:solidFill>
                <a:latin typeface="+mj-lt"/>
                <a:cs typeface="Arial" pitchFamily="34" charset="0"/>
              </a:endParaRPr>
            </a:p>
            <a:p>
              <a:pPr marL="171450" indent="-171450">
                <a:spcBef>
                  <a:spcPts val="200"/>
                </a:spcBef>
                <a:spcAft>
                  <a:spcPts val="200"/>
                </a:spcAft>
                <a:buFont typeface="Arial" panose="020B0604020202020204" pitchFamily="34" charset="0"/>
                <a:buChar char="•"/>
              </a:pPr>
              <a:r>
                <a:rPr lang="en-US" sz="1400" dirty="0">
                  <a:solidFill>
                    <a:srgbClr val="470A68"/>
                  </a:solidFill>
                  <a:latin typeface="+mj-lt"/>
                  <a:cs typeface="Arial" pitchFamily="34" charset="0"/>
                </a:rPr>
                <a:t>Cloud M</a:t>
              </a:r>
              <a:r>
                <a:rPr lang="en-US" sz="1400" dirty="0" smtClean="0">
                  <a:solidFill>
                    <a:srgbClr val="470A68"/>
                  </a:solidFill>
                  <a:latin typeface="+mj-lt"/>
                  <a:cs typeface="Arial" pitchFamily="34" charset="0"/>
                </a:rPr>
                <a:t>odel</a:t>
              </a:r>
              <a:endParaRPr lang="en-US" sz="1400" dirty="0">
                <a:solidFill>
                  <a:srgbClr val="470A68"/>
                </a:solidFill>
                <a:latin typeface="+mj-lt"/>
                <a:cs typeface="Arial" pitchFamily="34" charset="0"/>
              </a:endParaRPr>
            </a:p>
            <a:p>
              <a:pPr marL="171450" indent="-171450">
                <a:spcBef>
                  <a:spcPts val="200"/>
                </a:spcBef>
                <a:spcAft>
                  <a:spcPts val="200"/>
                </a:spcAft>
                <a:buFont typeface="Arial" panose="020B0604020202020204" pitchFamily="34" charset="0"/>
                <a:buChar char="•"/>
              </a:pPr>
              <a:r>
                <a:rPr lang="en-US" sz="1400" dirty="0">
                  <a:solidFill>
                    <a:srgbClr val="470A68"/>
                  </a:solidFill>
                  <a:latin typeface="+mj-lt"/>
                  <a:cs typeface="Arial" pitchFamily="34" charset="0"/>
                </a:rPr>
                <a:t>Analytics &amp; </a:t>
              </a:r>
              <a:r>
                <a:rPr lang="en-US" sz="1400" dirty="0" smtClean="0">
                  <a:solidFill>
                    <a:srgbClr val="470A68"/>
                  </a:solidFill>
                  <a:latin typeface="+mj-lt"/>
                  <a:cs typeface="Arial" pitchFamily="34" charset="0"/>
                </a:rPr>
                <a:t>Artificial Intelligence</a:t>
              </a:r>
              <a:endParaRPr lang="en-US" sz="1400" dirty="0">
                <a:solidFill>
                  <a:srgbClr val="470A68"/>
                </a:solidFill>
                <a:latin typeface="+mj-lt"/>
                <a:cs typeface="Arial" pitchFamily="34" charset="0"/>
              </a:endParaRPr>
            </a:p>
            <a:p>
              <a:pPr marL="171450" indent="-171450">
                <a:spcBef>
                  <a:spcPts val="200"/>
                </a:spcBef>
                <a:spcAft>
                  <a:spcPts val="200"/>
                </a:spcAft>
                <a:buFont typeface="Arial" panose="020B0604020202020204" pitchFamily="34" charset="0"/>
                <a:buChar char="•"/>
              </a:pPr>
              <a:r>
                <a:rPr lang="en-US" sz="1400" dirty="0">
                  <a:solidFill>
                    <a:srgbClr val="470A68"/>
                  </a:solidFill>
                  <a:latin typeface="+mj-lt"/>
                  <a:cs typeface="Arial" pitchFamily="34" charset="0"/>
                </a:rPr>
                <a:t>User </a:t>
              </a:r>
              <a:r>
                <a:rPr lang="en-US" sz="1400" dirty="0" smtClean="0">
                  <a:solidFill>
                    <a:srgbClr val="470A68"/>
                  </a:solidFill>
                  <a:latin typeface="+mj-lt"/>
                  <a:cs typeface="Arial" pitchFamily="34" charset="0"/>
                </a:rPr>
                <a:t>Experience </a:t>
              </a:r>
              <a:r>
                <a:rPr lang="en-US" sz="1400" dirty="0">
                  <a:solidFill>
                    <a:srgbClr val="470A68"/>
                  </a:solidFill>
                  <a:latin typeface="+mj-lt"/>
                  <a:cs typeface="Arial" pitchFamily="34" charset="0"/>
                </a:rPr>
                <a:t>&amp; </a:t>
              </a:r>
              <a:r>
                <a:rPr lang="en-US" sz="1400" dirty="0" smtClean="0">
                  <a:solidFill>
                    <a:srgbClr val="470A68"/>
                  </a:solidFill>
                  <a:latin typeface="+mj-lt"/>
                  <a:cs typeface="Arial" pitchFamily="34" charset="0"/>
                </a:rPr>
                <a:t>User </a:t>
              </a:r>
              <a:r>
                <a:rPr lang="en-US" sz="1400" dirty="0">
                  <a:solidFill>
                    <a:srgbClr val="470A68"/>
                  </a:solidFill>
                  <a:latin typeface="+mj-lt"/>
                  <a:cs typeface="Arial" pitchFamily="34" charset="0"/>
                </a:rPr>
                <a:t>I</a:t>
              </a:r>
              <a:r>
                <a:rPr lang="en-US" sz="1400" dirty="0" smtClean="0">
                  <a:solidFill>
                    <a:srgbClr val="470A68"/>
                  </a:solidFill>
                  <a:latin typeface="+mj-lt"/>
                  <a:cs typeface="Arial" pitchFamily="34" charset="0"/>
                </a:rPr>
                <a:t>nterface</a:t>
              </a:r>
            </a:p>
          </p:txBody>
        </p:sp>
        <p:sp>
          <p:nvSpPr>
            <p:cNvPr id="49" name="TextBox 48"/>
            <p:cNvSpPr txBox="1"/>
            <p:nvPr/>
          </p:nvSpPr>
          <p:spPr>
            <a:xfrm>
              <a:off x="1347337" y="4969255"/>
              <a:ext cx="2882105" cy="736520"/>
            </a:xfrm>
            <a:prstGeom prst="rect">
              <a:avLst/>
            </a:prstGeom>
            <a:noFill/>
          </p:spPr>
          <p:txBody>
            <a:bodyPr wrap="square" lIns="0" tIns="0" rIns="0" bIns="0" rtlCol="0">
              <a:spAutoFit/>
            </a:bodyPr>
            <a:lstStyle/>
            <a:p>
              <a:pPr marL="171450" indent="-171450">
                <a:spcBef>
                  <a:spcPts val="200"/>
                </a:spcBef>
                <a:spcAft>
                  <a:spcPts val="200"/>
                </a:spcAft>
                <a:buFont typeface="Arial" panose="020B0604020202020204" pitchFamily="34" charset="0"/>
                <a:buChar char="•"/>
              </a:pPr>
              <a:r>
                <a:rPr lang="en-US" sz="1400" dirty="0" smtClean="0">
                  <a:solidFill>
                    <a:srgbClr val="6D2077"/>
                  </a:solidFill>
                  <a:latin typeface="+mj-lt"/>
                  <a:cs typeface="Arial" pitchFamily="34" charset="0"/>
                </a:rPr>
                <a:t>Innovation Strategy </a:t>
              </a:r>
            </a:p>
            <a:p>
              <a:pPr marL="171450" indent="-171450">
                <a:spcBef>
                  <a:spcPts val="200"/>
                </a:spcBef>
                <a:spcAft>
                  <a:spcPts val="200"/>
                </a:spcAft>
                <a:buFont typeface="Arial" panose="020B0604020202020204" pitchFamily="34" charset="0"/>
                <a:buChar char="•"/>
              </a:pPr>
              <a:r>
                <a:rPr lang="en-US" sz="1400" dirty="0" smtClean="0">
                  <a:solidFill>
                    <a:srgbClr val="6D2077"/>
                  </a:solidFill>
                  <a:latin typeface="+mj-lt"/>
                  <a:cs typeface="Arial" pitchFamily="34" charset="0"/>
                </a:rPr>
                <a:t>Innovation Sourcing</a:t>
              </a:r>
              <a:endParaRPr lang="en-US" sz="1400" b="1" dirty="0" smtClean="0">
                <a:solidFill>
                  <a:srgbClr val="6D2077"/>
                </a:solidFill>
                <a:latin typeface="+mj-lt"/>
                <a:cs typeface="Arial" pitchFamily="34" charset="0"/>
              </a:endParaRPr>
            </a:p>
            <a:p>
              <a:pPr marL="171450" indent="-171450">
                <a:spcBef>
                  <a:spcPts val="200"/>
                </a:spcBef>
                <a:spcAft>
                  <a:spcPts val="200"/>
                </a:spcAft>
                <a:buFont typeface="Arial" panose="020B0604020202020204" pitchFamily="34" charset="0"/>
                <a:buChar char="•"/>
              </a:pPr>
              <a:r>
                <a:rPr lang="en-US" sz="1400" dirty="0">
                  <a:solidFill>
                    <a:srgbClr val="6D2077"/>
                  </a:solidFill>
                  <a:latin typeface="+mj-lt"/>
                  <a:cs typeface="Arial" pitchFamily="34" charset="0"/>
                </a:rPr>
                <a:t>Partnerships </a:t>
              </a:r>
              <a:r>
                <a:rPr lang="en-US" sz="1400" dirty="0" smtClean="0">
                  <a:solidFill>
                    <a:srgbClr val="6D2077"/>
                  </a:solidFill>
                  <a:latin typeface="+mj-lt"/>
                  <a:cs typeface="Arial" pitchFamily="34" charset="0"/>
                </a:rPr>
                <a:t>and Collaboration</a:t>
              </a:r>
              <a:endParaRPr lang="en-US" sz="1400" b="1" dirty="0">
                <a:solidFill>
                  <a:srgbClr val="6D2077"/>
                </a:solidFill>
                <a:latin typeface="+mj-lt"/>
                <a:cs typeface="Arial" pitchFamily="34" charset="0"/>
              </a:endParaRPr>
            </a:p>
          </p:txBody>
        </p:sp>
        <p:sp>
          <p:nvSpPr>
            <p:cNvPr id="50" name="TextBox 49"/>
            <p:cNvSpPr txBox="1"/>
            <p:nvPr/>
          </p:nvSpPr>
          <p:spPr>
            <a:xfrm>
              <a:off x="809131" y="3170469"/>
              <a:ext cx="2447786" cy="1059378"/>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400" dirty="0" smtClean="0">
                  <a:solidFill>
                    <a:srgbClr val="00A3A1"/>
                  </a:solidFill>
                  <a:latin typeface="+mj-lt"/>
                  <a:cs typeface="Arial" pitchFamily="34" charset="0"/>
                </a:rPr>
                <a:t>Risk Governance</a:t>
              </a:r>
            </a:p>
            <a:p>
              <a:pPr marL="171450" indent="-171450">
                <a:buFont typeface="Arial" panose="020B0604020202020204" pitchFamily="34" charset="0"/>
                <a:buChar char="•"/>
              </a:pPr>
              <a:r>
                <a:rPr lang="en-US" sz="1400" dirty="0" smtClean="0">
                  <a:solidFill>
                    <a:srgbClr val="00A3A1"/>
                  </a:solidFill>
                  <a:latin typeface="+mj-lt"/>
                  <a:cs typeface="Arial" pitchFamily="34" charset="0"/>
                </a:rPr>
                <a:t>Risk Monitoring</a:t>
              </a:r>
            </a:p>
            <a:p>
              <a:pPr marL="171450" indent="-171450">
                <a:buFont typeface="Arial" panose="020B0604020202020204" pitchFamily="34" charset="0"/>
                <a:buChar char="•"/>
              </a:pPr>
              <a:r>
                <a:rPr lang="en-US" sz="1400" dirty="0" smtClean="0">
                  <a:solidFill>
                    <a:srgbClr val="00A3A1"/>
                  </a:solidFill>
                  <a:latin typeface="+mj-lt"/>
                  <a:cs typeface="Arial" pitchFamily="34" charset="0"/>
                </a:rPr>
                <a:t>Risk Definition &amp; Risk Ownership</a:t>
              </a:r>
            </a:p>
            <a:p>
              <a:pPr marL="171450" indent="-171450">
                <a:buFont typeface="Arial" panose="020B0604020202020204" pitchFamily="34" charset="0"/>
                <a:buChar char="•"/>
              </a:pPr>
              <a:r>
                <a:rPr lang="en-US" sz="1400" dirty="0" smtClean="0">
                  <a:solidFill>
                    <a:srgbClr val="00A3A1"/>
                  </a:solidFill>
                  <a:latin typeface="+mj-lt"/>
                  <a:cs typeface="Arial" pitchFamily="34" charset="0"/>
                </a:rPr>
                <a:t>Cyber Security risk</a:t>
              </a:r>
              <a:endParaRPr lang="en-US" sz="1400" b="1" baseline="30000" dirty="0">
                <a:solidFill>
                  <a:srgbClr val="00A3A1"/>
                </a:solidFill>
                <a:latin typeface="+mj-lt"/>
                <a:cs typeface="Arial" pitchFamily="34" charset="0"/>
              </a:endParaRPr>
            </a:p>
          </p:txBody>
        </p:sp>
        <p:sp>
          <p:nvSpPr>
            <p:cNvPr id="51" name="Freeform 15"/>
            <p:cNvSpPr>
              <a:spLocks/>
            </p:cNvSpPr>
            <p:nvPr/>
          </p:nvSpPr>
          <p:spPr bwMode="auto">
            <a:xfrm>
              <a:off x="4095016" y="1627500"/>
              <a:ext cx="1538909" cy="1706513"/>
            </a:xfrm>
            <a:custGeom>
              <a:avLst/>
              <a:gdLst>
                <a:gd name="T0" fmla="*/ 270 w 540"/>
                <a:gd name="T1" fmla="*/ 0 h 599"/>
                <a:gd name="T2" fmla="*/ 232 w 540"/>
                <a:gd name="T3" fmla="*/ 10 h 599"/>
                <a:gd name="T4" fmla="*/ 38 w 540"/>
                <a:gd name="T5" fmla="*/ 122 h 599"/>
                <a:gd name="T6" fmla="*/ 0 w 540"/>
                <a:gd name="T7" fmla="*/ 187 h 599"/>
                <a:gd name="T8" fmla="*/ 0 w 540"/>
                <a:gd name="T9" fmla="*/ 412 h 599"/>
                <a:gd name="T10" fmla="*/ 38 w 540"/>
                <a:gd name="T11" fmla="*/ 477 h 599"/>
                <a:gd name="T12" fmla="*/ 232 w 540"/>
                <a:gd name="T13" fmla="*/ 589 h 599"/>
                <a:gd name="T14" fmla="*/ 270 w 540"/>
                <a:gd name="T15" fmla="*/ 599 h 599"/>
                <a:gd name="T16" fmla="*/ 307 w 540"/>
                <a:gd name="T17" fmla="*/ 589 h 599"/>
                <a:gd name="T18" fmla="*/ 502 w 540"/>
                <a:gd name="T19" fmla="*/ 477 h 599"/>
                <a:gd name="T20" fmla="*/ 540 w 540"/>
                <a:gd name="T21" fmla="*/ 412 h 599"/>
                <a:gd name="T22" fmla="*/ 540 w 540"/>
                <a:gd name="T23" fmla="*/ 187 h 599"/>
                <a:gd name="T24" fmla="*/ 502 w 540"/>
                <a:gd name="T25" fmla="*/ 122 h 599"/>
                <a:gd name="T26" fmla="*/ 307 w 540"/>
                <a:gd name="T27" fmla="*/ 10 h 599"/>
                <a:gd name="T28" fmla="*/ 270 w 540"/>
                <a:gd name="T29"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0" h="599">
                  <a:moveTo>
                    <a:pt x="270" y="0"/>
                  </a:moveTo>
                  <a:cubicBezTo>
                    <a:pt x="257" y="0"/>
                    <a:pt x="244" y="3"/>
                    <a:pt x="232" y="10"/>
                  </a:cubicBezTo>
                  <a:cubicBezTo>
                    <a:pt x="38" y="122"/>
                    <a:pt x="38" y="122"/>
                    <a:pt x="38" y="122"/>
                  </a:cubicBezTo>
                  <a:cubicBezTo>
                    <a:pt x="14" y="136"/>
                    <a:pt x="0" y="160"/>
                    <a:pt x="0" y="187"/>
                  </a:cubicBezTo>
                  <a:cubicBezTo>
                    <a:pt x="0" y="412"/>
                    <a:pt x="0" y="412"/>
                    <a:pt x="0" y="412"/>
                  </a:cubicBezTo>
                  <a:cubicBezTo>
                    <a:pt x="0" y="439"/>
                    <a:pt x="14" y="464"/>
                    <a:pt x="38" y="477"/>
                  </a:cubicBezTo>
                  <a:cubicBezTo>
                    <a:pt x="232" y="589"/>
                    <a:pt x="232" y="589"/>
                    <a:pt x="232" y="589"/>
                  </a:cubicBezTo>
                  <a:cubicBezTo>
                    <a:pt x="244" y="596"/>
                    <a:pt x="257" y="599"/>
                    <a:pt x="270" y="599"/>
                  </a:cubicBezTo>
                  <a:cubicBezTo>
                    <a:pt x="283" y="599"/>
                    <a:pt x="296" y="596"/>
                    <a:pt x="307" y="589"/>
                  </a:cubicBezTo>
                  <a:cubicBezTo>
                    <a:pt x="502" y="477"/>
                    <a:pt x="502" y="477"/>
                    <a:pt x="502" y="477"/>
                  </a:cubicBezTo>
                  <a:cubicBezTo>
                    <a:pt x="525" y="464"/>
                    <a:pt x="540" y="439"/>
                    <a:pt x="540" y="412"/>
                  </a:cubicBezTo>
                  <a:cubicBezTo>
                    <a:pt x="540" y="187"/>
                    <a:pt x="540" y="187"/>
                    <a:pt x="540" y="187"/>
                  </a:cubicBezTo>
                  <a:cubicBezTo>
                    <a:pt x="540" y="160"/>
                    <a:pt x="525" y="136"/>
                    <a:pt x="502" y="122"/>
                  </a:cubicBezTo>
                  <a:cubicBezTo>
                    <a:pt x="307" y="10"/>
                    <a:pt x="307" y="10"/>
                    <a:pt x="307" y="10"/>
                  </a:cubicBezTo>
                  <a:cubicBezTo>
                    <a:pt x="296" y="3"/>
                    <a:pt x="283" y="0"/>
                    <a:pt x="270" y="0"/>
                  </a:cubicBezTo>
                </a:path>
              </a:pathLst>
            </a:custGeom>
            <a:solidFill>
              <a:srgbClr val="005EB8"/>
            </a:solidFill>
            <a:ln>
              <a:noFill/>
            </a:ln>
            <a:extLst/>
          </p:spPr>
          <p:txBody>
            <a:bodyPr vert="horz" wrap="square" lIns="91440" tIns="45720" rIns="91440" bIns="274320" numCol="1" anchor="ctr" anchorCtr="0" compatLnSpc="1">
              <a:prstTxWarp prst="textNoShape">
                <a:avLst/>
              </a:prstTxWarp>
            </a:bodyPr>
            <a:lstStyle/>
            <a:p>
              <a:pPr marL="0" marR="0" lvl="1" indent="0" algn="ctr" defTabSz="914400" eaLnBrk="1" fontAlgn="auto" latinLnBrk="0" hangingPunct="1">
                <a:lnSpc>
                  <a:spcPct val="100000"/>
                </a:lnSpc>
                <a:spcBef>
                  <a:spcPts val="0"/>
                </a:spcBef>
                <a:spcAft>
                  <a:spcPts val="60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mj-lt"/>
              </a:endParaRPr>
            </a:p>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500" b="0" i="0" u="none" strike="noStrike" kern="0" cap="none" spc="0" normalizeH="0" baseline="0" noProof="0" dirty="0" smtClean="0">
                  <a:ln>
                    <a:noFill/>
                  </a:ln>
                  <a:solidFill>
                    <a:prstClr val="white"/>
                  </a:solidFill>
                  <a:effectLst/>
                  <a:uLnTx/>
                  <a:uFillTx/>
                  <a:latin typeface="+mj-lt"/>
                </a:rPr>
                <a:t>Value Management </a:t>
              </a:r>
            </a:p>
          </p:txBody>
        </p:sp>
        <p:sp>
          <p:nvSpPr>
            <p:cNvPr id="52" name="Freeform 16"/>
            <p:cNvSpPr>
              <a:spLocks/>
            </p:cNvSpPr>
            <p:nvPr/>
          </p:nvSpPr>
          <p:spPr bwMode="auto">
            <a:xfrm>
              <a:off x="4678582" y="2726003"/>
              <a:ext cx="955343" cy="655179"/>
            </a:xfrm>
            <a:custGeom>
              <a:avLst/>
              <a:gdLst>
                <a:gd name="T0" fmla="*/ 0 w 627"/>
                <a:gd name="T1" fmla="*/ 361 h 430"/>
                <a:gd name="T2" fmla="*/ 0 w 627"/>
                <a:gd name="T3" fmla="*/ 361 h 430"/>
                <a:gd name="T4" fmla="*/ 122 w 627"/>
                <a:gd name="T5" fmla="*/ 430 h 430"/>
                <a:gd name="T6" fmla="*/ 627 w 627"/>
                <a:gd name="T7" fmla="*/ 139 h 430"/>
                <a:gd name="T8" fmla="*/ 627 w 627"/>
                <a:gd name="T9" fmla="*/ 0 h 430"/>
                <a:gd name="T10" fmla="*/ 627 w 627"/>
                <a:gd name="T11" fmla="*/ 0 h 430"/>
                <a:gd name="T12" fmla="*/ 0 w 627"/>
                <a:gd name="T13" fmla="*/ 361 h 430"/>
              </a:gdLst>
              <a:ahLst/>
              <a:cxnLst>
                <a:cxn ang="0">
                  <a:pos x="T0" y="T1"/>
                </a:cxn>
                <a:cxn ang="0">
                  <a:pos x="T2" y="T3"/>
                </a:cxn>
                <a:cxn ang="0">
                  <a:pos x="T4" y="T5"/>
                </a:cxn>
                <a:cxn ang="0">
                  <a:pos x="T6" y="T7"/>
                </a:cxn>
                <a:cxn ang="0">
                  <a:pos x="T8" y="T9"/>
                </a:cxn>
                <a:cxn ang="0">
                  <a:pos x="T10" y="T11"/>
                </a:cxn>
                <a:cxn ang="0">
                  <a:pos x="T12" y="T13"/>
                </a:cxn>
              </a:cxnLst>
              <a:rect l="0" t="0" r="r" b="b"/>
              <a:pathLst>
                <a:path w="627" h="430">
                  <a:moveTo>
                    <a:pt x="0" y="361"/>
                  </a:moveTo>
                  <a:lnTo>
                    <a:pt x="0" y="361"/>
                  </a:lnTo>
                  <a:lnTo>
                    <a:pt x="122" y="430"/>
                  </a:lnTo>
                  <a:lnTo>
                    <a:pt x="627" y="139"/>
                  </a:lnTo>
                  <a:lnTo>
                    <a:pt x="627" y="0"/>
                  </a:lnTo>
                  <a:lnTo>
                    <a:pt x="627" y="0"/>
                  </a:lnTo>
                  <a:lnTo>
                    <a:pt x="0" y="36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53" name="Freeform 22"/>
            <p:cNvSpPr>
              <a:spLocks/>
            </p:cNvSpPr>
            <p:nvPr/>
          </p:nvSpPr>
          <p:spPr bwMode="auto">
            <a:xfrm>
              <a:off x="4955891" y="2819012"/>
              <a:ext cx="492147" cy="495194"/>
            </a:xfrm>
            <a:custGeom>
              <a:avLst/>
              <a:gdLst>
                <a:gd name="T0" fmla="*/ 49 w 173"/>
                <a:gd name="T1" fmla="*/ 21 h 174"/>
                <a:gd name="T2" fmla="*/ 152 w 173"/>
                <a:gd name="T3" fmla="*/ 49 h 174"/>
                <a:gd name="T4" fmla="*/ 125 w 173"/>
                <a:gd name="T5" fmla="*/ 153 h 174"/>
                <a:gd name="T6" fmla="*/ 21 w 173"/>
                <a:gd name="T7" fmla="*/ 125 h 174"/>
                <a:gd name="T8" fmla="*/ 49 w 173"/>
                <a:gd name="T9" fmla="*/ 21 h 174"/>
              </a:gdLst>
              <a:ahLst/>
              <a:cxnLst>
                <a:cxn ang="0">
                  <a:pos x="T0" y="T1"/>
                </a:cxn>
                <a:cxn ang="0">
                  <a:pos x="T2" y="T3"/>
                </a:cxn>
                <a:cxn ang="0">
                  <a:pos x="T4" y="T5"/>
                </a:cxn>
                <a:cxn ang="0">
                  <a:pos x="T6" y="T7"/>
                </a:cxn>
                <a:cxn ang="0">
                  <a:pos x="T8" y="T9"/>
                </a:cxn>
              </a:cxnLst>
              <a:rect l="0" t="0" r="r" b="b"/>
              <a:pathLst>
                <a:path w="173" h="174">
                  <a:moveTo>
                    <a:pt x="49" y="21"/>
                  </a:moveTo>
                  <a:cubicBezTo>
                    <a:pt x="85" y="0"/>
                    <a:pt x="131" y="13"/>
                    <a:pt x="152" y="49"/>
                  </a:cubicBezTo>
                  <a:cubicBezTo>
                    <a:pt x="173" y="86"/>
                    <a:pt x="161" y="132"/>
                    <a:pt x="125" y="153"/>
                  </a:cubicBezTo>
                  <a:cubicBezTo>
                    <a:pt x="88" y="174"/>
                    <a:pt x="42" y="162"/>
                    <a:pt x="21" y="125"/>
                  </a:cubicBezTo>
                  <a:cubicBezTo>
                    <a:pt x="0" y="89"/>
                    <a:pt x="12" y="42"/>
                    <a:pt x="49" y="21"/>
                  </a:cubicBezTo>
                  <a:close/>
                </a:path>
              </a:pathLst>
            </a:custGeom>
            <a:solidFill>
              <a:srgbClr val="005EB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54" name="Freeform 23"/>
            <p:cNvSpPr>
              <a:spLocks/>
            </p:cNvSpPr>
            <p:nvPr/>
          </p:nvSpPr>
          <p:spPr bwMode="auto">
            <a:xfrm>
              <a:off x="5015314" y="2957666"/>
              <a:ext cx="432723" cy="356539"/>
            </a:xfrm>
            <a:custGeom>
              <a:avLst/>
              <a:gdLst>
                <a:gd name="T0" fmla="*/ 0 w 152"/>
                <a:gd name="T1" fmla="*/ 76 h 125"/>
                <a:gd name="T2" fmla="*/ 104 w 152"/>
                <a:gd name="T3" fmla="*/ 104 h 125"/>
                <a:gd name="T4" fmla="*/ 131 w 152"/>
                <a:gd name="T5" fmla="*/ 0 h 125"/>
                <a:gd name="T6" fmla="*/ 0 w 152"/>
                <a:gd name="T7" fmla="*/ 76 h 125"/>
              </a:gdLst>
              <a:ahLst/>
              <a:cxnLst>
                <a:cxn ang="0">
                  <a:pos x="T0" y="T1"/>
                </a:cxn>
                <a:cxn ang="0">
                  <a:pos x="T2" y="T3"/>
                </a:cxn>
                <a:cxn ang="0">
                  <a:pos x="T4" y="T5"/>
                </a:cxn>
                <a:cxn ang="0">
                  <a:pos x="T6" y="T7"/>
                </a:cxn>
              </a:cxnLst>
              <a:rect l="0" t="0" r="r" b="b"/>
              <a:pathLst>
                <a:path w="152" h="125">
                  <a:moveTo>
                    <a:pt x="0" y="76"/>
                  </a:moveTo>
                  <a:cubicBezTo>
                    <a:pt x="21" y="113"/>
                    <a:pt x="67" y="125"/>
                    <a:pt x="104" y="104"/>
                  </a:cubicBezTo>
                  <a:cubicBezTo>
                    <a:pt x="140" y="83"/>
                    <a:pt x="152" y="37"/>
                    <a:pt x="131" y="0"/>
                  </a:cubicBezTo>
                  <a:lnTo>
                    <a:pt x="0" y="76"/>
                  </a:lnTo>
                  <a:close/>
                </a:path>
              </a:pathLst>
            </a:custGeom>
            <a:solidFill>
              <a:srgbClr val="005EB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60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cs typeface="Arial" panose="020B0604020202020204" pitchFamily="34" charset="0"/>
              </a:endParaRPr>
            </a:p>
          </p:txBody>
        </p:sp>
        <p:sp>
          <p:nvSpPr>
            <p:cNvPr id="55" name="TextBox 54"/>
            <p:cNvSpPr txBox="1"/>
            <p:nvPr/>
          </p:nvSpPr>
          <p:spPr>
            <a:xfrm>
              <a:off x="5079641" y="2937850"/>
              <a:ext cx="214802" cy="230832"/>
            </a:xfrm>
            <a:prstGeom prst="rect">
              <a:avLst/>
            </a:prstGeom>
            <a:noFill/>
          </p:spPr>
          <p:txBody>
            <a:bodyPr wrap="none" lIns="0" tIns="0" rIns="0" bIns="0" rtlCol="0" anchor="ctr">
              <a:spAutoFit/>
            </a:bodyPr>
            <a:lstStyle/>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500" b="1" i="0" u="none" strike="noStrike" kern="0" cap="none" spc="0" normalizeH="0" baseline="0" noProof="0" dirty="0" smtClean="0">
                  <a:ln>
                    <a:noFill/>
                  </a:ln>
                  <a:solidFill>
                    <a:prstClr val="white"/>
                  </a:solidFill>
                  <a:effectLst/>
                  <a:uLnTx/>
                  <a:uFillTx/>
                  <a:latin typeface="+mj-lt"/>
                </a:rPr>
                <a:t>01</a:t>
              </a:r>
            </a:p>
          </p:txBody>
        </p:sp>
        <p:grpSp>
          <p:nvGrpSpPr>
            <p:cNvPr id="56" name="Group 55"/>
            <p:cNvGrpSpPr/>
            <p:nvPr/>
          </p:nvGrpSpPr>
          <p:grpSpPr>
            <a:xfrm>
              <a:off x="4621571" y="1791037"/>
              <a:ext cx="427098" cy="471606"/>
              <a:chOff x="2691219" y="1974591"/>
              <a:chExt cx="378034" cy="405186"/>
            </a:xfrm>
          </p:grpSpPr>
          <p:sp>
            <p:nvSpPr>
              <p:cNvPr id="87" name="Freeform 9"/>
              <p:cNvSpPr>
                <a:spLocks/>
              </p:cNvSpPr>
              <p:nvPr/>
            </p:nvSpPr>
            <p:spPr bwMode="auto">
              <a:xfrm flipH="1">
                <a:off x="2691219" y="1974591"/>
                <a:ext cx="378034" cy="405186"/>
              </a:xfrm>
              <a:custGeom>
                <a:avLst/>
                <a:gdLst/>
                <a:ahLst/>
                <a:cxnLst>
                  <a:cxn ang="0">
                    <a:pos x="124" y="506"/>
                  </a:cxn>
                  <a:cxn ang="0">
                    <a:pos x="136" y="590"/>
                  </a:cxn>
                  <a:cxn ang="0">
                    <a:pos x="129" y="657"/>
                  </a:cxn>
                  <a:cxn ang="0">
                    <a:pos x="430" y="657"/>
                  </a:cxn>
                  <a:cxn ang="0">
                    <a:pos x="465" y="470"/>
                  </a:cxn>
                  <a:cxn ang="0">
                    <a:pos x="613" y="224"/>
                  </a:cxn>
                  <a:cxn ang="0">
                    <a:pos x="388" y="8"/>
                  </a:cxn>
                  <a:cxn ang="0">
                    <a:pos x="235" y="32"/>
                  </a:cxn>
                  <a:cxn ang="0">
                    <a:pos x="235" y="32"/>
                  </a:cxn>
                  <a:cxn ang="0">
                    <a:pos x="163" y="123"/>
                  </a:cxn>
                  <a:cxn ang="0">
                    <a:pos x="148" y="166"/>
                  </a:cxn>
                  <a:cxn ang="0">
                    <a:pos x="122" y="190"/>
                  </a:cxn>
                  <a:cxn ang="0">
                    <a:pos x="41" y="255"/>
                  </a:cxn>
                  <a:cxn ang="0">
                    <a:pos x="62" y="296"/>
                  </a:cxn>
                  <a:cxn ang="0">
                    <a:pos x="50" y="339"/>
                  </a:cxn>
                  <a:cxn ang="0">
                    <a:pos x="45" y="384"/>
                  </a:cxn>
                  <a:cxn ang="0">
                    <a:pos x="19" y="415"/>
                  </a:cxn>
                  <a:cxn ang="0">
                    <a:pos x="124" y="506"/>
                  </a:cxn>
                </a:cxnLst>
                <a:rect l="0" t="0" r="r" b="b"/>
                <a:pathLst>
                  <a:path w="613" h="657">
                    <a:moveTo>
                      <a:pt x="124" y="506"/>
                    </a:moveTo>
                    <a:cubicBezTo>
                      <a:pt x="131" y="522"/>
                      <a:pt x="135" y="571"/>
                      <a:pt x="136" y="590"/>
                    </a:cubicBezTo>
                    <a:cubicBezTo>
                      <a:pt x="138" y="620"/>
                      <a:pt x="135" y="640"/>
                      <a:pt x="129" y="657"/>
                    </a:cubicBezTo>
                    <a:cubicBezTo>
                      <a:pt x="430" y="657"/>
                      <a:pt x="430" y="657"/>
                      <a:pt x="430" y="657"/>
                    </a:cubicBezTo>
                    <a:cubicBezTo>
                      <a:pt x="422" y="588"/>
                      <a:pt x="429" y="511"/>
                      <a:pt x="465" y="470"/>
                    </a:cubicBezTo>
                    <a:cubicBezTo>
                      <a:pt x="540" y="418"/>
                      <a:pt x="612" y="350"/>
                      <a:pt x="613" y="224"/>
                    </a:cubicBezTo>
                    <a:cubicBezTo>
                      <a:pt x="601" y="102"/>
                      <a:pt x="506" y="27"/>
                      <a:pt x="388" y="8"/>
                    </a:cubicBezTo>
                    <a:cubicBezTo>
                      <a:pt x="337" y="0"/>
                      <a:pt x="269" y="4"/>
                      <a:pt x="235" y="32"/>
                    </a:cubicBezTo>
                    <a:cubicBezTo>
                      <a:pt x="238" y="33"/>
                      <a:pt x="235" y="36"/>
                      <a:pt x="235" y="32"/>
                    </a:cubicBezTo>
                    <a:cubicBezTo>
                      <a:pt x="206" y="53"/>
                      <a:pt x="168" y="119"/>
                      <a:pt x="163" y="123"/>
                    </a:cubicBezTo>
                    <a:cubicBezTo>
                      <a:pt x="159" y="132"/>
                      <a:pt x="150" y="163"/>
                      <a:pt x="148" y="166"/>
                    </a:cubicBezTo>
                    <a:cubicBezTo>
                      <a:pt x="145" y="174"/>
                      <a:pt x="132" y="183"/>
                      <a:pt x="122" y="190"/>
                    </a:cubicBezTo>
                    <a:cubicBezTo>
                      <a:pt x="94" y="210"/>
                      <a:pt x="43" y="235"/>
                      <a:pt x="41" y="255"/>
                    </a:cubicBezTo>
                    <a:cubicBezTo>
                      <a:pt x="39" y="276"/>
                      <a:pt x="58" y="276"/>
                      <a:pt x="62" y="296"/>
                    </a:cubicBezTo>
                    <a:cubicBezTo>
                      <a:pt x="59" y="309"/>
                      <a:pt x="35" y="321"/>
                      <a:pt x="50" y="339"/>
                    </a:cubicBezTo>
                    <a:cubicBezTo>
                      <a:pt x="27" y="345"/>
                      <a:pt x="46" y="367"/>
                      <a:pt x="45" y="384"/>
                    </a:cubicBezTo>
                    <a:cubicBezTo>
                      <a:pt x="34" y="400"/>
                      <a:pt x="23" y="399"/>
                      <a:pt x="19" y="415"/>
                    </a:cubicBezTo>
                    <a:cubicBezTo>
                      <a:pt x="0" y="493"/>
                      <a:pt x="111" y="476"/>
                      <a:pt x="124" y="50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GB" sz="1500" dirty="0">
                  <a:solidFill>
                    <a:srgbClr val="000000"/>
                  </a:solidFill>
                </a:endParaRPr>
              </a:p>
            </p:txBody>
          </p:sp>
          <p:grpSp>
            <p:nvGrpSpPr>
              <p:cNvPr id="88" name="Group 87"/>
              <p:cNvGrpSpPr/>
              <p:nvPr/>
            </p:nvGrpSpPr>
            <p:grpSpPr>
              <a:xfrm rot="19045678">
                <a:off x="2748839" y="2009085"/>
                <a:ext cx="230527" cy="185135"/>
                <a:chOff x="900092" y="2389692"/>
                <a:chExt cx="440248" cy="353562"/>
              </a:xfrm>
              <a:solidFill>
                <a:srgbClr val="005EB8"/>
              </a:solidFill>
            </p:grpSpPr>
            <p:sp>
              <p:nvSpPr>
                <p:cNvPr id="89" name="Freeform 11"/>
                <p:cNvSpPr>
                  <a:spLocks noEditPoints="1"/>
                </p:cNvSpPr>
                <p:nvPr/>
              </p:nvSpPr>
              <p:spPr bwMode="auto">
                <a:xfrm>
                  <a:off x="900092" y="2389692"/>
                  <a:ext cx="221106" cy="219631"/>
                </a:xfrm>
                <a:custGeom>
                  <a:avLst/>
                  <a:gdLst/>
                  <a:ahLst/>
                  <a:cxnLst>
                    <a:cxn ang="0">
                      <a:pos x="190" y="73"/>
                    </a:cxn>
                    <a:cxn ang="0">
                      <a:pos x="147" y="73"/>
                    </a:cxn>
                    <a:cxn ang="0">
                      <a:pos x="177" y="43"/>
                    </a:cxn>
                    <a:cxn ang="0">
                      <a:pos x="147" y="12"/>
                    </a:cxn>
                    <a:cxn ang="0">
                      <a:pos x="116" y="42"/>
                    </a:cxn>
                    <a:cxn ang="0">
                      <a:pos x="116" y="0"/>
                    </a:cxn>
                    <a:cxn ang="0">
                      <a:pos x="73" y="0"/>
                    </a:cxn>
                    <a:cxn ang="0">
                      <a:pos x="73" y="42"/>
                    </a:cxn>
                    <a:cxn ang="0">
                      <a:pos x="43" y="12"/>
                    </a:cxn>
                    <a:cxn ang="0">
                      <a:pos x="13" y="43"/>
                    </a:cxn>
                    <a:cxn ang="0">
                      <a:pos x="43" y="73"/>
                    </a:cxn>
                    <a:cxn ang="0">
                      <a:pos x="0" y="73"/>
                    </a:cxn>
                    <a:cxn ang="0">
                      <a:pos x="0" y="116"/>
                    </a:cxn>
                    <a:cxn ang="0">
                      <a:pos x="43" y="116"/>
                    </a:cxn>
                    <a:cxn ang="0">
                      <a:pos x="13" y="146"/>
                    </a:cxn>
                    <a:cxn ang="0">
                      <a:pos x="43" y="176"/>
                    </a:cxn>
                    <a:cxn ang="0">
                      <a:pos x="73" y="146"/>
                    </a:cxn>
                    <a:cxn ang="0">
                      <a:pos x="73" y="189"/>
                    </a:cxn>
                    <a:cxn ang="0">
                      <a:pos x="116" y="189"/>
                    </a:cxn>
                    <a:cxn ang="0">
                      <a:pos x="116" y="146"/>
                    </a:cxn>
                    <a:cxn ang="0">
                      <a:pos x="147" y="176"/>
                    </a:cxn>
                    <a:cxn ang="0">
                      <a:pos x="177" y="146"/>
                    </a:cxn>
                    <a:cxn ang="0">
                      <a:pos x="147" y="116"/>
                    </a:cxn>
                    <a:cxn ang="0">
                      <a:pos x="190" y="116"/>
                    </a:cxn>
                    <a:cxn ang="0">
                      <a:pos x="190" y="73"/>
                    </a:cxn>
                    <a:cxn ang="0">
                      <a:pos x="95" y="129"/>
                    </a:cxn>
                    <a:cxn ang="0">
                      <a:pos x="60" y="94"/>
                    </a:cxn>
                    <a:cxn ang="0">
                      <a:pos x="95" y="60"/>
                    </a:cxn>
                    <a:cxn ang="0">
                      <a:pos x="129" y="94"/>
                    </a:cxn>
                    <a:cxn ang="0">
                      <a:pos x="95" y="129"/>
                    </a:cxn>
                  </a:cxnLst>
                  <a:rect l="0" t="0" r="r" b="b"/>
                  <a:pathLst>
                    <a:path w="190" h="189">
                      <a:moveTo>
                        <a:pt x="190" y="73"/>
                      </a:moveTo>
                      <a:cubicBezTo>
                        <a:pt x="147" y="73"/>
                        <a:pt x="147" y="73"/>
                        <a:pt x="147" y="73"/>
                      </a:cubicBezTo>
                      <a:cubicBezTo>
                        <a:pt x="177" y="43"/>
                        <a:pt x="177" y="43"/>
                        <a:pt x="177" y="43"/>
                      </a:cubicBezTo>
                      <a:cubicBezTo>
                        <a:pt x="147" y="12"/>
                        <a:pt x="147" y="12"/>
                        <a:pt x="147" y="12"/>
                      </a:cubicBezTo>
                      <a:cubicBezTo>
                        <a:pt x="116" y="42"/>
                        <a:pt x="116" y="42"/>
                        <a:pt x="116" y="42"/>
                      </a:cubicBezTo>
                      <a:cubicBezTo>
                        <a:pt x="116" y="0"/>
                        <a:pt x="116" y="0"/>
                        <a:pt x="116" y="0"/>
                      </a:cubicBezTo>
                      <a:cubicBezTo>
                        <a:pt x="73" y="0"/>
                        <a:pt x="73" y="0"/>
                        <a:pt x="73" y="0"/>
                      </a:cubicBezTo>
                      <a:cubicBezTo>
                        <a:pt x="73" y="42"/>
                        <a:pt x="73" y="42"/>
                        <a:pt x="73" y="42"/>
                      </a:cubicBezTo>
                      <a:cubicBezTo>
                        <a:pt x="43" y="12"/>
                        <a:pt x="43" y="12"/>
                        <a:pt x="43" y="12"/>
                      </a:cubicBezTo>
                      <a:cubicBezTo>
                        <a:pt x="13" y="43"/>
                        <a:pt x="13" y="43"/>
                        <a:pt x="13" y="43"/>
                      </a:cubicBezTo>
                      <a:cubicBezTo>
                        <a:pt x="43" y="73"/>
                        <a:pt x="43" y="73"/>
                        <a:pt x="43" y="73"/>
                      </a:cubicBezTo>
                      <a:cubicBezTo>
                        <a:pt x="0" y="73"/>
                        <a:pt x="0" y="73"/>
                        <a:pt x="0" y="73"/>
                      </a:cubicBezTo>
                      <a:cubicBezTo>
                        <a:pt x="0" y="116"/>
                        <a:pt x="0" y="116"/>
                        <a:pt x="0" y="116"/>
                      </a:cubicBezTo>
                      <a:cubicBezTo>
                        <a:pt x="43" y="116"/>
                        <a:pt x="43" y="116"/>
                        <a:pt x="43" y="116"/>
                      </a:cubicBezTo>
                      <a:cubicBezTo>
                        <a:pt x="13" y="146"/>
                        <a:pt x="13" y="146"/>
                        <a:pt x="13" y="146"/>
                      </a:cubicBezTo>
                      <a:cubicBezTo>
                        <a:pt x="43" y="176"/>
                        <a:pt x="43" y="176"/>
                        <a:pt x="43" y="176"/>
                      </a:cubicBezTo>
                      <a:cubicBezTo>
                        <a:pt x="73" y="146"/>
                        <a:pt x="73" y="146"/>
                        <a:pt x="73" y="146"/>
                      </a:cubicBezTo>
                      <a:cubicBezTo>
                        <a:pt x="73" y="189"/>
                        <a:pt x="73" y="189"/>
                        <a:pt x="73" y="189"/>
                      </a:cubicBezTo>
                      <a:cubicBezTo>
                        <a:pt x="116" y="189"/>
                        <a:pt x="116" y="189"/>
                        <a:pt x="116" y="189"/>
                      </a:cubicBezTo>
                      <a:cubicBezTo>
                        <a:pt x="116" y="146"/>
                        <a:pt x="116" y="146"/>
                        <a:pt x="116" y="146"/>
                      </a:cubicBezTo>
                      <a:cubicBezTo>
                        <a:pt x="147" y="176"/>
                        <a:pt x="147" y="176"/>
                        <a:pt x="147" y="176"/>
                      </a:cubicBezTo>
                      <a:cubicBezTo>
                        <a:pt x="177" y="146"/>
                        <a:pt x="177" y="146"/>
                        <a:pt x="177" y="146"/>
                      </a:cubicBezTo>
                      <a:cubicBezTo>
                        <a:pt x="147" y="116"/>
                        <a:pt x="147" y="116"/>
                        <a:pt x="147" y="116"/>
                      </a:cubicBezTo>
                      <a:cubicBezTo>
                        <a:pt x="190" y="116"/>
                        <a:pt x="190" y="116"/>
                        <a:pt x="190" y="116"/>
                      </a:cubicBezTo>
                      <a:lnTo>
                        <a:pt x="190" y="73"/>
                      </a:lnTo>
                      <a:close/>
                      <a:moveTo>
                        <a:pt x="95" y="129"/>
                      </a:moveTo>
                      <a:cubicBezTo>
                        <a:pt x="76" y="129"/>
                        <a:pt x="60" y="113"/>
                        <a:pt x="60" y="94"/>
                      </a:cubicBezTo>
                      <a:cubicBezTo>
                        <a:pt x="60" y="75"/>
                        <a:pt x="76" y="60"/>
                        <a:pt x="95" y="60"/>
                      </a:cubicBezTo>
                      <a:cubicBezTo>
                        <a:pt x="114" y="60"/>
                        <a:pt x="129" y="75"/>
                        <a:pt x="129" y="94"/>
                      </a:cubicBezTo>
                      <a:cubicBezTo>
                        <a:pt x="129" y="113"/>
                        <a:pt x="114" y="129"/>
                        <a:pt x="95" y="1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GB" sz="1500" dirty="0">
                    <a:solidFill>
                      <a:srgbClr val="000000"/>
                    </a:solidFill>
                  </a:endParaRPr>
                </a:p>
              </p:txBody>
            </p:sp>
            <p:sp>
              <p:nvSpPr>
                <p:cNvPr id="90" name="Freeform 11"/>
                <p:cNvSpPr>
                  <a:spLocks noEditPoints="1"/>
                </p:cNvSpPr>
                <p:nvPr/>
              </p:nvSpPr>
              <p:spPr bwMode="auto">
                <a:xfrm rot="1414194">
                  <a:off x="1170434" y="2574483"/>
                  <a:ext cx="169906" cy="168771"/>
                </a:xfrm>
                <a:custGeom>
                  <a:avLst/>
                  <a:gdLst/>
                  <a:ahLst/>
                  <a:cxnLst>
                    <a:cxn ang="0">
                      <a:pos x="190" y="73"/>
                    </a:cxn>
                    <a:cxn ang="0">
                      <a:pos x="147" y="73"/>
                    </a:cxn>
                    <a:cxn ang="0">
                      <a:pos x="177" y="43"/>
                    </a:cxn>
                    <a:cxn ang="0">
                      <a:pos x="147" y="12"/>
                    </a:cxn>
                    <a:cxn ang="0">
                      <a:pos x="116" y="42"/>
                    </a:cxn>
                    <a:cxn ang="0">
                      <a:pos x="116" y="0"/>
                    </a:cxn>
                    <a:cxn ang="0">
                      <a:pos x="73" y="0"/>
                    </a:cxn>
                    <a:cxn ang="0">
                      <a:pos x="73" y="42"/>
                    </a:cxn>
                    <a:cxn ang="0">
                      <a:pos x="43" y="12"/>
                    </a:cxn>
                    <a:cxn ang="0">
                      <a:pos x="13" y="43"/>
                    </a:cxn>
                    <a:cxn ang="0">
                      <a:pos x="43" y="73"/>
                    </a:cxn>
                    <a:cxn ang="0">
                      <a:pos x="0" y="73"/>
                    </a:cxn>
                    <a:cxn ang="0">
                      <a:pos x="0" y="116"/>
                    </a:cxn>
                    <a:cxn ang="0">
                      <a:pos x="43" y="116"/>
                    </a:cxn>
                    <a:cxn ang="0">
                      <a:pos x="13" y="146"/>
                    </a:cxn>
                    <a:cxn ang="0">
                      <a:pos x="43" y="176"/>
                    </a:cxn>
                    <a:cxn ang="0">
                      <a:pos x="73" y="146"/>
                    </a:cxn>
                    <a:cxn ang="0">
                      <a:pos x="73" y="189"/>
                    </a:cxn>
                    <a:cxn ang="0">
                      <a:pos x="116" y="189"/>
                    </a:cxn>
                    <a:cxn ang="0">
                      <a:pos x="116" y="146"/>
                    </a:cxn>
                    <a:cxn ang="0">
                      <a:pos x="147" y="176"/>
                    </a:cxn>
                    <a:cxn ang="0">
                      <a:pos x="177" y="146"/>
                    </a:cxn>
                    <a:cxn ang="0">
                      <a:pos x="147" y="116"/>
                    </a:cxn>
                    <a:cxn ang="0">
                      <a:pos x="190" y="116"/>
                    </a:cxn>
                    <a:cxn ang="0">
                      <a:pos x="190" y="73"/>
                    </a:cxn>
                    <a:cxn ang="0">
                      <a:pos x="95" y="129"/>
                    </a:cxn>
                    <a:cxn ang="0">
                      <a:pos x="60" y="94"/>
                    </a:cxn>
                    <a:cxn ang="0">
                      <a:pos x="95" y="60"/>
                    </a:cxn>
                    <a:cxn ang="0">
                      <a:pos x="129" y="94"/>
                    </a:cxn>
                    <a:cxn ang="0">
                      <a:pos x="95" y="129"/>
                    </a:cxn>
                  </a:cxnLst>
                  <a:rect l="0" t="0" r="r" b="b"/>
                  <a:pathLst>
                    <a:path w="190" h="189">
                      <a:moveTo>
                        <a:pt x="190" y="73"/>
                      </a:moveTo>
                      <a:cubicBezTo>
                        <a:pt x="147" y="73"/>
                        <a:pt x="147" y="73"/>
                        <a:pt x="147" y="73"/>
                      </a:cubicBezTo>
                      <a:cubicBezTo>
                        <a:pt x="177" y="43"/>
                        <a:pt x="177" y="43"/>
                        <a:pt x="177" y="43"/>
                      </a:cubicBezTo>
                      <a:cubicBezTo>
                        <a:pt x="147" y="12"/>
                        <a:pt x="147" y="12"/>
                        <a:pt x="147" y="12"/>
                      </a:cubicBezTo>
                      <a:cubicBezTo>
                        <a:pt x="116" y="42"/>
                        <a:pt x="116" y="42"/>
                        <a:pt x="116" y="42"/>
                      </a:cubicBezTo>
                      <a:cubicBezTo>
                        <a:pt x="116" y="0"/>
                        <a:pt x="116" y="0"/>
                        <a:pt x="116" y="0"/>
                      </a:cubicBezTo>
                      <a:cubicBezTo>
                        <a:pt x="73" y="0"/>
                        <a:pt x="73" y="0"/>
                        <a:pt x="73" y="0"/>
                      </a:cubicBezTo>
                      <a:cubicBezTo>
                        <a:pt x="73" y="42"/>
                        <a:pt x="73" y="42"/>
                        <a:pt x="73" y="42"/>
                      </a:cubicBezTo>
                      <a:cubicBezTo>
                        <a:pt x="43" y="12"/>
                        <a:pt x="43" y="12"/>
                        <a:pt x="43" y="12"/>
                      </a:cubicBezTo>
                      <a:cubicBezTo>
                        <a:pt x="13" y="43"/>
                        <a:pt x="13" y="43"/>
                        <a:pt x="13" y="43"/>
                      </a:cubicBezTo>
                      <a:cubicBezTo>
                        <a:pt x="43" y="73"/>
                        <a:pt x="43" y="73"/>
                        <a:pt x="43" y="73"/>
                      </a:cubicBezTo>
                      <a:cubicBezTo>
                        <a:pt x="0" y="73"/>
                        <a:pt x="0" y="73"/>
                        <a:pt x="0" y="73"/>
                      </a:cubicBezTo>
                      <a:cubicBezTo>
                        <a:pt x="0" y="116"/>
                        <a:pt x="0" y="116"/>
                        <a:pt x="0" y="116"/>
                      </a:cubicBezTo>
                      <a:cubicBezTo>
                        <a:pt x="43" y="116"/>
                        <a:pt x="43" y="116"/>
                        <a:pt x="43" y="116"/>
                      </a:cubicBezTo>
                      <a:cubicBezTo>
                        <a:pt x="13" y="146"/>
                        <a:pt x="13" y="146"/>
                        <a:pt x="13" y="146"/>
                      </a:cubicBezTo>
                      <a:cubicBezTo>
                        <a:pt x="43" y="176"/>
                        <a:pt x="43" y="176"/>
                        <a:pt x="43" y="176"/>
                      </a:cubicBezTo>
                      <a:cubicBezTo>
                        <a:pt x="73" y="146"/>
                        <a:pt x="73" y="146"/>
                        <a:pt x="73" y="146"/>
                      </a:cubicBezTo>
                      <a:cubicBezTo>
                        <a:pt x="73" y="189"/>
                        <a:pt x="73" y="189"/>
                        <a:pt x="73" y="189"/>
                      </a:cubicBezTo>
                      <a:cubicBezTo>
                        <a:pt x="116" y="189"/>
                        <a:pt x="116" y="189"/>
                        <a:pt x="116" y="189"/>
                      </a:cubicBezTo>
                      <a:cubicBezTo>
                        <a:pt x="116" y="146"/>
                        <a:pt x="116" y="146"/>
                        <a:pt x="116" y="146"/>
                      </a:cubicBezTo>
                      <a:cubicBezTo>
                        <a:pt x="147" y="176"/>
                        <a:pt x="147" y="176"/>
                        <a:pt x="147" y="176"/>
                      </a:cubicBezTo>
                      <a:cubicBezTo>
                        <a:pt x="177" y="146"/>
                        <a:pt x="177" y="146"/>
                        <a:pt x="177" y="146"/>
                      </a:cubicBezTo>
                      <a:cubicBezTo>
                        <a:pt x="147" y="116"/>
                        <a:pt x="147" y="116"/>
                        <a:pt x="147" y="116"/>
                      </a:cubicBezTo>
                      <a:cubicBezTo>
                        <a:pt x="190" y="116"/>
                        <a:pt x="190" y="116"/>
                        <a:pt x="190" y="116"/>
                      </a:cubicBezTo>
                      <a:lnTo>
                        <a:pt x="190" y="73"/>
                      </a:lnTo>
                      <a:close/>
                      <a:moveTo>
                        <a:pt x="95" y="129"/>
                      </a:moveTo>
                      <a:cubicBezTo>
                        <a:pt x="76" y="129"/>
                        <a:pt x="60" y="113"/>
                        <a:pt x="60" y="94"/>
                      </a:cubicBezTo>
                      <a:cubicBezTo>
                        <a:pt x="60" y="75"/>
                        <a:pt x="76" y="60"/>
                        <a:pt x="95" y="60"/>
                      </a:cubicBezTo>
                      <a:cubicBezTo>
                        <a:pt x="114" y="60"/>
                        <a:pt x="129" y="75"/>
                        <a:pt x="129" y="94"/>
                      </a:cubicBezTo>
                      <a:cubicBezTo>
                        <a:pt x="129" y="113"/>
                        <a:pt x="114" y="129"/>
                        <a:pt x="95" y="1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GB" sz="1500" dirty="0">
                    <a:solidFill>
                      <a:srgbClr val="000000"/>
                    </a:solidFill>
                  </a:endParaRPr>
                </a:p>
              </p:txBody>
            </p:sp>
          </p:grpSp>
        </p:grpSp>
        <p:sp>
          <p:nvSpPr>
            <p:cNvPr id="57" name="Freeform 37"/>
            <p:cNvSpPr>
              <a:spLocks noEditPoints="1"/>
            </p:cNvSpPr>
            <p:nvPr/>
          </p:nvSpPr>
          <p:spPr bwMode="auto">
            <a:xfrm>
              <a:off x="6197821" y="1820210"/>
              <a:ext cx="570244" cy="509153"/>
            </a:xfrm>
            <a:custGeom>
              <a:avLst/>
              <a:gdLst/>
              <a:ahLst/>
              <a:cxnLst>
                <a:cxn ang="0">
                  <a:pos x="138" y="102"/>
                </a:cxn>
                <a:cxn ang="0">
                  <a:pos x="183" y="102"/>
                </a:cxn>
                <a:cxn ang="0">
                  <a:pos x="223" y="105"/>
                </a:cxn>
                <a:cxn ang="0">
                  <a:pos x="168" y="54"/>
                </a:cxn>
                <a:cxn ang="0">
                  <a:pos x="223" y="105"/>
                </a:cxn>
                <a:cxn ang="0">
                  <a:pos x="220" y="116"/>
                </a:cxn>
                <a:cxn ang="0">
                  <a:pos x="213" y="140"/>
                </a:cxn>
                <a:cxn ang="0">
                  <a:pos x="183" y="210"/>
                </a:cxn>
                <a:cxn ang="0">
                  <a:pos x="138" y="210"/>
                </a:cxn>
                <a:cxn ang="0">
                  <a:pos x="98" y="207"/>
                </a:cxn>
                <a:cxn ang="0">
                  <a:pos x="154" y="258"/>
                </a:cxn>
                <a:cxn ang="0">
                  <a:pos x="98" y="207"/>
                </a:cxn>
                <a:cxn ang="0">
                  <a:pos x="101" y="196"/>
                </a:cxn>
                <a:cxn ang="0">
                  <a:pos x="110" y="177"/>
                </a:cxn>
                <a:cxn ang="0">
                  <a:pos x="120" y="139"/>
                </a:cxn>
                <a:cxn ang="0">
                  <a:pos x="120" y="173"/>
                </a:cxn>
                <a:cxn ang="0">
                  <a:pos x="161" y="200"/>
                </a:cxn>
                <a:cxn ang="0">
                  <a:pos x="201" y="173"/>
                </a:cxn>
                <a:cxn ang="0">
                  <a:pos x="201" y="139"/>
                </a:cxn>
                <a:cxn ang="0">
                  <a:pos x="161" y="112"/>
                </a:cxn>
                <a:cxn ang="0">
                  <a:pos x="120" y="139"/>
                </a:cxn>
                <a:cxn ang="0">
                  <a:pos x="102" y="156"/>
                </a:cxn>
                <a:cxn ang="0">
                  <a:pos x="12" y="156"/>
                </a:cxn>
                <a:cxn ang="0">
                  <a:pos x="196" y="210"/>
                </a:cxn>
                <a:cxn ang="0">
                  <a:pos x="218" y="294"/>
                </a:cxn>
                <a:cxn ang="0">
                  <a:pos x="196" y="210"/>
                </a:cxn>
                <a:cxn ang="0">
                  <a:pos x="202" y="198"/>
                </a:cxn>
                <a:cxn ang="0">
                  <a:pos x="213" y="172"/>
                </a:cxn>
                <a:cxn ang="0">
                  <a:pos x="219" y="156"/>
                </a:cxn>
                <a:cxn ang="0">
                  <a:pos x="310" y="156"/>
                </a:cxn>
                <a:cxn ang="0">
                  <a:pos x="161" y="44"/>
                </a:cxn>
                <a:cxn ang="0">
                  <a:pos x="234" y="107"/>
                </a:cxn>
                <a:cxn ang="0">
                  <a:pos x="234" y="205"/>
                </a:cxn>
                <a:cxn ang="0">
                  <a:pos x="161" y="268"/>
                </a:cxn>
                <a:cxn ang="0">
                  <a:pos x="87" y="205"/>
                </a:cxn>
                <a:cxn ang="0">
                  <a:pos x="87" y="107"/>
                </a:cxn>
                <a:cxn ang="0">
                  <a:pos x="161" y="44"/>
                </a:cxn>
                <a:cxn ang="0">
                  <a:pos x="154" y="54"/>
                </a:cxn>
                <a:cxn ang="0">
                  <a:pos x="98" y="105"/>
                </a:cxn>
                <a:cxn ang="0">
                  <a:pos x="110" y="135"/>
                </a:cxn>
                <a:cxn ang="0">
                  <a:pos x="101" y="116"/>
                </a:cxn>
                <a:cxn ang="0">
                  <a:pos x="110" y="135"/>
                </a:cxn>
                <a:cxn ang="0">
                  <a:pos x="161" y="131"/>
                </a:cxn>
                <a:cxn ang="0">
                  <a:pos x="161" y="181"/>
                </a:cxn>
              </a:cxnLst>
              <a:rect l="0" t="0" r="r" b="b"/>
              <a:pathLst>
                <a:path w="321" h="312">
                  <a:moveTo>
                    <a:pt x="161" y="64"/>
                  </a:moveTo>
                  <a:cubicBezTo>
                    <a:pt x="153" y="75"/>
                    <a:pt x="145" y="87"/>
                    <a:pt x="138" y="102"/>
                  </a:cubicBezTo>
                  <a:cubicBezTo>
                    <a:pt x="145" y="101"/>
                    <a:pt x="153" y="101"/>
                    <a:pt x="161" y="101"/>
                  </a:cubicBezTo>
                  <a:cubicBezTo>
                    <a:pt x="168" y="101"/>
                    <a:pt x="176" y="101"/>
                    <a:pt x="183" y="102"/>
                  </a:cubicBezTo>
                  <a:cubicBezTo>
                    <a:pt x="176" y="87"/>
                    <a:pt x="168" y="75"/>
                    <a:pt x="161" y="64"/>
                  </a:cubicBezTo>
                  <a:close/>
                  <a:moveTo>
                    <a:pt x="223" y="105"/>
                  </a:moveTo>
                  <a:cubicBezTo>
                    <a:pt x="234" y="57"/>
                    <a:pt x="231" y="24"/>
                    <a:pt x="218" y="18"/>
                  </a:cubicBezTo>
                  <a:cubicBezTo>
                    <a:pt x="207" y="14"/>
                    <a:pt x="188" y="27"/>
                    <a:pt x="168" y="54"/>
                  </a:cubicBezTo>
                  <a:cubicBezTo>
                    <a:pt x="178" y="68"/>
                    <a:pt x="187" y="85"/>
                    <a:pt x="196" y="102"/>
                  </a:cubicBezTo>
                  <a:cubicBezTo>
                    <a:pt x="205" y="103"/>
                    <a:pt x="214" y="104"/>
                    <a:pt x="223" y="105"/>
                  </a:cubicBezTo>
                  <a:close/>
                  <a:moveTo>
                    <a:pt x="213" y="140"/>
                  </a:moveTo>
                  <a:cubicBezTo>
                    <a:pt x="216" y="132"/>
                    <a:pt x="218" y="124"/>
                    <a:pt x="220" y="116"/>
                  </a:cubicBezTo>
                  <a:cubicBezTo>
                    <a:pt x="214" y="115"/>
                    <a:pt x="208" y="115"/>
                    <a:pt x="202" y="114"/>
                  </a:cubicBezTo>
                  <a:cubicBezTo>
                    <a:pt x="206" y="123"/>
                    <a:pt x="209" y="131"/>
                    <a:pt x="213" y="140"/>
                  </a:cubicBezTo>
                  <a:close/>
                  <a:moveTo>
                    <a:pt x="161" y="248"/>
                  </a:moveTo>
                  <a:cubicBezTo>
                    <a:pt x="168" y="237"/>
                    <a:pt x="176" y="225"/>
                    <a:pt x="183" y="210"/>
                  </a:cubicBezTo>
                  <a:cubicBezTo>
                    <a:pt x="176" y="211"/>
                    <a:pt x="168" y="211"/>
                    <a:pt x="161" y="211"/>
                  </a:cubicBezTo>
                  <a:cubicBezTo>
                    <a:pt x="153" y="211"/>
                    <a:pt x="145" y="211"/>
                    <a:pt x="138" y="210"/>
                  </a:cubicBezTo>
                  <a:cubicBezTo>
                    <a:pt x="145" y="225"/>
                    <a:pt x="153" y="237"/>
                    <a:pt x="161" y="248"/>
                  </a:cubicBezTo>
                  <a:close/>
                  <a:moveTo>
                    <a:pt x="98" y="207"/>
                  </a:moveTo>
                  <a:cubicBezTo>
                    <a:pt x="87" y="255"/>
                    <a:pt x="90" y="288"/>
                    <a:pt x="104" y="294"/>
                  </a:cubicBezTo>
                  <a:cubicBezTo>
                    <a:pt x="114" y="298"/>
                    <a:pt x="133" y="285"/>
                    <a:pt x="154" y="258"/>
                  </a:cubicBezTo>
                  <a:cubicBezTo>
                    <a:pt x="144" y="244"/>
                    <a:pt x="134" y="227"/>
                    <a:pt x="125" y="209"/>
                  </a:cubicBezTo>
                  <a:cubicBezTo>
                    <a:pt x="116" y="209"/>
                    <a:pt x="107" y="208"/>
                    <a:pt x="98" y="207"/>
                  </a:cubicBezTo>
                  <a:close/>
                  <a:moveTo>
                    <a:pt x="108" y="172"/>
                  </a:moveTo>
                  <a:cubicBezTo>
                    <a:pt x="105" y="180"/>
                    <a:pt x="103" y="188"/>
                    <a:pt x="101" y="196"/>
                  </a:cubicBezTo>
                  <a:cubicBezTo>
                    <a:pt x="107" y="197"/>
                    <a:pt x="113" y="197"/>
                    <a:pt x="119" y="198"/>
                  </a:cubicBezTo>
                  <a:cubicBezTo>
                    <a:pt x="116" y="191"/>
                    <a:pt x="113" y="184"/>
                    <a:pt x="110" y="177"/>
                  </a:cubicBezTo>
                  <a:cubicBezTo>
                    <a:pt x="108" y="172"/>
                    <a:pt x="108" y="172"/>
                    <a:pt x="108" y="172"/>
                  </a:cubicBezTo>
                  <a:close/>
                  <a:moveTo>
                    <a:pt x="120" y="139"/>
                  </a:moveTo>
                  <a:cubicBezTo>
                    <a:pt x="118" y="145"/>
                    <a:pt x="116" y="150"/>
                    <a:pt x="114" y="156"/>
                  </a:cubicBezTo>
                  <a:cubicBezTo>
                    <a:pt x="116" y="161"/>
                    <a:pt x="118" y="167"/>
                    <a:pt x="120" y="173"/>
                  </a:cubicBezTo>
                  <a:cubicBezTo>
                    <a:pt x="124" y="182"/>
                    <a:pt x="128" y="190"/>
                    <a:pt x="132" y="199"/>
                  </a:cubicBezTo>
                  <a:cubicBezTo>
                    <a:pt x="141" y="199"/>
                    <a:pt x="151" y="200"/>
                    <a:pt x="161" y="200"/>
                  </a:cubicBezTo>
                  <a:cubicBezTo>
                    <a:pt x="171" y="200"/>
                    <a:pt x="180" y="199"/>
                    <a:pt x="189" y="199"/>
                  </a:cubicBezTo>
                  <a:cubicBezTo>
                    <a:pt x="193" y="190"/>
                    <a:pt x="197" y="182"/>
                    <a:pt x="201" y="173"/>
                  </a:cubicBezTo>
                  <a:cubicBezTo>
                    <a:pt x="203" y="167"/>
                    <a:pt x="205" y="161"/>
                    <a:pt x="207" y="156"/>
                  </a:cubicBezTo>
                  <a:cubicBezTo>
                    <a:pt x="205" y="150"/>
                    <a:pt x="203" y="145"/>
                    <a:pt x="201" y="139"/>
                  </a:cubicBezTo>
                  <a:cubicBezTo>
                    <a:pt x="197" y="130"/>
                    <a:pt x="193" y="121"/>
                    <a:pt x="189" y="113"/>
                  </a:cubicBezTo>
                  <a:cubicBezTo>
                    <a:pt x="180" y="113"/>
                    <a:pt x="171" y="112"/>
                    <a:pt x="161" y="112"/>
                  </a:cubicBezTo>
                  <a:cubicBezTo>
                    <a:pt x="151" y="112"/>
                    <a:pt x="141" y="113"/>
                    <a:pt x="132" y="113"/>
                  </a:cubicBezTo>
                  <a:cubicBezTo>
                    <a:pt x="128" y="121"/>
                    <a:pt x="124" y="130"/>
                    <a:pt x="120" y="139"/>
                  </a:cubicBezTo>
                  <a:close/>
                  <a:moveTo>
                    <a:pt x="90" y="194"/>
                  </a:moveTo>
                  <a:cubicBezTo>
                    <a:pt x="93" y="182"/>
                    <a:pt x="97" y="169"/>
                    <a:pt x="102" y="156"/>
                  </a:cubicBezTo>
                  <a:cubicBezTo>
                    <a:pt x="97" y="143"/>
                    <a:pt x="93" y="130"/>
                    <a:pt x="90" y="118"/>
                  </a:cubicBezTo>
                  <a:cubicBezTo>
                    <a:pt x="41" y="126"/>
                    <a:pt x="12" y="142"/>
                    <a:pt x="12" y="156"/>
                  </a:cubicBezTo>
                  <a:cubicBezTo>
                    <a:pt x="12" y="170"/>
                    <a:pt x="41" y="186"/>
                    <a:pt x="90" y="194"/>
                  </a:cubicBezTo>
                  <a:close/>
                  <a:moveTo>
                    <a:pt x="196" y="210"/>
                  </a:moveTo>
                  <a:cubicBezTo>
                    <a:pt x="187" y="227"/>
                    <a:pt x="178" y="244"/>
                    <a:pt x="168" y="258"/>
                  </a:cubicBezTo>
                  <a:cubicBezTo>
                    <a:pt x="188" y="285"/>
                    <a:pt x="207" y="298"/>
                    <a:pt x="218" y="294"/>
                  </a:cubicBezTo>
                  <a:cubicBezTo>
                    <a:pt x="231" y="288"/>
                    <a:pt x="234" y="255"/>
                    <a:pt x="223" y="207"/>
                  </a:cubicBezTo>
                  <a:cubicBezTo>
                    <a:pt x="214" y="208"/>
                    <a:pt x="205" y="209"/>
                    <a:pt x="196" y="210"/>
                  </a:cubicBezTo>
                  <a:close/>
                  <a:moveTo>
                    <a:pt x="213" y="172"/>
                  </a:moveTo>
                  <a:cubicBezTo>
                    <a:pt x="209" y="180"/>
                    <a:pt x="206" y="189"/>
                    <a:pt x="202" y="198"/>
                  </a:cubicBezTo>
                  <a:cubicBezTo>
                    <a:pt x="208" y="197"/>
                    <a:pt x="214" y="197"/>
                    <a:pt x="220" y="196"/>
                  </a:cubicBezTo>
                  <a:cubicBezTo>
                    <a:pt x="218" y="188"/>
                    <a:pt x="216" y="180"/>
                    <a:pt x="213" y="172"/>
                  </a:cubicBezTo>
                  <a:close/>
                  <a:moveTo>
                    <a:pt x="231" y="118"/>
                  </a:moveTo>
                  <a:cubicBezTo>
                    <a:pt x="228" y="130"/>
                    <a:pt x="224" y="143"/>
                    <a:pt x="219" y="156"/>
                  </a:cubicBezTo>
                  <a:cubicBezTo>
                    <a:pt x="224" y="169"/>
                    <a:pt x="228" y="182"/>
                    <a:pt x="231" y="194"/>
                  </a:cubicBezTo>
                  <a:cubicBezTo>
                    <a:pt x="280" y="186"/>
                    <a:pt x="310" y="170"/>
                    <a:pt x="310" y="156"/>
                  </a:cubicBezTo>
                  <a:cubicBezTo>
                    <a:pt x="310" y="142"/>
                    <a:pt x="280" y="126"/>
                    <a:pt x="231" y="118"/>
                  </a:cubicBezTo>
                  <a:close/>
                  <a:moveTo>
                    <a:pt x="161" y="44"/>
                  </a:moveTo>
                  <a:cubicBezTo>
                    <a:pt x="183" y="16"/>
                    <a:pt x="205" y="1"/>
                    <a:pt x="222" y="8"/>
                  </a:cubicBezTo>
                  <a:cubicBezTo>
                    <a:pt x="245" y="17"/>
                    <a:pt x="246" y="58"/>
                    <a:pt x="234" y="107"/>
                  </a:cubicBezTo>
                  <a:cubicBezTo>
                    <a:pt x="284" y="115"/>
                    <a:pt x="321" y="132"/>
                    <a:pt x="321" y="156"/>
                  </a:cubicBezTo>
                  <a:cubicBezTo>
                    <a:pt x="321" y="179"/>
                    <a:pt x="284" y="197"/>
                    <a:pt x="234" y="205"/>
                  </a:cubicBezTo>
                  <a:cubicBezTo>
                    <a:pt x="246" y="254"/>
                    <a:pt x="245" y="295"/>
                    <a:pt x="222" y="304"/>
                  </a:cubicBezTo>
                  <a:cubicBezTo>
                    <a:pt x="205" y="311"/>
                    <a:pt x="183" y="295"/>
                    <a:pt x="161" y="268"/>
                  </a:cubicBezTo>
                  <a:cubicBezTo>
                    <a:pt x="139" y="296"/>
                    <a:pt x="117" y="312"/>
                    <a:pt x="99" y="304"/>
                  </a:cubicBezTo>
                  <a:cubicBezTo>
                    <a:pt x="78" y="295"/>
                    <a:pt x="76" y="254"/>
                    <a:pt x="87" y="205"/>
                  </a:cubicBezTo>
                  <a:cubicBezTo>
                    <a:pt x="37" y="197"/>
                    <a:pt x="0" y="179"/>
                    <a:pt x="0" y="156"/>
                  </a:cubicBezTo>
                  <a:cubicBezTo>
                    <a:pt x="0" y="132"/>
                    <a:pt x="37" y="115"/>
                    <a:pt x="87" y="107"/>
                  </a:cubicBezTo>
                  <a:cubicBezTo>
                    <a:pt x="76" y="57"/>
                    <a:pt x="78" y="17"/>
                    <a:pt x="99" y="8"/>
                  </a:cubicBezTo>
                  <a:cubicBezTo>
                    <a:pt x="117" y="0"/>
                    <a:pt x="139" y="16"/>
                    <a:pt x="161" y="44"/>
                  </a:cubicBezTo>
                  <a:close/>
                  <a:moveTo>
                    <a:pt x="125" y="102"/>
                  </a:moveTo>
                  <a:cubicBezTo>
                    <a:pt x="134" y="85"/>
                    <a:pt x="144" y="68"/>
                    <a:pt x="154" y="54"/>
                  </a:cubicBezTo>
                  <a:cubicBezTo>
                    <a:pt x="133" y="27"/>
                    <a:pt x="114" y="14"/>
                    <a:pt x="104" y="18"/>
                  </a:cubicBezTo>
                  <a:cubicBezTo>
                    <a:pt x="90" y="24"/>
                    <a:pt x="87" y="57"/>
                    <a:pt x="98" y="105"/>
                  </a:cubicBezTo>
                  <a:cubicBezTo>
                    <a:pt x="107" y="104"/>
                    <a:pt x="116" y="103"/>
                    <a:pt x="125" y="102"/>
                  </a:cubicBezTo>
                  <a:close/>
                  <a:moveTo>
                    <a:pt x="110" y="135"/>
                  </a:moveTo>
                  <a:cubicBezTo>
                    <a:pt x="113" y="128"/>
                    <a:pt x="116" y="121"/>
                    <a:pt x="119" y="114"/>
                  </a:cubicBezTo>
                  <a:cubicBezTo>
                    <a:pt x="113" y="115"/>
                    <a:pt x="107" y="115"/>
                    <a:pt x="101" y="116"/>
                  </a:cubicBezTo>
                  <a:cubicBezTo>
                    <a:pt x="103" y="124"/>
                    <a:pt x="105" y="131"/>
                    <a:pt x="108" y="140"/>
                  </a:cubicBezTo>
                  <a:cubicBezTo>
                    <a:pt x="110" y="135"/>
                    <a:pt x="110" y="135"/>
                    <a:pt x="110" y="135"/>
                  </a:cubicBezTo>
                  <a:close/>
                  <a:moveTo>
                    <a:pt x="135" y="156"/>
                  </a:moveTo>
                  <a:cubicBezTo>
                    <a:pt x="135" y="142"/>
                    <a:pt x="147" y="131"/>
                    <a:pt x="161" y="131"/>
                  </a:cubicBezTo>
                  <a:cubicBezTo>
                    <a:pt x="175" y="131"/>
                    <a:pt x="186" y="142"/>
                    <a:pt x="186" y="156"/>
                  </a:cubicBezTo>
                  <a:cubicBezTo>
                    <a:pt x="186" y="170"/>
                    <a:pt x="175" y="181"/>
                    <a:pt x="161" y="181"/>
                  </a:cubicBezTo>
                  <a:cubicBezTo>
                    <a:pt x="147" y="181"/>
                    <a:pt x="135" y="170"/>
                    <a:pt x="135" y="156"/>
                  </a:cubicBezTo>
                  <a:close/>
                </a:path>
              </a:pathLst>
            </a:custGeom>
            <a:solidFill>
              <a:schemeClr val="bg1"/>
            </a:solid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grpSp>
          <p:nvGrpSpPr>
            <p:cNvPr id="58" name="Group 235"/>
            <p:cNvGrpSpPr/>
            <p:nvPr/>
          </p:nvGrpSpPr>
          <p:grpSpPr>
            <a:xfrm>
              <a:off x="6982262" y="3191704"/>
              <a:ext cx="666719" cy="526708"/>
              <a:chOff x="4638675" y="3949701"/>
              <a:chExt cx="962025" cy="947737"/>
            </a:xfrm>
            <a:solidFill>
              <a:schemeClr val="bg1"/>
            </a:solidFill>
          </p:grpSpPr>
          <p:sp>
            <p:nvSpPr>
              <p:cNvPr id="77" name="Freeform 142"/>
              <p:cNvSpPr>
                <a:spLocks/>
              </p:cNvSpPr>
              <p:nvPr/>
            </p:nvSpPr>
            <p:spPr bwMode="auto">
              <a:xfrm>
                <a:off x="5148263" y="4479926"/>
                <a:ext cx="315912" cy="133350"/>
              </a:xfrm>
              <a:custGeom>
                <a:avLst/>
                <a:gdLst/>
                <a:ahLst/>
                <a:cxnLst>
                  <a:cxn ang="0">
                    <a:pos x="0" y="66"/>
                  </a:cxn>
                  <a:cxn ang="0">
                    <a:pos x="169" y="10"/>
                  </a:cxn>
                  <a:cxn ang="0">
                    <a:pos x="163" y="0"/>
                  </a:cxn>
                  <a:cxn ang="0">
                    <a:pos x="199" y="11"/>
                  </a:cxn>
                  <a:cxn ang="0">
                    <a:pos x="185" y="38"/>
                  </a:cxn>
                  <a:cxn ang="0">
                    <a:pos x="179" y="28"/>
                  </a:cxn>
                  <a:cxn ang="0">
                    <a:pos x="10" y="84"/>
                  </a:cxn>
                  <a:cxn ang="0">
                    <a:pos x="0" y="66"/>
                  </a:cxn>
                </a:cxnLst>
                <a:rect l="0" t="0" r="r" b="b"/>
                <a:pathLst>
                  <a:path w="199" h="84">
                    <a:moveTo>
                      <a:pt x="0" y="66"/>
                    </a:moveTo>
                    <a:lnTo>
                      <a:pt x="169" y="10"/>
                    </a:lnTo>
                    <a:lnTo>
                      <a:pt x="163" y="0"/>
                    </a:lnTo>
                    <a:lnTo>
                      <a:pt x="199" y="11"/>
                    </a:lnTo>
                    <a:lnTo>
                      <a:pt x="185" y="38"/>
                    </a:lnTo>
                    <a:lnTo>
                      <a:pt x="179" y="28"/>
                    </a:lnTo>
                    <a:lnTo>
                      <a:pt x="10" y="84"/>
                    </a:lnTo>
                    <a:lnTo>
                      <a:pt x="0" y="66"/>
                    </a:lnTo>
                    <a:close/>
                  </a:path>
                </a:pathLst>
              </a:custGeom>
              <a:grpFill/>
            </p:spPr>
            <p:txBody>
              <a:bodyPr wrap="square" lIns="0" tIns="0" rIns="0" bIns="0" rtlCol="0"/>
              <a:lstStyle/>
              <a:p>
                <a:pPr defTabSz="488435"/>
                <a:endParaRPr lang="en-GB" sz="1746" dirty="0">
                  <a:solidFill>
                    <a:prstClr val="black"/>
                  </a:solidFill>
                </a:endParaRPr>
              </a:p>
            </p:txBody>
          </p:sp>
          <p:sp>
            <p:nvSpPr>
              <p:cNvPr id="78" name="Freeform 143"/>
              <p:cNvSpPr>
                <a:spLocks/>
              </p:cNvSpPr>
              <p:nvPr/>
            </p:nvSpPr>
            <p:spPr bwMode="auto">
              <a:xfrm>
                <a:off x="5138738" y="4781551"/>
                <a:ext cx="358775" cy="23813"/>
              </a:xfrm>
              <a:custGeom>
                <a:avLst/>
                <a:gdLst/>
                <a:ahLst/>
                <a:cxnLst>
                  <a:cxn ang="0">
                    <a:pos x="0" y="69"/>
                  </a:cxn>
                  <a:cxn ang="0">
                    <a:pos x="13" y="74"/>
                  </a:cxn>
                  <a:cxn ang="0">
                    <a:pos x="1081" y="74"/>
                  </a:cxn>
                  <a:cxn ang="0">
                    <a:pos x="1094" y="69"/>
                  </a:cxn>
                  <a:cxn ang="0">
                    <a:pos x="1094" y="5"/>
                  </a:cxn>
                  <a:cxn ang="0">
                    <a:pos x="1081" y="0"/>
                  </a:cxn>
                  <a:cxn ang="0">
                    <a:pos x="13" y="0"/>
                  </a:cxn>
                  <a:cxn ang="0">
                    <a:pos x="0" y="5"/>
                  </a:cxn>
                  <a:cxn ang="0">
                    <a:pos x="0" y="69"/>
                  </a:cxn>
                </a:cxnLst>
                <a:rect l="0" t="0" r="r" b="b"/>
                <a:pathLst>
                  <a:path w="1094" h="74">
                    <a:moveTo>
                      <a:pt x="0" y="69"/>
                    </a:moveTo>
                    <a:cubicBezTo>
                      <a:pt x="0" y="72"/>
                      <a:pt x="6" y="74"/>
                      <a:pt x="13" y="74"/>
                    </a:cubicBezTo>
                    <a:cubicBezTo>
                      <a:pt x="1081" y="74"/>
                      <a:pt x="1081" y="74"/>
                      <a:pt x="1081" y="74"/>
                    </a:cubicBezTo>
                    <a:cubicBezTo>
                      <a:pt x="1088" y="74"/>
                      <a:pt x="1094" y="72"/>
                      <a:pt x="1094" y="69"/>
                    </a:cubicBezTo>
                    <a:cubicBezTo>
                      <a:pt x="1094" y="5"/>
                      <a:pt x="1094" y="5"/>
                      <a:pt x="1094" y="5"/>
                    </a:cubicBezTo>
                    <a:cubicBezTo>
                      <a:pt x="1094" y="3"/>
                      <a:pt x="1088" y="0"/>
                      <a:pt x="1081" y="0"/>
                    </a:cubicBezTo>
                    <a:cubicBezTo>
                      <a:pt x="13" y="0"/>
                      <a:pt x="13" y="0"/>
                      <a:pt x="13" y="0"/>
                    </a:cubicBezTo>
                    <a:cubicBezTo>
                      <a:pt x="6" y="0"/>
                      <a:pt x="0" y="3"/>
                      <a:pt x="0" y="5"/>
                    </a:cubicBezTo>
                    <a:lnTo>
                      <a:pt x="0" y="69"/>
                    </a:lnTo>
                    <a:close/>
                  </a:path>
                </a:pathLst>
              </a:custGeom>
              <a:grpFill/>
            </p:spPr>
            <p:txBody>
              <a:bodyPr wrap="square" lIns="0" tIns="0" rIns="0" bIns="0" rtlCol="0"/>
              <a:lstStyle/>
              <a:p>
                <a:pPr defTabSz="488435"/>
                <a:endParaRPr lang="en-GB" sz="1746" dirty="0">
                  <a:solidFill>
                    <a:prstClr val="black"/>
                  </a:solidFill>
                </a:endParaRPr>
              </a:p>
            </p:txBody>
          </p:sp>
          <p:sp>
            <p:nvSpPr>
              <p:cNvPr id="79" name="Freeform 144"/>
              <p:cNvSpPr>
                <a:spLocks/>
              </p:cNvSpPr>
              <p:nvPr/>
            </p:nvSpPr>
            <p:spPr bwMode="auto">
              <a:xfrm>
                <a:off x="5429250" y="4562476"/>
                <a:ext cx="65087" cy="195263"/>
              </a:xfrm>
              <a:custGeom>
                <a:avLst/>
                <a:gdLst/>
                <a:ahLst/>
                <a:cxnLst>
                  <a:cxn ang="0">
                    <a:pos x="0" y="580"/>
                  </a:cxn>
                  <a:cxn ang="0">
                    <a:pos x="13" y="593"/>
                  </a:cxn>
                  <a:cxn ang="0">
                    <a:pos x="186" y="593"/>
                  </a:cxn>
                  <a:cxn ang="0">
                    <a:pos x="198" y="580"/>
                  </a:cxn>
                  <a:cxn ang="0">
                    <a:pos x="198" y="13"/>
                  </a:cxn>
                  <a:cxn ang="0">
                    <a:pos x="186" y="0"/>
                  </a:cxn>
                  <a:cxn ang="0">
                    <a:pos x="13" y="0"/>
                  </a:cxn>
                  <a:cxn ang="0">
                    <a:pos x="0" y="13"/>
                  </a:cxn>
                  <a:cxn ang="0">
                    <a:pos x="0" y="580"/>
                  </a:cxn>
                </a:cxnLst>
                <a:rect l="0" t="0" r="r" b="b"/>
                <a:pathLst>
                  <a:path w="198" h="593">
                    <a:moveTo>
                      <a:pt x="0" y="580"/>
                    </a:moveTo>
                    <a:cubicBezTo>
                      <a:pt x="0" y="587"/>
                      <a:pt x="6" y="593"/>
                      <a:pt x="13" y="593"/>
                    </a:cubicBezTo>
                    <a:cubicBezTo>
                      <a:pt x="186" y="593"/>
                      <a:pt x="186" y="593"/>
                      <a:pt x="186" y="593"/>
                    </a:cubicBezTo>
                    <a:cubicBezTo>
                      <a:pt x="193" y="593"/>
                      <a:pt x="198" y="587"/>
                      <a:pt x="198" y="580"/>
                    </a:cubicBezTo>
                    <a:cubicBezTo>
                      <a:pt x="198" y="13"/>
                      <a:pt x="198" y="13"/>
                      <a:pt x="198" y="13"/>
                    </a:cubicBezTo>
                    <a:cubicBezTo>
                      <a:pt x="198" y="6"/>
                      <a:pt x="193" y="0"/>
                      <a:pt x="186" y="0"/>
                    </a:cubicBezTo>
                    <a:cubicBezTo>
                      <a:pt x="13" y="0"/>
                      <a:pt x="13" y="0"/>
                      <a:pt x="13" y="0"/>
                    </a:cubicBezTo>
                    <a:cubicBezTo>
                      <a:pt x="6" y="0"/>
                      <a:pt x="0" y="6"/>
                      <a:pt x="0" y="13"/>
                    </a:cubicBezTo>
                    <a:lnTo>
                      <a:pt x="0" y="580"/>
                    </a:lnTo>
                    <a:close/>
                  </a:path>
                </a:pathLst>
              </a:custGeom>
              <a:grpFill/>
            </p:spPr>
            <p:txBody>
              <a:bodyPr wrap="square" lIns="0" tIns="0" rIns="0" bIns="0" rtlCol="0"/>
              <a:lstStyle/>
              <a:p>
                <a:pPr defTabSz="488435"/>
                <a:endParaRPr lang="en-GB" sz="1746" dirty="0">
                  <a:solidFill>
                    <a:prstClr val="black"/>
                  </a:solidFill>
                </a:endParaRPr>
              </a:p>
            </p:txBody>
          </p:sp>
          <p:sp>
            <p:nvSpPr>
              <p:cNvPr id="80" name="Freeform 145"/>
              <p:cNvSpPr>
                <a:spLocks/>
              </p:cNvSpPr>
              <p:nvPr/>
            </p:nvSpPr>
            <p:spPr bwMode="auto">
              <a:xfrm>
                <a:off x="5330825" y="4589463"/>
                <a:ext cx="65087" cy="168275"/>
              </a:xfrm>
              <a:custGeom>
                <a:avLst/>
                <a:gdLst/>
                <a:ahLst/>
                <a:cxnLst>
                  <a:cxn ang="0">
                    <a:pos x="0" y="503"/>
                  </a:cxn>
                  <a:cxn ang="0">
                    <a:pos x="12" y="514"/>
                  </a:cxn>
                  <a:cxn ang="0">
                    <a:pos x="185" y="514"/>
                  </a:cxn>
                  <a:cxn ang="0">
                    <a:pos x="198" y="503"/>
                  </a:cxn>
                  <a:cxn ang="0">
                    <a:pos x="198" y="11"/>
                  </a:cxn>
                  <a:cxn ang="0">
                    <a:pos x="185" y="0"/>
                  </a:cxn>
                  <a:cxn ang="0">
                    <a:pos x="12" y="0"/>
                  </a:cxn>
                  <a:cxn ang="0">
                    <a:pos x="0" y="11"/>
                  </a:cxn>
                  <a:cxn ang="0">
                    <a:pos x="0" y="503"/>
                  </a:cxn>
                </a:cxnLst>
                <a:rect l="0" t="0" r="r" b="b"/>
                <a:pathLst>
                  <a:path w="198" h="514">
                    <a:moveTo>
                      <a:pt x="0" y="503"/>
                    </a:moveTo>
                    <a:cubicBezTo>
                      <a:pt x="0" y="509"/>
                      <a:pt x="5" y="514"/>
                      <a:pt x="12" y="514"/>
                    </a:cubicBezTo>
                    <a:cubicBezTo>
                      <a:pt x="185" y="514"/>
                      <a:pt x="185" y="514"/>
                      <a:pt x="185" y="514"/>
                    </a:cubicBezTo>
                    <a:cubicBezTo>
                      <a:pt x="192" y="514"/>
                      <a:pt x="198" y="509"/>
                      <a:pt x="198" y="503"/>
                    </a:cubicBezTo>
                    <a:cubicBezTo>
                      <a:pt x="198" y="11"/>
                      <a:pt x="198" y="11"/>
                      <a:pt x="198" y="11"/>
                    </a:cubicBezTo>
                    <a:cubicBezTo>
                      <a:pt x="198" y="5"/>
                      <a:pt x="192" y="0"/>
                      <a:pt x="185" y="0"/>
                    </a:cubicBezTo>
                    <a:cubicBezTo>
                      <a:pt x="12" y="0"/>
                      <a:pt x="12" y="0"/>
                      <a:pt x="12" y="0"/>
                    </a:cubicBezTo>
                    <a:cubicBezTo>
                      <a:pt x="5" y="0"/>
                      <a:pt x="0" y="5"/>
                      <a:pt x="0" y="11"/>
                    </a:cubicBezTo>
                    <a:lnTo>
                      <a:pt x="0" y="503"/>
                    </a:lnTo>
                    <a:close/>
                  </a:path>
                </a:pathLst>
              </a:custGeom>
              <a:grpFill/>
            </p:spPr>
            <p:txBody>
              <a:bodyPr wrap="square" lIns="0" tIns="0" rIns="0" bIns="0" rtlCol="0"/>
              <a:lstStyle/>
              <a:p>
                <a:pPr defTabSz="488435"/>
                <a:endParaRPr lang="en-GB" sz="1746" dirty="0">
                  <a:solidFill>
                    <a:prstClr val="black"/>
                  </a:solidFill>
                </a:endParaRPr>
              </a:p>
            </p:txBody>
          </p:sp>
          <p:sp>
            <p:nvSpPr>
              <p:cNvPr id="81" name="Freeform 146"/>
              <p:cNvSpPr>
                <a:spLocks/>
              </p:cNvSpPr>
              <p:nvPr/>
            </p:nvSpPr>
            <p:spPr bwMode="auto">
              <a:xfrm>
                <a:off x="5232400" y="4616451"/>
                <a:ext cx="65087" cy="141288"/>
              </a:xfrm>
              <a:custGeom>
                <a:avLst/>
                <a:gdLst/>
                <a:ahLst/>
                <a:cxnLst>
                  <a:cxn ang="0">
                    <a:pos x="0" y="418"/>
                  </a:cxn>
                  <a:cxn ang="0">
                    <a:pos x="13" y="428"/>
                  </a:cxn>
                  <a:cxn ang="0">
                    <a:pos x="186" y="428"/>
                  </a:cxn>
                  <a:cxn ang="0">
                    <a:pos x="198" y="418"/>
                  </a:cxn>
                  <a:cxn ang="0">
                    <a:pos x="198" y="10"/>
                  </a:cxn>
                  <a:cxn ang="0">
                    <a:pos x="186" y="0"/>
                  </a:cxn>
                  <a:cxn ang="0">
                    <a:pos x="13" y="0"/>
                  </a:cxn>
                  <a:cxn ang="0">
                    <a:pos x="0" y="10"/>
                  </a:cxn>
                  <a:cxn ang="0">
                    <a:pos x="0" y="418"/>
                  </a:cxn>
                </a:cxnLst>
                <a:rect l="0" t="0" r="r" b="b"/>
                <a:pathLst>
                  <a:path w="198" h="428">
                    <a:moveTo>
                      <a:pt x="0" y="418"/>
                    </a:moveTo>
                    <a:cubicBezTo>
                      <a:pt x="0" y="424"/>
                      <a:pt x="6" y="428"/>
                      <a:pt x="13" y="428"/>
                    </a:cubicBezTo>
                    <a:cubicBezTo>
                      <a:pt x="186" y="428"/>
                      <a:pt x="186" y="428"/>
                      <a:pt x="186" y="428"/>
                    </a:cubicBezTo>
                    <a:cubicBezTo>
                      <a:pt x="193" y="428"/>
                      <a:pt x="198" y="424"/>
                      <a:pt x="198" y="418"/>
                    </a:cubicBezTo>
                    <a:cubicBezTo>
                      <a:pt x="198" y="10"/>
                      <a:pt x="198" y="10"/>
                      <a:pt x="198" y="10"/>
                    </a:cubicBezTo>
                    <a:cubicBezTo>
                      <a:pt x="198" y="4"/>
                      <a:pt x="193" y="0"/>
                      <a:pt x="186" y="0"/>
                    </a:cubicBezTo>
                    <a:cubicBezTo>
                      <a:pt x="13" y="0"/>
                      <a:pt x="13" y="0"/>
                      <a:pt x="13" y="0"/>
                    </a:cubicBezTo>
                    <a:cubicBezTo>
                      <a:pt x="6" y="0"/>
                      <a:pt x="0" y="4"/>
                      <a:pt x="0" y="10"/>
                    </a:cubicBezTo>
                    <a:lnTo>
                      <a:pt x="0" y="418"/>
                    </a:lnTo>
                    <a:close/>
                  </a:path>
                </a:pathLst>
              </a:custGeom>
              <a:grpFill/>
            </p:spPr>
            <p:txBody>
              <a:bodyPr wrap="square" lIns="0" tIns="0" rIns="0" bIns="0" rtlCol="0"/>
              <a:lstStyle/>
              <a:p>
                <a:pPr defTabSz="488435"/>
                <a:endParaRPr lang="en-GB" sz="1746" dirty="0">
                  <a:solidFill>
                    <a:prstClr val="black"/>
                  </a:solidFill>
                </a:endParaRPr>
              </a:p>
            </p:txBody>
          </p:sp>
          <p:sp>
            <p:nvSpPr>
              <p:cNvPr id="82" name="Freeform 147"/>
              <p:cNvSpPr>
                <a:spLocks/>
              </p:cNvSpPr>
              <p:nvPr/>
            </p:nvSpPr>
            <p:spPr bwMode="auto">
              <a:xfrm>
                <a:off x="5133975" y="4646613"/>
                <a:ext cx="65087" cy="111125"/>
              </a:xfrm>
              <a:custGeom>
                <a:avLst/>
                <a:gdLst/>
                <a:ahLst/>
                <a:cxnLst>
                  <a:cxn ang="0">
                    <a:pos x="0" y="328"/>
                  </a:cxn>
                  <a:cxn ang="0">
                    <a:pos x="12" y="335"/>
                  </a:cxn>
                  <a:cxn ang="0">
                    <a:pos x="186" y="335"/>
                  </a:cxn>
                  <a:cxn ang="0">
                    <a:pos x="198" y="328"/>
                  </a:cxn>
                  <a:cxn ang="0">
                    <a:pos x="198" y="7"/>
                  </a:cxn>
                  <a:cxn ang="0">
                    <a:pos x="186" y="0"/>
                  </a:cxn>
                  <a:cxn ang="0">
                    <a:pos x="12" y="0"/>
                  </a:cxn>
                  <a:cxn ang="0">
                    <a:pos x="0" y="7"/>
                  </a:cxn>
                  <a:cxn ang="0">
                    <a:pos x="0" y="328"/>
                  </a:cxn>
                </a:cxnLst>
                <a:rect l="0" t="0" r="r" b="b"/>
                <a:pathLst>
                  <a:path w="198" h="335">
                    <a:moveTo>
                      <a:pt x="0" y="328"/>
                    </a:moveTo>
                    <a:cubicBezTo>
                      <a:pt x="0" y="332"/>
                      <a:pt x="6" y="335"/>
                      <a:pt x="12" y="335"/>
                    </a:cubicBezTo>
                    <a:cubicBezTo>
                      <a:pt x="186" y="335"/>
                      <a:pt x="186" y="335"/>
                      <a:pt x="186" y="335"/>
                    </a:cubicBezTo>
                    <a:cubicBezTo>
                      <a:pt x="192" y="335"/>
                      <a:pt x="198" y="332"/>
                      <a:pt x="198" y="328"/>
                    </a:cubicBezTo>
                    <a:cubicBezTo>
                      <a:pt x="198" y="7"/>
                      <a:pt x="198" y="7"/>
                      <a:pt x="198" y="7"/>
                    </a:cubicBezTo>
                    <a:cubicBezTo>
                      <a:pt x="198" y="3"/>
                      <a:pt x="192" y="0"/>
                      <a:pt x="186" y="0"/>
                    </a:cubicBezTo>
                    <a:cubicBezTo>
                      <a:pt x="12" y="0"/>
                      <a:pt x="12" y="0"/>
                      <a:pt x="12" y="0"/>
                    </a:cubicBezTo>
                    <a:cubicBezTo>
                      <a:pt x="6" y="0"/>
                      <a:pt x="0" y="3"/>
                      <a:pt x="0" y="7"/>
                    </a:cubicBezTo>
                    <a:lnTo>
                      <a:pt x="0" y="328"/>
                    </a:lnTo>
                    <a:close/>
                  </a:path>
                </a:pathLst>
              </a:custGeom>
              <a:grpFill/>
            </p:spPr>
            <p:txBody>
              <a:bodyPr wrap="square" lIns="0" tIns="0" rIns="0" bIns="0" rtlCol="0"/>
              <a:lstStyle/>
              <a:p>
                <a:pPr defTabSz="488435"/>
                <a:endParaRPr lang="en-GB" sz="1746" dirty="0">
                  <a:solidFill>
                    <a:prstClr val="black"/>
                  </a:solidFill>
                </a:endParaRPr>
              </a:p>
            </p:txBody>
          </p:sp>
          <p:sp>
            <p:nvSpPr>
              <p:cNvPr id="83" name="Freeform 148"/>
              <p:cNvSpPr>
                <a:spLocks/>
              </p:cNvSpPr>
              <p:nvPr/>
            </p:nvSpPr>
            <p:spPr bwMode="auto">
              <a:xfrm>
                <a:off x="4918075" y="4264026"/>
                <a:ext cx="61912" cy="98425"/>
              </a:xfrm>
              <a:custGeom>
                <a:avLst/>
                <a:gdLst/>
                <a:ahLst/>
                <a:cxnLst>
                  <a:cxn ang="0">
                    <a:pos x="0" y="2"/>
                  </a:cxn>
                  <a:cxn ang="0">
                    <a:pos x="20" y="62"/>
                  </a:cxn>
                  <a:cxn ang="0">
                    <a:pos x="39" y="2"/>
                  </a:cxn>
                  <a:cxn ang="0">
                    <a:pos x="23" y="0"/>
                  </a:cxn>
                  <a:cxn ang="0">
                    <a:pos x="16" y="0"/>
                  </a:cxn>
                  <a:cxn ang="0">
                    <a:pos x="0" y="2"/>
                  </a:cxn>
                </a:cxnLst>
                <a:rect l="0" t="0" r="r" b="b"/>
                <a:pathLst>
                  <a:path w="39" h="62">
                    <a:moveTo>
                      <a:pt x="0" y="2"/>
                    </a:moveTo>
                    <a:lnTo>
                      <a:pt x="20" y="62"/>
                    </a:lnTo>
                    <a:lnTo>
                      <a:pt x="39" y="2"/>
                    </a:lnTo>
                    <a:lnTo>
                      <a:pt x="23" y="0"/>
                    </a:lnTo>
                    <a:lnTo>
                      <a:pt x="16" y="0"/>
                    </a:lnTo>
                    <a:lnTo>
                      <a:pt x="0" y="2"/>
                    </a:lnTo>
                    <a:close/>
                  </a:path>
                </a:pathLst>
              </a:custGeom>
              <a:grpFill/>
            </p:spPr>
            <p:txBody>
              <a:bodyPr wrap="square" lIns="0" tIns="0" rIns="0" bIns="0" rtlCol="0"/>
              <a:lstStyle/>
              <a:p>
                <a:pPr defTabSz="488435"/>
                <a:endParaRPr lang="en-GB" sz="1746" dirty="0">
                  <a:solidFill>
                    <a:prstClr val="black"/>
                  </a:solidFill>
                </a:endParaRPr>
              </a:p>
            </p:txBody>
          </p:sp>
          <p:sp>
            <p:nvSpPr>
              <p:cNvPr id="84" name="Oval 149"/>
              <p:cNvSpPr>
                <a:spLocks noChangeArrowheads="1"/>
              </p:cNvSpPr>
              <p:nvPr/>
            </p:nvSpPr>
            <p:spPr bwMode="auto">
              <a:xfrm>
                <a:off x="4816475" y="3949701"/>
                <a:ext cx="266700" cy="287338"/>
              </a:xfrm>
              <a:prstGeom prst="ellipse">
                <a:avLst/>
              </a:prstGeom>
              <a:grpFill/>
            </p:spPr>
            <p:txBody>
              <a:bodyPr wrap="square" lIns="0" tIns="0" rIns="0" bIns="0" rtlCol="0"/>
              <a:lstStyle/>
              <a:p>
                <a:pPr defTabSz="488435"/>
                <a:endParaRPr lang="en-GB" sz="1746" dirty="0">
                  <a:solidFill>
                    <a:prstClr val="black"/>
                  </a:solidFill>
                </a:endParaRPr>
              </a:p>
            </p:txBody>
          </p:sp>
          <p:sp>
            <p:nvSpPr>
              <p:cNvPr id="85" name="Freeform 150"/>
              <p:cNvSpPr>
                <a:spLocks/>
              </p:cNvSpPr>
              <p:nvPr/>
            </p:nvSpPr>
            <p:spPr bwMode="auto">
              <a:xfrm>
                <a:off x="4638675" y="4252913"/>
                <a:ext cx="539750" cy="582613"/>
              </a:xfrm>
              <a:custGeom>
                <a:avLst/>
                <a:gdLst/>
                <a:ahLst/>
                <a:cxnLst>
                  <a:cxn ang="0">
                    <a:pos x="1083" y="1777"/>
                  </a:cxn>
                  <a:cxn ang="0">
                    <a:pos x="1083" y="509"/>
                  </a:cxn>
                  <a:cxn ang="0">
                    <a:pos x="1250" y="325"/>
                  </a:cxn>
                  <a:cxn ang="0">
                    <a:pos x="1647" y="325"/>
                  </a:cxn>
                  <a:cxn ang="0">
                    <a:pos x="1613" y="253"/>
                  </a:cxn>
                  <a:cxn ang="0">
                    <a:pos x="1190" y="0"/>
                  </a:cxn>
                  <a:cxn ang="0">
                    <a:pos x="959" y="643"/>
                  </a:cxn>
                  <a:cxn ang="0">
                    <a:pos x="702" y="0"/>
                  </a:cxn>
                  <a:cxn ang="0">
                    <a:pos x="317" y="222"/>
                  </a:cxn>
                  <a:cxn ang="0">
                    <a:pos x="400" y="1776"/>
                  </a:cxn>
                  <a:cxn ang="0">
                    <a:pos x="1083" y="1777"/>
                  </a:cxn>
                </a:cxnLst>
                <a:rect l="0" t="0" r="r" b="b"/>
                <a:pathLst>
                  <a:path w="1647" h="1777">
                    <a:moveTo>
                      <a:pt x="1083" y="1777"/>
                    </a:moveTo>
                    <a:cubicBezTo>
                      <a:pt x="1083" y="509"/>
                      <a:pt x="1083" y="509"/>
                      <a:pt x="1083" y="509"/>
                    </a:cubicBezTo>
                    <a:cubicBezTo>
                      <a:pt x="1083" y="408"/>
                      <a:pt x="1158" y="325"/>
                      <a:pt x="1250" y="325"/>
                    </a:cubicBezTo>
                    <a:cubicBezTo>
                      <a:pt x="1647" y="325"/>
                      <a:pt x="1647" y="325"/>
                      <a:pt x="1647" y="325"/>
                    </a:cubicBezTo>
                    <a:cubicBezTo>
                      <a:pt x="1636" y="294"/>
                      <a:pt x="1624" y="269"/>
                      <a:pt x="1613" y="253"/>
                    </a:cubicBezTo>
                    <a:cubicBezTo>
                      <a:pt x="1531" y="136"/>
                      <a:pt x="1424" y="39"/>
                      <a:pt x="1190" y="0"/>
                    </a:cubicBezTo>
                    <a:cubicBezTo>
                      <a:pt x="959" y="643"/>
                      <a:pt x="959" y="643"/>
                      <a:pt x="959" y="643"/>
                    </a:cubicBezTo>
                    <a:cubicBezTo>
                      <a:pt x="702" y="0"/>
                      <a:pt x="702" y="0"/>
                      <a:pt x="702" y="0"/>
                    </a:cubicBezTo>
                    <a:cubicBezTo>
                      <a:pt x="499" y="37"/>
                      <a:pt x="403" y="121"/>
                      <a:pt x="317" y="222"/>
                    </a:cubicBezTo>
                    <a:cubicBezTo>
                      <a:pt x="150" y="420"/>
                      <a:pt x="0" y="1776"/>
                      <a:pt x="400" y="1776"/>
                    </a:cubicBezTo>
                    <a:lnTo>
                      <a:pt x="1083" y="1777"/>
                    </a:lnTo>
                    <a:close/>
                  </a:path>
                </a:pathLst>
              </a:custGeom>
              <a:grpFill/>
            </p:spPr>
            <p:txBody>
              <a:bodyPr wrap="square" lIns="0" tIns="0" rIns="0" bIns="0" rtlCol="0"/>
              <a:lstStyle/>
              <a:p>
                <a:pPr defTabSz="488435"/>
                <a:endParaRPr lang="en-GB" sz="1746" dirty="0">
                  <a:solidFill>
                    <a:prstClr val="black"/>
                  </a:solidFill>
                </a:endParaRPr>
              </a:p>
            </p:txBody>
          </p:sp>
          <p:sp>
            <p:nvSpPr>
              <p:cNvPr id="86" name="Freeform 151"/>
              <p:cNvSpPr>
                <a:spLocks noEditPoints="1"/>
              </p:cNvSpPr>
              <p:nvPr/>
            </p:nvSpPr>
            <p:spPr bwMode="auto">
              <a:xfrm>
                <a:off x="5032375" y="4398963"/>
                <a:ext cx="568325" cy="498475"/>
              </a:xfrm>
              <a:custGeom>
                <a:avLst/>
                <a:gdLst/>
                <a:ahLst/>
                <a:cxnLst>
                  <a:cxn ang="0">
                    <a:pos x="1584" y="0"/>
                  </a:cxn>
                  <a:cxn ang="0">
                    <a:pos x="148" y="0"/>
                  </a:cxn>
                  <a:cxn ang="0">
                    <a:pos x="0" y="163"/>
                  </a:cxn>
                  <a:cxn ang="0">
                    <a:pos x="0" y="1358"/>
                  </a:cxn>
                  <a:cxn ang="0">
                    <a:pos x="148" y="1521"/>
                  </a:cxn>
                  <a:cxn ang="0">
                    <a:pos x="1584" y="1521"/>
                  </a:cxn>
                  <a:cxn ang="0">
                    <a:pos x="1732" y="1358"/>
                  </a:cxn>
                  <a:cxn ang="0">
                    <a:pos x="1732" y="163"/>
                  </a:cxn>
                  <a:cxn ang="0">
                    <a:pos x="1584" y="0"/>
                  </a:cxn>
                  <a:cxn ang="0">
                    <a:pos x="1578" y="1358"/>
                  </a:cxn>
                  <a:cxn ang="0">
                    <a:pos x="1577" y="1364"/>
                  </a:cxn>
                  <a:cxn ang="0">
                    <a:pos x="155" y="1364"/>
                  </a:cxn>
                  <a:cxn ang="0">
                    <a:pos x="154" y="1358"/>
                  </a:cxn>
                  <a:cxn ang="0">
                    <a:pos x="154" y="163"/>
                  </a:cxn>
                  <a:cxn ang="0">
                    <a:pos x="155" y="157"/>
                  </a:cxn>
                  <a:cxn ang="0">
                    <a:pos x="1577" y="157"/>
                  </a:cxn>
                  <a:cxn ang="0">
                    <a:pos x="1578" y="163"/>
                  </a:cxn>
                  <a:cxn ang="0">
                    <a:pos x="1578" y="1358"/>
                  </a:cxn>
                </a:cxnLst>
                <a:rect l="0" t="0" r="r" b="b"/>
                <a:pathLst>
                  <a:path w="1732" h="1521">
                    <a:moveTo>
                      <a:pt x="1584" y="0"/>
                    </a:moveTo>
                    <a:cubicBezTo>
                      <a:pt x="148" y="0"/>
                      <a:pt x="148" y="0"/>
                      <a:pt x="148" y="0"/>
                    </a:cubicBezTo>
                    <a:cubicBezTo>
                      <a:pt x="66" y="0"/>
                      <a:pt x="0" y="73"/>
                      <a:pt x="0" y="163"/>
                    </a:cubicBezTo>
                    <a:cubicBezTo>
                      <a:pt x="0" y="1358"/>
                      <a:pt x="0" y="1358"/>
                      <a:pt x="0" y="1358"/>
                    </a:cubicBezTo>
                    <a:cubicBezTo>
                      <a:pt x="0" y="1448"/>
                      <a:pt x="66" y="1521"/>
                      <a:pt x="148" y="1521"/>
                    </a:cubicBezTo>
                    <a:cubicBezTo>
                      <a:pt x="1584" y="1521"/>
                      <a:pt x="1584" y="1521"/>
                      <a:pt x="1584" y="1521"/>
                    </a:cubicBezTo>
                    <a:cubicBezTo>
                      <a:pt x="1666" y="1521"/>
                      <a:pt x="1732" y="1448"/>
                      <a:pt x="1732" y="1358"/>
                    </a:cubicBezTo>
                    <a:cubicBezTo>
                      <a:pt x="1732" y="163"/>
                      <a:pt x="1732" y="163"/>
                      <a:pt x="1732" y="163"/>
                    </a:cubicBezTo>
                    <a:cubicBezTo>
                      <a:pt x="1732" y="73"/>
                      <a:pt x="1666" y="0"/>
                      <a:pt x="1584" y="0"/>
                    </a:cubicBezTo>
                    <a:close/>
                    <a:moveTo>
                      <a:pt x="1578" y="1358"/>
                    </a:moveTo>
                    <a:cubicBezTo>
                      <a:pt x="1578" y="1360"/>
                      <a:pt x="1578" y="1362"/>
                      <a:pt x="1577" y="1364"/>
                    </a:cubicBezTo>
                    <a:cubicBezTo>
                      <a:pt x="155" y="1364"/>
                      <a:pt x="155" y="1364"/>
                      <a:pt x="155" y="1364"/>
                    </a:cubicBezTo>
                    <a:cubicBezTo>
                      <a:pt x="154" y="1362"/>
                      <a:pt x="154" y="1360"/>
                      <a:pt x="154" y="1358"/>
                    </a:cubicBezTo>
                    <a:cubicBezTo>
                      <a:pt x="154" y="163"/>
                      <a:pt x="154" y="163"/>
                      <a:pt x="154" y="163"/>
                    </a:cubicBezTo>
                    <a:cubicBezTo>
                      <a:pt x="154" y="160"/>
                      <a:pt x="154" y="158"/>
                      <a:pt x="155" y="157"/>
                    </a:cubicBezTo>
                    <a:cubicBezTo>
                      <a:pt x="1577" y="157"/>
                      <a:pt x="1577" y="157"/>
                      <a:pt x="1577" y="157"/>
                    </a:cubicBezTo>
                    <a:cubicBezTo>
                      <a:pt x="1578" y="158"/>
                      <a:pt x="1578" y="160"/>
                      <a:pt x="1578" y="163"/>
                    </a:cubicBezTo>
                    <a:lnTo>
                      <a:pt x="1578" y="1358"/>
                    </a:lnTo>
                    <a:close/>
                  </a:path>
                </a:pathLst>
              </a:custGeom>
              <a:grpFill/>
            </p:spPr>
            <p:txBody>
              <a:bodyPr wrap="square" lIns="0" tIns="0" rIns="0" bIns="0" rtlCol="0"/>
              <a:lstStyle/>
              <a:p>
                <a:pPr defTabSz="488435"/>
                <a:endParaRPr lang="en-GB" sz="1746" dirty="0">
                  <a:solidFill>
                    <a:prstClr val="black"/>
                  </a:solidFill>
                </a:endParaRPr>
              </a:p>
            </p:txBody>
          </p:sp>
        </p:grpSp>
        <p:grpSp>
          <p:nvGrpSpPr>
            <p:cNvPr id="59" name="Group 58"/>
            <p:cNvGrpSpPr/>
            <p:nvPr/>
          </p:nvGrpSpPr>
          <p:grpSpPr>
            <a:xfrm>
              <a:off x="4517073" y="4767585"/>
              <a:ext cx="567710" cy="516490"/>
              <a:chOff x="4233869" y="5259368"/>
              <a:chExt cx="639763" cy="582610"/>
            </a:xfrm>
            <a:solidFill>
              <a:schemeClr val="bg1"/>
            </a:solidFill>
          </p:grpSpPr>
          <p:sp>
            <p:nvSpPr>
              <p:cNvPr id="70" name="Freeform 99"/>
              <p:cNvSpPr>
                <a:spLocks/>
              </p:cNvSpPr>
              <p:nvPr/>
            </p:nvSpPr>
            <p:spPr bwMode="auto">
              <a:xfrm>
                <a:off x="4697419" y="5522892"/>
                <a:ext cx="131763" cy="168274"/>
              </a:xfrm>
              <a:custGeom>
                <a:avLst/>
                <a:gdLst/>
                <a:ahLst/>
                <a:cxnLst>
                  <a:cxn ang="0">
                    <a:pos x="7" y="47"/>
                  </a:cxn>
                  <a:cxn ang="0">
                    <a:pos x="26" y="65"/>
                  </a:cxn>
                  <a:cxn ang="0">
                    <a:pos x="44" y="47"/>
                  </a:cxn>
                  <a:cxn ang="0">
                    <a:pos x="47" y="47"/>
                  </a:cxn>
                  <a:cxn ang="0">
                    <a:pos x="49" y="43"/>
                  </a:cxn>
                  <a:cxn ang="0">
                    <a:pos x="49" y="38"/>
                  </a:cxn>
                  <a:cxn ang="0">
                    <a:pos x="48" y="37"/>
                  </a:cxn>
                  <a:cxn ang="0">
                    <a:pos x="45" y="16"/>
                  </a:cxn>
                  <a:cxn ang="0">
                    <a:pos x="24" y="7"/>
                  </a:cxn>
                  <a:cxn ang="0">
                    <a:pos x="24" y="7"/>
                  </a:cxn>
                  <a:cxn ang="0">
                    <a:pos x="24" y="2"/>
                  </a:cxn>
                  <a:cxn ang="0">
                    <a:pos x="19" y="6"/>
                  </a:cxn>
                  <a:cxn ang="0">
                    <a:pos x="15" y="2"/>
                  </a:cxn>
                  <a:cxn ang="0">
                    <a:pos x="13" y="10"/>
                  </a:cxn>
                  <a:cxn ang="0">
                    <a:pos x="13" y="10"/>
                  </a:cxn>
                  <a:cxn ang="0">
                    <a:pos x="6" y="8"/>
                  </a:cxn>
                  <a:cxn ang="0">
                    <a:pos x="9" y="13"/>
                  </a:cxn>
                  <a:cxn ang="0">
                    <a:pos x="4" y="18"/>
                  </a:cxn>
                  <a:cxn ang="0">
                    <a:pos x="4" y="37"/>
                  </a:cxn>
                  <a:cxn ang="0">
                    <a:pos x="3" y="38"/>
                  </a:cxn>
                  <a:cxn ang="0">
                    <a:pos x="3" y="43"/>
                  </a:cxn>
                  <a:cxn ang="0">
                    <a:pos x="5" y="47"/>
                  </a:cxn>
                  <a:cxn ang="0">
                    <a:pos x="7" y="47"/>
                  </a:cxn>
                </a:cxnLst>
                <a:rect l="0" t="0" r="r" b="b"/>
                <a:pathLst>
                  <a:path w="51" h="65">
                    <a:moveTo>
                      <a:pt x="7" y="47"/>
                    </a:moveTo>
                    <a:cubicBezTo>
                      <a:pt x="11" y="57"/>
                      <a:pt x="18" y="65"/>
                      <a:pt x="26" y="65"/>
                    </a:cubicBezTo>
                    <a:cubicBezTo>
                      <a:pt x="34" y="65"/>
                      <a:pt x="40" y="57"/>
                      <a:pt x="44" y="47"/>
                    </a:cubicBezTo>
                    <a:cubicBezTo>
                      <a:pt x="45" y="48"/>
                      <a:pt x="46" y="48"/>
                      <a:pt x="47" y="47"/>
                    </a:cubicBezTo>
                    <a:cubicBezTo>
                      <a:pt x="48" y="46"/>
                      <a:pt x="48" y="45"/>
                      <a:pt x="49" y="43"/>
                    </a:cubicBezTo>
                    <a:cubicBezTo>
                      <a:pt x="49" y="42"/>
                      <a:pt x="49" y="40"/>
                      <a:pt x="49" y="38"/>
                    </a:cubicBezTo>
                    <a:cubicBezTo>
                      <a:pt x="49" y="38"/>
                      <a:pt x="48" y="37"/>
                      <a:pt x="48" y="37"/>
                    </a:cubicBezTo>
                    <a:cubicBezTo>
                      <a:pt x="51" y="30"/>
                      <a:pt x="51" y="22"/>
                      <a:pt x="45" y="16"/>
                    </a:cubicBezTo>
                    <a:cubicBezTo>
                      <a:pt x="40" y="9"/>
                      <a:pt x="32" y="6"/>
                      <a:pt x="24" y="7"/>
                    </a:cubicBezTo>
                    <a:cubicBezTo>
                      <a:pt x="24" y="7"/>
                      <a:pt x="24" y="7"/>
                      <a:pt x="24" y="7"/>
                    </a:cubicBezTo>
                    <a:cubicBezTo>
                      <a:pt x="24" y="5"/>
                      <a:pt x="24" y="4"/>
                      <a:pt x="24" y="2"/>
                    </a:cubicBezTo>
                    <a:cubicBezTo>
                      <a:pt x="24" y="2"/>
                      <a:pt x="19" y="7"/>
                      <a:pt x="19" y="6"/>
                    </a:cubicBezTo>
                    <a:cubicBezTo>
                      <a:pt x="18" y="6"/>
                      <a:pt x="16" y="0"/>
                      <a:pt x="15" y="2"/>
                    </a:cubicBezTo>
                    <a:cubicBezTo>
                      <a:pt x="15" y="6"/>
                      <a:pt x="14" y="8"/>
                      <a:pt x="13" y="10"/>
                    </a:cubicBezTo>
                    <a:cubicBezTo>
                      <a:pt x="13" y="10"/>
                      <a:pt x="13" y="10"/>
                      <a:pt x="13" y="10"/>
                    </a:cubicBezTo>
                    <a:cubicBezTo>
                      <a:pt x="11" y="8"/>
                      <a:pt x="5" y="6"/>
                      <a:pt x="6" y="8"/>
                    </a:cubicBezTo>
                    <a:cubicBezTo>
                      <a:pt x="8" y="10"/>
                      <a:pt x="9" y="11"/>
                      <a:pt x="9" y="13"/>
                    </a:cubicBezTo>
                    <a:cubicBezTo>
                      <a:pt x="7" y="14"/>
                      <a:pt x="5" y="16"/>
                      <a:pt x="4" y="18"/>
                    </a:cubicBezTo>
                    <a:cubicBezTo>
                      <a:pt x="1" y="24"/>
                      <a:pt x="0" y="32"/>
                      <a:pt x="4" y="37"/>
                    </a:cubicBezTo>
                    <a:cubicBezTo>
                      <a:pt x="3" y="38"/>
                      <a:pt x="3" y="38"/>
                      <a:pt x="3" y="38"/>
                    </a:cubicBezTo>
                    <a:cubicBezTo>
                      <a:pt x="2" y="40"/>
                      <a:pt x="3" y="42"/>
                      <a:pt x="3" y="43"/>
                    </a:cubicBezTo>
                    <a:cubicBezTo>
                      <a:pt x="3" y="45"/>
                      <a:pt x="4" y="46"/>
                      <a:pt x="5" y="47"/>
                    </a:cubicBezTo>
                    <a:cubicBezTo>
                      <a:pt x="6" y="48"/>
                      <a:pt x="7" y="48"/>
                      <a:pt x="7" y="47"/>
                    </a:cubicBezTo>
                    <a:close/>
                  </a:path>
                </a:pathLst>
              </a:custGeom>
              <a:grp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71" name="Freeform 100"/>
              <p:cNvSpPr>
                <a:spLocks/>
              </p:cNvSpPr>
              <p:nvPr/>
            </p:nvSpPr>
            <p:spPr bwMode="auto">
              <a:xfrm>
                <a:off x="4654557" y="5703866"/>
                <a:ext cx="219075" cy="138112"/>
              </a:xfrm>
              <a:custGeom>
                <a:avLst/>
                <a:gdLst/>
                <a:ahLst/>
                <a:cxnLst>
                  <a:cxn ang="0">
                    <a:pos x="61" y="0"/>
                  </a:cxn>
                  <a:cxn ang="0">
                    <a:pos x="79" y="11"/>
                  </a:cxn>
                  <a:cxn ang="0">
                    <a:pos x="85" y="50"/>
                  </a:cxn>
                  <a:cxn ang="0">
                    <a:pos x="84" y="53"/>
                  </a:cxn>
                  <a:cxn ang="0">
                    <a:pos x="81" y="54"/>
                  </a:cxn>
                  <a:cxn ang="0">
                    <a:pos x="4" y="54"/>
                  </a:cxn>
                  <a:cxn ang="0">
                    <a:pos x="1" y="53"/>
                  </a:cxn>
                  <a:cxn ang="0">
                    <a:pos x="0" y="50"/>
                  </a:cxn>
                  <a:cxn ang="0">
                    <a:pos x="6" y="11"/>
                  </a:cxn>
                  <a:cxn ang="0">
                    <a:pos x="24" y="0"/>
                  </a:cxn>
                  <a:cxn ang="0">
                    <a:pos x="43" y="15"/>
                  </a:cxn>
                  <a:cxn ang="0">
                    <a:pos x="61" y="0"/>
                  </a:cxn>
                </a:cxnLst>
                <a:rect l="0" t="0" r="r" b="b"/>
                <a:pathLst>
                  <a:path w="85" h="54">
                    <a:moveTo>
                      <a:pt x="61" y="0"/>
                    </a:moveTo>
                    <a:cubicBezTo>
                      <a:pt x="68" y="3"/>
                      <a:pt x="75" y="4"/>
                      <a:pt x="79" y="11"/>
                    </a:cubicBezTo>
                    <a:cubicBezTo>
                      <a:pt x="83" y="19"/>
                      <a:pt x="85" y="36"/>
                      <a:pt x="85" y="50"/>
                    </a:cubicBezTo>
                    <a:cubicBezTo>
                      <a:pt x="85" y="51"/>
                      <a:pt x="85" y="52"/>
                      <a:pt x="84" y="53"/>
                    </a:cubicBezTo>
                    <a:cubicBezTo>
                      <a:pt x="83" y="54"/>
                      <a:pt x="82" y="54"/>
                      <a:pt x="81" y="54"/>
                    </a:cubicBezTo>
                    <a:cubicBezTo>
                      <a:pt x="4" y="54"/>
                      <a:pt x="4" y="54"/>
                      <a:pt x="4" y="54"/>
                    </a:cubicBezTo>
                    <a:cubicBezTo>
                      <a:pt x="3" y="54"/>
                      <a:pt x="2" y="54"/>
                      <a:pt x="1" y="53"/>
                    </a:cubicBezTo>
                    <a:cubicBezTo>
                      <a:pt x="0" y="52"/>
                      <a:pt x="0" y="51"/>
                      <a:pt x="0" y="50"/>
                    </a:cubicBezTo>
                    <a:cubicBezTo>
                      <a:pt x="1" y="36"/>
                      <a:pt x="2" y="19"/>
                      <a:pt x="6" y="11"/>
                    </a:cubicBezTo>
                    <a:cubicBezTo>
                      <a:pt x="10" y="4"/>
                      <a:pt x="17" y="3"/>
                      <a:pt x="24" y="0"/>
                    </a:cubicBezTo>
                    <a:cubicBezTo>
                      <a:pt x="43" y="15"/>
                      <a:pt x="43" y="15"/>
                      <a:pt x="43" y="15"/>
                    </a:cubicBezTo>
                    <a:cubicBezTo>
                      <a:pt x="61" y="0"/>
                      <a:pt x="61" y="0"/>
                      <a:pt x="61" y="0"/>
                    </a:cubicBezTo>
                    <a:close/>
                  </a:path>
                </a:pathLst>
              </a:custGeom>
              <a:grp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72" name="Freeform 101"/>
              <p:cNvSpPr>
                <a:spLocks noEditPoints="1"/>
              </p:cNvSpPr>
              <p:nvPr/>
            </p:nvSpPr>
            <p:spPr bwMode="auto">
              <a:xfrm>
                <a:off x="4433894" y="5259368"/>
                <a:ext cx="238125" cy="300036"/>
              </a:xfrm>
              <a:custGeom>
                <a:avLst/>
                <a:gdLst/>
                <a:ahLst/>
                <a:cxnLst>
                  <a:cxn ang="0">
                    <a:pos x="68" y="30"/>
                  </a:cxn>
                  <a:cxn ang="0">
                    <a:pos x="71" y="31"/>
                  </a:cxn>
                  <a:cxn ang="0">
                    <a:pos x="71" y="36"/>
                  </a:cxn>
                  <a:cxn ang="0">
                    <a:pos x="67" y="39"/>
                  </a:cxn>
                  <a:cxn ang="0">
                    <a:pos x="65" y="40"/>
                  </a:cxn>
                  <a:cxn ang="0">
                    <a:pos x="46" y="58"/>
                  </a:cxn>
                  <a:cxn ang="0">
                    <a:pos x="28" y="40"/>
                  </a:cxn>
                  <a:cxn ang="0">
                    <a:pos x="26" y="39"/>
                  </a:cxn>
                  <a:cxn ang="0">
                    <a:pos x="22" y="36"/>
                  </a:cxn>
                  <a:cxn ang="0">
                    <a:pos x="22" y="31"/>
                  </a:cxn>
                  <a:cxn ang="0">
                    <a:pos x="25" y="30"/>
                  </a:cxn>
                  <a:cxn ang="0">
                    <a:pos x="24" y="16"/>
                  </a:cxn>
                  <a:cxn ang="0">
                    <a:pos x="46" y="0"/>
                  </a:cxn>
                  <a:cxn ang="0">
                    <a:pos x="62" y="7"/>
                  </a:cxn>
                  <a:cxn ang="0">
                    <a:pos x="68" y="30"/>
                  </a:cxn>
                  <a:cxn ang="0">
                    <a:pos x="46" y="69"/>
                  </a:cxn>
                  <a:cxn ang="0">
                    <a:pos x="43" y="72"/>
                  </a:cxn>
                  <a:cxn ang="0">
                    <a:pos x="44" y="76"/>
                  </a:cxn>
                  <a:cxn ang="0">
                    <a:pos x="41" y="95"/>
                  </a:cxn>
                  <a:cxn ang="0">
                    <a:pos x="29" y="63"/>
                  </a:cxn>
                  <a:cxn ang="0">
                    <a:pos x="7" y="75"/>
                  </a:cxn>
                  <a:cxn ang="0">
                    <a:pos x="0" y="113"/>
                  </a:cxn>
                  <a:cxn ang="0">
                    <a:pos x="1" y="116"/>
                  </a:cxn>
                  <a:cxn ang="0">
                    <a:pos x="4" y="117"/>
                  </a:cxn>
                  <a:cxn ang="0">
                    <a:pos x="89" y="117"/>
                  </a:cxn>
                  <a:cxn ang="0">
                    <a:pos x="92" y="116"/>
                  </a:cxn>
                  <a:cxn ang="0">
                    <a:pos x="93" y="113"/>
                  </a:cxn>
                  <a:cxn ang="0">
                    <a:pos x="86" y="75"/>
                  </a:cxn>
                  <a:cxn ang="0">
                    <a:pos x="64" y="63"/>
                  </a:cxn>
                  <a:cxn ang="0">
                    <a:pos x="52" y="95"/>
                  </a:cxn>
                  <a:cxn ang="0">
                    <a:pos x="49" y="76"/>
                  </a:cxn>
                  <a:cxn ang="0">
                    <a:pos x="50" y="72"/>
                  </a:cxn>
                  <a:cxn ang="0">
                    <a:pos x="46" y="69"/>
                  </a:cxn>
                  <a:cxn ang="0">
                    <a:pos x="62" y="99"/>
                  </a:cxn>
                  <a:cxn ang="0">
                    <a:pos x="75" y="99"/>
                  </a:cxn>
                  <a:cxn ang="0">
                    <a:pos x="75" y="103"/>
                  </a:cxn>
                  <a:cxn ang="0">
                    <a:pos x="62" y="103"/>
                  </a:cxn>
                  <a:cxn ang="0">
                    <a:pos x="62" y="99"/>
                  </a:cxn>
                </a:cxnLst>
                <a:rect l="0" t="0" r="r" b="b"/>
                <a:pathLst>
                  <a:path w="93" h="117">
                    <a:moveTo>
                      <a:pt x="68" y="30"/>
                    </a:moveTo>
                    <a:cubicBezTo>
                      <a:pt x="69" y="30"/>
                      <a:pt x="70" y="30"/>
                      <a:pt x="71" y="31"/>
                    </a:cubicBezTo>
                    <a:cubicBezTo>
                      <a:pt x="71" y="33"/>
                      <a:pt x="71" y="34"/>
                      <a:pt x="71" y="36"/>
                    </a:cubicBezTo>
                    <a:cubicBezTo>
                      <a:pt x="70" y="37"/>
                      <a:pt x="68" y="38"/>
                      <a:pt x="67" y="39"/>
                    </a:cubicBezTo>
                    <a:cubicBezTo>
                      <a:pt x="67" y="40"/>
                      <a:pt x="66" y="40"/>
                      <a:pt x="65" y="40"/>
                    </a:cubicBezTo>
                    <a:cubicBezTo>
                      <a:pt x="61" y="50"/>
                      <a:pt x="55" y="58"/>
                      <a:pt x="46" y="58"/>
                    </a:cubicBezTo>
                    <a:cubicBezTo>
                      <a:pt x="38" y="58"/>
                      <a:pt x="32" y="50"/>
                      <a:pt x="28" y="40"/>
                    </a:cubicBezTo>
                    <a:cubicBezTo>
                      <a:pt x="27" y="40"/>
                      <a:pt x="26" y="40"/>
                      <a:pt x="26" y="39"/>
                    </a:cubicBezTo>
                    <a:cubicBezTo>
                      <a:pt x="25" y="38"/>
                      <a:pt x="23" y="37"/>
                      <a:pt x="22" y="36"/>
                    </a:cubicBezTo>
                    <a:cubicBezTo>
                      <a:pt x="22" y="34"/>
                      <a:pt x="22" y="33"/>
                      <a:pt x="22" y="31"/>
                    </a:cubicBezTo>
                    <a:cubicBezTo>
                      <a:pt x="22" y="30"/>
                      <a:pt x="23" y="30"/>
                      <a:pt x="25" y="30"/>
                    </a:cubicBezTo>
                    <a:cubicBezTo>
                      <a:pt x="24" y="26"/>
                      <a:pt x="23" y="20"/>
                      <a:pt x="24" y="16"/>
                    </a:cubicBezTo>
                    <a:cubicBezTo>
                      <a:pt x="26" y="6"/>
                      <a:pt x="37" y="0"/>
                      <a:pt x="46" y="0"/>
                    </a:cubicBezTo>
                    <a:cubicBezTo>
                      <a:pt x="55" y="0"/>
                      <a:pt x="60" y="2"/>
                      <a:pt x="62" y="7"/>
                    </a:cubicBezTo>
                    <a:cubicBezTo>
                      <a:pt x="70" y="10"/>
                      <a:pt x="71" y="19"/>
                      <a:pt x="68" y="30"/>
                    </a:cubicBezTo>
                    <a:close/>
                    <a:moveTo>
                      <a:pt x="46" y="69"/>
                    </a:moveTo>
                    <a:cubicBezTo>
                      <a:pt x="43" y="72"/>
                      <a:pt x="43" y="72"/>
                      <a:pt x="43" y="72"/>
                    </a:cubicBezTo>
                    <a:cubicBezTo>
                      <a:pt x="44" y="76"/>
                      <a:pt x="44" y="76"/>
                      <a:pt x="44" y="76"/>
                    </a:cubicBezTo>
                    <a:cubicBezTo>
                      <a:pt x="41" y="95"/>
                      <a:pt x="41" y="95"/>
                      <a:pt x="41" y="95"/>
                    </a:cubicBezTo>
                    <a:cubicBezTo>
                      <a:pt x="36" y="85"/>
                      <a:pt x="31" y="73"/>
                      <a:pt x="29" y="63"/>
                    </a:cubicBezTo>
                    <a:cubicBezTo>
                      <a:pt x="21" y="66"/>
                      <a:pt x="10" y="67"/>
                      <a:pt x="7" y="75"/>
                    </a:cubicBezTo>
                    <a:cubicBezTo>
                      <a:pt x="3" y="82"/>
                      <a:pt x="1" y="100"/>
                      <a:pt x="0" y="113"/>
                    </a:cubicBezTo>
                    <a:cubicBezTo>
                      <a:pt x="0" y="114"/>
                      <a:pt x="1" y="115"/>
                      <a:pt x="1" y="116"/>
                    </a:cubicBezTo>
                    <a:cubicBezTo>
                      <a:pt x="2" y="117"/>
                      <a:pt x="3" y="117"/>
                      <a:pt x="4" y="117"/>
                    </a:cubicBezTo>
                    <a:cubicBezTo>
                      <a:pt x="89" y="117"/>
                      <a:pt x="89" y="117"/>
                      <a:pt x="89" y="117"/>
                    </a:cubicBezTo>
                    <a:cubicBezTo>
                      <a:pt x="90" y="117"/>
                      <a:pt x="91" y="117"/>
                      <a:pt x="92" y="116"/>
                    </a:cubicBezTo>
                    <a:cubicBezTo>
                      <a:pt x="92" y="115"/>
                      <a:pt x="93" y="114"/>
                      <a:pt x="93" y="113"/>
                    </a:cubicBezTo>
                    <a:cubicBezTo>
                      <a:pt x="92" y="100"/>
                      <a:pt x="90" y="82"/>
                      <a:pt x="86" y="75"/>
                    </a:cubicBezTo>
                    <a:cubicBezTo>
                      <a:pt x="83" y="67"/>
                      <a:pt x="71" y="66"/>
                      <a:pt x="64" y="63"/>
                    </a:cubicBezTo>
                    <a:cubicBezTo>
                      <a:pt x="61" y="73"/>
                      <a:pt x="57" y="85"/>
                      <a:pt x="52" y="95"/>
                    </a:cubicBezTo>
                    <a:cubicBezTo>
                      <a:pt x="49" y="76"/>
                      <a:pt x="49" y="76"/>
                      <a:pt x="49" y="76"/>
                    </a:cubicBezTo>
                    <a:cubicBezTo>
                      <a:pt x="50" y="72"/>
                      <a:pt x="50" y="72"/>
                      <a:pt x="50" y="72"/>
                    </a:cubicBezTo>
                    <a:cubicBezTo>
                      <a:pt x="46" y="69"/>
                      <a:pt x="46" y="69"/>
                      <a:pt x="46" y="69"/>
                    </a:cubicBezTo>
                    <a:close/>
                    <a:moveTo>
                      <a:pt x="62" y="99"/>
                    </a:moveTo>
                    <a:cubicBezTo>
                      <a:pt x="75" y="99"/>
                      <a:pt x="75" y="99"/>
                      <a:pt x="75" y="99"/>
                    </a:cubicBezTo>
                    <a:cubicBezTo>
                      <a:pt x="75" y="103"/>
                      <a:pt x="75" y="103"/>
                      <a:pt x="75" y="103"/>
                    </a:cubicBezTo>
                    <a:cubicBezTo>
                      <a:pt x="62" y="103"/>
                      <a:pt x="62" y="103"/>
                      <a:pt x="62" y="103"/>
                    </a:cubicBezTo>
                    <a:cubicBezTo>
                      <a:pt x="62" y="99"/>
                      <a:pt x="62" y="99"/>
                      <a:pt x="62" y="99"/>
                    </a:cubicBezTo>
                    <a:close/>
                  </a:path>
                </a:pathLst>
              </a:custGeom>
              <a:grp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73" name="Freeform 102"/>
              <p:cNvSpPr>
                <a:spLocks noEditPoints="1"/>
              </p:cNvSpPr>
              <p:nvPr/>
            </p:nvSpPr>
            <p:spPr bwMode="auto">
              <a:xfrm>
                <a:off x="4233869" y="5541942"/>
                <a:ext cx="209550" cy="300036"/>
              </a:xfrm>
              <a:custGeom>
                <a:avLst/>
                <a:gdLst/>
                <a:ahLst/>
                <a:cxnLst>
                  <a:cxn ang="0">
                    <a:pos x="0" y="113"/>
                  </a:cxn>
                  <a:cxn ang="0">
                    <a:pos x="6" y="74"/>
                  </a:cxn>
                  <a:cxn ang="0">
                    <a:pos x="27" y="63"/>
                  </a:cxn>
                  <a:cxn ang="0">
                    <a:pos x="39" y="79"/>
                  </a:cxn>
                  <a:cxn ang="0">
                    <a:pos x="40" y="82"/>
                  </a:cxn>
                  <a:cxn ang="0">
                    <a:pos x="40" y="89"/>
                  </a:cxn>
                  <a:cxn ang="0">
                    <a:pos x="40" y="89"/>
                  </a:cxn>
                  <a:cxn ang="0">
                    <a:pos x="41" y="89"/>
                  </a:cxn>
                  <a:cxn ang="0">
                    <a:pos x="42" y="89"/>
                  </a:cxn>
                  <a:cxn ang="0">
                    <a:pos x="42" y="89"/>
                  </a:cxn>
                  <a:cxn ang="0">
                    <a:pos x="42" y="82"/>
                  </a:cxn>
                  <a:cxn ang="0">
                    <a:pos x="42" y="79"/>
                  </a:cxn>
                  <a:cxn ang="0">
                    <a:pos x="54" y="63"/>
                  </a:cxn>
                  <a:cxn ang="0">
                    <a:pos x="76" y="74"/>
                  </a:cxn>
                  <a:cxn ang="0">
                    <a:pos x="82" y="113"/>
                  </a:cxn>
                  <a:cxn ang="0">
                    <a:pos x="81" y="116"/>
                  </a:cxn>
                  <a:cxn ang="0">
                    <a:pos x="78" y="117"/>
                  </a:cxn>
                  <a:cxn ang="0">
                    <a:pos x="4" y="117"/>
                  </a:cxn>
                  <a:cxn ang="0">
                    <a:pos x="1" y="116"/>
                  </a:cxn>
                  <a:cxn ang="0">
                    <a:pos x="0" y="113"/>
                  </a:cxn>
                  <a:cxn ang="0">
                    <a:pos x="29" y="51"/>
                  </a:cxn>
                  <a:cxn ang="0">
                    <a:pos x="10" y="48"/>
                  </a:cxn>
                  <a:cxn ang="0">
                    <a:pos x="17" y="33"/>
                  </a:cxn>
                  <a:cxn ang="0">
                    <a:pos x="17" y="24"/>
                  </a:cxn>
                  <a:cxn ang="0">
                    <a:pos x="40" y="0"/>
                  </a:cxn>
                  <a:cxn ang="0">
                    <a:pos x="42" y="0"/>
                  </a:cxn>
                  <a:cxn ang="0">
                    <a:pos x="64" y="24"/>
                  </a:cxn>
                  <a:cxn ang="0">
                    <a:pos x="65" y="34"/>
                  </a:cxn>
                  <a:cxn ang="0">
                    <a:pos x="71" y="48"/>
                  </a:cxn>
                  <a:cxn ang="0">
                    <a:pos x="53" y="51"/>
                  </a:cxn>
                  <a:cxn ang="0">
                    <a:pos x="41" y="58"/>
                  </a:cxn>
                  <a:cxn ang="0">
                    <a:pos x="29" y="51"/>
                  </a:cxn>
                </a:cxnLst>
                <a:rect l="0" t="0" r="r" b="b"/>
                <a:pathLst>
                  <a:path w="82" h="117">
                    <a:moveTo>
                      <a:pt x="0" y="113"/>
                    </a:moveTo>
                    <a:cubicBezTo>
                      <a:pt x="0" y="100"/>
                      <a:pt x="2" y="87"/>
                      <a:pt x="6" y="74"/>
                    </a:cubicBezTo>
                    <a:cubicBezTo>
                      <a:pt x="8" y="68"/>
                      <a:pt x="18" y="65"/>
                      <a:pt x="27" y="63"/>
                    </a:cubicBezTo>
                    <a:cubicBezTo>
                      <a:pt x="31" y="73"/>
                      <a:pt x="35" y="78"/>
                      <a:pt x="39" y="79"/>
                    </a:cubicBezTo>
                    <a:cubicBezTo>
                      <a:pt x="40" y="82"/>
                      <a:pt x="40" y="82"/>
                      <a:pt x="40" y="82"/>
                    </a:cubicBezTo>
                    <a:cubicBezTo>
                      <a:pt x="40" y="85"/>
                      <a:pt x="40" y="87"/>
                      <a:pt x="40" y="89"/>
                    </a:cubicBezTo>
                    <a:cubicBezTo>
                      <a:pt x="40" y="89"/>
                      <a:pt x="40" y="89"/>
                      <a:pt x="40" y="89"/>
                    </a:cubicBezTo>
                    <a:cubicBezTo>
                      <a:pt x="40" y="89"/>
                      <a:pt x="41" y="89"/>
                      <a:pt x="41" y="89"/>
                    </a:cubicBezTo>
                    <a:cubicBezTo>
                      <a:pt x="41" y="89"/>
                      <a:pt x="41" y="89"/>
                      <a:pt x="42" y="89"/>
                    </a:cubicBezTo>
                    <a:cubicBezTo>
                      <a:pt x="42" y="89"/>
                      <a:pt x="42" y="89"/>
                      <a:pt x="42" y="89"/>
                    </a:cubicBezTo>
                    <a:cubicBezTo>
                      <a:pt x="42" y="87"/>
                      <a:pt x="42" y="85"/>
                      <a:pt x="42" y="82"/>
                    </a:cubicBezTo>
                    <a:cubicBezTo>
                      <a:pt x="42" y="79"/>
                      <a:pt x="42" y="79"/>
                      <a:pt x="42" y="79"/>
                    </a:cubicBezTo>
                    <a:cubicBezTo>
                      <a:pt x="46" y="78"/>
                      <a:pt x="50" y="73"/>
                      <a:pt x="54" y="63"/>
                    </a:cubicBezTo>
                    <a:cubicBezTo>
                      <a:pt x="64" y="65"/>
                      <a:pt x="74" y="68"/>
                      <a:pt x="76" y="74"/>
                    </a:cubicBezTo>
                    <a:cubicBezTo>
                      <a:pt x="80" y="87"/>
                      <a:pt x="82" y="100"/>
                      <a:pt x="82" y="113"/>
                    </a:cubicBezTo>
                    <a:cubicBezTo>
                      <a:pt x="82" y="114"/>
                      <a:pt x="82" y="115"/>
                      <a:pt x="81" y="116"/>
                    </a:cubicBezTo>
                    <a:cubicBezTo>
                      <a:pt x="80" y="117"/>
                      <a:pt x="79" y="117"/>
                      <a:pt x="78" y="117"/>
                    </a:cubicBezTo>
                    <a:cubicBezTo>
                      <a:pt x="53" y="117"/>
                      <a:pt x="28" y="117"/>
                      <a:pt x="4" y="117"/>
                    </a:cubicBezTo>
                    <a:cubicBezTo>
                      <a:pt x="2" y="117"/>
                      <a:pt x="2" y="117"/>
                      <a:pt x="1" y="116"/>
                    </a:cubicBezTo>
                    <a:cubicBezTo>
                      <a:pt x="0" y="115"/>
                      <a:pt x="0" y="114"/>
                      <a:pt x="0" y="113"/>
                    </a:cubicBezTo>
                    <a:close/>
                    <a:moveTo>
                      <a:pt x="29" y="51"/>
                    </a:moveTo>
                    <a:cubicBezTo>
                      <a:pt x="23" y="51"/>
                      <a:pt x="15" y="50"/>
                      <a:pt x="10" y="48"/>
                    </a:cubicBezTo>
                    <a:cubicBezTo>
                      <a:pt x="15" y="44"/>
                      <a:pt x="17" y="39"/>
                      <a:pt x="17" y="33"/>
                    </a:cubicBezTo>
                    <a:cubicBezTo>
                      <a:pt x="17" y="30"/>
                      <a:pt x="17" y="27"/>
                      <a:pt x="17" y="24"/>
                    </a:cubicBezTo>
                    <a:cubicBezTo>
                      <a:pt x="17" y="11"/>
                      <a:pt x="27" y="1"/>
                      <a:pt x="40" y="0"/>
                    </a:cubicBezTo>
                    <a:cubicBezTo>
                      <a:pt x="40" y="0"/>
                      <a:pt x="41" y="0"/>
                      <a:pt x="42" y="0"/>
                    </a:cubicBezTo>
                    <a:cubicBezTo>
                      <a:pt x="55" y="1"/>
                      <a:pt x="64" y="11"/>
                      <a:pt x="64" y="24"/>
                    </a:cubicBezTo>
                    <a:cubicBezTo>
                      <a:pt x="64" y="28"/>
                      <a:pt x="64" y="31"/>
                      <a:pt x="65" y="34"/>
                    </a:cubicBezTo>
                    <a:cubicBezTo>
                      <a:pt x="65" y="40"/>
                      <a:pt x="67" y="44"/>
                      <a:pt x="71" y="48"/>
                    </a:cubicBezTo>
                    <a:cubicBezTo>
                      <a:pt x="67" y="50"/>
                      <a:pt x="59" y="51"/>
                      <a:pt x="53" y="51"/>
                    </a:cubicBezTo>
                    <a:cubicBezTo>
                      <a:pt x="50" y="55"/>
                      <a:pt x="46" y="58"/>
                      <a:pt x="41" y="58"/>
                    </a:cubicBezTo>
                    <a:cubicBezTo>
                      <a:pt x="36" y="58"/>
                      <a:pt x="32" y="55"/>
                      <a:pt x="29" y="51"/>
                    </a:cubicBezTo>
                    <a:close/>
                  </a:path>
                </a:pathLst>
              </a:custGeom>
              <a:grp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74" name="Freeform 103"/>
              <p:cNvSpPr>
                <a:spLocks/>
              </p:cNvSpPr>
              <p:nvPr/>
            </p:nvSpPr>
            <p:spPr bwMode="auto">
              <a:xfrm>
                <a:off x="4462469" y="5700691"/>
                <a:ext cx="180975" cy="92075"/>
              </a:xfrm>
              <a:custGeom>
                <a:avLst/>
                <a:gdLst/>
                <a:ahLst/>
                <a:cxnLst>
                  <a:cxn ang="0">
                    <a:pos x="66" y="13"/>
                  </a:cxn>
                  <a:cxn ang="0">
                    <a:pos x="71" y="18"/>
                  </a:cxn>
                  <a:cxn ang="0">
                    <a:pos x="66" y="23"/>
                  </a:cxn>
                  <a:cxn ang="0">
                    <a:pos x="24" y="23"/>
                  </a:cxn>
                  <a:cxn ang="0">
                    <a:pos x="24" y="36"/>
                  </a:cxn>
                  <a:cxn ang="0">
                    <a:pos x="0" y="18"/>
                  </a:cxn>
                  <a:cxn ang="0">
                    <a:pos x="24" y="0"/>
                  </a:cxn>
                  <a:cxn ang="0">
                    <a:pos x="24" y="13"/>
                  </a:cxn>
                  <a:cxn ang="0">
                    <a:pos x="66" y="13"/>
                  </a:cxn>
                </a:cxnLst>
                <a:rect l="0" t="0" r="r" b="b"/>
                <a:pathLst>
                  <a:path w="71" h="36">
                    <a:moveTo>
                      <a:pt x="66" y="13"/>
                    </a:moveTo>
                    <a:cubicBezTo>
                      <a:pt x="69" y="13"/>
                      <a:pt x="71" y="15"/>
                      <a:pt x="71" y="18"/>
                    </a:cubicBezTo>
                    <a:cubicBezTo>
                      <a:pt x="71" y="20"/>
                      <a:pt x="69" y="23"/>
                      <a:pt x="66" y="23"/>
                    </a:cubicBezTo>
                    <a:cubicBezTo>
                      <a:pt x="24" y="23"/>
                      <a:pt x="24" y="23"/>
                      <a:pt x="24" y="23"/>
                    </a:cubicBezTo>
                    <a:cubicBezTo>
                      <a:pt x="24" y="36"/>
                      <a:pt x="24" y="36"/>
                      <a:pt x="24" y="36"/>
                    </a:cubicBezTo>
                    <a:cubicBezTo>
                      <a:pt x="0" y="18"/>
                      <a:pt x="0" y="18"/>
                      <a:pt x="0" y="18"/>
                    </a:cubicBezTo>
                    <a:cubicBezTo>
                      <a:pt x="24" y="0"/>
                      <a:pt x="24" y="0"/>
                      <a:pt x="24" y="0"/>
                    </a:cubicBezTo>
                    <a:cubicBezTo>
                      <a:pt x="24" y="13"/>
                      <a:pt x="24" y="13"/>
                      <a:pt x="24" y="13"/>
                    </a:cubicBezTo>
                    <a:cubicBezTo>
                      <a:pt x="66" y="13"/>
                      <a:pt x="66" y="13"/>
                      <a:pt x="66" y="13"/>
                    </a:cubicBezTo>
                    <a:close/>
                  </a:path>
                </a:pathLst>
              </a:custGeom>
              <a:grp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75" name="Freeform 104"/>
              <p:cNvSpPr>
                <a:spLocks/>
              </p:cNvSpPr>
              <p:nvPr/>
            </p:nvSpPr>
            <p:spPr bwMode="auto">
              <a:xfrm>
                <a:off x="4321181" y="5338743"/>
                <a:ext cx="141288" cy="163512"/>
              </a:xfrm>
              <a:custGeom>
                <a:avLst/>
                <a:gdLst/>
                <a:ahLst/>
                <a:cxnLst>
                  <a:cxn ang="0">
                    <a:pos x="9" y="59"/>
                  </a:cxn>
                  <a:cxn ang="0">
                    <a:pos x="4" y="64"/>
                  </a:cxn>
                  <a:cxn ang="0">
                    <a:pos x="0" y="59"/>
                  </a:cxn>
                  <a:cxn ang="0">
                    <a:pos x="0" y="31"/>
                  </a:cxn>
                  <a:cxn ang="0">
                    <a:pos x="0" y="31"/>
                  </a:cxn>
                  <a:cxn ang="0">
                    <a:pos x="0" y="31"/>
                  </a:cxn>
                  <a:cxn ang="0">
                    <a:pos x="5" y="18"/>
                  </a:cxn>
                  <a:cxn ang="0">
                    <a:pos x="17" y="13"/>
                  </a:cxn>
                  <a:cxn ang="0">
                    <a:pos x="17" y="13"/>
                  </a:cxn>
                  <a:cxn ang="0">
                    <a:pos x="17" y="13"/>
                  </a:cxn>
                  <a:cxn ang="0">
                    <a:pos x="30" y="13"/>
                  </a:cxn>
                  <a:cxn ang="0">
                    <a:pos x="30" y="0"/>
                  </a:cxn>
                  <a:cxn ang="0">
                    <a:pos x="55" y="18"/>
                  </a:cxn>
                  <a:cxn ang="0">
                    <a:pos x="30" y="36"/>
                  </a:cxn>
                  <a:cxn ang="0">
                    <a:pos x="30" y="23"/>
                  </a:cxn>
                  <a:cxn ang="0">
                    <a:pos x="17" y="23"/>
                  </a:cxn>
                  <a:cxn ang="0">
                    <a:pos x="17" y="23"/>
                  </a:cxn>
                  <a:cxn ang="0">
                    <a:pos x="17" y="23"/>
                  </a:cxn>
                  <a:cxn ang="0">
                    <a:pos x="12" y="25"/>
                  </a:cxn>
                  <a:cxn ang="0">
                    <a:pos x="9" y="31"/>
                  </a:cxn>
                  <a:cxn ang="0">
                    <a:pos x="9" y="31"/>
                  </a:cxn>
                  <a:cxn ang="0">
                    <a:pos x="9" y="31"/>
                  </a:cxn>
                  <a:cxn ang="0">
                    <a:pos x="9" y="59"/>
                  </a:cxn>
                </a:cxnLst>
                <a:rect l="0" t="0" r="r" b="b"/>
                <a:pathLst>
                  <a:path w="55" h="64">
                    <a:moveTo>
                      <a:pt x="9" y="59"/>
                    </a:moveTo>
                    <a:cubicBezTo>
                      <a:pt x="9" y="62"/>
                      <a:pt x="7" y="64"/>
                      <a:pt x="4" y="64"/>
                    </a:cubicBezTo>
                    <a:cubicBezTo>
                      <a:pt x="2" y="64"/>
                      <a:pt x="0" y="62"/>
                      <a:pt x="0" y="59"/>
                    </a:cubicBezTo>
                    <a:cubicBezTo>
                      <a:pt x="0" y="31"/>
                      <a:pt x="0" y="31"/>
                      <a:pt x="0" y="31"/>
                    </a:cubicBezTo>
                    <a:cubicBezTo>
                      <a:pt x="0" y="31"/>
                      <a:pt x="0" y="31"/>
                      <a:pt x="0" y="31"/>
                    </a:cubicBezTo>
                    <a:cubicBezTo>
                      <a:pt x="0" y="31"/>
                      <a:pt x="0" y="31"/>
                      <a:pt x="0" y="31"/>
                    </a:cubicBezTo>
                    <a:cubicBezTo>
                      <a:pt x="0" y="26"/>
                      <a:pt x="1" y="22"/>
                      <a:pt x="5" y="18"/>
                    </a:cubicBezTo>
                    <a:cubicBezTo>
                      <a:pt x="8" y="15"/>
                      <a:pt x="12" y="13"/>
                      <a:pt x="17" y="13"/>
                    </a:cubicBezTo>
                    <a:cubicBezTo>
                      <a:pt x="17" y="13"/>
                      <a:pt x="17" y="13"/>
                      <a:pt x="17" y="13"/>
                    </a:cubicBezTo>
                    <a:cubicBezTo>
                      <a:pt x="17" y="13"/>
                      <a:pt x="17" y="13"/>
                      <a:pt x="17" y="13"/>
                    </a:cubicBezTo>
                    <a:cubicBezTo>
                      <a:pt x="30" y="13"/>
                      <a:pt x="30" y="13"/>
                      <a:pt x="30" y="13"/>
                    </a:cubicBezTo>
                    <a:cubicBezTo>
                      <a:pt x="30" y="0"/>
                      <a:pt x="30" y="0"/>
                      <a:pt x="30" y="0"/>
                    </a:cubicBezTo>
                    <a:cubicBezTo>
                      <a:pt x="55" y="18"/>
                      <a:pt x="55" y="18"/>
                      <a:pt x="55" y="18"/>
                    </a:cubicBezTo>
                    <a:cubicBezTo>
                      <a:pt x="30" y="36"/>
                      <a:pt x="30" y="36"/>
                      <a:pt x="30" y="36"/>
                    </a:cubicBezTo>
                    <a:cubicBezTo>
                      <a:pt x="30" y="23"/>
                      <a:pt x="30" y="23"/>
                      <a:pt x="30" y="23"/>
                    </a:cubicBezTo>
                    <a:cubicBezTo>
                      <a:pt x="17" y="23"/>
                      <a:pt x="17" y="23"/>
                      <a:pt x="17" y="23"/>
                    </a:cubicBezTo>
                    <a:cubicBezTo>
                      <a:pt x="17" y="23"/>
                      <a:pt x="17" y="23"/>
                      <a:pt x="17" y="23"/>
                    </a:cubicBezTo>
                    <a:cubicBezTo>
                      <a:pt x="17" y="23"/>
                      <a:pt x="17" y="23"/>
                      <a:pt x="17" y="23"/>
                    </a:cubicBezTo>
                    <a:cubicBezTo>
                      <a:pt x="15" y="23"/>
                      <a:pt x="13" y="24"/>
                      <a:pt x="12" y="25"/>
                    </a:cubicBezTo>
                    <a:cubicBezTo>
                      <a:pt x="10" y="27"/>
                      <a:pt x="9" y="29"/>
                      <a:pt x="9" y="31"/>
                    </a:cubicBezTo>
                    <a:cubicBezTo>
                      <a:pt x="9" y="31"/>
                      <a:pt x="9" y="31"/>
                      <a:pt x="9" y="31"/>
                    </a:cubicBezTo>
                    <a:cubicBezTo>
                      <a:pt x="9" y="31"/>
                      <a:pt x="9" y="31"/>
                      <a:pt x="9" y="31"/>
                    </a:cubicBezTo>
                    <a:cubicBezTo>
                      <a:pt x="9" y="59"/>
                      <a:pt x="9" y="59"/>
                      <a:pt x="9" y="59"/>
                    </a:cubicBezTo>
                    <a:close/>
                  </a:path>
                </a:pathLst>
              </a:custGeom>
              <a:grp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sp>
            <p:nvSpPr>
              <p:cNvPr id="76" name="Freeform 105"/>
              <p:cNvSpPr>
                <a:spLocks/>
              </p:cNvSpPr>
              <p:nvPr/>
            </p:nvSpPr>
            <p:spPr bwMode="auto">
              <a:xfrm>
                <a:off x="4657732" y="5368905"/>
                <a:ext cx="155575" cy="133350"/>
              </a:xfrm>
              <a:custGeom>
                <a:avLst/>
                <a:gdLst/>
                <a:ahLst/>
                <a:cxnLst>
                  <a:cxn ang="0">
                    <a:pos x="38" y="28"/>
                  </a:cxn>
                  <a:cxn ang="0">
                    <a:pos x="38" y="18"/>
                  </a:cxn>
                  <a:cxn ang="0">
                    <a:pos x="38" y="18"/>
                  </a:cxn>
                  <a:cxn ang="0">
                    <a:pos x="38" y="18"/>
                  </a:cxn>
                  <a:cxn ang="0">
                    <a:pos x="36" y="12"/>
                  </a:cxn>
                  <a:cxn ang="0">
                    <a:pos x="30" y="10"/>
                  </a:cxn>
                  <a:cxn ang="0">
                    <a:pos x="30" y="10"/>
                  </a:cxn>
                  <a:cxn ang="0">
                    <a:pos x="30" y="10"/>
                  </a:cxn>
                  <a:cxn ang="0">
                    <a:pos x="5" y="10"/>
                  </a:cxn>
                  <a:cxn ang="0">
                    <a:pos x="0" y="5"/>
                  </a:cxn>
                  <a:cxn ang="0">
                    <a:pos x="5" y="0"/>
                  </a:cxn>
                  <a:cxn ang="0">
                    <a:pos x="30" y="0"/>
                  </a:cxn>
                  <a:cxn ang="0">
                    <a:pos x="30" y="0"/>
                  </a:cxn>
                  <a:cxn ang="0">
                    <a:pos x="30" y="0"/>
                  </a:cxn>
                  <a:cxn ang="0">
                    <a:pos x="43" y="5"/>
                  </a:cxn>
                  <a:cxn ang="0">
                    <a:pos x="48" y="18"/>
                  </a:cxn>
                  <a:cxn ang="0">
                    <a:pos x="48" y="18"/>
                  </a:cxn>
                  <a:cxn ang="0">
                    <a:pos x="48" y="18"/>
                  </a:cxn>
                  <a:cxn ang="0">
                    <a:pos x="48" y="28"/>
                  </a:cxn>
                  <a:cxn ang="0">
                    <a:pos x="61" y="28"/>
                  </a:cxn>
                  <a:cxn ang="0">
                    <a:pos x="43" y="52"/>
                  </a:cxn>
                  <a:cxn ang="0">
                    <a:pos x="25" y="28"/>
                  </a:cxn>
                  <a:cxn ang="0">
                    <a:pos x="38" y="28"/>
                  </a:cxn>
                </a:cxnLst>
                <a:rect l="0" t="0" r="r" b="b"/>
                <a:pathLst>
                  <a:path w="61" h="52">
                    <a:moveTo>
                      <a:pt x="38" y="28"/>
                    </a:moveTo>
                    <a:cubicBezTo>
                      <a:pt x="38" y="18"/>
                      <a:pt x="38" y="18"/>
                      <a:pt x="38" y="18"/>
                    </a:cubicBezTo>
                    <a:cubicBezTo>
                      <a:pt x="38" y="18"/>
                      <a:pt x="38" y="18"/>
                      <a:pt x="38" y="18"/>
                    </a:cubicBezTo>
                    <a:cubicBezTo>
                      <a:pt x="38" y="18"/>
                      <a:pt x="38" y="18"/>
                      <a:pt x="38" y="18"/>
                    </a:cubicBezTo>
                    <a:cubicBezTo>
                      <a:pt x="38" y="16"/>
                      <a:pt x="37" y="14"/>
                      <a:pt x="36" y="12"/>
                    </a:cubicBezTo>
                    <a:cubicBezTo>
                      <a:pt x="34" y="11"/>
                      <a:pt x="32" y="10"/>
                      <a:pt x="30" y="10"/>
                    </a:cubicBezTo>
                    <a:cubicBezTo>
                      <a:pt x="30" y="10"/>
                      <a:pt x="30" y="10"/>
                      <a:pt x="30" y="10"/>
                    </a:cubicBezTo>
                    <a:cubicBezTo>
                      <a:pt x="30" y="10"/>
                      <a:pt x="30" y="10"/>
                      <a:pt x="30" y="10"/>
                    </a:cubicBezTo>
                    <a:cubicBezTo>
                      <a:pt x="5" y="10"/>
                      <a:pt x="5" y="10"/>
                      <a:pt x="5" y="10"/>
                    </a:cubicBezTo>
                    <a:cubicBezTo>
                      <a:pt x="3" y="10"/>
                      <a:pt x="0" y="8"/>
                      <a:pt x="0" y="5"/>
                    </a:cubicBezTo>
                    <a:cubicBezTo>
                      <a:pt x="0" y="2"/>
                      <a:pt x="3" y="0"/>
                      <a:pt x="5" y="0"/>
                    </a:cubicBezTo>
                    <a:cubicBezTo>
                      <a:pt x="30" y="0"/>
                      <a:pt x="30" y="0"/>
                      <a:pt x="30" y="0"/>
                    </a:cubicBezTo>
                    <a:cubicBezTo>
                      <a:pt x="30" y="0"/>
                      <a:pt x="30" y="0"/>
                      <a:pt x="30" y="0"/>
                    </a:cubicBezTo>
                    <a:cubicBezTo>
                      <a:pt x="30" y="0"/>
                      <a:pt x="30" y="0"/>
                      <a:pt x="30" y="0"/>
                    </a:cubicBezTo>
                    <a:cubicBezTo>
                      <a:pt x="35" y="0"/>
                      <a:pt x="39" y="2"/>
                      <a:pt x="43" y="5"/>
                    </a:cubicBezTo>
                    <a:cubicBezTo>
                      <a:pt x="46" y="8"/>
                      <a:pt x="48" y="13"/>
                      <a:pt x="48" y="18"/>
                    </a:cubicBezTo>
                    <a:cubicBezTo>
                      <a:pt x="48" y="18"/>
                      <a:pt x="48" y="18"/>
                      <a:pt x="48" y="18"/>
                    </a:cubicBezTo>
                    <a:cubicBezTo>
                      <a:pt x="48" y="18"/>
                      <a:pt x="48" y="18"/>
                      <a:pt x="48" y="18"/>
                    </a:cubicBezTo>
                    <a:cubicBezTo>
                      <a:pt x="48" y="28"/>
                      <a:pt x="48" y="28"/>
                      <a:pt x="48" y="28"/>
                    </a:cubicBezTo>
                    <a:cubicBezTo>
                      <a:pt x="61" y="28"/>
                      <a:pt x="61" y="28"/>
                      <a:pt x="61" y="28"/>
                    </a:cubicBezTo>
                    <a:cubicBezTo>
                      <a:pt x="43" y="52"/>
                      <a:pt x="43" y="52"/>
                      <a:pt x="43" y="52"/>
                    </a:cubicBezTo>
                    <a:cubicBezTo>
                      <a:pt x="25" y="28"/>
                      <a:pt x="25" y="28"/>
                      <a:pt x="25" y="28"/>
                    </a:cubicBezTo>
                    <a:cubicBezTo>
                      <a:pt x="38" y="28"/>
                      <a:pt x="38" y="28"/>
                      <a:pt x="38" y="28"/>
                    </a:cubicBezTo>
                    <a:close/>
                  </a:path>
                </a:pathLst>
              </a:custGeom>
              <a:grpFill/>
              <a:ln w="9525">
                <a:noFill/>
                <a:round/>
                <a:headEnd/>
                <a:tailEnd/>
              </a:ln>
            </p:spPr>
            <p:txBody>
              <a:bodyPr vert="horz" wrap="square" lIns="88728" tIns="44363" rIns="88728" bIns="44363" numCol="1" anchor="t" anchorCtr="0" compatLnSpc="1">
                <a:prstTxWarp prst="textNoShape">
                  <a:avLst/>
                </a:prstTxWarp>
              </a:bodyPr>
              <a:lstStyle/>
              <a:p>
                <a:pPr defTabSz="488435"/>
                <a:endParaRPr lang="en-GB" sz="1746" dirty="0">
                  <a:solidFill>
                    <a:prstClr val="black"/>
                  </a:solidFill>
                </a:endParaRPr>
              </a:p>
            </p:txBody>
          </p:sp>
        </p:grpSp>
        <p:grpSp>
          <p:nvGrpSpPr>
            <p:cNvPr id="60" name="Group 59"/>
            <p:cNvGrpSpPr/>
            <p:nvPr/>
          </p:nvGrpSpPr>
          <p:grpSpPr>
            <a:xfrm>
              <a:off x="3740404" y="3143218"/>
              <a:ext cx="535331" cy="550228"/>
              <a:chOff x="6697735" y="5259050"/>
              <a:chExt cx="719066" cy="856228"/>
            </a:xfrm>
          </p:grpSpPr>
          <p:sp>
            <p:nvSpPr>
              <p:cNvPr id="61" name="Freeform 9"/>
              <p:cNvSpPr>
                <a:spLocks noEditPoints="1"/>
              </p:cNvSpPr>
              <p:nvPr/>
            </p:nvSpPr>
            <p:spPr bwMode="auto">
              <a:xfrm>
                <a:off x="6812038" y="5373353"/>
                <a:ext cx="492540" cy="741925"/>
              </a:xfrm>
              <a:custGeom>
                <a:avLst/>
                <a:gdLst>
                  <a:gd name="T0" fmla="*/ 103 w 154"/>
                  <a:gd name="T1" fmla="*/ 132 h 231"/>
                  <a:gd name="T2" fmla="*/ 104 w 154"/>
                  <a:gd name="T3" fmla="*/ 132 h 231"/>
                  <a:gd name="T4" fmla="*/ 139 w 154"/>
                  <a:gd name="T5" fmla="*/ 76 h 231"/>
                  <a:gd name="T6" fmla="*/ 77 w 154"/>
                  <a:gd name="T7" fmla="*/ 15 h 231"/>
                  <a:gd name="T8" fmla="*/ 15 w 154"/>
                  <a:gd name="T9" fmla="*/ 76 h 231"/>
                  <a:gd name="T10" fmla="*/ 50 w 154"/>
                  <a:gd name="T11" fmla="*/ 132 h 231"/>
                  <a:gd name="T12" fmla="*/ 50 w 154"/>
                  <a:gd name="T13" fmla="*/ 132 h 231"/>
                  <a:gd name="T14" fmla="*/ 50 w 154"/>
                  <a:gd name="T15" fmla="*/ 132 h 231"/>
                  <a:gd name="T16" fmla="*/ 50 w 154"/>
                  <a:gd name="T17" fmla="*/ 132 h 231"/>
                  <a:gd name="T18" fmla="*/ 51 w 154"/>
                  <a:gd name="T19" fmla="*/ 132 h 231"/>
                  <a:gd name="T20" fmla="*/ 54 w 154"/>
                  <a:gd name="T21" fmla="*/ 151 h 231"/>
                  <a:gd name="T22" fmla="*/ 70 w 154"/>
                  <a:gd name="T23" fmla="*/ 151 h 231"/>
                  <a:gd name="T24" fmla="*/ 92 w 154"/>
                  <a:gd name="T25" fmla="*/ 151 h 231"/>
                  <a:gd name="T26" fmla="*/ 99 w 154"/>
                  <a:gd name="T27" fmla="*/ 139 h 231"/>
                  <a:gd name="T28" fmla="*/ 81 w 154"/>
                  <a:gd name="T29" fmla="*/ 203 h 231"/>
                  <a:gd name="T30" fmla="*/ 97 w 154"/>
                  <a:gd name="T31" fmla="*/ 203 h 231"/>
                  <a:gd name="T32" fmla="*/ 103 w 154"/>
                  <a:gd name="T33" fmla="*/ 192 h 231"/>
                  <a:gd name="T34" fmla="*/ 56 w 154"/>
                  <a:gd name="T35" fmla="*/ 203 h 231"/>
                  <a:gd name="T36" fmla="*/ 73 w 154"/>
                  <a:gd name="T37" fmla="*/ 203 h 231"/>
                  <a:gd name="T38" fmla="*/ 50 w 154"/>
                  <a:gd name="T39" fmla="*/ 160 h 231"/>
                  <a:gd name="T40" fmla="*/ 103 w 154"/>
                  <a:gd name="T41" fmla="*/ 164 h 231"/>
                  <a:gd name="T42" fmla="*/ 50 w 154"/>
                  <a:gd name="T43" fmla="*/ 160 h 231"/>
                  <a:gd name="T44" fmla="*/ 50 w 154"/>
                  <a:gd name="T45" fmla="*/ 190 h 231"/>
                  <a:gd name="T46" fmla="*/ 103 w 154"/>
                  <a:gd name="T47" fmla="*/ 173 h 231"/>
                  <a:gd name="T48" fmla="*/ 95 w 154"/>
                  <a:gd name="T49" fmla="*/ 218 h 231"/>
                  <a:gd name="T50" fmla="*/ 73 w 154"/>
                  <a:gd name="T51" fmla="*/ 231 h 231"/>
                  <a:gd name="T52" fmla="*/ 53 w 154"/>
                  <a:gd name="T53" fmla="*/ 218 h 231"/>
                  <a:gd name="T54" fmla="*/ 38 w 154"/>
                  <a:gd name="T55" fmla="*/ 205 h 231"/>
                  <a:gd name="T56" fmla="*/ 35 w 154"/>
                  <a:gd name="T57" fmla="*/ 200 h 231"/>
                  <a:gd name="T58" fmla="*/ 39 w 154"/>
                  <a:gd name="T59" fmla="*/ 147 h 231"/>
                  <a:gd name="T60" fmla="*/ 12 w 154"/>
                  <a:gd name="T61" fmla="*/ 120 h 231"/>
                  <a:gd name="T62" fmla="*/ 24 w 154"/>
                  <a:gd name="T63" fmla="*/ 23 h 231"/>
                  <a:gd name="T64" fmla="*/ 130 w 154"/>
                  <a:gd name="T65" fmla="*/ 23 h 231"/>
                  <a:gd name="T66" fmla="*/ 141 w 154"/>
                  <a:gd name="T67" fmla="*/ 120 h 231"/>
                  <a:gd name="T68" fmla="*/ 114 w 154"/>
                  <a:gd name="T69" fmla="*/ 147 h 231"/>
                  <a:gd name="T70" fmla="*/ 118 w 154"/>
                  <a:gd name="T71" fmla="*/ 200 h 231"/>
                  <a:gd name="T72" fmla="*/ 106 w 154"/>
                  <a:gd name="T73" fmla="*/ 216 h 231"/>
                  <a:gd name="T74" fmla="*/ 95 w 154"/>
                  <a:gd name="T75" fmla="*/ 218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4" h="231">
                    <a:moveTo>
                      <a:pt x="103" y="132"/>
                    </a:moveTo>
                    <a:cubicBezTo>
                      <a:pt x="103" y="132"/>
                      <a:pt x="103" y="132"/>
                      <a:pt x="103" y="132"/>
                    </a:cubicBezTo>
                    <a:cubicBezTo>
                      <a:pt x="103" y="132"/>
                      <a:pt x="103" y="132"/>
                      <a:pt x="103" y="132"/>
                    </a:cubicBezTo>
                    <a:cubicBezTo>
                      <a:pt x="103" y="132"/>
                      <a:pt x="103" y="132"/>
                      <a:pt x="104" y="132"/>
                    </a:cubicBezTo>
                    <a:cubicBezTo>
                      <a:pt x="114" y="127"/>
                      <a:pt x="123" y="120"/>
                      <a:pt x="129" y="111"/>
                    </a:cubicBezTo>
                    <a:cubicBezTo>
                      <a:pt x="135" y="103"/>
                      <a:pt x="139" y="91"/>
                      <a:pt x="139" y="76"/>
                    </a:cubicBezTo>
                    <a:cubicBezTo>
                      <a:pt x="139" y="61"/>
                      <a:pt x="131" y="45"/>
                      <a:pt x="119" y="33"/>
                    </a:cubicBezTo>
                    <a:cubicBezTo>
                      <a:pt x="108" y="22"/>
                      <a:pt x="93" y="15"/>
                      <a:pt x="77" y="15"/>
                    </a:cubicBezTo>
                    <a:cubicBezTo>
                      <a:pt x="61" y="15"/>
                      <a:pt x="46" y="22"/>
                      <a:pt x="35" y="33"/>
                    </a:cubicBezTo>
                    <a:cubicBezTo>
                      <a:pt x="23" y="45"/>
                      <a:pt x="15" y="61"/>
                      <a:pt x="15" y="76"/>
                    </a:cubicBezTo>
                    <a:cubicBezTo>
                      <a:pt x="15" y="91"/>
                      <a:pt x="19" y="103"/>
                      <a:pt x="25" y="111"/>
                    </a:cubicBezTo>
                    <a:cubicBezTo>
                      <a:pt x="31" y="120"/>
                      <a:pt x="39" y="127"/>
                      <a:pt x="50" y="132"/>
                    </a:cubicBezTo>
                    <a:cubicBezTo>
                      <a:pt x="50" y="132"/>
                      <a:pt x="50" y="132"/>
                      <a:pt x="50" y="132"/>
                    </a:cubicBezTo>
                    <a:cubicBezTo>
                      <a:pt x="50" y="132"/>
                      <a:pt x="50" y="132"/>
                      <a:pt x="50" y="132"/>
                    </a:cubicBezTo>
                    <a:cubicBezTo>
                      <a:pt x="50" y="132"/>
                      <a:pt x="50" y="132"/>
                      <a:pt x="50" y="132"/>
                    </a:cubicBezTo>
                    <a:cubicBezTo>
                      <a:pt x="50" y="132"/>
                      <a:pt x="50" y="132"/>
                      <a:pt x="50" y="132"/>
                    </a:cubicBezTo>
                    <a:cubicBezTo>
                      <a:pt x="50" y="132"/>
                      <a:pt x="50" y="132"/>
                      <a:pt x="50" y="132"/>
                    </a:cubicBezTo>
                    <a:cubicBezTo>
                      <a:pt x="50" y="132"/>
                      <a:pt x="50" y="132"/>
                      <a:pt x="50" y="132"/>
                    </a:cubicBezTo>
                    <a:cubicBezTo>
                      <a:pt x="51" y="132"/>
                      <a:pt x="51" y="132"/>
                      <a:pt x="51" y="132"/>
                    </a:cubicBezTo>
                    <a:cubicBezTo>
                      <a:pt x="51" y="132"/>
                      <a:pt x="51" y="132"/>
                      <a:pt x="51" y="132"/>
                    </a:cubicBezTo>
                    <a:cubicBezTo>
                      <a:pt x="53" y="134"/>
                      <a:pt x="54" y="136"/>
                      <a:pt x="54" y="139"/>
                    </a:cubicBezTo>
                    <a:cubicBezTo>
                      <a:pt x="54" y="151"/>
                      <a:pt x="54" y="151"/>
                      <a:pt x="54" y="151"/>
                    </a:cubicBezTo>
                    <a:cubicBezTo>
                      <a:pt x="64" y="151"/>
                      <a:pt x="64" y="151"/>
                      <a:pt x="64" y="151"/>
                    </a:cubicBezTo>
                    <a:cubicBezTo>
                      <a:pt x="70" y="151"/>
                      <a:pt x="70" y="151"/>
                      <a:pt x="70" y="151"/>
                    </a:cubicBezTo>
                    <a:cubicBezTo>
                      <a:pt x="84" y="151"/>
                      <a:pt x="84" y="151"/>
                      <a:pt x="84" y="151"/>
                    </a:cubicBezTo>
                    <a:cubicBezTo>
                      <a:pt x="92" y="151"/>
                      <a:pt x="92" y="151"/>
                      <a:pt x="92" y="151"/>
                    </a:cubicBezTo>
                    <a:cubicBezTo>
                      <a:pt x="99" y="151"/>
                      <a:pt x="99" y="151"/>
                      <a:pt x="99" y="151"/>
                    </a:cubicBezTo>
                    <a:cubicBezTo>
                      <a:pt x="99" y="139"/>
                      <a:pt x="99" y="139"/>
                      <a:pt x="99" y="139"/>
                    </a:cubicBezTo>
                    <a:cubicBezTo>
                      <a:pt x="99" y="136"/>
                      <a:pt x="101" y="134"/>
                      <a:pt x="103" y="132"/>
                    </a:cubicBezTo>
                    <a:moveTo>
                      <a:pt x="81" y="203"/>
                    </a:moveTo>
                    <a:cubicBezTo>
                      <a:pt x="82" y="203"/>
                      <a:pt x="83" y="203"/>
                      <a:pt x="84" y="203"/>
                    </a:cubicBezTo>
                    <a:cubicBezTo>
                      <a:pt x="97" y="203"/>
                      <a:pt x="97" y="203"/>
                      <a:pt x="97" y="203"/>
                    </a:cubicBezTo>
                    <a:cubicBezTo>
                      <a:pt x="103" y="197"/>
                      <a:pt x="103" y="197"/>
                      <a:pt x="103" y="197"/>
                    </a:cubicBezTo>
                    <a:cubicBezTo>
                      <a:pt x="103" y="192"/>
                      <a:pt x="103" y="192"/>
                      <a:pt x="103" y="192"/>
                    </a:cubicBezTo>
                    <a:cubicBezTo>
                      <a:pt x="53" y="199"/>
                      <a:pt x="53" y="199"/>
                      <a:pt x="53" y="199"/>
                    </a:cubicBezTo>
                    <a:cubicBezTo>
                      <a:pt x="56" y="203"/>
                      <a:pt x="56" y="203"/>
                      <a:pt x="56" y="203"/>
                    </a:cubicBezTo>
                    <a:cubicBezTo>
                      <a:pt x="70" y="203"/>
                      <a:pt x="70" y="203"/>
                      <a:pt x="70" y="203"/>
                    </a:cubicBezTo>
                    <a:cubicBezTo>
                      <a:pt x="71" y="203"/>
                      <a:pt x="72" y="203"/>
                      <a:pt x="73" y="203"/>
                    </a:cubicBezTo>
                    <a:lnTo>
                      <a:pt x="81" y="203"/>
                    </a:lnTo>
                    <a:close/>
                    <a:moveTo>
                      <a:pt x="50" y="160"/>
                    </a:moveTo>
                    <a:cubicBezTo>
                      <a:pt x="50" y="171"/>
                      <a:pt x="50" y="171"/>
                      <a:pt x="50" y="171"/>
                    </a:cubicBezTo>
                    <a:cubicBezTo>
                      <a:pt x="103" y="164"/>
                      <a:pt x="103" y="164"/>
                      <a:pt x="103" y="164"/>
                    </a:cubicBezTo>
                    <a:cubicBezTo>
                      <a:pt x="103" y="160"/>
                      <a:pt x="103" y="160"/>
                      <a:pt x="103" y="160"/>
                    </a:cubicBezTo>
                    <a:lnTo>
                      <a:pt x="50" y="160"/>
                    </a:lnTo>
                    <a:close/>
                    <a:moveTo>
                      <a:pt x="50" y="181"/>
                    </a:moveTo>
                    <a:cubicBezTo>
                      <a:pt x="50" y="190"/>
                      <a:pt x="50" y="190"/>
                      <a:pt x="50" y="190"/>
                    </a:cubicBezTo>
                    <a:cubicBezTo>
                      <a:pt x="103" y="182"/>
                      <a:pt x="103" y="182"/>
                      <a:pt x="103" y="182"/>
                    </a:cubicBezTo>
                    <a:cubicBezTo>
                      <a:pt x="103" y="173"/>
                      <a:pt x="103" y="173"/>
                      <a:pt x="103" y="173"/>
                    </a:cubicBezTo>
                    <a:lnTo>
                      <a:pt x="50" y="181"/>
                    </a:lnTo>
                    <a:close/>
                    <a:moveTo>
                      <a:pt x="95" y="218"/>
                    </a:moveTo>
                    <a:cubicBezTo>
                      <a:pt x="94" y="225"/>
                      <a:pt x="88" y="231"/>
                      <a:pt x="81" y="231"/>
                    </a:cubicBezTo>
                    <a:cubicBezTo>
                      <a:pt x="73" y="231"/>
                      <a:pt x="73" y="231"/>
                      <a:pt x="73" y="231"/>
                    </a:cubicBezTo>
                    <a:cubicBezTo>
                      <a:pt x="66" y="231"/>
                      <a:pt x="60" y="225"/>
                      <a:pt x="59" y="218"/>
                    </a:cubicBezTo>
                    <a:cubicBezTo>
                      <a:pt x="53" y="218"/>
                      <a:pt x="53" y="218"/>
                      <a:pt x="53" y="218"/>
                    </a:cubicBezTo>
                    <a:cubicBezTo>
                      <a:pt x="51" y="218"/>
                      <a:pt x="49" y="217"/>
                      <a:pt x="48" y="215"/>
                    </a:cubicBezTo>
                    <a:cubicBezTo>
                      <a:pt x="38" y="205"/>
                      <a:pt x="38" y="205"/>
                      <a:pt x="38" y="205"/>
                    </a:cubicBezTo>
                    <a:cubicBezTo>
                      <a:pt x="36" y="204"/>
                      <a:pt x="35" y="202"/>
                      <a:pt x="35" y="200"/>
                    </a:cubicBezTo>
                    <a:cubicBezTo>
                      <a:pt x="35" y="200"/>
                      <a:pt x="35" y="200"/>
                      <a:pt x="35" y="200"/>
                    </a:cubicBezTo>
                    <a:cubicBezTo>
                      <a:pt x="35" y="154"/>
                      <a:pt x="35" y="154"/>
                      <a:pt x="35" y="154"/>
                    </a:cubicBezTo>
                    <a:cubicBezTo>
                      <a:pt x="35" y="151"/>
                      <a:pt x="37" y="148"/>
                      <a:pt x="39" y="147"/>
                    </a:cubicBezTo>
                    <a:cubicBezTo>
                      <a:pt x="39" y="143"/>
                      <a:pt x="39" y="143"/>
                      <a:pt x="39" y="143"/>
                    </a:cubicBezTo>
                    <a:cubicBezTo>
                      <a:pt x="29" y="137"/>
                      <a:pt x="19" y="130"/>
                      <a:pt x="12" y="120"/>
                    </a:cubicBezTo>
                    <a:cubicBezTo>
                      <a:pt x="5" y="109"/>
                      <a:pt x="0" y="94"/>
                      <a:pt x="0" y="76"/>
                    </a:cubicBezTo>
                    <a:cubicBezTo>
                      <a:pt x="0" y="57"/>
                      <a:pt x="9" y="37"/>
                      <a:pt x="24" y="23"/>
                    </a:cubicBezTo>
                    <a:cubicBezTo>
                      <a:pt x="38" y="9"/>
                      <a:pt x="56" y="0"/>
                      <a:pt x="77" y="0"/>
                    </a:cubicBezTo>
                    <a:cubicBezTo>
                      <a:pt x="97" y="0"/>
                      <a:pt x="116" y="9"/>
                      <a:pt x="130" y="23"/>
                    </a:cubicBezTo>
                    <a:cubicBezTo>
                      <a:pt x="144" y="37"/>
                      <a:pt x="154" y="57"/>
                      <a:pt x="154" y="76"/>
                    </a:cubicBezTo>
                    <a:cubicBezTo>
                      <a:pt x="154" y="94"/>
                      <a:pt x="149" y="109"/>
                      <a:pt x="141" y="120"/>
                    </a:cubicBezTo>
                    <a:cubicBezTo>
                      <a:pt x="135" y="130"/>
                      <a:pt x="125" y="137"/>
                      <a:pt x="114" y="143"/>
                    </a:cubicBezTo>
                    <a:cubicBezTo>
                      <a:pt x="114" y="147"/>
                      <a:pt x="114" y="147"/>
                      <a:pt x="114" y="147"/>
                    </a:cubicBezTo>
                    <a:cubicBezTo>
                      <a:pt x="117" y="148"/>
                      <a:pt x="118" y="151"/>
                      <a:pt x="118" y="154"/>
                    </a:cubicBezTo>
                    <a:cubicBezTo>
                      <a:pt x="118" y="200"/>
                      <a:pt x="118" y="200"/>
                      <a:pt x="118" y="200"/>
                    </a:cubicBezTo>
                    <a:cubicBezTo>
                      <a:pt x="118" y="202"/>
                      <a:pt x="117" y="204"/>
                      <a:pt x="116" y="205"/>
                    </a:cubicBezTo>
                    <a:cubicBezTo>
                      <a:pt x="106" y="216"/>
                      <a:pt x="106" y="216"/>
                      <a:pt x="106" y="216"/>
                    </a:cubicBezTo>
                    <a:cubicBezTo>
                      <a:pt x="104" y="217"/>
                      <a:pt x="102" y="218"/>
                      <a:pt x="101" y="218"/>
                    </a:cubicBezTo>
                    <a:lnTo>
                      <a:pt x="95" y="2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2" name="Freeform 10"/>
              <p:cNvSpPr>
                <a:spLocks/>
              </p:cNvSpPr>
              <p:nvPr/>
            </p:nvSpPr>
            <p:spPr bwMode="auto">
              <a:xfrm>
                <a:off x="7325359" y="5591565"/>
                <a:ext cx="91442" cy="56113"/>
              </a:xfrm>
              <a:custGeom>
                <a:avLst/>
                <a:gdLst>
                  <a:gd name="T0" fmla="*/ 3 w 29"/>
                  <a:gd name="T1" fmla="*/ 4 h 17"/>
                  <a:gd name="T2" fmla="*/ 0 w 29"/>
                  <a:gd name="T3" fmla="*/ 8 h 17"/>
                  <a:gd name="T4" fmla="*/ 3 w 29"/>
                  <a:gd name="T5" fmla="*/ 13 h 17"/>
                  <a:gd name="T6" fmla="*/ 26 w 29"/>
                  <a:gd name="T7" fmla="*/ 17 h 17"/>
                  <a:gd name="T8" fmla="*/ 29 w 29"/>
                  <a:gd name="T9" fmla="*/ 13 h 17"/>
                  <a:gd name="T10" fmla="*/ 29 w 29"/>
                  <a:gd name="T11" fmla="*/ 4 h 17"/>
                  <a:gd name="T12" fmla="*/ 26 w 29"/>
                  <a:gd name="T13" fmla="*/ 0 h 17"/>
                  <a:gd name="T14" fmla="*/ 3 w 29"/>
                  <a:gd name="T15" fmla="*/ 4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7">
                    <a:moveTo>
                      <a:pt x="3" y="4"/>
                    </a:moveTo>
                    <a:cubicBezTo>
                      <a:pt x="1" y="4"/>
                      <a:pt x="0" y="6"/>
                      <a:pt x="0" y="8"/>
                    </a:cubicBezTo>
                    <a:cubicBezTo>
                      <a:pt x="0" y="11"/>
                      <a:pt x="1" y="12"/>
                      <a:pt x="3" y="13"/>
                    </a:cubicBezTo>
                    <a:cubicBezTo>
                      <a:pt x="26" y="17"/>
                      <a:pt x="26" y="17"/>
                      <a:pt x="26" y="17"/>
                    </a:cubicBezTo>
                    <a:cubicBezTo>
                      <a:pt x="28" y="17"/>
                      <a:pt x="29" y="16"/>
                      <a:pt x="29" y="13"/>
                    </a:cubicBezTo>
                    <a:cubicBezTo>
                      <a:pt x="29" y="4"/>
                      <a:pt x="29" y="4"/>
                      <a:pt x="29" y="4"/>
                    </a:cubicBezTo>
                    <a:cubicBezTo>
                      <a:pt x="29" y="1"/>
                      <a:pt x="28" y="0"/>
                      <a:pt x="26" y="0"/>
                    </a:cubicBezTo>
                    <a:lnTo>
                      <a:pt x="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3" name="Freeform 11"/>
              <p:cNvSpPr>
                <a:spLocks/>
              </p:cNvSpPr>
              <p:nvPr/>
            </p:nvSpPr>
            <p:spPr bwMode="auto">
              <a:xfrm>
                <a:off x="6697735" y="5591565"/>
                <a:ext cx="95598" cy="56113"/>
              </a:xfrm>
              <a:custGeom>
                <a:avLst/>
                <a:gdLst>
                  <a:gd name="T0" fmla="*/ 27 w 30"/>
                  <a:gd name="T1" fmla="*/ 4 h 17"/>
                  <a:gd name="T2" fmla="*/ 30 w 30"/>
                  <a:gd name="T3" fmla="*/ 8 h 17"/>
                  <a:gd name="T4" fmla="*/ 27 w 30"/>
                  <a:gd name="T5" fmla="*/ 13 h 17"/>
                  <a:gd name="T6" fmla="*/ 4 w 30"/>
                  <a:gd name="T7" fmla="*/ 17 h 17"/>
                  <a:gd name="T8" fmla="*/ 0 w 30"/>
                  <a:gd name="T9" fmla="*/ 13 h 17"/>
                  <a:gd name="T10" fmla="*/ 0 w 30"/>
                  <a:gd name="T11" fmla="*/ 4 h 17"/>
                  <a:gd name="T12" fmla="*/ 4 w 30"/>
                  <a:gd name="T13" fmla="*/ 0 h 17"/>
                  <a:gd name="T14" fmla="*/ 27 w 30"/>
                  <a:gd name="T15" fmla="*/ 4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7">
                    <a:moveTo>
                      <a:pt x="27" y="4"/>
                    </a:moveTo>
                    <a:cubicBezTo>
                      <a:pt x="29" y="4"/>
                      <a:pt x="30" y="6"/>
                      <a:pt x="30" y="8"/>
                    </a:cubicBezTo>
                    <a:cubicBezTo>
                      <a:pt x="30" y="11"/>
                      <a:pt x="29" y="12"/>
                      <a:pt x="27" y="13"/>
                    </a:cubicBezTo>
                    <a:cubicBezTo>
                      <a:pt x="4" y="17"/>
                      <a:pt x="4" y="17"/>
                      <a:pt x="4" y="17"/>
                    </a:cubicBezTo>
                    <a:cubicBezTo>
                      <a:pt x="2" y="17"/>
                      <a:pt x="0" y="16"/>
                      <a:pt x="0" y="13"/>
                    </a:cubicBezTo>
                    <a:cubicBezTo>
                      <a:pt x="0" y="4"/>
                      <a:pt x="0" y="4"/>
                      <a:pt x="0" y="4"/>
                    </a:cubicBezTo>
                    <a:cubicBezTo>
                      <a:pt x="0" y="1"/>
                      <a:pt x="2" y="0"/>
                      <a:pt x="4" y="0"/>
                    </a:cubicBezTo>
                    <a:lnTo>
                      <a:pt x="2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4" name="Freeform 12"/>
              <p:cNvSpPr>
                <a:spLocks/>
              </p:cNvSpPr>
              <p:nvPr/>
            </p:nvSpPr>
            <p:spPr bwMode="auto">
              <a:xfrm>
                <a:off x="7030251" y="5259050"/>
                <a:ext cx="58190" cy="91442"/>
              </a:xfrm>
              <a:custGeom>
                <a:avLst/>
                <a:gdLst>
                  <a:gd name="T0" fmla="*/ 13 w 18"/>
                  <a:gd name="T1" fmla="*/ 27 h 29"/>
                  <a:gd name="T2" fmla="*/ 9 w 18"/>
                  <a:gd name="T3" fmla="*/ 29 h 29"/>
                  <a:gd name="T4" fmla="*/ 5 w 18"/>
                  <a:gd name="T5" fmla="*/ 27 h 29"/>
                  <a:gd name="T6" fmla="*/ 0 w 18"/>
                  <a:gd name="T7" fmla="*/ 3 h 29"/>
                  <a:gd name="T8" fmla="*/ 4 w 18"/>
                  <a:gd name="T9" fmla="*/ 0 h 29"/>
                  <a:gd name="T10" fmla="*/ 14 w 18"/>
                  <a:gd name="T11" fmla="*/ 0 h 29"/>
                  <a:gd name="T12" fmla="*/ 17 w 18"/>
                  <a:gd name="T13" fmla="*/ 3 h 29"/>
                  <a:gd name="T14" fmla="*/ 13 w 18"/>
                  <a:gd name="T15" fmla="*/ 27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9">
                    <a:moveTo>
                      <a:pt x="13" y="27"/>
                    </a:moveTo>
                    <a:cubicBezTo>
                      <a:pt x="13" y="28"/>
                      <a:pt x="11" y="29"/>
                      <a:pt x="9" y="29"/>
                    </a:cubicBezTo>
                    <a:cubicBezTo>
                      <a:pt x="7" y="29"/>
                      <a:pt x="5" y="28"/>
                      <a:pt x="5" y="27"/>
                    </a:cubicBezTo>
                    <a:cubicBezTo>
                      <a:pt x="0" y="3"/>
                      <a:pt x="0" y="3"/>
                      <a:pt x="0" y="3"/>
                    </a:cubicBezTo>
                    <a:cubicBezTo>
                      <a:pt x="0" y="1"/>
                      <a:pt x="2" y="0"/>
                      <a:pt x="4" y="0"/>
                    </a:cubicBezTo>
                    <a:cubicBezTo>
                      <a:pt x="14" y="0"/>
                      <a:pt x="14" y="0"/>
                      <a:pt x="14" y="0"/>
                    </a:cubicBezTo>
                    <a:cubicBezTo>
                      <a:pt x="16" y="0"/>
                      <a:pt x="18" y="1"/>
                      <a:pt x="17" y="3"/>
                    </a:cubicBezTo>
                    <a:lnTo>
                      <a:pt x="1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5" name="Freeform 13"/>
              <p:cNvSpPr>
                <a:spLocks/>
              </p:cNvSpPr>
              <p:nvPr/>
            </p:nvSpPr>
            <p:spPr bwMode="auto">
              <a:xfrm>
                <a:off x="7242230" y="5801466"/>
                <a:ext cx="89364" cy="89364"/>
              </a:xfrm>
              <a:custGeom>
                <a:avLst/>
                <a:gdLst>
                  <a:gd name="T0" fmla="*/ 7 w 28"/>
                  <a:gd name="T1" fmla="*/ 1 h 28"/>
                  <a:gd name="T2" fmla="*/ 2 w 28"/>
                  <a:gd name="T3" fmla="*/ 2 h 28"/>
                  <a:gd name="T4" fmla="*/ 1 w 28"/>
                  <a:gd name="T5" fmla="*/ 7 h 28"/>
                  <a:gd name="T6" fmla="*/ 14 w 28"/>
                  <a:gd name="T7" fmla="*/ 27 h 28"/>
                  <a:gd name="T8" fmla="*/ 19 w 28"/>
                  <a:gd name="T9" fmla="*/ 26 h 28"/>
                  <a:gd name="T10" fmla="*/ 26 w 28"/>
                  <a:gd name="T11" fmla="*/ 20 h 28"/>
                  <a:gd name="T12" fmla="*/ 26 w 28"/>
                  <a:gd name="T13" fmla="*/ 15 h 28"/>
                  <a:gd name="T14" fmla="*/ 7 w 28"/>
                  <a:gd name="T15" fmla="*/ 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7" y="1"/>
                    </a:moveTo>
                    <a:cubicBezTo>
                      <a:pt x="5" y="0"/>
                      <a:pt x="3" y="0"/>
                      <a:pt x="2" y="2"/>
                    </a:cubicBezTo>
                    <a:cubicBezTo>
                      <a:pt x="0" y="4"/>
                      <a:pt x="0" y="6"/>
                      <a:pt x="1" y="7"/>
                    </a:cubicBezTo>
                    <a:cubicBezTo>
                      <a:pt x="14" y="27"/>
                      <a:pt x="14" y="27"/>
                      <a:pt x="14" y="27"/>
                    </a:cubicBezTo>
                    <a:cubicBezTo>
                      <a:pt x="15" y="28"/>
                      <a:pt x="17" y="28"/>
                      <a:pt x="19" y="26"/>
                    </a:cubicBezTo>
                    <a:cubicBezTo>
                      <a:pt x="26" y="20"/>
                      <a:pt x="26" y="20"/>
                      <a:pt x="26" y="20"/>
                    </a:cubicBezTo>
                    <a:cubicBezTo>
                      <a:pt x="28" y="18"/>
                      <a:pt x="28" y="16"/>
                      <a:pt x="26" y="15"/>
                    </a:cubicBezTo>
                    <a:lnTo>
                      <a:pt x="7"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6" name="Freeform 14"/>
              <p:cNvSpPr>
                <a:spLocks/>
              </p:cNvSpPr>
              <p:nvPr/>
            </p:nvSpPr>
            <p:spPr bwMode="auto">
              <a:xfrm>
                <a:off x="6787099" y="5348414"/>
                <a:ext cx="89364" cy="89364"/>
              </a:xfrm>
              <a:custGeom>
                <a:avLst/>
                <a:gdLst>
                  <a:gd name="T0" fmla="*/ 27 w 28"/>
                  <a:gd name="T1" fmla="*/ 21 h 28"/>
                  <a:gd name="T2" fmla="*/ 26 w 28"/>
                  <a:gd name="T3" fmla="*/ 26 h 28"/>
                  <a:gd name="T4" fmla="*/ 21 w 28"/>
                  <a:gd name="T5" fmla="*/ 27 h 28"/>
                  <a:gd name="T6" fmla="*/ 2 w 28"/>
                  <a:gd name="T7" fmla="*/ 13 h 28"/>
                  <a:gd name="T8" fmla="*/ 2 w 28"/>
                  <a:gd name="T9" fmla="*/ 8 h 28"/>
                  <a:gd name="T10" fmla="*/ 9 w 28"/>
                  <a:gd name="T11" fmla="*/ 1 h 28"/>
                  <a:gd name="T12" fmla="*/ 14 w 28"/>
                  <a:gd name="T13" fmla="*/ 1 h 28"/>
                  <a:gd name="T14" fmla="*/ 27 w 28"/>
                  <a:gd name="T15" fmla="*/ 2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7" y="21"/>
                    </a:moveTo>
                    <a:cubicBezTo>
                      <a:pt x="28" y="22"/>
                      <a:pt x="28" y="24"/>
                      <a:pt x="26" y="26"/>
                    </a:cubicBezTo>
                    <a:cubicBezTo>
                      <a:pt x="25" y="27"/>
                      <a:pt x="23" y="28"/>
                      <a:pt x="21" y="27"/>
                    </a:cubicBezTo>
                    <a:cubicBezTo>
                      <a:pt x="2" y="13"/>
                      <a:pt x="2" y="13"/>
                      <a:pt x="2" y="13"/>
                    </a:cubicBezTo>
                    <a:cubicBezTo>
                      <a:pt x="0" y="12"/>
                      <a:pt x="0" y="10"/>
                      <a:pt x="2" y="8"/>
                    </a:cubicBezTo>
                    <a:cubicBezTo>
                      <a:pt x="9" y="1"/>
                      <a:pt x="9" y="1"/>
                      <a:pt x="9" y="1"/>
                    </a:cubicBezTo>
                    <a:cubicBezTo>
                      <a:pt x="10" y="0"/>
                      <a:pt x="13" y="0"/>
                      <a:pt x="14" y="1"/>
                    </a:cubicBez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7" name="Freeform 15"/>
              <p:cNvSpPr>
                <a:spLocks/>
              </p:cNvSpPr>
              <p:nvPr/>
            </p:nvSpPr>
            <p:spPr bwMode="auto">
              <a:xfrm>
                <a:off x="7242230" y="5348414"/>
                <a:ext cx="89364" cy="89364"/>
              </a:xfrm>
              <a:custGeom>
                <a:avLst/>
                <a:gdLst>
                  <a:gd name="T0" fmla="*/ 1 w 28"/>
                  <a:gd name="T1" fmla="*/ 21 h 28"/>
                  <a:gd name="T2" fmla="*/ 2 w 28"/>
                  <a:gd name="T3" fmla="*/ 26 h 28"/>
                  <a:gd name="T4" fmla="*/ 7 w 28"/>
                  <a:gd name="T5" fmla="*/ 27 h 28"/>
                  <a:gd name="T6" fmla="*/ 26 w 28"/>
                  <a:gd name="T7" fmla="*/ 13 h 28"/>
                  <a:gd name="T8" fmla="*/ 26 w 28"/>
                  <a:gd name="T9" fmla="*/ 8 h 28"/>
                  <a:gd name="T10" fmla="*/ 19 w 28"/>
                  <a:gd name="T11" fmla="*/ 1 h 28"/>
                  <a:gd name="T12" fmla="*/ 14 w 28"/>
                  <a:gd name="T13" fmla="*/ 1 h 28"/>
                  <a:gd name="T14" fmla="*/ 1 w 28"/>
                  <a:gd name="T15" fmla="*/ 2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1" y="21"/>
                    </a:moveTo>
                    <a:cubicBezTo>
                      <a:pt x="0" y="22"/>
                      <a:pt x="0" y="24"/>
                      <a:pt x="2" y="26"/>
                    </a:cubicBezTo>
                    <a:cubicBezTo>
                      <a:pt x="3" y="27"/>
                      <a:pt x="5" y="28"/>
                      <a:pt x="7" y="27"/>
                    </a:cubicBezTo>
                    <a:cubicBezTo>
                      <a:pt x="26" y="13"/>
                      <a:pt x="26" y="13"/>
                      <a:pt x="26" y="13"/>
                    </a:cubicBezTo>
                    <a:cubicBezTo>
                      <a:pt x="28" y="12"/>
                      <a:pt x="28" y="10"/>
                      <a:pt x="26" y="8"/>
                    </a:cubicBezTo>
                    <a:cubicBezTo>
                      <a:pt x="19" y="1"/>
                      <a:pt x="19" y="1"/>
                      <a:pt x="19" y="1"/>
                    </a:cubicBezTo>
                    <a:cubicBezTo>
                      <a:pt x="17" y="0"/>
                      <a:pt x="15" y="0"/>
                      <a:pt x="14" y="1"/>
                    </a:cubicBezTo>
                    <a:lnTo>
                      <a:pt x="1"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8" name="Freeform 16"/>
              <p:cNvSpPr>
                <a:spLocks/>
              </p:cNvSpPr>
              <p:nvPr/>
            </p:nvSpPr>
            <p:spPr bwMode="auto">
              <a:xfrm>
                <a:off x="6787099" y="5801466"/>
                <a:ext cx="89364" cy="89364"/>
              </a:xfrm>
              <a:custGeom>
                <a:avLst/>
                <a:gdLst>
                  <a:gd name="T0" fmla="*/ 21 w 28"/>
                  <a:gd name="T1" fmla="*/ 1 h 28"/>
                  <a:gd name="T2" fmla="*/ 26 w 28"/>
                  <a:gd name="T3" fmla="*/ 2 h 28"/>
                  <a:gd name="T4" fmla="*/ 27 w 28"/>
                  <a:gd name="T5" fmla="*/ 7 h 28"/>
                  <a:gd name="T6" fmla="*/ 14 w 28"/>
                  <a:gd name="T7" fmla="*/ 27 h 28"/>
                  <a:gd name="T8" fmla="*/ 9 w 28"/>
                  <a:gd name="T9" fmla="*/ 26 h 28"/>
                  <a:gd name="T10" fmla="*/ 2 w 28"/>
                  <a:gd name="T11" fmla="*/ 20 h 28"/>
                  <a:gd name="T12" fmla="*/ 2 w 28"/>
                  <a:gd name="T13" fmla="*/ 15 h 28"/>
                  <a:gd name="T14" fmla="*/ 21 w 28"/>
                  <a:gd name="T15" fmla="*/ 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1" y="1"/>
                    </a:moveTo>
                    <a:cubicBezTo>
                      <a:pt x="23" y="0"/>
                      <a:pt x="25" y="0"/>
                      <a:pt x="26" y="2"/>
                    </a:cubicBezTo>
                    <a:cubicBezTo>
                      <a:pt x="28" y="4"/>
                      <a:pt x="28" y="6"/>
                      <a:pt x="27" y="7"/>
                    </a:cubicBezTo>
                    <a:cubicBezTo>
                      <a:pt x="14" y="27"/>
                      <a:pt x="14" y="27"/>
                      <a:pt x="14" y="27"/>
                    </a:cubicBezTo>
                    <a:cubicBezTo>
                      <a:pt x="13" y="28"/>
                      <a:pt x="10" y="28"/>
                      <a:pt x="9" y="26"/>
                    </a:cubicBezTo>
                    <a:cubicBezTo>
                      <a:pt x="2" y="20"/>
                      <a:pt x="2" y="20"/>
                      <a:pt x="2" y="20"/>
                    </a:cubicBezTo>
                    <a:cubicBezTo>
                      <a:pt x="0" y="18"/>
                      <a:pt x="0" y="16"/>
                      <a:pt x="2" y="15"/>
                    </a:cubicBezTo>
                    <a:lnTo>
                      <a:pt x="21"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9" name="Freeform 17"/>
              <p:cNvSpPr>
                <a:spLocks/>
              </p:cNvSpPr>
              <p:nvPr/>
            </p:nvSpPr>
            <p:spPr bwMode="auto">
              <a:xfrm>
                <a:off x="6957514" y="5441933"/>
                <a:ext cx="180806" cy="353297"/>
              </a:xfrm>
              <a:custGeom>
                <a:avLst/>
                <a:gdLst>
                  <a:gd name="T0" fmla="*/ 38 w 87"/>
                  <a:gd name="T1" fmla="*/ 170 h 170"/>
                  <a:gd name="T2" fmla="*/ 41 w 87"/>
                  <a:gd name="T3" fmla="*/ 114 h 170"/>
                  <a:gd name="T4" fmla="*/ 0 w 87"/>
                  <a:gd name="T5" fmla="*/ 120 h 170"/>
                  <a:gd name="T6" fmla="*/ 63 w 87"/>
                  <a:gd name="T7" fmla="*/ 0 h 170"/>
                  <a:gd name="T8" fmla="*/ 50 w 87"/>
                  <a:gd name="T9" fmla="*/ 82 h 170"/>
                  <a:gd name="T10" fmla="*/ 87 w 87"/>
                  <a:gd name="T11" fmla="*/ 74 h 170"/>
                  <a:gd name="T12" fmla="*/ 64 w 87"/>
                  <a:gd name="T13" fmla="*/ 170 h 170"/>
                  <a:gd name="T14" fmla="*/ 38 w 87"/>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70">
                    <a:moveTo>
                      <a:pt x="38" y="170"/>
                    </a:moveTo>
                    <a:lnTo>
                      <a:pt x="41" y="114"/>
                    </a:lnTo>
                    <a:lnTo>
                      <a:pt x="0" y="120"/>
                    </a:lnTo>
                    <a:lnTo>
                      <a:pt x="63" y="0"/>
                    </a:lnTo>
                    <a:lnTo>
                      <a:pt x="50" y="82"/>
                    </a:lnTo>
                    <a:lnTo>
                      <a:pt x="87" y="74"/>
                    </a:lnTo>
                    <a:lnTo>
                      <a:pt x="64" y="170"/>
                    </a:lnTo>
                    <a:lnTo>
                      <a:pt x="38" y="1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grpSp>
      <p:sp>
        <p:nvSpPr>
          <p:cNvPr id="107" name="Rectangle 106"/>
          <p:cNvSpPr/>
          <p:nvPr/>
        </p:nvSpPr>
        <p:spPr>
          <a:xfrm>
            <a:off x="86590" y="845861"/>
            <a:ext cx="11362460" cy="307777"/>
          </a:xfrm>
          <a:prstGeom prst="rect">
            <a:avLst/>
          </a:prstGeom>
        </p:spPr>
        <p:txBody>
          <a:bodyPr wrap="square">
            <a:spAutoFit/>
          </a:bodyPr>
          <a:lstStyle/>
          <a:p>
            <a:pPr defTabSz="713603">
              <a:defRPr/>
            </a:pPr>
            <a:r>
              <a:rPr lang="en-US" sz="1400" dirty="0" smtClean="0">
                <a:solidFill>
                  <a:srgbClr val="00338D"/>
                </a:solidFill>
              </a:rPr>
              <a:t>The </a:t>
            </a:r>
            <a:r>
              <a:rPr lang="en-US" sz="1400" dirty="0">
                <a:solidFill>
                  <a:srgbClr val="00338D"/>
                </a:solidFill>
              </a:rPr>
              <a:t>digital maturity assessment for </a:t>
            </a:r>
            <a:r>
              <a:rPr lang="en-US" sz="1400" dirty="0" err="1" smtClean="0">
                <a:solidFill>
                  <a:srgbClr val="00338D"/>
                </a:solidFill>
              </a:rPr>
              <a:t>FBNQuest</a:t>
            </a:r>
            <a:r>
              <a:rPr lang="en-US" sz="1400" dirty="0" smtClean="0">
                <a:solidFill>
                  <a:srgbClr val="00338D"/>
                </a:solidFill>
              </a:rPr>
              <a:t> Group covered six (6) dimensions and twenty (20) sub dimensions of Digital, as follows:</a:t>
            </a:r>
          </a:p>
        </p:txBody>
      </p:sp>
      <p:grpSp>
        <p:nvGrpSpPr>
          <p:cNvPr id="108" name="Group 107"/>
          <p:cNvGrpSpPr/>
          <p:nvPr/>
        </p:nvGrpSpPr>
        <p:grpSpPr>
          <a:xfrm>
            <a:off x="6351355" y="4769467"/>
            <a:ext cx="488448" cy="488216"/>
            <a:chOff x="5843588" y="1525626"/>
            <a:chExt cx="349250" cy="358775"/>
          </a:xfrm>
          <a:solidFill>
            <a:schemeClr val="bg1"/>
          </a:solidFill>
        </p:grpSpPr>
        <p:sp>
          <p:nvSpPr>
            <p:cNvPr id="109" name="Freeform 154"/>
            <p:cNvSpPr>
              <a:spLocks noEditPoints="1"/>
            </p:cNvSpPr>
            <p:nvPr/>
          </p:nvSpPr>
          <p:spPr bwMode="auto">
            <a:xfrm>
              <a:off x="5915025" y="1525626"/>
              <a:ext cx="209550" cy="358775"/>
            </a:xfrm>
            <a:custGeom>
              <a:avLst/>
              <a:gdLst>
                <a:gd name="T0" fmla="*/ 46 w 56"/>
                <a:gd name="T1" fmla="*/ 0 h 96"/>
                <a:gd name="T2" fmla="*/ 10 w 56"/>
                <a:gd name="T3" fmla="*/ 0 h 96"/>
                <a:gd name="T4" fmla="*/ 0 w 56"/>
                <a:gd name="T5" fmla="*/ 10 h 96"/>
                <a:gd name="T6" fmla="*/ 0 w 56"/>
                <a:gd name="T7" fmla="*/ 86 h 96"/>
                <a:gd name="T8" fmla="*/ 10 w 56"/>
                <a:gd name="T9" fmla="*/ 96 h 96"/>
                <a:gd name="T10" fmla="*/ 46 w 56"/>
                <a:gd name="T11" fmla="*/ 96 h 96"/>
                <a:gd name="T12" fmla="*/ 56 w 56"/>
                <a:gd name="T13" fmla="*/ 86 h 96"/>
                <a:gd name="T14" fmla="*/ 56 w 56"/>
                <a:gd name="T15" fmla="*/ 10 h 96"/>
                <a:gd name="T16" fmla="*/ 46 w 56"/>
                <a:gd name="T17" fmla="*/ 0 h 96"/>
                <a:gd name="T18" fmla="*/ 28 w 56"/>
                <a:gd name="T19" fmla="*/ 93 h 96"/>
                <a:gd name="T20" fmla="*/ 21 w 56"/>
                <a:gd name="T21" fmla="*/ 86 h 96"/>
                <a:gd name="T22" fmla="*/ 28 w 56"/>
                <a:gd name="T23" fmla="*/ 78 h 96"/>
                <a:gd name="T24" fmla="*/ 35 w 56"/>
                <a:gd name="T25" fmla="*/ 86 h 96"/>
                <a:gd name="T26" fmla="*/ 28 w 56"/>
                <a:gd name="T27" fmla="*/ 93 h 96"/>
                <a:gd name="T28" fmla="*/ 8 w 56"/>
                <a:gd name="T29" fmla="*/ 76 h 96"/>
                <a:gd name="T30" fmla="*/ 8 w 56"/>
                <a:gd name="T31" fmla="*/ 16 h 96"/>
                <a:gd name="T32" fmla="*/ 48 w 56"/>
                <a:gd name="T33" fmla="*/ 16 h 96"/>
                <a:gd name="T34" fmla="*/ 48 w 56"/>
                <a:gd name="T35" fmla="*/ 76 h 96"/>
                <a:gd name="T36" fmla="*/ 8 w 56"/>
                <a:gd name="T37" fmla="*/ 7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96">
                  <a:moveTo>
                    <a:pt x="46" y="0"/>
                  </a:moveTo>
                  <a:cubicBezTo>
                    <a:pt x="10" y="0"/>
                    <a:pt x="10" y="0"/>
                    <a:pt x="10" y="0"/>
                  </a:cubicBezTo>
                  <a:cubicBezTo>
                    <a:pt x="4" y="0"/>
                    <a:pt x="0" y="4"/>
                    <a:pt x="0" y="10"/>
                  </a:cubicBezTo>
                  <a:cubicBezTo>
                    <a:pt x="0" y="86"/>
                    <a:pt x="0" y="86"/>
                    <a:pt x="0" y="86"/>
                  </a:cubicBezTo>
                  <a:cubicBezTo>
                    <a:pt x="0" y="91"/>
                    <a:pt x="4" y="96"/>
                    <a:pt x="10" y="96"/>
                  </a:cubicBezTo>
                  <a:cubicBezTo>
                    <a:pt x="46" y="96"/>
                    <a:pt x="46" y="96"/>
                    <a:pt x="46" y="96"/>
                  </a:cubicBezTo>
                  <a:cubicBezTo>
                    <a:pt x="51" y="96"/>
                    <a:pt x="56" y="91"/>
                    <a:pt x="56" y="86"/>
                  </a:cubicBezTo>
                  <a:cubicBezTo>
                    <a:pt x="56" y="10"/>
                    <a:pt x="56" y="10"/>
                    <a:pt x="56" y="10"/>
                  </a:cubicBezTo>
                  <a:cubicBezTo>
                    <a:pt x="56" y="4"/>
                    <a:pt x="51" y="0"/>
                    <a:pt x="46" y="0"/>
                  </a:cubicBezTo>
                  <a:close/>
                  <a:moveTo>
                    <a:pt x="28" y="93"/>
                  </a:moveTo>
                  <a:cubicBezTo>
                    <a:pt x="24" y="93"/>
                    <a:pt x="21" y="89"/>
                    <a:pt x="21" y="86"/>
                  </a:cubicBezTo>
                  <a:cubicBezTo>
                    <a:pt x="21" y="82"/>
                    <a:pt x="24" y="78"/>
                    <a:pt x="28" y="78"/>
                  </a:cubicBezTo>
                  <a:cubicBezTo>
                    <a:pt x="32" y="78"/>
                    <a:pt x="35" y="82"/>
                    <a:pt x="35" y="86"/>
                  </a:cubicBezTo>
                  <a:cubicBezTo>
                    <a:pt x="35" y="89"/>
                    <a:pt x="32" y="93"/>
                    <a:pt x="28" y="93"/>
                  </a:cubicBezTo>
                  <a:close/>
                  <a:moveTo>
                    <a:pt x="8" y="76"/>
                  </a:moveTo>
                  <a:cubicBezTo>
                    <a:pt x="8" y="16"/>
                    <a:pt x="8" y="16"/>
                    <a:pt x="8" y="16"/>
                  </a:cubicBezTo>
                  <a:cubicBezTo>
                    <a:pt x="48" y="16"/>
                    <a:pt x="48" y="16"/>
                    <a:pt x="48" y="16"/>
                  </a:cubicBezTo>
                  <a:cubicBezTo>
                    <a:pt x="48" y="76"/>
                    <a:pt x="48" y="76"/>
                    <a:pt x="48" y="76"/>
                  </a:cubicBezTo>
                  <a:lnTo>
                    <a:pt x="8"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000000"/>
                </a:solidFill>
              </a:endParaRPr>
            </a:p>
          </p:txBody>
        </p:sp>
        <p:sp>
          <p:nvSpPr>
            <p:cNvPr id="110" name="Freeform 155"/>
            <p:cNvSpPr>
              <a:spLocks noEditPoints="1"/>
            </p:cNvSpPr>
            <p:nvPr/>
          </p:nvSpPr>
          <p:spPr bwMode="auto">
            <a:xfrm>
              <a:off x="5843588" y="1554201"/>
              <a:ext cx="349250" cy="233363"/>
            </a:xfrm>
            <a:custGeom>
              <a:avLst/>
              <a:gdLst>
                <a:gd name="T0" fmla="*/ 16 w 93"/>
                <a:gd name="T1" fmla="*/ 0 h 62"/>
                <a:gd name="T2" fmla="*/ 9 w 93"/>
                <a:gd name="T3" fmla="*/ 2 h 62"/>
                <a:gd name="T4" fmla="*/ 2 w 93"/>
                <a:gd name="T5" fmla="*/ 14 h 62"/>
                <a:gd name="T6" fmla="*/ 15 w 93"/>
                <a:gd name="T7" fmla="*/ 62 h 62"/>
                <a:gd name="T8" fmla="*/ 15 w 93"/>
                <a:gd name="T9" fmla="*/ 31 h 62"/>
                <a:gd name="T10" fmla="*/ 11 w 93"/>
                <a:gd name="T11" fmla="*/ 18 h 62"/>
                <a:gd name="T12" fmla="*/ 15 w 93"/>
                <a:gd name="T13" fmla="*/ 17 h 62"/>
                <a:gd name="T14" fmla="*/ 15 w 93"/>
                <a:gd name="T15" fmla="*/ 6 h 62"/>
                <a:gd name="T16" fmla="*/ 16 w 93"/>
                <a:gd name="T17" fmla="*/ 0 h 62"/>
                <a:gd name="T18" fmla="*/ 77 w 93"/>
                <a:gd name="T19" fmla="*/ 0 h 62"/>
                <a:gd name="T20" fmla="*/ 79 w 93"/>
                <a:gd name="T21" fmla="*/ 6 h 62"/>
                <a:gd name="T22" fmla="*/ 79 w 93"/>
                <a:gd name="T23" fmla="*/ 17 h 62"/>
                <a:gd name="T24" fmla="*/ 82 w 93"/>
                <a:gd name="T25" fmla="*/ 18 h 62"/>
                <a:gd name="T26" fmla="*/ 79 w 93"/>
                <a:gd name="T27" fmla="*/ 31 h 62"/>
                <a:gd name="T28" fmla="*/ 79 w 93"/>
                <a:gd name="T29" fmla="*/ 62 h 62"/>
                <a:gd name="T30" fmla="*/ 92 w 93"/>
                <a:gd name="T31" fmla="*/ 14 h 62"/>
                <a:gd name="T32" fmla="*/ 85 w 93"/>
                <a:gd name="T33" fmla="*/ 2 h 62"/>
                <a:gd name="T34" fmla="*/ 77 w 93"/>
                <a:gd name="T3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62">
                  <a:moveTo>
                    <a:pt x="16" y="0"/>
                  </a:moveTo>
                  <a:cubicBezTo>
                    <a:pt x="9" y="2"/>
                    <a:pt x="9" y="2"/>
                    <a:pt x="9" y="2"/>
                  </a:cubicBezTo>
                  <a:cubicBezTo>
                    <a:pt x="4" y="3"/>
                    <a:pt x="0" y="9"/>
                    <a:pt x="2" y="14"/>
                  </a:cubicBezTo>
                  <a:cubicBezTo>
                    <a:pt x="15" y="62"/>
                    <a:pt x="15" y="62"/>
                    <a:pt x="15" y="62"/>
                  </a:cubicBezTo>
                  <a:cubicBezTo>
                    <a:pt x="15" y="31"/>
                    <a:pt x="15" y="31"/>
                    <a:pt x="15" y="31"/>
                  </a:cubicBezTo>
                  <a:cubicBezTo>
                    <a:pt x="11" y="18"/>
                    <a:pt x="11" y="18"/>
                    <a:pt x="11" y="18"/>
                  </a:cubicBezTo>
                  <a:cubicBezTo>
                    <a:pt x="15" y="17"/>
                    <a:pt x="15" y="17"/>
                    <a:pt x="15" y="17"/>
                  </a:cubicBezTo>
                  <a:cubicBezTo>
                    <a:pt x="15" y="6"/>
                    <a:pt x="15" y="6"/>
                    <a:pt x="15" y="6"/>
                  </a:cubicBezTo>
                  <a:cubicBezTo>
                    <a:pt x="15" y="4"/>
                    <a:pt x="15" y="2"/>
                    <a:pt x="16" y="0"/>
                  </a:cubicBezTo>
                  <a:moveTo>
                    <a:pt x="77" y="0"/>
                  </a:moveTo>
                  <a:cubicBezTo>
                    <a:pt x="78" y="2"/>
                    <a:pt x="79" y="4"/>
                    <a:pt x="79" y="6"/>
                  </a:cubicBezTo>
                  <a:cubicBezTo>
                    <a:pt x="79" y="17"/>
                    <a:pt x="79" y="17"/>
                    <a:pt x="79" y="17"/>
                  </a:cubicBezTo>
                  <a:cubicBezTo>
                    <a:pt x="82" y="18"/>
                    <a:pt x="82" y="18"/>
                    <a:pt x="82" y="18"/>
                  </a:cubicBezTo>
                  <a:cubicBezTo>
                    <a:pt x="79" y="31"/>
                    <a:pt x="79" y="31"/>
                    <a:pt x="79" y="31"/>
                  </a:cubicBezTo>
                  <a:cubicBezTo>
                    <a:pt x="79" y="62"/>
                    <a:pt x="79" y="62"/>
                    <a:pt x="79" y="62"/>
                  </a:cubicBezTo>
                  <a:cubicBezTo>
                    <a:pt x="92" y="14"/>
                    <a:pt x="92" y="14"/>
                    <a:pt x="92" y="14"/>
                  </a:cubicBezTo>
                  <a:cubicBezTo>
                    <a:pt x="93" y="9"/>
                    <a:pt x="90" y="3"/>
                    <a:pt x="85" y="2"/>
                  </a:cubicBezTo>
                  <a:cubicBezTo>
                    <a:pt x="77" y="0"/>
                    <a:pt x="77" y="0"/>
                    <a:pt x="7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rgbClr val="000000"/>
                </a:solidFill>
              </a:endParaRPr>
            </a:p>
          </p:txBody>
        </p:sp>
      </p:grpSp>
      <p:grpSp>
        <p:nvGrpSpPr>
          <p:cNvPr id="111" name="Group 110"/>
          <p:cNvGrpSpPr/>
          <p:nvPr/>
        </p:nvGrpSpPr>
        <p:grpSpPr>
          <a:xfrm>
            <a:off x="11469271" y="94959"/>
            <a:ext cx="616654" cy="457200"/>
            <a:chOff x="506594" y="1180539"/>
            <a:chExt cx="616654" cy="457200"/>
          </a:xfrm>
          <a:solidFill>
            <a:srgbClr val="2D5491"/>
          </a:solidFill>
        </p:grpSpPr>
        <p:sp>
          <p:nvSpPr>
            <p:cNvPr id="112" name="Oval 111"/>
            <p:cNvSpPr/>
            <p:nvPr/>
          </p:nvSpPr>
          <p:spPr>
            <a:xfrm>
              <a:off x="506594" y="1180539"/>
              <a:ext cx="457200" cy="457200"/>
            </a:xfrm>
            <a:prstGeom prst="ellipse">
              <a:avLst/>
            </a:prstGeom>
            <a:noFill/>
            <a:ln w="38100" cap="rnd" cmpd="sng" algn="ctr">
              <a:solidFill>
                <a:srgbClr val="2D5491"/>
              </a:solidFill>
              <a:prstDash val="solid"/>
            </a:ln>
            <a:effectLst/>
          </p:spPr>
          <p:txBody>
            <a:bodyPr lIns="54610" tIns="54610" rIns="54610" bIns="54610" rtlCol="0" anchor="ctr"/>
            <a:lstStyle/>
            <a:p>
              <a:pPr defTabSz="914198">
                <a:defRPr/>
              </a:pPr>
              <a:endParaRPr lang="en-GB" sz="1500" kern="0" dirty="0" smtClean="0">
                <a:solidFill>
                  <a:prstClr val="white"/>
                </a:solidFill>
                <a:latin typeface="Arial"/>
              </a:endParaRPr>
            </a:p>
          </p:txBody>
        </p:sp>
        <p:sp>
          <p:nvSpPr>
            <p:cNvPr id="113" name="TextBox 112"/>
            <p:cNvSpPr txBox="1"/>
            <p:nvPr/>
          </p:nvSpPr>
          <p:spPr>
            <a:xfrm>
              <a:off x="649478" y="1255250"/>
              <a:ext cx="473770" cy="307777"/>
            </a:xfrm>
            <a:prstGeom prst="rect">
              <a:avLst/>
            </a:prstGeom>
            <a:noFill/>
            <a:ln>
              <a:noFill/>
            </a:ln>
          </p:spPr>
          <p:txBody>
            <a:bodyPr wrap="square" lIns="0" tIns="0" rIns="0" bIns="0" rtlCol="0">
              <a:spAutoFit/>
            </a:bodyPr>
            <a:lstStyle/>
            <a:p>
              <a:r>
                <a:rPr lang="en-US" sz="2000" b="1" dirty="0" smtClean="0">
                  <a:solidFill>
                    <a:srgbClr val="2D5491"/>
                  </a:solidFill>
                  <a:cs typeface="Arial" pitchFamily="34" charset="0"/>
                </a:rPr>
                <a:t>1</a:t>
              </a:r>
            </a:p>
          </p:txBody>
        </p:sp>
      </p:grpSp>
      <p:sp>
        <p:nvSpPr>
          <p:cNvPr id="115" name="Isosceles Triangle 114"/>
          <p:cNvSpPr/>
          <p:nvPr/>
        </p:nvSpPr>
        <p:spPr>
          <a:xfrm rot="5400000">
            <a:off x="11015869" y="171094"/>
            <a:ext cx="451410" cy="299141"/>
          </a:xfrm>
          <a:prstGeom prst="triangle">
            <a:avLst/>
          </a:prstGeom>
          <a:solidFill>
            <a:srgbClr val="2D549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spTree>
    <p:extLst>
      <p:ext uri="{BB962C8B-B14F-4D97-AF65-F5344CB8AC3E}">
        <p14:creationId xmlns:p14="http://schemas.microsoft.com/office/powerpoint/2010/main" val="3521385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Background</a:t>
            </a:r>
            <a:endParaRPr lang="en-US" sz="4400" b="0" kern="1200" dirty="0">
              <a:latin typeface="KPMG Extralight" panose="020B0303030202040204" pitchFamily="34" charset="0"/>
              <a:cs typeface="+mj-cs"/>
            </a:endParaRPr>
          </a:p>
        </p:txBody>
      </p:sp>
      <p:sp>
        <p:nvSpPr>
          <p:cNvPr id="170" name="Rectangle 169"/>
          <p:cNvSpPr/>
          <p:nvPr/>
        </p:nvSpPr>
        <p:spPr>
          <a:xfrm>
            <a:off x="86590" y="602065"/>
            <a:ext cx="4080424" cy="211083"/>
          </a:xfrm>
          <a:prstGeom prst="rect">
            <a:avLst/>
          </a:prstGeom>
        </p:spPr>
        <p:txBody>
          <a:bodyPr wrap="square">
            <a:spAutoFit/>
          </a:bodyPr>
          <a:lstStyle/>
          <a:p>
            <a:pPr>
              <a:lnSpc>
                <a:spcPct val="70000"/>
              </a:lnSpc>
            </a:pPr>
            <a:r>
              <a:rPr lang="en-US" sz="1050" b="1" dirty="0" smtClean="0">
                <a:solidFill>
                  <a:srgbClr val="005EB8">
                    <a:lumMod val="75000"/>
                  </a:srgbClr>
                </a:solidFill>
              </a:rPr>
              <a:t>Digital Maturity Assessment (DMA) Survey Coverage</a:t>
            </a:r>
            <a:endParaRPr lang="en-US" sz="1050" b="1" dirty="0">
              <a:solidFill>
                <a:srgbClr val="005EB8">
                  <a:lumMod val="75000"/>
                </a:srgbClr>
              </a:solidFill>
            </a:endParaRPr>
          </a:p>
        </p:txBody>
      </p:sp>
      <p:sp>
        <p:nvSpPr>
          <p:cNvPr id="107" name="Rectangle 106"/>
          <p:cNvSpPr/>
          <p:nvPr/>
        </p:nvSpPr>
        <p:spPr>
          <a:xfrm>
            <a:off x="86590" y="845861"/>
            <a:ext cx="11362460" cy="307777"/>
          </a:xfrm>
          <a:prstGeom prst="rect">
            <a:avLst/>
          </a:prstGeom>
        </p:spPr>
        <p:txBody>
          <a:bodyPr wrap="square">
            <a:spAutoFit/>
          </a:bodyPr>
          <a:lstStyle/>
          <a:p>
            <a:pPr defTabSz="713603">
              <a:defRPr/>
            </a:pPr>
            <a:r>
              <a:rPr lang="en-US" sz="1400" dirty="0" smtClean="0">
                <a:solidFill>
                  <a:srgbClr val="00338D"/>
                </a:solidFill>
              </a:rPr>
              <a:t>The DMA survey cut across over fifty (50) stakeholders across the </a:t>
            </a:r>
            <a:r>
              <a:rPr lang="en-US" sz="1400" dirty="0" err="1" smtClean="0">
                <a:solidFill>
                  <a:srgbClr val="00338D"/>
                </a:solidFill>
              </a:rPr>
              <a:t>FBNQuest’s</a:t>
            </a:r>
            <a:r>
              <a:rPr lang="en-US" sz="1400" dirty="0" smtClean="0">
                <a:solidFill>
                  <a:srgbClr val="00338D"/>
                </a:solidFill>
              </a:rPr>
              <a:t> business entities and enabling functions, as follows:    </a:t>
            </a:r>
          </a:p>
        </p:txBody>
      </p:sp>
      <p:grpSp>
        <p:nvGrpSpPr>
          <p:cNvPr id="106" name="Group 105"/>
          <p:cNvGrpSpPr/>
          <p:nvPr/>
        </p:nvGrpSpPr>
        <p:grpSpPr>
          <a:xfrm>
            <a:off x="11469271" y="94959"/>
            <a:ext cx="473779" cy="457200"/>
            <a:chOff x="506594" y="1180539"/>
            <a:chExt cx="473779" cy="457200"/>
          </a:xfrm>
          <a:solidFill>
            <a:srgbClr val="2D5491"/>
          </a:solidFill>
        </p:grpSpPr>
        <p:sp>
          <p:nvSpPr>
            <p:cNvPr id="116" name="Oval 115"/>
            <p:cNvSpPr/>
            <p:nvPr/>
          </p:nvSpPr>
          <p:spPr>
            <a:xfrm>
              <a:off x="506594" y="1180539"/>
              <a:ext cx="457200" cy="457200"/>
            </a:xfrm>
            <a:prstGeom prst="ellipse">
              <a:avLst/>
            </a:prstGeom>
            <a:noFill/>
            <a:ln w="38100" cap="rnd" cmpd="sng" algn="ctr">
              <a:solidFill>
                <a:srgbClr val="2D5491"/>
              </a:solidFill>
              <a:prstDash val="solid"/>
            </a:ln>
            <a:effectLst/>
          </p:spPr>
          <p:txBody>
            <a:bodyPr lIns="54610" tIns="54610" rIns="54610" bIns="54610" rtlCol="0" anchor="ctr"/>
            <a:lstStyle/>
            <a:p>
              <a:pPr defTabSz="914198">
                <a:defRPr/>
              </a:pPr>
              <a:endParaRPr lang="en-GB" sz="1500" kern="0" dirty="0" smtClean="0">
                <a:solidFill>
                  <a:prstClr val="white"/>
                </a:solidFill>
                <a:latin typeface="Arial"/>
              </a:endParaRPr>
            </a:p>
          </p:txBody>
        </p:sp>
        <p:sp>
          <p:nvSpPr>
            <p:cNvPr id="117" name="TextBox 116"/>
            <p:cNvSpPr txBox="1"/>
            <p:nvPr/>
          </p:nvSpPr>
          <p:spPr>
            <a:xfrm>
              <a:off x="506603" y="1255250"/>
              <a:ext cx="473770" cy="307777"/>
            </a:xfrm>
            <a:prstGeom prst="rect">
              <a:avLst/>
            </a:prstGeom>
            <a:noFill/>
            <a:ln>
              <a:noFill/>
            </a:ln>
          </p:spPr>
          <p:txBody>
            <a:bodyPr wrap="square" lIns="0" tIns="0" rIns="0" bIns="0" rtlCol="0">
              <a:spAutoFit/>
            </a:bodyPr>
            <a:lstStyle/>
            <a:p>
              <a:pPr algn="ctr"/>
              <a:r>
                <a:rPr lang="en-US" sz="2000" b="1" dirty="0" smtClean="0">
                  <a:solidFill>
                    <a:srgbClr val="2D5491"/>
                  </a:solidFill>
                  <a:cs typeface="Arial" pitchFamily="34" charset="0"/>
                </a:rPr>
                <a:t>2A</a:t>
              </a:r>
            </a:p>
          </p:txBody>
        </p:sp>
      </p:grpSp>
      <p:sp>
        <p:nvSpPr>
          <p:cNvPr id="118" name="Isosceles Triangle 117"/>
          <p:cNvSpPr/>
          <p:nvPr/>
        </p:nvSpPr>
        <p:spPr>
          <a:xfrm rot="5400000">
            <a:off x="11015869" y="171094"/>
            <a:ext cx="451410" cy="299141"/>
          </a:xfrm>
          <a:prstGeom prst="triangle">
            <a:avLst/>
          </a:prstGeom>
          <a:solidFill>
            <a:srgbClr val="2D549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pic>
        <p:nvPicPr>
          <p:cNvPr id="55" name="Picture 54"/>
          <p:cNvPicPr>
            <a:picLocks noChangeAspect="1"/>
          </p:cNvPicPr>
          <p:nvPr/>
        </p:nvPicPr>
        <p:blipFill>
          <a:blip r:embed="rId3"/>
          <a:stretch>
            <a:fillRect/>
          </a:stretch>
        </p:blipFill>
        <p:spPr>
          <a:xfrm>
            <a:off x="6413760" y="1365048"/>
            <a:ext cx="5578323" cy="3749365"/>
          </a:xfrm>
          <a:prstGeom prst="rect">
            <a:avLst/>
          </a:prstGeom>
        </p:spPr>
      </p:pic>
      <p:cxnSp>
        <p:nvCxnSpPr>
          <p:cNvPr id="56" name="Straight Connector 55"/>
          <p:cNvCxnSpPr/>
          <p:nvPr/>
        </p:nvCxnSpPr>
        <p:spPr>
          <a:xfrm>
            <a:off x="6285186" y="1501146"/>
            <a:ext cx="0" cy="484632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6651387" y="5334429"/>
            <a:ext cx="5140178" cy="778065"/>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58" name="Rounded Rectangle 57"/>
          <p:cNvSpPr/>
          <p:nvPr/>
        </p:nvSpPr>
        <p:spPr>
          <a:xfrm>
            <a:off x="6761990" y="5398261"/>
            <a:ext cx="5114700" cy="732079"/>
          </a:xfrm>
          <a:prstGeom prst="round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nvGrpSpPr>
          <p:cNvPr id="59" name="Group 58"/>
          <p:cNvGrpSpPr/>
          <p:nvPr/>
        </p:nvGrpSpPr>
        <p:grpSpPr>
          <a:xfrm>
            <a:off x="8042904" y="3742463"/>
            <a:ext cx="150284" cy="156569"/>
            <a:chOff x="7408333" y="299896"/>
            <a:chExt cx="338667" cy="352831"/>
          </a:xfrm>
        </p:grpSpPr>
        <p:sp>
          <p:nvSpPr>
            <p:cNvPr id="60" name="Oval 59"/>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61" name="Oval 60"/>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grpSp>
        <p:nvGrpSpPr>
          <p:cNvPr id="62" name="Group 61"/>
          <p:cNvGrpSpPr/>
          <p:nvPr/>
        </p:nvGrpSpPr>
        <p:grpSpPr>
          <a:xfrm>
            <a:off x="7766776" y="3642575"/>
            <a:ext cx="150284" cy="156569"/>
            <a:chOff x="7408333" y="299896"/>
            <a:chExt cx="338667" cy="352831"/>
          </a:xfrm>
        </p:grpSpPr>
        <p:sp>
          <p:nvSpPr>
            <p:cNvPr id="63" name="Oval 62"/>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64" name="Oval 63"/>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grpSp>
        <p:nvGrpSpPr>
          <p:cNvPr id="65" name="Group 64"/>
          <p:cNvGrpSpPr/>
          <p:nvPr/>
        </p:nvGrpSpPr>
        <p:grpSpPr>
          <a:xfrm>
            <a:off x="7453506" y="3329629"/>
            <a:ext cx="150284" cy="156569"/>
            <a:chOff x="7408333" y="299896"/>
            <a:chExt cx="338667" cy="352831"/>
          </a:xfrm>
        </p:grpSpPr>
        <p:sp>
          <p:nvSpPr>
            <p:cNvPr id="66" name="Oval 65"/>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67" name="Oval 66"/>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grpSp>
        <p:nvGrpSpPr>
          <p:cNvPr id="68" name="Group 67"/>
          <p:cNvGrpSpPr/>
          <p:nvPr/>
        </p:nvGrpSpPr>
        <p:grpSpPr>
          <a:xfrm>
            <a:off x="7695964" y="2594618"/>
            <a:ext cx="150284" cy="156569"/>
            <a:chOff x="7408333" y="299896"/>
            <a:chExt cx="338667" cy="352831"/>
          </a:xfrm>
        </p:grpSpPr>
        <p:sp>
          <p:nvSpPr>
            <p:cNvPr id="69" name="Oval 68"/>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70" name="Oval 69"/>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grpSp>
        <p:nvGrpSpPr>
          <p:cNvPr id="71" name="Group 70"/>
          <p:cNvGrpSpPr/>
          <p:nvPr/>
        </p:nvGrpSpPr>
        <p:grpSpPr>
          <a:xfrm>
            <a:off x="8627595" y="2738440"/>
            <a:ext cx="150284" cy="156569"/>
            <a:chOff x="7408333" y="299896"/>
            <a:chExt cx="338667" cy="352831"/>
          </a:xfrm>
        </p:grpSpPr>
        <p:sp>
          <p:nvSpPr>
            <p:cNvPr id="72" name="Oval 71"/>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73" name="Oval 72"/>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grpSp>
        <p:nvGrpSpPr>
          <p:cNvPr id="74" name="Group 73"/>
          <p:cNvGrpSpPr/>
          <p:nvPr/>
        </p:nvGrpSpPr>
        <p:grpSpPr>
          <a:xfrm>
            <a:off x="8478988" y="3457722"/>
            <a:ext cx="150284" cy="156569"/>
            <a:chOff x="7408333" y="299896"/>
            <a:chExt cx="338667" cy="352831"/>
          </a:xfrm>
        </p:grpSpPr>
        <p:sp>
          <p:nvSpPr>
            <p:cNvPr id="75" name="Oval 74"/>
            <p:cNvSpPr/>
            <p:nvPr/>
          </p:nvSpPr>
          <p:spPr>
            <a:xfrm>
              <a:off x="7408333" y="299896"/>
              <a:ext cx="338667" cy="3528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76" name="Oval 75"/>
            <p:cNvSpPr/>
            <p:nvPr/>
          </p:nvSpPr>
          <p:spPr>
            <a:xfrm>
              <a:off x="7594599" y="364067"/>
              <a:ext cx="63501" cy="6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cxnSp>
        <p:nvCxnSpPr>
          <p:cNvPr id="77" name="Straight Connector 76"/>
          <p:cNvCxnSpPr/>
          <p:nvPr/>
        </p:nvCxnSpPr>
        <p:spPr>
          <a:xfrm flipV="1">
            <a:off x="8616021" y="3544473"/>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8775115" y="2818378"/>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6873004" y="2666349"/>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V="1">
            <a:off x="6623032" y="3427930"/>
            <a:ext cx="8229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1" name="Group 80"/>
          <p:cNvGrpSpPr/>
          <p:nvPr/>
        </p:nvGrpSpPr>
        <p:grpSpPr>
          <a:xfrm flipH="1">
            <a:off x="6972435" y="3754978"/>
            <a:ext cx="794341" cy="288107"/>
            <a:chOff x="8015382" y="342637"/>
            <a:chExt cx="1204506" cy="484257"/>
          </a:xfrm>
        </p:grpSpPr>
        <p:cxnSp>
          <p:nvCxnSpPr>
            <p:cNvPr id="82" name="Straight Connector 81"/>
            <p:cNvCxnSpPr/>
            <p:nvPr/>
          </p:nvCxnSpPr>
          <p:spPr>
            <a:xfrm>
              <a:off x="8015382" y="342637"/>
              <a:ext cx="613611" cy="48425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8627405" y="826834"/>
              <a:ext cx="59248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8169435" y="3865520"/>
            <a:ext cx="794341" cy="288107"/>
            <a:chOff x="8015382" y="342637"/>
            <a:chExt cx="1204506" cy="484257"/>
          </a:xfrm>
        </p:grpSpPr>
        <p:cxnSp>
          <p:nvCxnSpPr>
            <p:cNvPr id="85" name="Straight Connector 84"/>
            <p:cNvCxnSpPr/>
            <p:nvPr/>
          </p:nvCxnSpPr>
          <p:spPr>
            <a:xfrm>
              <a:off x="8015382" y="342637"/>
              <a:ext cx="613611" cy="48425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8627405" y="826834"/>
              <a:ext cx="59248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9" name="TextBox 88"/>
          <p:cNvSpPr txBox="1"/>
          <p:nvPr/>
        </p:nvSpPr>
        <p:spPr>
          <a:xfrm>
            <a:off x="6891965" y="5530737"/>
            <a:ext cx="4636234" cy="369332"/>
          </a:xfrm>
          <a:prstGeom prst="rect">
            <a:avLst/>
          </a:prstGeom>
          <a:noFill/>
        </p:spPr>
        <p:txBody>
          <a:bodyPr wrap="square" lIns="0" tIns="0" rIns="0" bIns="0" rtlCol="0">
            <a:spAutoFit/>
          </a:bodyPr>
          <a:lstStyle/>
          <a:p>
            <a:r>
              <a:rPr lang="en-US" sz="1200" dirty="0" smtClean="0">
                <a:latin typeface="+mj-lt"/>
                <a:cs typeface="Arial" pitchFamily="34" charset="0"/>
              </a:rPr>
              <a:t>The above chart shows the spread of participation firm wide across the various work streams for the Digital Maturity Assessment</a:t>
            </a:r>
            <a:endParaRPr lang="en-US" sz="1200" dirty="0">
              <a:latin typeface="+mj-lt"/>
              <a:cs typeface="Arial" pitchFamily="34" charset="0"/>
            </a:endParaRPr>
          </a:p>
        </p:txBody>
      </p:sp>
      <p:cxnSp>
        <p:nvCxnSpPr>
          <p:cNvPr id="90" name="Straight Connector 89"/>
          <p:cNvCxnSpPr/>
          <p:nvPr/>
        </p:nvCxnSpPr>
        <p:spPr>
          <a:xfrm flipV="1">
            <a:off x="6224667" y="5840987"/>
            <a:ext cx="457200" cy="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91" name="Oval 90"/>
          <p:cNvSpPr/>
          <p:nvPr/>
        </p:nvSpPr>
        <p:spPr>
          <a:xfrm>
            <a:off x="6170340" y="5756905"/>
            <a:ext cx="191590" cy="177905"/>
          </a:xfrm>
          <a:prstGeom prst="ellipse">
            <a:avLst/>
          </a:prstGeom>
          <a:solidFill>
            <a:srgbClr val="F4F9FD"/>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92" name="TextBox 91"/>
          <p:cNvSpPr txBox="1"/>
          <p:nvPr/>
        </p:nvSpPr>
        <p:spPr>
          <a:xfrm>
            <a:off x="324662" y="5831250"/>
            <a:ext cx="5566631" cy="553998"/>
          </a:xfrm>
          <a:prstGeom prst="rect">
            <a:avLst/>
          </a:prstGeom>
          <a:noFill/>
        </p:spPr>
        <p:txBody>
          <a:bodyPr wrap="square" lIns="0" tIns="0" rIns="0" bIns="0" rtlCol="0">
            <a:spAutoFit/>
          </a:bodyPr>
          <a:lstStyle/>
          <a:p>
            <a:r>
              <a:rPr lang="en-US" sz="1200" b="1" dirty="0" smtClean="0">
                <a:latin typeface="+mj-lt"/>
                <a:cs typeface="Arial" pitchFamily="34" charset="0"/>
              </a:rPr>
              <a:t>*Enabling </a:t>
            </a:r>
            <a:r>
              <a:rPr lang="en-US" sz="1200" dirty="0" smtClean="0">
                <a:latin typeface="+mj-lt"/>
                <a:cs typeface="Arial" pitchFamily="34" charset="0"/>
              </a:rPr>
              <a:t>– Information Technology, Human Resources, Corporate Communication &amp; Marketing, Operations and General Services</a:t>
            </a:r>
          </a:p>
          <a:p>
            <a:r>
              <a:rPr lang="en-US" sz="1200" b="1" dirty="0" smtClean="0">
                <a:latin typeface="+mj-lt"/>
                <a:cs typeface="Arial" pitchFamily="34" charset="0"/>
              </a:rPr>
              <a:t>**Risk &amp; Governance </a:t>
            </a:r>
            <a:r>
              <a:rPr lang="en-US" sz="1200" dirty="0" smtClean="0">
                <a:latin typeface="+mj-lt"/>
                <a:cs typeface="Arial" pitchFamily="34" charset="0"/>
              </a:rPr>
              <a:t>– Strategy, Risk, Compliance, FINCON, Legal</a:t>
            </a:r>
            <a:r>
              <a:rPr lang="en-US" sz="1200" dirty="0">
                <a:latin typeface="+mj-lt"/>
                <a:cs typeface="Arial" pitchFamily="34" charset="0"/>
              </a:rPr>
              <a:t> </a:t>
            </a:r>
            <a:r>
              <a:rPr lang="en-US" sz="1200" dirty="0" smtClean="0">
                <a:latin typeface="+mj-lt"/>
                <a:cs typeface="Arial" pitchFamily="34" charset="0"/>
              </a:rPr>
              <a:t>and Audit</a:t>
            </a:r>
            <a:endParaRPr lang="en-US" sz="1200" dirty="0">
              <a:latin typeface="+mj-lt"/>
              <a:cs typeface="Arial" pitchFamily="34" charset="0"/>
            </a:endParaRPr>
          </a:p>
        </p:txBody>
      </p:sp>
      <p:grpSp>
        <p:nvGrpSpPr>
          <p:cNvPr id="93" name="Group 92"/>
          <p:cNvGrpSpPr/>
          <p:nvPr/>
        </p:nvGrpSpPr>
        <p:grpSpPr>
          <a:xfrm>
            <a:off x="350680" y="4680506"/>
            <a:ext cx="5540613" cy="894064"/>
            <a:chOff x="350680" y="5139560"/>
            <a:chExt cx="5540613" cy="894064"/>
          </a:xfrm>
        </p:grpSpPr>
        <p:sp>
          <p:nvSpPr>
            <p:cNvPr id="94" name="Rounded Rectangle 93"/>
            <p:cNvSpPr/>
            <p:nvPr/>
          </p:nvSpPr>
          <p:spPr>
            <a:xfrm>
              <a:off x="350680" y="5139560"/>
              <a:ext cx="5430010" cy="89406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95" name="Rounded Rectangle 94"/>
            <p:cNvSpPr/>
            <p:nvPr/>
          </p:nvSpPr>
          <p:spPr>
            <a:xfrm>
              <a:off x="461283" y="5203392"/>
              <a:ext cx="5430010" cy="830231"/>
            </a:xfrm>
            <a:prstGeom prst="roundRect">
              <a:avLst/>
            </a:prstGeom>
            <a:solidFill>
              <a:srgbClr val="F4F9F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cxnSp>
        <p:nvCxnSpPr>
          <p:cNvPr id="96" name="Straight Connector 95"/>
          <p:cNvCxnSpPr/>
          <p:nvPr/>
        </p:nvCxnSpPr>
        <p:spPr>
          <a:xfrm flipV="1">
            <a:off x="5891293" y="5178764"/>
            <a:ext cx="365760" cy="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97" name="Oval 96"/>
          <p:cNvSpPr/>
          <p:nvPr/>
        </p:nvSpPr>
        <p:spPr>
          <a:xfrm>
            <a:off x="6189391" y="5094682"/>
            <a:ext cx="191590" cy="177905"/>
          </a:xfrm>
          <a:prstGeom prst="ellipse">
            <a:avLst/>
          </a:prstGeom>
          <a:solidFill>
            <a:srgbClr val="F4F9FD"/>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98" name="TextBox 97"/>
          <p:cNvSpPr txBox="1"/>
          <p:nvPr/>
        </p:nvSpPr>
        <p:spPr>
          <a:xfrm>
            <a:off x="616917" y="4880788"/>
            <a:ext cx="4636234" cy="553998"/>
          </a:xfrm>
          <a:prstGeom prst="rect">
            <a:avLst/>
          </a:prstGeom>
          <a:noFill/>
        </p:spPr>
        <p:txBody>
          <a:bodyPr wrap="square" lIns="0" tIns="0" rIns="0" bIns="0" rtlCol="0">
            <a:spAutoFit/>
          </a:bodyPr>
          <a:lstStyle/>
          <a:p>
            <a:r>
              <a:rPr lang="en-US" sz="1200" dirty="0" smtClean="0">
                <a:latin typeface="+mj-lt"/>
                <a:cs typeface="Arial" pitchFamily="34" charset="0"/>
              </a:rPr>
              <a:t>The above chart shows the participation spread across various business entities for the Digital Maturity Assessment across all work streams in scope of the digital strategy.</a:t>
            </a:r>
            <a:endParaRPr lang="en-US" sz="1200" dirty="0">
              <a:latin typeface="+mj-lt"/>
              <a:cs typeface="Arial" pitchFamily="34" charset="0"/>
            </a:endParaRPr>
          </a:p>
        </p:txBody>
      </p:sp>
      <p:pic>
        <p:nvPicPr>
          <p:cNvPr id="99" name="Picture 98"/>
          <p:cNvPicPr>
            <a:picLocks noChangeAspect="1"/>
          </p:cNvPicPr>
          <p:nvPr/>
        </p:nvPicPr>
        <p:blipFill>
          <a:blip r:embed="rId4"/>
          <a:stretch>
            <a:fillRect/>
          </a:stretch>
        </p:blipFill>
        <p:spPr>
          <a:xfrm>
            <a:off x="331691" y="1365451"/>
            <a:ext cx="5938019" cy="4139543"/>
          </a:xfrm>
          <a:prstGeom prst="rect">
            <a:avLst/>
          </a:prstGeom>
        </p:spPr>
      </p:pic>
      <p:sp>
        <p:nvSpPr>
          <p:cNvPr id="2" name="Rectangle 1"/>
          <p:cNvSpPr/>
          <p:nvPr/>
        </p:nvSpPr>
        <p:spPr>
          <a:xfrm>
            <a:off x="7528648" y="6332510"/>
            <a:ext cx="4451860" cy="307777"/>
          </a:xfrm>
          <a:prstGeom prst="rect">
            <a:avLst/>
          </a:prstGeom>
        </p:spPr>
        <p:txBody>
          <a:bodyPr wrap="none">
            <a:spAutoFit/>
          </a:bodyPr>
          <a:lstStyle/>
          <a:p>
            <a:pPr lvl="0" defTabSz="890789">
              <a:spcAft>
                <a:spcPts val="100"/>
              </a:spcAft>
              <a:defRPr/>
            </a:pPr>
            <a:r>
              <a:rPr lang="en-US" sz="1400" i="1" dirty="0">
                <a:solidFill>
                  <a:srgbClr val="00338D"/>
                </a:solidFill>
                <a:hlinkClick r:id="" action="ppaction://noaction"/>
              </a:rPr>
              <a:t>Refer to Appendix </a:t>
            </a:r>
            <a:r>
              <a:rPr lang="en-US" sz="1400" i="1" dirty="0" smtClean="0">
                <a:solidFill>
                  <a:srgbClr val="00338D"/>
                </a:solidFill>
                <a:hlinkClick r:id="" action="ppaction://noaction"/>
              </a:rPr>
              <a:t>– DMA Survey Coverage for details</a:t>
            </a:r>
            <a:endParaRPr lang="en-US" sz="1400" i="1" dirty="0">
              <a:solidFill>
                <a:srgbClr val="00338D"/>
              </a:solidFill>
            </a:endParaRPr>
          </a:p>
        </p:txBody>
      </p:sp>
    </p:spTree>
    <p:extLst>
      <p:ext uri="{BB962C8B-B14F-4D97-AF65-F5344CB8AC3E}">
        <p14:creationId xmlns:p14="http://schemas.microsoft.com/office/powerpoint/2010/main" val="9213277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9" name="Group 118"/>
          <p:cNvGrpSpPr/>
          <p:nvPr/>
        </p:nvGrpSpPr>
        <p:grpSpPr>
          <a:xfrm>
            <a:off x="5290638" y="1882991"/>
            <a:ext cx="6514943" cy="4143789"/>
            <a:chOff x="473869" y="1392238"/>
            <a:chExt cx="8196263" cy="4073524"/>
          </a:xfrm>
          <a:solidFill>
            <a:srgbClr val="B2D4EF"/>
          </a:solidFill>
        </p:grpSpPr>
        <p:sp>
          <p:nvSpPr>
            <p:cNvPr id="120" name="Freeform 191"/>
            <p:cNvSpPr>
              <a:spLocks/>
            </p:cNvSpPr>
            <p:nvPr/>
          </p:nvSpPr>
          <p:spPr bwMode="auto">
            <a:xfrm>
              <a:off x="5295107" y="4305300"/>
              <a:ext cx="169863" cy="319087"/>
            </a:xfrm>
            <a:custGeom>
              <a:avLst/>
              <a:gdLst/>
              <a:ahLst/>
              <a:cxnLst>
                <a:cxn ang="0">
                  <a:pos x="11" y="129"/>
                </a:cxn>
                <a:cxn ang="0">
                  <a:pos x="11" y="125"/>
                </a:cxn>
                <a:cxn ang="0">
                  <a:pos x="16" y="117"/>
                </a:cxn>
                <a:cxn ang="0">
                  <a:pos x="18" y="108"/>
                </a:cxn>
                <a:cxn ang="0">
                  <a:pos x="21" y="107"/>
                </a:cxn>
                <a:cxn ang="0">
                  <a:pos x="19" y="100"/>
                </a:cxn>
                <a:cxn ang="0">
                  <a:pos x="18" y="93"/>
                </a:cxn>
                <a:cxn ang="0">
                  <a:pos x="14" y="86"/>
                </a:cxn>
                <a:cxn ang="0">
                  <a:pos x="14" y="81"/>
                </a:cxn>
                <a:cxn ang="0">
                  <a:pos x="14" y="70"/>
                </a:cxn>
                <a:cxn ang="0">
                  <a:pos x="16" y="65"/>
                </a:cxn>
                <a:cxn ang="0">
                  <a:pos x="19" y="60"/>
                </a:cxn>
                <a:cxn ang="0">
                  <a:pos x="25" y="57"/>
                </a:cxn>
                <a:cxn ang="0">
                  <a:pos x="33" y="51"/>
                </a:cxn>
                <a:cxn ang="0">
                  <a:pos x="47" y="48"/>
                </a:cxn>
                <a:cxn ang="0">
                  <a:pos x="55" y="39"/>
                </a:cxn>
                <a:cxn ang="0">
                  <a:pos x="66" y="31"/>
                </a:cxn>
                <a:cxn ang="0">
                  <a:pos x="74" y="21"/>
                </a:cxn>
                <a:cxn ang="0">
                  <a:pos x="83" y="14"/>
                </a:cxn>
                <a:cxn ang="0">
                  <a:pos x="83" y="7"/>
                </a:cxn>
                <a:cxn ang="0">
                  <a:pos x="85" y="0"/>
                </a:cxn>
                <a:cxn ang="0">
                  <a:pos x="93" y="5"/>
                </a:cxn>
                <a:cxn ang="0">
                  <a:pos x="100" y="19"/>
                </a:cxn>
                <a:cxn ang="0">
                  <a:pos x="102" y="34"/>
                </a:cxn>
                <a:cxn ang="0">
                  <a:pos x="107" y="48"/>
                </a:cxn>
                <a:cxn ang="0">
                  <a:pos x="107" y="55"/>
                </a:cxn>
                <a:cxn ang="0">
                  <a:pos x="100" y="53"/>
                </a:cxn>
                <a:cxn ang="0">
                  <a:pos x="98" y="53"/>
                </a:cxn>
                <a:cxn ang="0">
                  <a:pos x="97" y="65"/>
                </a:cxn>
                <a:cxn ang="0">
                  <a:pos x="95" y="77"/>
                </a:cxn>
                <a:cxn ang="0">
                  <a:pos x="92" y="89"/>
                </a:cxn>
                <a:cxn ang="0">
                  <a:pos x="90" y="101"/>
                </a:cxn>
                <a:cxn ang="0">
                  <a:pos x="85" y="112"/>
                </a:cxn>
                <a:cxn ang="0">
                  <a:pos x="81" y="122"/>
                </a:cxn>
                <a:cxn ang="0">
                  <a:pos x="78" y="132"/>
                </a:cxn>
                <a:cxn ang="0">
                  <a:pos x="74" y="144"/>
                </a:cxn>
                <a:cxn ang="0">
                  <a:pos x="69" y="151"/>
                </a:cxn>
                <a:cxn ang="0">
                  <a:pos x="66" y="162"/>
                </a:cxn>
                <a:cxn ang="0">
                  <a:pos x="62" y="170"/>
                </a:cxn>
                <a:cxn ang="0">
                  <a:pos x="59" y="180"/>
                </a:cxn>
                <a:cxn ang="0">
                  <a:pos x="52" y="187"/>
                </a:cxn>
                <a:cxn ang="0">
                  <a:pos x="47" y="194"/>
                </a:cxn>
                <a:cxn ang="0">
                  <a:pos x="38" y="198"/>
                </a:cxn>
                <a:cxn ang="0">
                  <a:pos x="30" y="201"/>
                </a:cxn>
                <a:cxn ang="0">
                  <a:pos x="19" y="198"/>
                </a:cxn>
                <a:cxn ang="0">
                  <a:pos x="12" y="191"/>
                </a:cxn>
                <a:cxn ang="0">
                  <a:pos x="6" y="180"/>
                </a:cxn>
                <a:cxn ang="0">
                  <a:pos x="6" y="172"/>
                </a:cxn>
                <a:cxn ang="0">
                  <a:pos x="6" y="165"/>
                </a:cxn>
                <a:cxn ang="0">
                  <a:pos x="7" y="160"/>
                </a:cxn>
                <a:cxn ang="0">
                  <a:pos x="0" y="150"/>
                </a:cxn>
                <a:cxn ang="0">
                  <a:pos x="0" y="139"/>
                </a:cxn>
                <a:cxn ang="0">
                  <a:pos x="6" y="132"/>
                </a:cxn>
                <a:cxn ang="0">
                  <a:pos x="11" y="129"/>
                </a:cxn>
              </a:cxnLst>
              <a:rect l="0" t="0" r="r" b="b"/>
              <a:pathLst>
                <a:path w="107" h="201">
                  <a:moveTo>
                    <a:pt x="11" y="129"/>
                  </a:moveTo>
                  <a:lnTo>
                    <a:pt x="11" y="125"/>
                  </a:lnTo>
                  <a:lnTo>
                    <a:pt x="16" y="117"/>
                  </a:lnTo>
                  <a:lnTo>
                    <a:pt x="18" y="108"/>
                  </a:lnTo>
                  <a:lnTo>
                    <a:pt x="21" y="107"/>
                  </a:lnTo>
                  <a:lnTo>
                    <a:pt x="19" y="100"/>
                  </a:lnTo>
                  <a:lnTo>
                    <a:pt x="18" y="93"/>
                  </a:lnTo>
                  <a:lnTo>
                    <a:pt x="14" y="86"/>
                  </a:lnTo>
                  <a:lnTo>
                    <a:pt x="14" y="81"/>
                  </a:lnTo>
                  <a:lnTo>
                    <a:pt x="14" y="70"/>
                  </a:lnTo>
                  <a:lnTo>
                    <a:pt x="16" y="65"/>
                  </a:lnTo>
                  <a:lnTo>
                    <a:pt x="19" y="60"/>
                  </a:lnTo>
                  <a:lnTo>
                    <a:pt x="25" y="57"/>
                  </a:lnTo>
                  <a:lnTo>
                    <a:pt x="33" y="51"/>
                  </a:lnTo>
                  <a:lnTo>
                    <a:pt x="47" y="48"/>
                  </a:lnTo>
                  <a:lnTo>
                    <a:pt x="55" y="39"/>
                  </a:lnTo>
                  <a:lnTo>
                    <a:pt x="66" y="31"/>
                  </a:lnTo>
                  <a:lnTo>
                    <a:pt x="74" y="21"/>
                  </a:lnTo>
                  <a:lnTo>
                    <a:pt x="83" y="14"/>
                  </a:lnTo>
                  <a:lnTo>
                    <a:pt x="83" y="7"/>
                  </a:lnTo>
                  <a:lnTo>
                    <a:pt x="85" y="0"/>
                  </a:lnTo>
                  <a:lnTo>
                    <a:pt x="93" y="5"/>
                  </a:lnTo>
                  <a:lnTo>
                    <a:pt x="100" y="19"/>
                  </a:lnTo>
                  <a:lnTo>
                    <a:pt x="102" y="34"/>
                  </a:lnTo>
                  <a:lnTo>
                    <a:pt x="107" y="48"/>
                  </a:lnTo>
                  <a:lnTo>
                    <a:pt x="107" y="55"/>
                  </a:lnTo>
                  <a:lnTo>
                    <a:pt x="100" y="53"/>
                  </a:lnTo>
                  <a:lnTo>
                    <a:pt x="98" y="53"/>
                  </a:lnTo>
                  <a:lnTo>
                    <a:pt x="97" y="65"/>
                  </a:lnTo>
                  <a:lnTo>
                    <a:pt x="95" y="77"/>
                  </a:lnTo>
                  <a:lnTo>
                    <a:pt x="92" y="89"/>
                  </a:lnTo>
                  <a:lnTo>
                    <a:pt x="90" y="101"/>
                  </a:lnTo>
                  <a:lnTo>
                    <a:pt x="85" y="112"/>
                  </a:lnTo>
                  <a:lnTo>
                    <a:pt x="81" y="122"/>
                  </a:lnTo>
                  <a:lnTo>
                    <a:pt x="78" y="132"/>
                  </a:lnTo>
                  <a:lnTo>
                    <a:pt x="74" y="144"/>
                  </a:lnTo>
                  <a:lnTo>
                    <a:pt x="69" y="151"/>
                  </a:lnTo>
                  <a:lnTo>
                    <a:pt x="66" y="162"/>
                  </a:lnTo>
                  <a:lnTo>
                    <a:pt x="62" y="170"/>
                  </a:lnTo>
                  <a:lnTo>
                    <a:pt x="59" y="180"/>
                  </a:lnTo>
                  <a:lnTo>
                    <a:pt x="52" y="187"/>
                  </a:lnTo>
                  <a:lnTo>
                    <a:pt x="47" y="194"/>
                  </a:lnTo>
                  <a:lnTo>
                    <a:pt x="38" y="198"/>
                  </a:lnTo>
                  <a:lnTo>
                    <a:pt x="30" y="201"/>
                  </a:lnTo>
                  <a:lnTo>
                    <a:pt x="19" y="198"/>
                  </a:lnTo>
                  <a:lnTo>
                    <a:pt x="12" y="191"/>
                  </a:lnTo>
                  <a:lnTo>
                    <a:pt x="6" y="180"/>
                  </a:lnTo>
                  <a:lnTo>
                    <a:pt x="6" y="172"/>
                  </a:lnTo>
                  <a:lnTo>
                    <a:pt x="6" y="165"/>
                  </a:lnTo>
                  <a:lnTo>
                    <a:pt x="7" y="160"/>
                  </a:lnTo>
                  <a:lnTo>
                    <a:pt x="0" y="150"/>
                  </a:lnTo>
                  <a:lnTo>
                    <a:pt x="0" y="139"/>
                  </a:lnTo>
                  <a:lnTo>
                    <a:pt x="6" y="132"/>
                  </a:lnTo>
                  <a:lnTo>
                    <a:pt x="11" y="1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1" name="Freeform 192"/>
            <p:cNvSpPr>
              <a:spLocks/>
            </p:cNvSpPr>
            <p:nvPr/>
          </p:nvSpPr>
          <p:spPr bwMode="auto">
            <a:xfrm>
              <a:off x="3920332" y="3114675"/>
              <a:ext cx="1563688" cy="1747837"/>
            </a:xfrm>
            <a:custGeom>
              <a:avLst/>
              <a:gdLst/>
              <a:ahLst/>
              <a:cxnLst>
                <a:cxn ang="0">
                  <a:pos x="607" y="93"/>
                </a:cxn>
                <a:cxn ang="0">
                  <a:pos x="681" y="102"/>
                </a:cxn>
                <a:cxn ang="0">
                  <a:pos x="741" y="102"/>
                </a:cxn>
                <a:cxn ang="0">
                  <a:pos x="741" y="157"/>
                </a:cxn>
                <a:cxn ang="0">
                  <a:pos x="762" y="217"/>
                </a:cxn>
                <a:cxn ang="0">
                  <a:pos x="784" y="289"/>
                </a:cxn>
                <a:cxn ang="0">
                  <a:pos x="811" y="332"/>
                </a:cxn>
                <a:cxn ang="0">
                  <a:pos x="856" y="380"/>
                </a:cxn>
                <a:cxn ang="0">
                  <a:pos x="884" y="418"/>
                </a:cxn>
                <a:cxn ang="0">
                  <a:pos x="939" y="408"/>
                </a:cxn>
                <a:cxn ang="0">
                  <a:pos x="983" y="415"/>
                </a:cxn>
                <a:cxn ang="0">
                  <a:pos x="954" y="480"/>
                </a:cxn>
                <a:cxn ang="0">
                  <a:pos x="896" y="549"/>
                </a:cxn>
                <a:cxn ang="0">
                  <a:pos x="830" y="604"/>
                </a:cxn>
                <a:cxn ang="0">
                  <a:pos x="810" y="660"/>
                </a:cxn>
                <a:cxn ang="0">
                  <a:pos x="829" y="716"/>
                </a:cxn>
                <a:cxn ang="0">
                  <a:pos x="827" y="759"/>
                </a:cxn>
                <a:cxn ang="0">
                  <a:pos x="820" y="808"/>
                </a:cxn>
                <a:cxn ang="0">
                  <a:pos x="760" y="857"/>
                </a:cxn>
                <a:cxn ang="0">
                  <a:pos x="758" y="905"/>
                </a:cxn>
                <a:cxn ang="0">
                  <a:pos x="739" y="937"/>
                </a:cxn>
                <a:cxn ang="0">
                  <a:pos x="712" y="991"/>
                </a:cxn>
                <a:cxn ang="0">
                  <a:pos x="663" y="1058"/>
                </a:cxn>
                <a:cxn ang="0">
                  <a:pos x="603" y="1090"/>
                </a:cxn>
                <a:cxn ang="0">
                  <a:pos x="536" y="1101"/>
                </a:cxn>
                <a:cxn ang="0">
                  <a:pos x="505" y="1066"/>
                </a:cxn>
                <a:cxn ang="0">
                  <a:pos x="495" y="1025"/>
                </a:cxn>
                <a:cxn ang="0">
                  <a:pos x="457" y="949"/>
                </a:cxn>
                <a:cxn ang="0">
                  <a:pos x="443" y="889"/>
                </a:cxn>
                <a:cxn ang="0">
                  <a:pos x="414" y="814"/>
                </a:cxn>
                <a:cxn ang="0">
                  <a:pos x="447" y="743"/>
                </a:cxn>
                <a:cxn ang="0">
                  <a:pos x="433" y="688"/>
                </a:cxn>
                <a:cxn ang="0">
                  <a:pos x="392" y="614"/>
                </a:cxn>
                <a:cxn ang="0">
                  <a:pos x="388" y="562"/>
                </a:cxn>
                <a:cxn ang="0">
                  <a:pos x="393" y="530"/>
                </a:cxn>
                <a:cxn ang="0">
                  <a:pos x="340" y="507"/>
                </a:cxn>
                <a:cxn ang="0">
                  <a:pos x="282" y="478"/>
                </a:cxn>
                <a:cxn ang="0">
                  <a:pos x="218" y="506"/>
                </a:cxn>
                <a:cxn ang="0">
                  <a:pos x="141" y="507"/>
                </a:cxn>
                <a:cxn ang="0">
                  <a:pos x="70" y="459"/>
                </a:cxn>
                <a:cxn ang="0">
                  <a:pos x="29" y="408"/>
                </a:cxn>
                <a:cxn ang="0">
                  <a:pos x="8" y="378"/>
                </a:cxn>
                <a:cxn ang="0">
                  <a:pos x="17" y="320"/>
                </a:cxn>
                <a:cxn ang="0">
                  <a:pos x="17" y="239"/>
                </a:cxn>
                <a:cxn ang="0">
                  <a:pos x="72" y="155"/>
                </a:cxn>
                <a:cxn ang="0">
                  <a:pos x="113" y="96"/>
                </a:cxn>
                <a:cxn ang="0">
                  <a:pos x="161" y="40"/>
                </a:cxn>
                <a:cxn ang="0">
                  <a:pos x="215" y="40"/>
                </a:cxn>
                <a:cxn ang="0">
                  <a:pos x="273" y="14"/>
                </a:cxn>
                <a:cxn ang="0">
                  <a:pos x="332" y="12"/>
                </a:cxn>
                <a:cxn ang="0">
                  <a:pos x="388" y="0"/>
                </a:cxn>
                <a:cxn ang="0">
                  <a:pos x="404" y="19"/>
                </a:cxn>
                <a:cxn ang="0">
                  <a:pos x="411" y="66"/>
                </a:cxn>
                <a:cxn ang="0">
                  <a:pos x="462" y="79"/>
                </a:cxn>
                <a:cxn ang="0">
                  <a:pos x="522" y="114"/>
                </a:cxn>
                <a:cxn ang="0">
                  <a:pos x="540" y="79"/>
                </a:cxn>
              </a:cxnLst>
              <a:rect l="0" t="0" r="r" b="b"/>
              <a:pathLst>
                <a:path w="985" h="1101">
                  <a:moveTo>
                    <a:pt x="562" y="76"/>
                  </a:moveTo>
                  <a:lnTo>
                    <a:pt x="574" y="76"/>
                  </a:lnTo>
                  <a:lnTo>
                    <a:pt x="576" y="83"/>
                  </a:lnTo>
                  <a:lnTo>
                    <a:pt x="581" y="88"/>
                  </a:lnTo>
                  <a:lnTo>
                    <a:pt x="591" y="90"/>
                  </a:lnTo>
                  <a:lnTo>
                    <a:pt x="607" y="93"/>
                  </a:lnTo>
                  <a:lnTo>
                    <a:pt x="619" y="96"/>
                  </a:lnTo>
                  <a:lnTo>
                    <a:pt x="633" y="102"/>
                  </a:lnTo>
                  <a:lnTo>
                    <a:pt x="648" y="103"/>
                  </a:lnTo>
                  <a:lnTo>
                    <a:pt x="663" y="107"/>
                  </a:lnTo>
                  <a:lnTo>
                    <a:pt x="672" y="103"/>
                  </a:lnTo>
                  <a:lnTo>
                    <a:pt x="681" y="102"/>
                  </a:lnTo>
                  <a:lnTo>
                    <a:pt x="688" y="98"/>
                  </a:lnTo>
                  <a:lnTo>
                    <a:pt x="700" y="98"/>
                  </a:lnTo>
                  <a:lnTo>
                    <a:pt x="712" y="102"/>
                  </a:lnTo>
                  <a:lnTo>
                    <a:pt x="727" y="105"/>
                  </a:lnTo>
                  <a:lnTo>
                    <a:pt x="734" y="103"/>
                  </a:lnTo>
                  <a:lnTo>
                    <a:pt x="741" y="102"/>
                  </a:lnTo>
                  <a:lnTo>
                    <a:pt x="746" y="114"/>
                  </a:lnTo>
                  <a:lnTo>
                    <a:pt x="751" y="126"/>
                  </a:lnTo>
                  <a:lnTo>
                    <a:pt x="748" y="131"/>
                  </a:lnTo>
                  <a:lnTo>
                    <a:pt x="746" y="139"/>
                  </a:lnTo>
                  <a:lnTo>
                    <a:pt x="743" y="148"/>
                  </a:lnTo>
                  <a:lnTo>
                    <a:pt x="741" y="157"/>
                  </a:lnTo>
                  <a:lnTo>
                    <a:pt x="732" y="152"/>
                  </a:lnTo>
                  <a:lnTo>
                    <a:pt x="725" y="141"/>
                  </a:lnTo>
                  <a:lnTo>
                    <a:pt x="719" y="131"/>
                  </a:lnTo>
                  <a:lnTo>
                    <a:pt x="713" y="122"/>
                  </a:lnTo>
                  <a:lnTo>
                    <a:pt x="713" y="133"/>
                  </a:lnTo>
                  <a:lnTo>
                    <a:pt x="762" y="217"/>
                  </a:lnTo>
                  <a:lnTo>
                    <a:pt x="762" y="225"/>
                  </a:lnTo>
                  <a:lnTo>
                    <a:pt x="767" y="237"/>
                  </a:lnTo>
                  <a:lnTo>
                    <a:pt x="774" y="248"/>
                  </a:lnTo>
                  <a:lnTo>
                    <a:pt x="780" y="256"/>
                  </a:lnTo>
                  <a:lnTo>
                    <a:pt x="780" y="282"/>
                  </a:lnTo>
                  <a:lnTo>
                    <a:pt x="784" y="289"/>
                  </a:lnTo>
                  <a:lnTo>
                    <a:pt x="791" y="294"/>
                  </a:lnTo>
                  <a:lnTo>
                    <a:pt x="796" y="299"/>
                  </a:lnTo>
                  <a:lnTo>
                    <a:pt x="805" y="306"/>
                  </a:lnTo>
                  <a:lnTo>
                    <a:pt x="808" y="315"/>
                  </a:lnTo>
                  <a:lnTo>
                    <a:pt x="810" y="323"/>
                  </a:lnTo>
                  <a:lnTo>
                    <a:pt x="811" y="332"/>
                  </a:lnTo>
                  <a:lnTo>
                    <a:pt x="817" y="341"/>
                  </a:lnTo>
                  <a:lnTo>
                    <a:pt x="827" y="348"/>
                  </a:lnTo>
                  <a:lnTo>
                    <a:pt x="839" y="356"/>
                  </a:lnTo>
                  <a:lnTo>
                    <a:pt x="844" y="363"/>
                  </a:lnTo>
                  <a:lnTo>
                    <a:pt x="851" y="372"/>
                  </a:lnTo>
                  <a:lnTo>
                    <a:pt x="856" y="380"/>
                  </a:lnTo>
                  <a:lnTo>
                    <a:pt x="868" y="384"/>
                  </a:lnTo>
                  <a:lnTo>
                    <a:pt x="870" y="392"/>
                  </a:lnTo>
                  <a:lnTo>
                    <a:pt x="868" y="399"/>
                  </a:lnTo>
                  <a:lnTo>
                    <a:pt x="873" y="403"/>
                  </a:lnTo>
                  <a:lnTo>
                    <a:pt x="878" y="411"/>
                  </a:lnTo>
                  <a:lnTo>
                    <a:pt x="884" y="418"/>
                  </a:lnTo>
                  <a:lnTo>
                    <a:pt x="891" y="421"/>
                  </a:lnTo>
                  <a:lnTo>
                    <a:pt x="897" y="416"/>
                  </a:lnTo>
                  <a:lnTo>
                    <a:pt x="906" y="411"/>
                  </a:lnTo>
                  <a:lnTo>
                    <a:pt x="915" y="411"/>
                  </a:lnTo>
                  <a:lnTo>
                    <a:pt x="925" y="411"/>
                  </a:lnTo>
                  <a:lnTo>
                    <a:pt x="939" y="408"/>
                  </a:lnTo>
                  <a:lnTo>
                    <a:pt x="952" y="404"/>
                  </a:lnTo>
                  <a:lnTo>
                    <a:pt x="966" y="399"/>
                  </a:lnTo>
                  <a:lnTo>
                    <a:pt x="982" y="397"/>
                  </a:lnTo>
                  <a:lnTo>
                    <a:pt x="983" y="401"/>
                  </a:lnTo>
                  <a:lnTo>
                    <a:pt x="985" y="404"/>
                  </a:lnTo>
                  <a:lnTo>
                    <a:pt x="983" y="415"/>
                  </a:lnTo>
                  <a:lnTo>
                    <a:pt x="980" y="427"/>
                  </a:lnTo>
                  <a:lnTo>
                    <a:pt x="975" y="437"/>
                  </a:lnTo>
                  <a:lnTo>
                    <a:pt x="971" y="451"/>
                  </a:lnTo>
                  <a:lnTo>
                    <a:pt x="964" y="461"/>
                  </a:lnTo>
                  <a:lnTo>
                    <a:pt x="959" y="471"/>
                  </a:lnTo>
                  <a:lnTo>
                    <a:pt x="954" y="480"/>
                  </a:lnTo>
                  <a:lnTo>
                    <a:pt x="949" y="489"/>
                  </a:lnTo>
                  <a:lnTo>
                    <a:pt x="937" y="502"/>
                  </a:lnTo>
                  <a:lnTo>
                    <a:pt x="930" y="516"/>
                  </a:lnTo>
                  <a:lnTo>
                    <a:pt x="920" y="528"/>
                  </a:lnTo>
                  <a:lnTo>
                    <a:pt x="909" y="542"/>
                  </a:lnTo>
                  <a:lnTo>
                    <a:pt x="896" y="549"/>
                  </a:lnTo>
                  <a:lnTo>
                    <a:pt x="882" y="557"/>
                  </a:lnTo>
                  <a:lnTo>
                    <a:pt x="870" y="564"/>
                  </a:lnTo>
                  <a:lnTo>
                    <a:pt x="860" y="573"/>
                  </a:lnTo>
                  <a:lnTo>
                    <a:pt x="848" y="581"/>
                  </a:lnTo>
                  <a:lnTo>
                    <a:pt x="839" y="592"/>
                  </a:lnTo>
                  <a:lnTo>
                    <a:pt x="830" y="604"/>
                  </a:lnTo>
                  <a:lnTo>
                    <a:pt x="827" y="621"/>
                  </a:lnTo>
                  <a:lnTo>
                    <a:pt x="822" y="628"/>
                  </a:lnTo>
                  <a:lnTo>
                    <a:pt x="817" y="635"/>
                  </a:lnTo>
                  <a:lnTo>
                    <a:pt x="811" y="640"/>
                  </a:lnTo>
                  <a:lnTo>
                    <a:pt x="810" y="652"/>
                  </a:lnTo>
                  <a:lnTo>
                    <a:pt x="810" y="660"/>
                  </a:lnTo>
                  <a:lnTo>
                    <a:pt x="811" y="671"/>
                  </a:lnTo>
                  <a:lnTo>
                    <a:pt x="811" y="678"/>
                  </a:lnTo>
                  <a:lnTo>
                    <a:pt x="813" y="690"/>
                  </a:lnTo>
                  <a:lnTo>
                    <a:pt x="815" y="700"/>
                  </a:lnTo>
                  <a:lnTo>
                    <a:pt x="822" y="709"/>
                  </a:lnTo>
                  <a:lnTo>
                    <a:pt x="829" y="716"/>
                  </a:lnTo>
                  <a:lnTo>
                    <a:pt x="832" y="724"/>
                  </a:lnTo>
                  <a:lnTo>
                    <a:pt x="830" y="728"/>
                  </a:lnTo>
                  <a:lnTo>
                    <a:pt x="829" y="733"/>
                  </a:lnTo>
                  <a:lnTo>
                    <a:pt x="829" y="745"/>
                  </a:lnTo>
                  <a:lnTo>
                    <a:pt x="827" y="750"/>
                  </a:lnTo>
                  <a:lnTo>
                    <a:pt x="827" y="759"/>
                  </a:lnTo>
                  <a:lnTo>
                    <a:pt x="827" y="767"/>
                  </a:lnTo>
                  <a:lnTo>
                    <a:pt x="827" y="777"/>
                  </a:lnTo>
                  <a:lnTo>
                    <a:pt x="830" y="781"/>
                  </a:lnTo>
                  <a:lnTo>
                    <a:pt x="832" y="788"/>
                  </a:lnTo>
                  <a:lnTo>
                    <a:pt x="829" y="798"/>
                  </a:lnTo>
                  <a:lnTo>
                    <a:pt x="820" y="808"/>
                  </a:lnTo>
                  <a:lnTo>
                    <a:pt x="810" y="815"/>
                  </a:lnTo>
                  <a:lnTo>
                    <a:pt x="798" y="824"/>
                  </a:lnTo>
                  <a:lnTo>
                    <a:pt x="784" y="829"/>
                  </a:lnTo>
                  <a:lnTo>
                    <a:pt x="772" y="836"/>
                  </a:lnTo>
                  <a:lnTo>
                    <a:pt x="763" y="844"/>
                  </a:lnTo>
                  <a:lnTo>
                    <a:pt x="760" y="857"/>
                  </a:lnTo>
                  <a:lnTo>
                    <a:pt x="748" y="860"/>
                  </a:lnTo>
                  <a:lnTo>
                    <a:pt x="744" y="870"/>
                  </a:lnTo>
                  <a:lnTo>
                    <a:pt x="746" y="877"/>
                  </a:lnTo>
                  <a:lnTo>
                    <a:pt x="751" y="886"/>
                  </a:lnTo>
                  <a:lnTo>
                    <a:pt x="755" y="893"/>
                  </a:lnTo>
                  <a:lnTo>
                    <a:pt x="758" y="905"/>
                  </a:lnTo>
                  <a:lnTo>
                    <a:pt x="756" y="912"/>
                  </a:lnTo>
                  <a:lnTo>
                    <a:pt x="756" y="920"/>
                  </a:lnTo>
                  <a:lnTo>
                    <a:pt x="755" y="929"/>
                  </a:lnTo>
                  <a:lnTo>
                    <a:pt x="755" y="934"/>
                  </a:lnTo>
                  <a:lnTo>
                    <a:pt x="746" y="936"/>
                  </a:lnTo>
                  <a:lnTo>
                    <a:pt x="739" y="937"/>
                  </a:lnTo>
                  <a:lnTo>
                    <a:pt x="724" y="946"/>
                  </a:lnTo>
                  <a:lnTo>
                    <a:pt x="713" y="961"/>
                  </a:lnTo>
                  <a:lnTo>
                    <a:pt x="719" y="967"/>
                  </a:lnTo>
                  <a:lnTo>
                    <a:pt x="720" y="972"/>
                  </a:lnTo>
                  <a:lnTo>
                    <a:pt x="717" y="980"/>
                  </a:lnTo>
                  <a:lnTo>
                    <a:pt x="712" y="991"/>
                  </a:lnTo>
                  <a:lnTo>
                    <a:pt x="705" y="998"/>
                  </a:lnTo>
                  <a:lnTo>
                    <a:pt x="701" y="1004"/>
                  </a:lnTo>
                  <a:lnTo>
                    <a:pt x="689" y="1020"/>
                  </a:lnTo>
                  <a:lnTo>
                    <a:pt x="681" y="1037"/>
                  </a:lnTo>
                  <a:lnTo>
                    <a:pt x="670" y="1047"/>
                  </a:lnTo>
                  <a:lnTo>
                    <a:pt x="663" y="1058"/>
                  </a:lnTo>
                  <a:lnTo>
                    <a:pt x="653" y="1066"/>
                  </a:lnTo>
                  <a:lnTo>
                    <a:pt x="641" y="1077"/>
                  </a:lnTo>
                  <a:lnTo>
                    <a:pt x="627" y="1078"/>
                  </a:lnTo>
                  <a:lnTo>
                    <a:pt x="619" y="1087"/>
                  </a:lnTo>
                  <a:lnTo>
                    <a:pt x="610" y="1089"/>
                  </a:lnTo>
                  <a:lnTo>
                    <a:pt x="603" y="1090"/>
                  </a:lnTo>
                  <a:lnTo>
                    <a:pt x="596" y="1087"/>
                  </a:lnTo>
                  <a:lnTo>
                    <a:pt x="590" y="1085"/>
                  </a:lnTo>
                  <a:lnTo>
                    <a:pt x="572" y="1087"/>
                  </a:lnTo>
                  <a:lnTo>
                    <a:pt x="560" y="1092"/>
                  </a:lnTo>
                  <a:lnTo>
                    <a:pt x="548" y="1097"/>
                  </a:lnTo>
                  <a:lnTo>
                    <a:pt x="536" y="1101"/>
                  </a:lnTo>
                  <a:lnTo>
                    <a:pt x="524" y="1097"/>
                  </a:lnTo>
                  <a:lnTo>
                    <a:pt x="519" y="1090"/>
                  </a:lnTo>
                  <a:lnTo>
                    <a:pt x="516" y="1090"/>
                  </a:lnTo>
                  <a:lnTo>
                    <a:pt x="514" y="1092"/>
                  </a:lnTo>
                  <a:lnTo>
                    <a:pt x="510" y="1077"/>
                  </a:lnTo>
                  <a:lnTo>
                    <a:pt x="505" y="1066"/>
                  </a:lnTo>
                  <a:lnTo>
                    <a:pt x="509" y="1059"/>
                  </a:lnTo>
                  <a:lnTo>
                    <a:pt x="512" y="1053"/>
                  </a:lnTo>
                  <a:lnTo>
                    <a:pt x="509" y="1044"/>
                  </a:lnTo>
                  <a:lnTo>
                    <a:pt x="504" y="1037"/>
                  </a:lnTo>
                  <a:lnTo>
                    <a:pt x="498" y="1028"/>
                  </a:lnTo>
                  <a:lnTo>
                    <a:pt x="495" y="1025"/>
                  </a:lnTo>
                  <a:lnTo>
                    <a:pt x="486" y="1013"/>
                  </a:lnTo>
                  <a:lnTo>
                    <a:pt x="481" y="1001"/>
                  </a:lnTo>
                  <a:lnTo>
                    <a:pt x="473" y="989"/>
                  </a:lnTo>
                  <a:lnTo>
                    <a:pt x="467" y="977"/>
                  </a:lnTo>
                  <a:lnTo>
                    <a:pt x="461" y="963"/>
                  </a:lnTo>
                  <a:lnTo>
                    <a:pt x="457" y="949"/>
                  </a:lnTo>
                  <a:lnTo>
                    <a:pt x="454" y="934"/>
                  </a:lnTo>
                  <a:lnTo>
                    <a:pt x="454" y="920"/>
                  </a:lnTo>
                  <a:lnTo>
                    <a:pt x="454" y="910"/>
                  </a:lnTo>
                  <a:lnTo>
                    <a:pt x="454" y="906"/>
                  </a:lnTo>
                  <a:lnTo>
                    <a:pt x="448" y="898"/>
                  </a:lnTo>
                  <a:lnTo>
                    <a:pt x="443" y="889"/>
                  </a:lnTo>
                  <a:lnTo>
                    <a:pt x="431" y="870"/>
                  </a:lnTo>
                  <a:lnTo>
                    <a:pt x="423" y="853"/>
                  </a:lnTo>
                  <a:lnTo>
                    <a:pt x="418" y="843"/>
                  </a:lnTo>
                  <a:lnTo>
                    <a:pt x="416" y="834"/>
                  </a:lnTo>
                  <a:lnTo>
                    <a:pt x="414" y="824"/>
                  </a:lnTo>
                  <a:lnTo>
                    <a:pt x="414" y="814"/>
                  </a:lnTo>
                  <a:lnTo>
                    <a:pt x="414" y="800"/>
                  </a:lnTo>
                  <a:lnTo>
                    <a:pt x="418" y="789"/>
                  </a:lnTo>
                  <a:lnTo>
                    <a:pt x="423" y="781"/>
                  </a:lnTo>
                  <a:lnTo>
                    <a:pt x="430" y="774"/>
                  </a:lnTo>
                  <a:lnTo>
                    <a:pt x="440" y="759"/>
                  </a:lnTo>
                  <a:lnTo>
                    <a:pt x="447" y="743"/>
                  </a:lnTo>
                  <a:lnTo>
                    <a:pt x="445" y="733"/>
                  </a:lnTo>
                  <a:lnTo>
                    <a:pt x="443" y="726"/>
                  </a:lnTo>
                  <a:lnTo>
                    <a:pt x="440" y="719"/>
                  </a:lnTo>
                  <a:lnTo>
                    <a:pt x="440" y="714"/>
                  </a:lnTo>
                  <a:lnTo>
                    <a:pt x="436" y="698"/>
                  </a:lnTo>
                  <a:lnTo>
                    <a:pt x="433" y="688"/>
                  </a:lnTo>
                  <a:lnTo>
                    <a:pt x="430" y="679"/>
                  </a:lnTo>
                  <a:lnTo>
                    <a:pt x="426" y="671"/>
                  </a:lnTo>
                  <a:lnTo>
                    <a:pt x="423" y="655"/>
                  </a:lnTo>
                  <a:lnTo>
                    <a:pt x="418" y="642"/>
                  </a:lnTo>
                  <a:lnTo>
                    <a:pt x="404" y="628"/>
                  </a:lnTo>
                  <a:lnTo>
                    <a:pt x="392" y="614"/>
                  </a:lnTo>
                  <a:lnTo>
                    <a:pt x="380" y="599"/>
                  </a:lnTo>
                  <a:lnTo>
                    <a:pt x="376" y="583"/>
                  </a:lnTo>
                  <a:lnTo>
                    <a:pt x="376" y="576"/>
                  </a:lnTo>
                  <a:lnTo>
                    <a:pt x="380" y="571"/>
                  </a:lnTo>
                  <a:lnTo>
                    <a:pt x="383" y="564"/>
                  </a:lnTo>
                  <a:lnTo>
                    <a:pt x="388" y="562"/>
                  </a:lnTo>
                  <a:lnTo>
                    <a:pt x="387" y="557"/>
                  </a:lnTo>
                  <a:lnTo>
                    <a:pt x="388" y="556"/>
                  </a:lnTo>
                  <a:lnTo>
                    <a:pt x="388" y="547"/>
                  </a:lnTo>
                  <a:lnTo>
                    <a:pt x="388" y="540"/>
                  </a:lnTo>
                  <a:lnTo>
                    <a:pt x="388" y="533"/>
                  </a:lnTo>
                  <a:lnTo>
                    <a:pt x="393" y="530"/>
                  </a:lnTo>
                  <a:lnTo>
                    <a:pt x="387" y="519"/>
                  </a:lnTo>
                  <a:lnTo>
                    <a:pt x="380" y="513"/>
                  </a:lnTo>
                  <a:lnTo>
                    <a:pt x="371" y="507"/>
                  </a:lnTo>
                  <a:lnTo>
                    <a:pt x="361" y="507"/>
                  </a:lnTo>
                  <a:lnTo>
                    <a:pt x="347" y="507"/>
                  </a:lnTo>
                  <a:lnTo>
                    <a:pt x="340" y="507"/>
                  </a:lnTo>
                  <a:lnTo>
                    <a:pt x="328" y="502"/>
                  </a:lnTo>
                  <a:lnTo>
                    <a:pt x="321" y="492"/>
                  </a:lnTo>
                  <a:lnTo>
                    <a:pt x="313" y="482"/>
                  </a:lnTo>
                  <a:lnTo>
                    <a:pt x="301" y="478"/>
                  </a:lnTo>
                  <a:lnTo>
                    <a:pt x="290" y="478"/>
                  </a:lnTo>
                  <a:lnTo>
                    <a:pt x="282" y="478"/>
                  </a:lnTo>
                  <a:lnTo>
                    <a:pt x="273" y="480"/>
                  </a:lnTo>
                  <a:lnTo>
                    <a:pt x="266" y="485"/>
                  </a:lnTo>
                  <a:lnTo>
                    <a:pt x="251" y="490"/>
                  </a:lnTo>
                  <a:lnTo>
                    <a:pt x="237" y="497"/>
                  </a:lnTo>
                  <a:lnTo>
                    <a:pt x="227" y="501"/>
                  </a:lnTo>
                  <a:lnTo>
                    <a:pt x="218" y="506"/>
                  </a:lnTo>
                  <a:lnTo>
                    <a:pt x="204" y="502"/>
                  </a:lnTo>
                  <a:lnTo>
                    <a:pt x="189" y="499"/>
                  </a:lnTo>
                  <a:lnTo>
                    <a:pt x="173" y="499"/>
                  </a:lnTo>
                  <a:lnTo>
                    <a:pt x="163" y="502"/>
                  </a:lnTo>
                  <a:lnTo>
                    <a:pt x="151" y="504"/>
                  </a:lnTo>
                  <a:lnTo>
                    <a:pt x="141" y="507"/>
                  </a:lnTo>
                  <a:lnTo>
                    <a:pt x="130" y="506"/>
                  </a:lnTo>
                  <a:lnTo>
                    <a:pt x="125" y="504"/>
                  </a:lnTo>
                  <a:lnTo>
                    <a:pt x="111" y="494"/>
                  </a:lnTo>
                  <a:lnTo>
                    <a:pt x="96" y="483"/>
                  </a:lnTo>
                  <a:lnTo>
                    <a:pt x="80" y="471"/>
                  </a:lnTo>
                  <a:lnTo>
                    <a:pt x="70" y="459"/>
                  </a:lnTo>
                  <a:lnTo>
                    <a:pt x="63" y="449"/>
                  </a:lnTo>
                  <a:lnTo>
                    <a:pt x="58" y="439"/>
                  </a:lnTo>
                  <a:lnTo>
                    <a:pt x="51" y="430"/>
                  </a:lnTo>
                  <a:lnTo>
                    <a:pt x="46" y="423"/>
                  </a:lnTo>
                  <a:lnTo>
                    <a:pt x="39" y="416"/>
                  </a:lnTo>
                  <a:lnTo>
                    <a:pt x="29" y="408"/>
                  </a:lnTo>
                  <a:lnTo>
                    <a:pt x="19" y="399"/>
                  </a:lnTo>
                  <a:lnTo>
                    <a:pt x="15" y="394"/>
                  </a:lnTo>
                  <a:lnTo>
                    <a:pt x="12" y="391"/>
                  </a:lnTo>
                  <a:lnTo>
                    <a:pt x="8" y="387"/>
                  </a:lnTo>
                  <a:lnTo>
                    <a:pt x="10" y="387"/>
                  </a:lnTo>
                  <a:lnTo>
                    <a:pt x="8" y="378"/>
                  </a:lnTo>
                  <a:lnTo>
                    <a:pt x="6" y="372"/>
                  </a:lnTo>
                  <a:lnTo>
                    <a:pt x="3" y="363"/>
                  </a:lnTo>
                  <a:lnTo>
                    <a:pt x="0" y="354"/>
                  </a:lnTo>
                  <a:lnTo>
                    <a:pt x="6" y="346"/>
                  </a:lnTo>
                  <a:lnTo>
                    <a:pt x="13" y="334"/>
                  </a:lnTo>
                  <a:lnTo>
                    <a:pt x="17" y="320"/>
                  </a:lnTo>
                  <a:lnTo>
                    <a:pt x="20" y="310"/>
                  </a:lnTo>
                  <a:lnTo>
                    <a:pt x="17" y="293"/>
                  </a:lnTo>
                  <a:lnTo>
                    <a:pt x="15" y="280"/>
                  </a:lnTo>
                  <a:lnTo>
                    <a:pt x="12" y="267"/>
                  </a:lnTo>
                  <a:lnTo>
                    <a:pt x="12" y="253"/>
                  </a:lnTo>
                  <a:lnTo>
                    <a:pt x="17" y="239"/>
                  </a:lnTo>
                  <a:lnTo>
                    <a:pt x="25" y="229"/>
                  </a:lnTo>
                  <a:lnTo>
                    <a:pt x="31" y="212"/>
                  </a:lnTo>
                  <a:lnTo>
                    <a:pt x="39" y="195"/>
                  </a:lnTo>
                  <a:lnTo>
                    <a:pt x="49" y="177"/>
                  </a:lnTo>
                  <a:lnTo>
                    <a:pt x="60" y="165"/>
                  </a:lnTo>
                  <a:lnTo>
                    <a:pt x="72" y="155"/>
                  </a:lnTo>
                  <a:lnTo>
                    <a:pt x="89" y="152"/>
                  </a:lnTo>
                  <a:lnTo>
                    <a:pt x="101" y="139"/>
                  </a:lnTo>
                  <a:lnTo>
                    <a:pt x="111" y="127"/>
                  </a:lnTo>
                  <a:lnTo>
                    <a:pt x="111" y="114"/>
                  </a:lnTo>
                  <a:lnTo>
                    <a:pt x="113" y="105"/>
                  </a:lnTo>
                  <a:lnTo>
                    <a:pt x="113" y="96"/>
                  </a:lnTo>
                  <a:lnTo>
                    <a:pt x="120" y="88"/>
                  </a:lnTo>
                  <a:lnTo>
                    <a:pt x="130" y="76"/>
                  </a:lnTo>
                  <a:lnTo>
                    <a:pt x="141" y="64"/>
                  </a:lnTo>
                  <a:lnTo>
                    <a:pt x="151" y="52"/>
                  </a:lnTo>
                  <a:lnTo>
                    <a:pt x="163" y="40"/>
                  </a:lnTo>
                  <a:lnTo>
                    <a:pt x="161" y="40"/>
                  </a:lnTo>
                  <a:lnTo>
                    <a:pt x="166" y="33"/>
                  </a:lnTo>
                  <a:lnTo>
                    <a:pt x="172" y="26"/>
                  </a:lnTo>
                  <a:lnTo>
                    <a:pt x="180" y="31"/>
                  </a:lnTo>
                  <a:lnTo>
                    <a:pt x="191" y="36"/>
                  </a:lnTo>
                  <a:lnTo>
                    <a:pt x="201" y="38"/>
                  </a:lnTo>
                  <a:lnTo>
                    <a:pt x="215" y="40"/>
                  </a:lnTo>
                  <a:lnTo>
                    <a:pt x="227" y="35"/>
                  </a:lnTo>
                  <a:lnTo>
                    <a:pt x="234" y="29"/>
                  </a:lnTo>
                  <a:lnTo>
                    <a:pt x="240" y="24"/>
                  </a:lnTo>
                  <a:lnTo>
                    <a:pt x="251" y="21"/>
                  </a:lnTo>
                  <a:lnTo>
                    <a:pt x="261" y="17"/>
                  </a:lnTo>
                  <a:lnTo>
                    <a:pt x="273" y="14"/>
                  </a:lnTo>
                  <a:lnTo>
                    <a:pt x="283" y="11"/>
                  </a:lnTo>
                  <a:lnTo>
                    <a:pt x="294" y="9"/>
                  </a:lnTo>
                  <a:lnTo>
                    <a:pt x="304" y="7"/>
                  </a:lnTo>
                  <a:lnTo>
                    <a:pt x="314" y="7"/>
                  </a:lnTo>
                  <a:lnTo>
                    <a:pt x="323" y="9"/>
                  </a:lnTo>
                  <a:lnTo>
                    <a:pt x="332" y="12"/>
                  </a:lnTo>
                  <a:lnTo>
                    <a:pt x="340" y="7"/>
                  </a:lnTo>
                  <a:lnTo>
                    <a:pt x="354" y="4"/>
                  </a:lnTo>
                  <a:lnTo>
                    <a:pt x="361" y="5"/>
                  </a:lnTo>
                  <a:lnTo>
                    <a:pt x="368" y="7"/>
                  </a:lnTo>
                  <a:lnTo>
                    <a:pt x="378" y="4"/>
                  </a:lnTo>
                  <a:lnTo>
                    <a:pt x="388" y="0"/>
                  </a:lnTo>
                  <a:lnTo>
                    <a:pt x="395" y="4"/>
                  </a:lnTo>
                  <a:lnTo>
                    <a:pt x="404" y="9"/>
                  </a:lnTo>
                  <a:lnTo>
                    <a:pt x="407" y="7"/>
                  </a:lnTo>
                  <a:lnTo>
                    <a:pt x="412" y="5"/>
                  </a:lnTo>
                  <a:lnTo>
                    <a:pt x="407" y="12"/>
                  </a:lnTo>
                  <a:lnTo>
                    <a:pt x="404" y="19"/>
                  </a:lnTo>
                  <a:lnTo>
                    <a:pt x="407" y="24"/>
                  </a:lnTo>
                  <a:lnTo>
                    <a:pt x="411" y="29"/>
                  </a:lnTo>
                  <a:lnTo>
                    <a:pt x="407" y="40"/>
                  </a:lnTo>
                  <a:lnTo>
                    <a:pt x="404" y="50"/>
                  </a:lnTo>
                  <a:lnTo>
                    <a:pt x="406" y="57"/>
                  </a:lnTo>
                  <a:lnTo>
                    <a:pt x="411" y="66"/>
                  </a:lnTo>
                  <a:lnTo>
                    <a:pt x="418" y="71"/>
                  </a:lnTo>
                  <a:lnTo>
                    <a:pt x="426" y="74"/>
                  </a:lnTo>
                  <a:lnTo>
                    <a:pt x="433" y="74"/>
                  </a:lnTo>
                  <a:lnTo>
                    <a:pt x="442" y="74"/>
                  </a:lnTo>
                  <a:lnTo>
                    <a:pt x="452" y="74"/>
                  </a:lnTo>
                  <a:lnTo>
                    <a:pt x="462" y="79"/>
                  </a:lnTo>
                  <a:lnTo>
                    <a:pt x="471" y="84"/>
                  </a:lnTo>
                  <a:lnTo>
                    <a:pt x="479" y="93"/>
                  </a:lnTo>
                  <a:lnTo>
                    <a:pt x="488" y="100"/>
                  </a:lnTo>
                  <a:lnTo>
                    <a:pt x="498" y="107"/>
                  </a:lnTo>
                  <a:lnTo>
                    <a:pt x="509" y="110"/>
                  </a:lnTo>
                  <a:lnTo>
                    <a:pt x="522" y="114"/>
                  </a:lnTo>
                  <a:lnTo>
                    <a:pt x="529" y="110"/>
                  </a:lnTo>
                  <a:lnTo>
                    <a:pt x="533" y="107"/>
                  </a:lnTo>
                  <a:lnTo>
                    <a:pt x="533" y="102"/>
                  </a:lnTo>
                  <a:lnTo>
                    <a:pt x="533" y="96"/>
                  </a:lnTo>
                  <a:lnTo>
                    <a:pt x="533" y="84"/>
                  </a:lnTo>
                  <a:lnTo>
                    <a:pt x="540" y="79"/>
                  </a:lnTo>
                  <a:lnTo>
                    <a:pt x="548" y="76"/>
                  </a:lnTo>
                  <a:lnTo>
                    <a:pt x="562" y="74"/>
                  </a:lnTo>
                  <a:lnTo>
                    <a:pt x="562" y="7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2" name="Freeform 193"/>
            <p:cNvSpPr>
              <a:spLocks/>
            </p:cNvSpPr>
            <p:nvPr/>
          </p:nvSpPr>
          <p:spPr bwMode="auto">
            <a:xfrm>
              <a:off x="4907757" y="2989263"/>
              <a:ext cx="852488" cy="739775"/>
            </a:xfrm>
            <a:custGeom>
              <a:avLst/>
              <a:gdLst/>
              <a:ahLst/>
              <a:cxnLst>
                <a:cxn ang="0">
                  <a:pos x="126" y="157"/>
                </a:cxn>
                <a:cxn ang="0">
                  <a:pos x="140" y="98"/>
                </a:cxn>
                <a:cxn ang="0">
                  <a:pos x="134" y="93"/>
                </a:cxn>
                <a:cxn ang="0">
                  <a:pos x="107" y="100"/>
                </a:cxn>
                <a:cxn ang="0">
                  <a:pos x="55" y="102"/>
                </a:cxn>
                <a:cxn ang="0">
                  <a:pos x="26" y="91"/>
                </a:cxn>
                <a:cxn ang="0">
                  <a:pos x="16" y="76"/>
                </a:cxn>
                <a:cxn ang="0">
                  <a:pos x="11" y="50"/>
                </a:cxn>
                <a:cxn ang="0">
                  <a:pos x="7" y="31"/>
                </a:cxn>
                <a:cxn ang="0">
                  <a:pos x="43" y="17"/>
                </a:cxn>
                <a:cxn ang="0">
                  <a:pos x="81" y="10"/>
                </a:cxn>
                <a:cxn ang="0">
                  <a:pos x="122" y="0"/>
                </a:cxn>
                <a:cxn ang="0">
                  <a:pos x="148" y="10"/>
                </a:cxn>
                <a:cxn ang="0">
                  <a:pos x="189" y="17"/>
                </a:cxn>
                <a:cxn ang="0">
                  <a:pos x="224" y="5"/>
                </a:cxn>
                <a:cxn ang="0">
                  <a:pos x="256" y="24"/>
                </a:cxn>
                <a:cxn ang="0">
                  <a:pos x="284" y="48"/>
                </a:cxn>
                <a:cxn ang="0">
                  <a:pos x="320" y="38"/>
                </a:cxn>
                <a:cxn ang="0">
                  <a:pos x="325" y="53"/>
                </a:cxn>
                <a:cxn ang="0">
                  <a:pos x="346" y="79"/>
                </a:cxn>
                <a:cxn ang="0">
                  <a:pos x="391" y="90"/>
                </a:cxn>
                <a:cxn ang="0">
                  <a:pos x="413" y="72"/>
                </a:cxn>
                <a:cxn ang="0">
                  <a:pos x="459" y="64"/>
                </a:cxn>
                <a:cxn ang="0">
                  <a:pos x="506" y="84"/>
                </a:cxn>
                <a:cxn ang="0">
                  <a:pos x="506" y="114"/>
                </a:cxn>
                <a:cxn ang="0">
                  <a:pos x="499" y="138"/>
                </a:cxn>
                <a:cxn ang="0">
                  <a:pos x="504" y="170"/>
                </a:cxn>
                <a:cxn ang="0">
                  <a:pos x="508" y="201"/>
                </a:cxn>
                <a:cxn ang="0">
                  <a:pos x="537" y="248"/>
                </a:cxn>
                <a:cxn ang="0">
                  <a:pos x="516" y="272"/>
                </a:cxn>
                <a:cxn ang="0">
                  <a:pos x="494" y="274"/>
                </a:cxn>
                <a:cxn ang="0">
                  <a:pos x="453" y="265"/>
                </a:cxn>
                <a:cxn ang="0">
                  <a:pos x="435" y="246"/>
                </a:cxn>
                <a:cxn ang="0">
                  <a:pos x="382" y="239"/>
                </a:cxn>
                <a:cxn ang="0">
                  <a:pos x="353" y="212"/>
                </a:cxn>
                <a:cxn ang="0">
                  <a:pos x="320" y="210"/>
                </a:cxn>
                <a:cxn ang="0">
                  <a:pos x="339" y="253"/>
                </a:cxn>
                <a:cxn ang="0">
                  <a:pos x="363" y="261"/>
                </a:cxn>
                <a:cxn ang="0">
                  <a:pos x="361" y="286"/>
                </a:cxn>
                <a:cxn ang="0">
                  <a:pos x="399" y="291"/>
                </a:cxn>
                <a:cxn ang="0">
                  <a:pos x="435" y="277"/>
                </a:cxn>
                <a:cxn ang="0">
                  <a:pos x="471" y="304"/>
                </a:cxn>
                <a:cxn ang="0">
                  <a:pos x="484" y="325"/>
                </a:cxn>
                <a:cxn ang="0">
                  <a:pos x="458" y="356"/>
                </a:cxn>
                <a:cxn ang="0">
                  <a:pos x="437" y="382"/>
                </a:cxn>
                <a:cxn ang="0">
                  <a:pos x="392" y="406"/>
                </a:cxn>
                <a:cxn ang="0">
                  <a:pos x="367" y="425"/>
                </a:cxn>
                <a:cxn ang="0">
                  <a:pos x="320" y="444"/>
                </a:cxn>
                <a:cxn ang="0">
                  <a:pos x="269" y="464"/>
                </a:cxn>
                <a:cxn ang="0">
                  <a:pos x="250" y="454"/>
                </a:cxn>
                <a:cxn ang="0">
                  <a:pos x="236" y="399"/>
                </a:cxn>
                <a:cxn ang="0">
                  <a:pos x="208" y="356"/>
                </a:cxn>
                <a:cxn ang="0">
                  <a:pos x="181" y="310"/>
                </a:cxn>
                <a:cxn ang="0">
                  <a:pos x="160" y="289"/>
                </a:cxn>
                <a:cxn ang="0">
                  <a:pos x="141" y="249"/>
                </a:cxn>
                <a:cxn ang="0">
                  <a:pos x="129" y="201"/>
                </a:cxn>
              </a:cxnLst>
              <a:rect l="0" t="0" r="r" b="b"/>
              <a:pathLst>
                <a:path w="537" h="466">
                  <a:moveTo>
                    <a:pt x="129" y="205"/>
                  </a:moveTo>
                  <a:lnTo>
                    <a:pt x="117" y="177"/>
                  </a:lnTo>
                  <a:lnTo>
                    <a:pt x="119" y="174"/>
                  </a:lnTo>
                  <a:lnTo>
                    <a:pt x="122" y="172"/>
                  </a:lnTo>
                  <a:lnTo>
                    <a:pt x="126" y="157"/>
                  </a:lnTo>
                  <a:lnTo>
                    <a:pt x="129" y="145"/>
                  </a:lnTo>
                  <a:lnTo>
                    <a:pt x="136" y="133"/>
                  </a:lnTo>
                  <a:lnTo>
                    <a:pt x="143" y="120"/>
                  </a:lnTo>
                  <a:lnTo>
                    <a:pt x="141" y="108"/>
                  </a:lnTo>
                  <a:lnTo>
                    <a:pt x="140" y="98"/>
                  </a:lnTo>
                  <a:lnTo>
                    <a:pt x="141" y="95"/>
                  </a:lnTo>
                  <a:lnTo>
                    <a:pt x="143" y="93"/>
                  </a:lnTo>
                  <a:lnTo>
                    <a:pt x="143" y="88"/>
                  </a:lnTo>
                  <a:lnTo>
                    <a:pt x="138" y="90"/>
                  </a:lnTo>
                  <a:lnTo>
                    <a:pt x="134" y="93"/>
                  </a:lnTo>
                  <a:lnTo>
                    <a:pt x="127" y="91"/>
                  </a:lnTo>
                  <a:lnTo>
                    <a:pt x="124" y="90"/>
                  </a:lnTo>
                  <a:lnTo>
                    <a:pt x="117" y="93"/>
                  </a:lnTo>
                  <a:lnTo>
                    <a:pt x="114" y="96"/>
                  </a:lnTo>
                  <a:lnTo>
                    <a:pt x="107" y="100"/>
                  </a:lnTo>
                  <a:lnTo>
                    <a:pt x="98" y="102"/>
                  </a:lnTo>
                  <a:lnTo>
                    <a:pt x="86" y="95"/>
                  </a:lnTo>
                  <a:lnTo>
                    <a:pt x="74" y="90"/>
                  </a:lnTo>
                  <a:lnTo>
                    <a:pt x="62" y="95"/>
                  </a:lnTo>
                  <a:lnTo>
                    <a:pt x="55" y="102"/>
                  </a:lnTo>
                  <a:lnTo>
                    <a:pt x="48" y="98"/>
                  </a:lnTo>
                  <a:lnTo>
                    <a:pt x="43" y="95"/>
                  </a:lnTo>
                  <a:lnTo>
                    <a:pt x="36" y="90"/>
                  </a:lnTo>
                  <a:lnTo>
                    <a:pt x="31" y="91"/>
                  </a:lnTo>
                  <a:lnTo>
                    <a:pt x="26" y="91"/>
                  </a:lnTo>
                  <a:lnTo>
                    <a:pt x="28" y="90"/>
                  </a:lnTo>
                  <a:lnTo>
                    <a:pt x="29" y="88"/>
                  </a:lnTo>
                  <a:lnTo>
                    <a:pt x="24" y="84"/>
                  </a:lnTo>
                  <a:lnTo>
                    <a:pt x="19" y="81"/>
                  </a:lnTo>
                  <a:lnTo>
                    <a:pt x="16" y="76"/>
                  </a:lnTo>
                  <a:lnTo>
                    <a:pt x="17" y="72"/>
                  </a:lnTo>
                  <a:lnTo>
                    <a:pt x="9" y="65"/>
                  </a:lnTo>
                  <a:lnTo>
                    <a:pt x="0" y="64"/>
                  </a:lnTo>
                  <a:lnTo>
                    <a:pt x="7" y="57"/>
                  </a:lnTo>
                  <a:lnTo>
                    <a:pt x="11" y="50"/>
                  </a:lnTo>
                  <a:lnTo>
                    <a:pt x="9" y="47"/>
                  </a:lnTo>
                  <a:lnTo>
                    <a:pt x="11" y="43"/>
                  </a:lnTo>
                  <a:lnTo>
                    <a:pt x="4" y="41"/>
                  </a:lnTo>
                  <a:lnTo>
                    <a:pt x="2" y="41"/>
                  </a:lnTo>
                  <a:lnTo>
                    <a:pt x="7" y="31"/>
                  </a:lnTo>
                  <a:lnTo>
                    <a:pt x="21" y="28"/>
                  </a:lnTo>
                  <a:lnTo>
                    <a:pt x="35" y="26"/>
                  </a:lnTo>
                  <a:lnTo>
                    <a:pt x="47" y="24"/>
                  </a:lnTo>
                  <a:lnTo>
                    <a:pt x="45" y="19"/>
                  </a:lnTo>
                  <a:lnTo>
                    <a:pt x="43" y="17"/>
                  </a:lnTo>
                  <a:lnTo>
                    <a:pt x="48" y="14"/>
                  </a:lnTo>
                  <a:lnTo>
                    <a:pt x="55" y="16"/>
                  </a:lnTo>
                  <a:lnTo>
                    <a:pt x="66" y="16"/>
                  </a:lnTo>
                  <a:lnTo>
                    <a:pt x="71" y="16"/>
                  </a:lnTo>
                  <a:lnTo>
                    <a:pt x="81" y="10"/>
                  </a:lnTo>
                  <a:lnTo>
                    <a:pt x="91" y="5"/>
                  </a:lnTo>
                  <a:lnTo>
                    <a:pt x="97" y="0"/>
                  </a:lnTo>
                  <a:lnTo>
                    <a:pt x="105" y="0"/>
                  </a:lnTo>
                  <a:lnTo>
                    <a:pt x="114" y="0"/>
                  </a:lnTo>
                  <a:lnTo>
                    <a:pt x="122" y="0"/>
                  </a:lnTo>
                  <a:lnTo>
                    <a:pt x="129" y="0"/>
                  </a:lnTo>
                  <a:lnTo>
                    <a:pt x="134" y="4"/>
                  </a:lnTo>
                  <a:lnTo>
                    <a:pt x="138" y="5"/>
                  </a:lnTo>
                  <a:lnTo>
                    <a:pt x="146" y="9"/>
                  </a:lnTo>
                  <a:lnTo>
                    <a:pt x="148" y="10"/>
                  </a:lnTo>
                  <a:lnTo>
                    <a:pt x="157" y="14"/>
                  </a:lnTo>
                  <a:lnTo>
                    <a:pt x="164" y="16"/>
                  </a:lnTo>
                  <a:lnTo>
                    <a:pt x="172" y="17"/>
                  </a:lnTo>
                  <a:lnTo>
                    <a:pt x="181" y="17"/>
                  </a:lnTo>
                  <a:lnTo>
                    <a:pt x="189" y="17"/>
                  </a:lnTo>
                  <a:lnTo>
                    <a:pt x="195" y="17"/>
                  </a:lnTo>
                  <a:lnTo>
                    <a:pt x="201" y="17"/>
                  </a:lnTo>
                  <a:lnTo>
                    <a:pt x="208" y="14"/>
                  </a:lnTo>
                  <a:lnTo>
                    <a:pt x="217" y="10"/>
                  </a:lnTo>
                  <a:lnTo>
                    <a:pt x="224" y="5"/>
                  </a:lnTo>
                  <a:lnTo>
                    <a:pt x="236" y="4"/>
                  </a:lnTo>
                  <a:lnTo>
                    <a:pt x="244" y="4"/>
                  </a:lnTo>
                  <a:lnTo>
                    <a:pt x="250" y="9"/>
                  </a:lnTo>
                  <a:lnTo>
                    <a:pt x="253" y="16"/>
                  </a:lnTo>
                  <a:lnTo>
                    <a:pt x="256" y="24"/>
                  </a:lnTo>
                  <a:lnTo>
                    <a:pt x="262" y="28"/>
                  </a:lnTo>
                  <a:lnTo>
                    <a:pt x="269" y="33"/>
                  </a:lnTo>
                  <a:lnTo>
                    <a:pt x="274" y="36"/>
                  </a:lnTo>
                  <a:lnTo>
                    <a:pt x="279" y="43"/>
                  </a:lnTo>
                  <a:lnTo>
                    <a:pt x="284" y="48"/>
                  </a:lnTo>
                  <a:lnTo>
                    <a:pt x="294" y="52"/>
                  </a:lnTo>
                  <a:lnTo>
                    <a:pt x="303" y="45"/>
                  </a:lnTo>
                  <a:lnTo>
                    <a:pt x="312" y="40"/>
                  </a:lnTo>
                  <a:lnTo>
                    <a:pt x="315" y="38"/>
                  </a:lnTo>
                  <a:lnTo>
                    <a:pt x="320" y="38"/>
                  </a:lnTo>
                  <a:lnTo>
                    <a:pt x="320" y="41"/>
                  </a:lnTo>
                  <a:lnTo>
                    <a:pt x="324" y="47"/>
                  </a:lnTo>
                  <a:lnTo>
                    <a:pt x="322" y="48"/>
                  </a:lnTo>
                  <a:lnTo>
                    <a:pt x="324" y="50"/>
                  </a:lnTo>
                  <a:lnTo>
                    <a:pt x="325" y="53"/>
                  </a:lnTo>
                  <a:lnTo>
                    <a:pt x="329" y="59"/>
                  </a:lnTo>
                  <a:lnTo>
                    <a:pt x="330" y="65"/>
                  </a:lnTo>
                  <a:lnTo>
                    <a:pt x="332" y="74"/>
                  </a:lnTo>
                  <a:lnTo>
                    <a:pt x="337" y="77"/>
                  </a:lnTo>
                  <a:lnTo>
                    <a:pt x="346" y="79"/>
                  </a:lnTo>
                  <a:lnTo>
                    <a:pt x="351" y="81"/>
                  </a:lnTo>
                  <a:lnTo>
                    <a:pt x="355" y="88"/>
                  </a:lnTo>
                  <a:lnTo>
                    <a:pt x="365" y="90"/>
                  </a:lnTo>
                  <a:lnTo>
                    <a:pt x="379" y="91"/>
                  </a:lnTo>
                  <a:lnTo>
                    <a:pt x="391" y="90"/>
                  </a:lnTo>
                  <a:lnTo>
                    <a:pt x="403" y="88"/>
                  </a:lnTo>
                  <a:lnTo>
                    <a:pt x="403" y="83"/>
                  </a:lnTo>
                  <a:lnTo>
                    <a:pt x="403" y="79"/>
                  </a:lnTo>
                  <a:lnTo>
                    <a:pt x="404" y="74"/>
                  </a:lnTo>
                  <a:lnTo>
                    <a:pt x="413" y="72"/>
                  </a:lnTo>
                  <a:lnTo>
                    <a:pt x="418" y="69"/>
                  </a:lnTo>
                  <a:lnTo>
                    <a:pt x="423" y="65"/>
                  </a:lnTo>
                  <a:lnTo>
                    <a:pt x="434" y="62"/>
                  </a:lnTo>
                  <a:lnTo>
                    <a:pt x="446" y="59"/>
                  </a:lnTo>
                  <a:lnTo>
                    <a:pt x="459" y="64"/>
                  </a:lnTo>
                  <a:lnTo>
                    <a:pt x="475" y="71"/>
                  </a:lnTo>
                  <a:lnTo>
                    <a:pt x="482" y="74"/>
                  </a:lnTo>
                  <a:lnTo>
                    <a:pt x="489" y="77"/>
                  </a:lnTo>
                  <a:lnTo>
                    <a:pt x="494" y="81"/>
                  </a:lnTo>
                  <a:lnTo>
                    <a:pt x="506" y="84"/>
                  </a:lnTo>
                  <a:lnTo>
                    <a:pt x="508" y="88"/>
                  </a:lnTo>
                  <a:lnTo>
                    <a:pt x="509" y="91"/>
                  </a:lnTo>
                  <a:lnTo>
                    <a:pt x="509" y="102"/>
                  </a:lnTo>
                  <a:lnTo>
                    <a:pt x="511" y="110"/>
                  </a:lnTo>
                  <a:lnTo>
                    <a:pt x="506" y="114"/>
                  </a:lnTo>
                  <a:lnTo>
                    <a:pt x="502" y="120"/>
                  </a:lnTo>
                  <a:lnTo>
                    <a:pt x="499" y="127"/>
                  </a:lnTo>
                  <a:lnTo>
                    <a:pt x="499" y="133"/>
                  </a:lnTo>
                  <a:lnTo>
                    <a:pt x="499" y="134"/>
                  </a:lnTo>
                  <a:lnTo>
                    <a:pt x="499" y="138"/>
                  </a:lnTo>
                  <a:lnTo>
                    <a:pt x="501" y="139"/>
                  </a:lnTo>
                  <a:lnTo>
                    <a:pt x="502" y="143"/>
                  </a:lnTo>
                  <a:lnTo>
                    <a:pt x="502" y="158"/>
                  </a:lnTo>
                  <a:lnTo>
                    <a:pt x="502" y="163"/>
                  </a:lnTo>
                  <a:lnTo>
                    <a:pt x="504" y="170"/>
                  </a:lnTo>
                  <a:lnTo>
                    <a:pt x="509" y="172"/>
                  </a:lnTo>
                  <a:lnTo>
                    <a:pt x="516" y="181"/>
                  </a:lnTo>
                  <a:lnTo>
                    <a:pt x="511" y="189"/>
                  </a:lnTo>
                  <a:lnTo>
                    <a:pt x="506" y="198"/>
                  </a:lnTo>
                  <a:lnTo>
                    <a:pt x="508" y="201"/>
                  </a:lnTo>
                  <a:lnTo>
                    <a:pt x="511" y="206"/>
                  </a:lnTo>
                  <a:lnTo>
                    <a:pt x="518" y="215"/>
                  </a:lnTo>
                  <a:lnTo>
                    <a:pt x="527" y="224"/>
                  </a:lnTo>
                  <a:lnTo>
                    <a:pt x="533" y="232"/>
                  </a:lnTo>
                  <a:lnTo>
                    <a:pt x="537" y="248"/>
                  </a:lnTo>
                  <a:lnTo>
                    <a:pt x="527" y="249"/>
                  </a:lnTo>
                  <a:lnTo>
                    <a:pt x="521" y="253"/>
                  </a:lnTo>
                  <a:lnTo>
                    <a:pt x="516" y="256"/>
                  </a:lnTo>
                  <a:lnTo>
                    <a:pt x="516" y="267"/>
                  </a:lnTo>
                  <a:lnTo>
                    <a:pt x="516" y="272"/>
                  </a:lnTo>
                  <a:lnTo>
                    <a:pt x="518" y="277"/>
                  </a:lnTo>
                  <a:lnTo>
                    <a:pt x="516" y="277"/>
                  </a:lnTo>
                  <a:lnTo>
                    <a:pt x="514" y="277"/>
                  </a:lnTo>
                  <a:lnTo>
                    <a:pt x="504" y="275"/>
                  </a:lnTo>
                  <a:lnTo>
                    <a:pt x="494" y="274"/>
                  </a:lnTo>
                  <a:lnTo>
                    <a:pt x="480" y="270"/>
                  </a:lnTo>
                  <a:lnTo>
                    <a:pt x="470" y="270"/>
                  </a:lnTo>
                  <a:lnTo>
                    <a:pt x="465" y="268"/>
                  </a:lnTo>
                  <a:lnTo>
                    <a:pt x="459" y="267"/>
                  </a:lnTo>
                  <a:lnTo>
                    <a:pt x="453" y="265"/>
                  </a:lnTo>
                  <a:lnTo>
                    <a:pt x="451" y="265"/>
                  </a:lnTo>
                  <a:lnTo>
                    <a:pt x="447" y="258"/>
                  </a:lnTo>
                  <a:lnTo>
                    <a:pt x="446" y="253"/>
                  </a:lnTo>
                  <a:lnTo>
                    <a:pt x="441" y="248"/>
                  </a:lnTo>
                  <a:lnTo>
                    <a:pt x="435" y="246"/>
                  </a:lnTo>
                  <a:lnTo>
                    <a:pt x="428" y="248"/>
                  </a:lnTo>
                  <a:lnTo>
                    <a:pt x="425" y="253"/>
                  </a:lnTo>
                  <a:lnTo>
                    <a:pt x="399" y="253"/>
                  </a:lnTo>
                  <a:lnTo>
                    <a:pt x="389" y="246"/>
                  </a:lnTo>
                  <a:lnTo>
                    <a:pt x="382" y="239"/>
                  </a:lnTo>
                  <a:lnTo>
                    <a:pt x="372" y="234"/>
                  </a:lnTo>
                  <a:lnTo>
                    <a:pt x="363" y="231"/>
                  </a:lnTo>
                  <a:lnTo>
                    <a:pt x="360" y="225"/>
                  </a:lnTo>
                  <a:lnTo>
                    <a:pt x="360" y="220"/>
                  </a:lnTo>
                  <a:lnTo>
                    <a:pt x="353" y="212"/>
                  </a:lnTo>
                  <a:lnTo>
                    <a:pt x="348" y="203"/>
                  </a:lnTo>
                  <a:lnTo>
                    <a:pt x="337" y="196"/>
                  </a:lnTo>
                  <a:lnTo>
                    <a:pt x="329" y="194"/>
                  </a:lnTo>
                  <a:lnTo>
                    <a:pt x="322" y="200"/>
                  </a:lnTo>
                  <a:lnTo>
                    <a:pt x="320" y="210"/>
                  </a:lnTo>
                  <a:lnTo>
                    <a:pt x="320" y="215"/>
                  </a:lnTo>
                  <a:lnTo>
                    <a:pt x="320" y="222"/>
                  </a:lnTo>
                  <a:lnTo>
                    <a:pt x="324" y="231"/>
                  </a:lnTo>
                  <a:lnTo>
                    <a:pt x="330" y="243"/>
                  </a:lnTo>
                  <a:lnTo>
                    <a:pt x="339" y="253"/>
                  </a:lnTo>
                  <a:lnTo>
                    <a:pt x="349" y="258"/>
                  </a:lnTo>
                  <a:lnTo>
                    <a:pt x="351" y="263"/>
                  </a:lnTo>
                  <a:lnTo>
                    <a:pt x="353" y="270"/>
                  </a:lnTo>
                  <a:lnTo>
                    <a:pt x="358" y="265"/>
                  </a:lnTo>
                  <a:lnTo>
                    <a:pt x="363" y="261"/>
                  </a:lnTo>
                  <a:lnTo>
                    <a:pt x="363" y="263"/>
                  </a:lnTo>
                  <a:lnTo>
                    <a:pt x="363" y="267"/>
                  </a:lnTo>
                  <a:lnTo>
                    <a:pt x="361" y="274"/>
                  </a:lnTo>
                  <a:lnTo>
                    <a:pt x="360" y="282"/>
                  </a:lnTo>
                  <a:lnTo>
                    <a:pt x="361" y="286"/>
                  </a:lnTo>
                  <a:lnTo>
                    <a:pt x="367" y="291"/>
                  </a:lnTo>
                  <a:lnTo>
                    <a:pt x="373" y="292"/>
                  </a:lnTo>
                  <a:lnTo>
                    <a:pt x="380" y="294"/>
                  </a:lnTo>
                  <a:lnTo>
                    <a:pt x="391" y="292"/>
                  </a:lnTo>
                  <a:lnTo>
                    <a:pt x="399" y="291"/>
                  </a:lnTo>
                  <a:lnTo>
                    <a:pt x="406" y="286"/>
                  </a:lnTo>
                  <a:lnTo>
                    <a:pt x="413" y="282"/>
                  </a:lnTo>
                  <a:lnTo>
                    <a:pt x="422" y="270"/>
                  </a:lnTo>
                  <a:lnTo>
                    <a:pt x="435" y="260"/>
                  </a:lnTo>
                  <a:lnTo>
                    <a:pt x="435" y="277"/>
                  </a:lnTo>
                  <a:lnTo>
                    <a:pt x="441" y="286"/>
                  </a:lnTo>
                  <a:lnTo>
                    <a:pt x="447" y="291"/>
                  </a:lnTo>
                  <a:lnTo>
                    <a:pt x="456" y="294"/>
                  </a:lnTo>
                  <a:lnTo>
                    <a:pt x="466" y="299"/>
                  </a:lnTo>
                  <a:lnTo>
                    <a:pt x="471" y="304"/>
                  </a:lnTo>
                  <a:lnTo>
                    <a:pt x="477" y="311"/>
                  </a:lnTo>
                  <a:lnTo>
                    <a:pt x="477" y="311"/>
                  </a:lnTo>
                  <a:lnTo>
                    <a:pt x="482" y="315"/>
                  </a:lnTo>
                  <a:lnTo>
                    <a:pt x="487" y="320"/>
                  </a:lnTo>
                  <a:lnTo>
                    <a:pt x="484" y="325"/>
                  </a:lnTo>
                  <a:lnTo>
                    <a:pt x="478" y="332"/>
                  </a:lnTo>
                  <a:lnTo>
                    <a:pt x="473" y="339"/>
                  </a:lnTo>
                  <a:lnTo>
                    <a:pt x="471" y="347"/>
                  </a:lnTo>
                  <a:lnTo>
                    <a:pt x="461" y="349"/>
                  </a:lnTo>
                  <a:lnTo>
                    <a:pt x="458" y="356"/>
                  </a:lnTo>
                  <a:lnTo>
                    <a:pt x="454" y="365"/>
                  </a:lnTo>
                  <a:lnTo>
                    <a:pt x="449" y="370"/>
                  </a:lnTo>
                  <a:lnTo>
                    <a:pt x="444" y="372"/>
                  </a:lnTo>
                  <a:lnTo>
                    <a:pt x="441" y="377"/>
                  </a:lnTo>
                  <a:lnTo>
                    <a:pt x="437" y="382"/>
                  </a:lnTo>
                  <a:lnTo>
                    <a:pt x="434" y="385"/>
                  </a:lnTo>
                  <a:lnTo>
                    <a:pt x="425" y="389"/>
                  </a:lnTo>
                  <a:lnTo>
                    <a:pt x="420" y="399"/>
                  </a:lnTo>
                  <a:lnTo>
                    <a:pt x="406" y="401"/>
                  </a:lnTo>
                  <a:lnTo>
                    <a:pt x="392" y="406"/>
                  </a:lnTo>
                  <a:lnTo>
                    <a:pt x="379" y="409"/>
                  </a:lnTo>
                  <a:lnTo>
                    <a:pt x="375" y="418"/>
                  </a:lnTo>
                  <a:lnTo>
                    <a:pt x="375" y="420"/>
                  </a:lnTo>
                  <a:lnTo>
                    <a:pt x="377" y="423"/>
                  </a:lnTo>
                  <a:lnTo>
                    <a:pt x="367" y="425"/>
                  </a:lnTo>
                  <a:lnTo>
                    <a:pt x="358" y="428"/>
                  </a:lnTo>
                  <a:lnTo>
                    <a:pt x="348" y="432"/>
                  </a:lnTo>
                  <a:lnTo>
                    <a:pt x="337" y="435"/>
                  </a:lnTo>
                  <a:lnTo>
                    <a:pt x="329" y="437"/>
                  </a:lnTo>
                  <a:lnTo>
                    <a:pt x="320" y="444"/>
                  </a:lnTo>
                  <a:lnTo>
                    <a:pt x="312" y="449"/>
                  </a:lnTo>
                  <a:lnTo>
                    <a:pt x="305" y="454"/>
                  </a:lnTo>
                  <a:lnTo>
                    <a:pt x="289" y="454"/>
                  </a:lnTo>
                  <a:lnTo>
                    <a:pt x="279" y="461"/>
                  </a:lnTo>
                  <a:lnTo>
                    <a:pt x="269" y="464"/>
                  </a:lnTo>
                  <a:lnTo>
                    <a:pt x="265" y="466"/>
                  </a:lnTo>
                  <a:lnTo>
                    <a:pt x="256" y="463"/>
                  </a:lnTo>
                  <a:lnTo>
                    <a:pt x="250" y="459"/>
                  </a:lnTo>
                  <a:lnTo>
                    <a:pt x="250" y="457"/>
                  </a:lnTo>
                  <a:lnTo>
                    <a:pt x="250" y="454"/>
                  </a:lnTo>
                  <a:lnTo>
                    <a:pt x="241" y="440"/>
                  </a:lnTo>
                  <a:lnTo>
                    <a:pt x="239" y="428"/>
                  </a:lnTo>
                  <a:lnTo>
                    <a:pt x="236" y="421"/>
                  </a:lnTo>
                  <a:lnTo>
                    <a:pt x="239" y="413"/>
                  </a:lnTo>
                  <a:lnTo>
                    <a:pt x="236" y="399"/>
                  </a:lnTo>
                  <a:lnTo>
                    <a:pt x="227" y="392"/>
                  </a:lnTo>
                  <a:lnTo>
                    <a:pt x="220" y="384"/>
                  </a:lnTo>
                  <a:lnTo>
                    <a:pt x="215" y="375"/>
                  </a:lnTo>
                  <a:lnTo>
                    <a:pt x="210" y="365"/>
                  </a:lnTo>
                  <a:lnTo>
                    <a:pt x="208" y="356"/>
                  </a:lnTo>
                  <a:lnTo>
                    <a:pt x="196" y="351"/>
                  </a:lnTo>
                  <a:lnTo>
                    <a:pt x="189" y="344"/>
                  </a:lnTo>
                  <a:lnTo>
                    <a:pt x="186" y="334"/>
                  </a:lnTo>
                  <a:lnTo>
                    <a:pt x="186" y="322"/>
                  </a:lnTo>
                  <a:lnTo>
                    <a:pt x="181" y="310"/>
                  </a:lnTo>
                  <a:lnTo>
                    <a:pt x="177" y="298"/>
                  </a:lnTo>
                  <a:lnTo>
                    <a:pt x="172" y="294"/>
                  </a:lnTo>
                  <a:lnTo>
                    <a:pt x="170" y="292"/>
                  </a:lnTo>
                  <a:lnTo>
                    <a:pt x="165" y="291"/>
                  </a:lnTo>
                  <a:lnTo>
                    <a:pt x="160" y="289"/>
                  </a:lnTo>
                  <a:lnTo>
                    <a:pt x="157" y="282"/>
                  </a:lnTo>
                  <a:lnTo>
                    <a:pt x="157" y="275"/>
                  </a:lnTo>
                  <a:lnTo>
                    <a:pt x="153" y="268"/>
                  </a:lnTo>
                  <a:lnTo>
                    <a:pt x="150" y="263"/>
                  </a:lnTo>
                  <a:lnTo>
                    <a:pt x="141" y="249"/>
                  </a:lnTo>
                  <a:lnTo>
                    <a:pt x="134" y="237"/>
                  </a:lnTo>
                  <a:lnTo>
                    <a:pt x="129" y="231"/>
                  </a:lnTo>
                  <a:lnTo>
                    <a:pt x="126" y="225"/>
                  </a:lnTo>
                  <a:lnTo>
                    <a:pt x="127" y="213"/>
                  </a:lnTo>
                  <a:lnTo>
                    <a:pt x="129" y="201"/>
                  </a:lnTo>
                  <a:lnTo>
                    <a:pt x="129" y="20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3" name="Freeform 194"/>
            <p:cNvSpPr>
              <a:spLocks/>
            </p:cNvSpPr>
            <p:nvPr/>
          </p:nvSpPr>
          <p:spPr bwMode="auto">
            <a:xfrm>
              <a:off x="6136482" y="3794125"/>
              <a:ext cx="44450" cy="87312"/>
            </a:xfrm>
            <a:custGeom>
              <a:avLst/>
              <a:gdLst/>
              <a:ahLst/>
              <a:cxnLst>
                <a:cxn ang="0">
                  <a:pos x="28" y="35"/>
                </a:cxn>
                <a:cxn ang="0">
                  <a:pos x="23" y="47"/>
                </a:cxn>
                <a:cxn ang="0">
                  <a:pos x="12" y="55"/>
                </a:cxn>
                <a:cxn ang="0">
                  <a:pos x="4" y="50"/>
                </a:cxn>
                <a:cxn ang="0">
                  <a:pos x="0" y="42"/>
                </a:cxn>
                <a:cxn ang="0">
                  <a:pos x="0" y="30"/>
                </a:cxn>
                <a:cxn ang="0">
                  <a:pos x="4" y="19"/>
                </a:cxn>
                <a:cxn ang="0">
                  <a:pos x="5" y="9"/>
                </a:cxn>
                <a:cxn ang="0">
                  <a:pos x="7" y="0"/>
                </a:cxn>
                <a:cxn ang="0">
                  <a:pos x="12" y="7"/>
                </a:cxn>
                <a:cxn ang="0">
                  <a:pos x="19" y="14"/>
                </a:cxn>
                <a:cxn ang="0">
                  <a:pos x="24" y="23"/>
                </a:cxn>
                <a:cxn ang="0">
                  <a:pos x="28" y="35"/>
                </a:cxn>
              </a:cxnLst>
              <a:rect l="0" t="0" r="r" b="b"/>
              <a:pathLst>
                <a:path w="28" h="55">
                  <a:moveTo>
                    <a:pt x="28" y="35"/>
                  </a:moveTo>
                  <a:lnTo>
                    <a:pt x="23" y="47"/>
                  </a:lnTo>
                  <a:lnTo>
                    <a:pt x="12" y="55"/>
                  </a:lnTo>
                  <a:lnTo>
                    <a:pt x="4" y="50"/>
                  </a:lnTo>
                  <a:lnTo>
                    <a:pt x="0" y="42"/>
                  </a:lnTo>
                  <a:lnTo>
                    <a:pt x="0" y="30"/>
                  </a:lnTo>
                  <a:lnTo>
                    <a:pt x="4" y="19"/>
                  </a:lnTo>
                  <a:lnTo>
                    <a:pt x="5" y="9"/>
                  </a:lnTo>
                  <a:lnTo>
                    <a:pt x="7" y="0"/>
                  </a:lnTo>
                  <a:lnTo>
                    <a:pt x="12" y="7"/>
                  </a:lnTo>
                  <a:lnTo>
                    <a:pt x="19" y="14"/>
                  </a:lnTo>
                  <a:lnTo>
                    <a:pt x="24" y="23"/>
                  </a:lnTo>
                  <a:lnTo>
                    <a:pt x="28" y="3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4" name="Freeform 195"/>
            <p:cNvSpPr>
              <a:spLocks/>
            </p:cNvSpPr>
            <p:nvPr/>
          </p:nvSpPr>
          <p:spPr bwMode="auto">
            <a:xfrm>
              <a:off x="5699919" y="3082925"/>
              <a:ext cx="930275" cy="747712"/>
            </a:xfrm>
            <a:custGeom>
              <a:avLst/>
              <a:gdLst/>
              <a:ahLst/>
              <a:cxnLst>
                <a:cxn ang="0">
                  <a:pos x="174" y="325"/>
                </a:cxn>
                <a:cxn ang="0">
                  <a:pos x="196" y="374"/>
                </a:cxn>
                <a:cxn ang="0">
                  <a:pos x="212" y="417"/>
                </a:cxn>
                <a:cxn ang="0">
                  <a:pos x="236" y="466"/>
                </a:cxn>
                <a:cxn ang="0">
                  <a:pos x="253" y="457"/>
                </a:cxn>
                <a:cxn ang="0">
                  <a:pos x="270" y="438"/>
                </a:cxn>
                <a:cxn ang="0">
                  <a:pos x="277" y="407"/>
                </a:cxn>
                <a:cxn ang="0">
                  <a:pos x="298" y="354"/>
                </a:cxn>
                <a:cxn ang="0">
                  <a:pos x="344" y="306"/>
                </a:cxn>
                <a:cxn ang="0">
                  <a:pos x="377" y="276"/>
                </a:cxn>
                <a:cxn ang="0">
                  <a:pos x="413" y="266"/>
                </a:cxn>
                <a:cxn ang="0">
                  <a:pos x="451" y="263"/>
                </a:cxn>
                <a:cxn ang="0">
                  <a:pos x="480" y="309"/>
                </a:cxn>
                <a:cxn ang="0">
                  <a:pos x="487" y="347"/>
                </a:cxn>
                <a:cxn ang="0">
                  <a:pos x="516" y="342"/>
                </a:cxn>
                <a:cxn ang="0">
                  <a:pos x="533" y="347"/>
                </a:cxn>
                <a:cxn ang="0">
                  <a:pos x="537" y="380"/>
                </a:cxn>
                <a:cxn ang="0">
                  <a:pos x="549" y="441"/>
                </a:cxn>
                <a:cxn ang="0">
                  <a:pos x="562" y="404"/>
                </a:cxn>
                <a:cxn ang="0">
                  <a:pos x="543" y="368"/>
                </a:cxn>
                <a:cxn ang="0">
                  <a:pos x="549" y="354"/>
                </a:cxn>
                <a:cxn ang="0">
                  <a:pos x="537" y="304"/>
                </a:cxn>
                <a:cxn ang="0">
                  <a:pos x="571" y="280"/>
                </a:cxn>
                <a:cxn ang="0">
                  <a:pos x="566" y="257"/>
                </a:cxn>
                <a:cxn ang="0">
                  <a:pos x="552" y="230"/>
                </a:cxn>
                <a:cxn ang="0">
                  <a:pos x="540" y="213"/>
                </a:cxn>
                <a:cxn ang="0">
                  <a:pos x="540" y="165"/>
                </a:cxn>
                <a:cxn ang="0">
                  <a:pos x="509" y="144"/>
                </a:cxn>
                <a:cxn ang="0">
                  <a:pos x="483" y="156"/>
                </a:cxn>
                <a:cxn ang="0">
                  <a:pos x="444" y="168"/>
                </a:cxn>
                <a:cxn ang="0">
                  <a:pos x="404" y="166"/>
                </a:cxn>
                <a:cxn ang="0">
                  <a:pos x="358" y="165"/>
                </a:cxn>
                <a:cxn ang="0">
                  <a:pos x="335" y="146"/>
                </a:cxn>
                <a:cxn ang="0">
                  <a:pos x="282" y="127"/>
                </a:cxn>
                <a:cxn ang="0">
                  <a:pos x="261" y="103"/>
                </a:cxn>
                <a:cxn ang="0">
                  <a:pos x="265" y="79"/>
                </a:cxn>
                <a:cxn ang="0">
                  <a:pos x="277" y="44"/>
                </a:cxn>
                <a:cxn ang="0">
                  <a:pos x="224" y="39"/>
                </a:cxn>
                <a:cxn ang="0">
                  <a:pos x="198" y="17"/>
                </a:cxn>
                <a:cxn ang="0">
                  <a:pos x="157" y="12"/>
                </a:cxn>
                <a:cxn ang="0">
                  <a:pos x="132" y="12"/>
                </a:cxn>
                <a:cxn ang="0">
                  <a:pos x="91" y="20"/>
                </a:cxn>
                <a:cxn ang="0">
                  <a:pos x="62" y="22"/>
                </a:cxn>
                <a:cxn ang="0">
                  <a:pos x="34" y="49"/>
                </a:cxn>
                <a:cxn ang="0">
                  <a:pos x="12" y="51"/>
                </a:cxn>
                <a:cxn ang="0">
                  <a:pos x="0" y="75"/>
                </a:cxn>
                <a:cxn ang="0">
                  <a:pos x="3" y="104"/>
                </a:cxn>
                <a:cxn ang="0">
                  <a:pos x="7" y="139"/>
                </a:cxn>
                <a:cxn ang="0">
                  <a:pos x="34" y="173"/>
                </a:cxn>
                <a:cxn ang="0">
                  <a:pos x="17" y="208"/>
                </a:cxn>
                <a:cxn ang="0">
                  <a:pos x="41" y="213"/>
                </a:cxn>
                <a:cxn ang="0">
                  <a:pos x="83" y="213"/>
                </a:cxn>
                <a:cxn ang="0">
                  <a:pos x="115" y="247"/>
                </a:cxn>
                <a:cxn ang="0">
                  <a:pos x="131" y="259"/>
                </a:cxn>
                <a:cxn ang="0">
                  <a:pos x="136" y="282"/>
                </a:cxn>
                <a:cxn ang="0">
                  <a:pos x="167" y="261"/>
                </a:cxn>
                <a:cxn ang="0">
                  <a:pos x="174" y="288"/>
                </a:cxn>
              </a:cxnLst>
              <a:rect l="0" t="0" r="r" b="b"/>
              <a:pathLst>
                <a:path w="586" h="471">
                  <a:moveTo>
                    <a:pt x="174" y="304"/>
                  </a:moveTo>
                  <a:lnTo>
                    <a:pt x="170" y="302"/>
                  </a:lnTo>
                  <a:lnTo>
                    <a:pt x="170" y="306"/>
                  </a:lnTo>
                  <a:lnTo>
                    <a:pt x="172" y="311"/>
                  </a:lnTo>
                  <a:lnTo>
                    <a:pt x="174" y="325"/>
                  </a:lnTo>
                  <a:lnTo>
                    <a:pt x="181" y="338"/>
                  </a:lnTo>
                  <a:lnTo>
                    <a:pt x="182" y="347"/>
                  </a:lnTo>
                  <a:lnTo>
                    <a:pt x="187" y="357"/>
                  </a:lnTo>
                  <a:lnTo>
                    <a:pt x="191" y="366"/>
                  </a:lnTo>
                  <a:lnTo>
                    <a:pt x="196" y="374"/>
                  </a:lnTo>
                  <a:lnTo>
                    <a:pt x="198" y="383"/>
                  </a:lnTo>
                  <a:lnTo>
                    <a:pt x="201" y="392"/>
                  </a:lnTo>
                  <a:lnTo>
                    <a:pt x="203" y="400"/>
                  </a:lnTo>
                  <a:lnTo>
                    <a:pt x="206" y="412"/>
                  </a:lnTo>
                  <a:lnTo>
                    <a:pt x="212" y="417"/>
                  </a:lnTo>
                  <a:lnTo>
                    <a:pt x="218" y="428"/>
                  </a:lnTo>
                  <a:lnTo>
                    <a:pt x="224" y="443"/>
                  </a:lnTo>
                  <a:lnTo>
                    <a:pt x="232" y="460"/>
                  </a:lnTo>
                  <a:lnTo>
                    <a:pt x="232" y="462"/>
                  </a:lnTo>
                  <a:lnTo>
                    <a:pt x="236" y="466"/>
                  </a:lnTo>
                  <a:lnTo>
                    <a:pt x="237" y="469"/>
                  </a:lnTo>
                  <a:lnTo>
                    <a:pt x="244" y="471"/>
                  </a:lnTo>
                  <a:lnTo>
                    <a:pt x="246" y="467"/>
                  </a:lnTo>
                  <a:lnTo>
                    <a:pt x="249" y="460"/>
                  </a:lnTo>
                  <a:lnTo>
                    <a:pt x="253" y="457"/>
                  </a:lnTo>
                  <a:lnTo>
                    <a:pt x="260" y="455"/>
                  </a:lnTo>
                  <a:lnTo>
                    <a:pt x="261" y="450"/>
                  </a:lnTo>
                  <a:lnTo>
                    <a:pt x="263" y="447"/>
                  </a:lnTo>
                  <a:lnTo>
                    <a:pt x="265" y="440"/>
                  </a:lnTo>
                  <a:lnTo>
                    <a:pt x="270" y="438"/>
                  </a:lnTo>
                  <a:lnTo>
                    <a:pt x="272" y="436"/>
                  </a:lnTo>
                  <a:lnTo>
                    <a:pt x="275" y="436"/>
                  </a:lnTo>
                  <a:lnTo>
                    <a:pt x="277" y="435"/>
                  </a:lnTo>
                  <a:lnTo>
                    <a:pt x="275" y="423"/>
                  </a:lnTo>
                  <a:lnTo>
                    <a:pt x="277" y="407"/>
                  </a:lnTo>
                  <a:lnTo>
                    <a:pt x="280" y="392"/>
                  </a:lnTo>
                  <a:lnTo>
                    <a:pt x="279" y="380"/>
                  </a:lnTo>
                  <a:lnTo>
                    <a:pt x="277" y="369"/>
                  </a:lnTo>
                  <a:lnTo>
                    <a:pt x="282" y="359"/>
                  </a:lnTo>
                  <a:lnTo>
                    <a:pt x="298" y="354"/>
                  </a:lnTo>
                  <a:lnTo>
                    <a:pt x="303" y="349"/>
                  </a:lnTo>
                  <a:lnTo>
                    <a:pt x="310" y="343"/>
                  </a:lnTo>
                  <a:lnTo>
                    <a:pt x="323" y="328"/>
                  </a:lnTo>
                  <a:lnTo>
                    <a:pt x="339" y="313"/>
                  </a:lnTo>
                  <a:lnTo>
                    <a:pt x="344" y="306"/>
                  </a:lnTo>
                  <a:lnTo>
                    <a:pt x="354" y="302"/>
                  </a:lnTo>
                  <a:lnTo>
                    <a:pt x="363" y="297"/>
                  </a:lnTo>
                  <a:lnTo>
                    <a:pt x="371" y="294"/>
                  </a:lnTo>
                  <a:lnTo>
                    <a:pt x="373" y="285"/>
                  </a:lnTo>
                  <a:lnTo>
                    <a:pt x="377" y="276"/>
                  </a:lnTo>
                  <a:lnTo>
                    <a:pt x="384" y="270"/>
                  </a:lnTo>
                  <a:lnTo>
                    <a:pt x="392" y="263"/>
                  </a:lnTo>
                  <a:lnTo>
                    <a:pt x="397" y="266"/>
                  </a:lnTo>
                  <a:lnTo>
                    <a:pt x="404" y="268"/>
                  </a:lnTo>
                  <a:lnTo>
                    <a:pt x="413" y="266"/>
                  </a:lnTo>
                  <a:lnTo>
                    <a:pt x="423" y="264"/>
                  </a:lnTo>
                  <a:lnTo>
                    <a:pt x="428" y="259"/>
                  </a:lnTo>
                  <a:lnTo>
                    <a:pt x="432" y="251"/>
                  </a:lnTo>
                  <a:lnTo>
                    <a:pt x="444" y="254"/>
                  </a:lnTo>
                  <a:lnTo>
                    <a:pt x="451" y="263"/>
                  </a:lnTo>
                  <a:lnTo>
                    <a:pt x="452" y="271"/>
                  </a:lnTo>
                  <a:lnTo>
                    <a:pt x="456" y="282"/>
                  </a:lnTo>
                  <a:lnTo>
                    <a:pt x="463" y="290"/>
                  </a:lnTo>
                  <a:lnTo>
                    <a:pt x="473" y="299"/>
                  </a:lnTo>
                  <a:lnTo>
                    <a:pt x="480" y="309"/>
                  </a:lnTo>
                  <a:lnTo>
                    <a:pt x="487" y="325"/>
                  </a:lnTo>
                  <a:lnTo>
                    <a:pt x="488" y="328"/>
                  </a:lnTo>
                  <a:lnTo>
                    <a:pt x="490" y="331"/>
                  </a:lnTo>
                  <a:lnTo>
                    <a:pt x="488" y="338"/>
                  </a:lnTo>
                  <a:lnTo>
                    <a:pt x="487" y="347"/>
                  </a:lnTo>
                  <a:lnTo>
                    <a:pt x="488" y="356"/>
                  </a:lnTo>
                  <a:lnTo>
                    <a:pt x="495" y="359"/>
                  </a:lnTo>
                  <a:lnTo>
                    <a:pt x="502" y="356"/>
                  </a:lnTo>
                  <a:lnTo>
                    <a:pt x="511" y="350"/>
                  </a:lnTo>
                  <a:lnTo>
                    <a:pt x="516" y="342"/>
                  </a:lnTo>
                  <a:lnTo>
                    <a:pt x="521" y="337"/>
                  </a:lnTo>
                  <a:lnTo>
                    <a:pt x="523" y="340"/>
                  </a:lnTo>
                  <a:lnTo>
                    <a:pt x="526" y="345"/>
                  </a:lnTo>
                  <a:lnTo>
                    <a:pt x="530" y="345"/>
                  </a:lnTo>
                  <a:lnTo>
                    <a:pt x="533" y="347"/>
                  </a:lnTo>
                  <a:lnTo>
                    <a:pt x="533" y="352"/>
                  </a:lnTo>
                  <a:lnTo>
                    <a:pt x="533" y="361"/>
                  </a:lnTo>
                  <a:lnTo>
                    <a:pt x="533" y="366"/>
                  </a:lnTo>
                  <a:lnTo>
                    <a:pt x="537" y="369"/>
                  </a:lnTo>
                  <a:lnTo>
                    <a:pt x="537" y="380"/>
                  </a:lnTo>
                  <a:lnTo>
                    <a:pt x="542" y="392"/>
                  </a:lnTo>
                  <a:lnTo>
                    <a:pt x="545" y="404"/>
                  </a:lnTo>
                  <a:lnTo>
                    <a:pt x="549" y="421"/>
                  </a:lnTo>
                  <a:lnTo>
                    <a:pt x="547" y="431"/>
                  </a:lnTo>
                  <a:lnTo>
                    <a:pt x="549" y="441"/>
                  </a:lnTo>
                  <a:lnTo>
                    <a:pt x="554" y="428"/>
                  </a:lnTo>
                  <a:lnTo>
                    <a:pt x="559" y="417"/>
                  </a:lnTo>
                  <a:lnTo>
                    <a:pt x="561" y="414"/>
                  </a:lnTo>
                  <a:lnTo>
                    <a:pt x="564" y="411"/>
                  </a:lnTo>
                  <a:lnTo>
                    <a:pt x="562" y="404"/>
                  </a:lnTo>
                  <a:lnTo>
                    <a:pt x="559" y="395"/>
                  </a:lnTo>
                  <a:lnTo>
                    <a:pt x="556" y="385"/>
                  </a:lnTo>
                  <a:lnTo>
                    <a:pt x="554" y="380"/>
                  </a:lnTo>
                  <a:lnTo>
                    <a:pt x="545" y="374"/>
                  </a:lnTo>
                  <a:lnTo>
                    <a:pt x="543" y="368"/>
                  </a:lnTo>
                  <a:lnTo>
                    <a:pt x="543" y="366"/>
                  </a:lnTo>
                  <a:lnTo>
                    <a:pt x="545" y="364"/>
                  </a:lnTo>
                  <a:lnTo>
                    <a:pt x="545" y="364"/>
                  </a:lnTo>
                  <a:lnTo>
                    <a:pt x="547" y="359"/>
                  </a:lnTo>
                  <a:lnTo>
                    <a:pt x="549" y="354"/>
                  </a:lnTo>
                  <a:lnTo>
                    <a:pt x="547" y="342"/>
                  </a:lnTo>
                  <a:lnTo>
                    <a:pt x="545" y="331"/>
                  </a:lnTo>
                  <a:lnTo>
                    <a:pt x="538" y="325"/>
                  </a:lnTo>
                  <a:lnTo>
                    <a:pt x="535" y="318"/>
                  </a:lnTo>
                  <a:lnTo>
                    <a:pt x="537" y="304"/>
                  </a:lnTo>
                  <a:lnTo>
                    <a:pt x="543" y="297"/>
                  </a:lnTo>
                  <a:lnTo>
                    <a:pt x="549" y="294"/>
                  </a:lnTo>
                  <a:lnTo>
                    <a:pt x="557" y="292"/>
                  </a:lnTo>
                  <a:lnTo>
                    <a:pt x="564" y="285"/>
                  </a:lnTo>
                  <a:lnTo>
                    <a:pt x="571" y="280"/>
                  </a:lnTo>
                  <a:lnTo>
                    <a:pt x="578" y="273"/>
                  </a:lnTo>
                  <a:lnTo>
                    <a:pt x="586" y="264"/>
                  </a:lnTo>
                  <a:lnTo>
                    <a:pt x="581" y="264"/>
                  </a:lnTo>
                  <a:lnTo>
                    <a:pt x="578" y="266"/>
                  </a:lnTo>
                  <a:lnTo>
                    <a:pt x="566" y="257"/>
                  </a:lnTo>
                  <a:lnTo>
                    <a:pt x="562" y="244"/>
                  </a:lnTo>
                  <a:lnTo>
                    <a:pt x="557" y="240"/>
                  </a:lnTo>
                  <a:lnTo>
                    <a:pt x="556" y="237"/>
                  </a:lnTo>
                  <a:lnTo>
                    <a:pt x="554" y="232"/>
                  </a:lnTo>
                  <a:lnTo>
                    <a:pt x="552" y="230"/>
                  </a:lnTo>
                  <a:lnTo>
                    <a:pt x="545" y="230"/>
                  </a:lnTo>
                  <a:lnTo>
                    <a:pt x="540" y="232"/>
                  </a:lnTo>
                  <a:lnTo>
                    <a:pt x="538" y="228"/>
                  </a:lnTo>
                  <a:lnTo>
                    <a:pt x="538" y="227"/>
                  </a:lnTo>
                  <a:lnTo>
                    <a:pt x="540" y="213"/>
                  </a:lnTo>
                  <a:lnTo>
                    <a:pt x="545" y="206"/>
                  </a:lnTo>
                  <a:lnTo>
                    <a:pt x="549" y="199"/>
                  </a:lnTo>
                  <a:lnTo>
                    <a:pt x="552" y="187"/>
                  </a:lnTo>
                  <a:lnTo>
                    <a:pt x="547" y="175"/>
                  </a:lnTo>
                  <a:lnTo>
                    <a:pt x="540" y="165"/>
                  </a:lnTo>
                  <a:lnTo>
                    <a:pt x="530" y="159"/>
                  </a:lnTo>
                  <a:lnTo>
                    <a:pt x="523" y="158"/>
                  </a:lnTo>
                  <a:lnTo>
                    <a:pt x="516" y="151"/>
                  </a:lnTo>
                  <a:lnTo>
                    <a:pt x="513" y="144"/>
                  </a:lnTo>
                  <a:lnTo>
                    <a:pt x="509" y="144"/>
                  </a:lnTo>
                  <a:lnTo>
                    <a:pt x="506" y="149"/>
                  </a:lnTo>
                  <a:lnTo>
                    <a:pt x="495" y="147"/>
                  </a:lnTo>
                  <a:lnTo>
                    <a:pt x="488" y="149"/>
                  </a:lnTo>
                  <a:lnTo>
                    <a:pt x="485" y="151"/>
                  </a:lnTo>
                  <a:lnTo>
                    <a:pt x="483" y="156"/>
                  </a:lnTo>
                  <a:lnTo>
                    <a:pt x="476" y="158"/>
                  </a:lnTo>
                  <a:lnTo>
                    <a:pt x="470" y="163"/>
                  </a:lnTo>
                  <a:lnTo>
                    <a:pt x="461" y="168"/>
                  </a:lnTo>
                  <a:lnTo>
                    <a:pt x="456" y="172"/>
                  </a:lnTo>
                  <a:lnTo>
                    <a:pt x="444" y="168"/>
                  </a:lnTo>
                  <a:lnTo>
                    <a:pt x="430" y="165"/>
                  </a:lnTo>
                  <a:lnTo>
                    <a:pt x="416" y="170"/>
                  </a:lnTo>
                  <a:lnTo>
                    <a:pt x="408" y="178"/>
                  </a:lnTo>
                  <a:lnTo>
                    <a:pt x="406" y="170"/>
                  </a:lnTo>
                  <a:lnTo>
                    <a:pt x="404" y="166"/>
                  </a:lnTo>
                  <a:lnTo>
                    <a:pt x="399" y="168"/>
                  </a:lnTo>
                  <a:lnTo>
                    <a:pt x="394" y="170"/>
                  </a:lnTo>
                  <a:lnTo>
                    <a:pt x="384" y="170"/>
                  </a:lnTo>
                  <a:lnTo>
                    <a:pt x="373" y="170"/>
                  </a:lnTo>
                  <a:lnTo>
                    <a:pt x="358" y="165"/>
                  </a:lnTo>
                  <a:lnTo>
                    <a:pt x="349" y="156"/>
                  </a:lnTo>
                  <a:lnTo>
                    <a:pt x="344" y="156"/>
                  </a:lnTo>
                  <a:lnTo>
                    <a:pt x="341" y="156"/>
                  </a:lnTo>
                  <a:lnTo>
                    <a:pt x="337" y="149"/>
                  </a:lnTo>
                  <a:lnTo>
                    <a:pt x="335" y="146"/>
                  </a:lnTo>
                  <a:lnTo>
                    <a:pt x="323" y="142"/>
                  </a:lnTo>
                  <a:lnTo>
                    <a:pt x="316" y="139"/>
                  </a:lnTo>
                  <a:lnTo>
                    <a:pt x="306" y="134"/>
                  </a:lnTo>
                  <a:lnTo>
                    <a:pt x="294" y="134"/>
                  </a:lnTo>
                  <a:lnTo>
                    <a:pt x="282" y="127"/>
                  </a:lnTo>
                  <a:lnTo>
                    <a:pt x="272" y="122"/>
                  </a:lnTo>
                  <a:lnTo>
                    <a:pt x="267" y="120"/>
                  </a:lnTo>
                  <a:lnTo>
                    <a:pt x="265" y="118"/>
                  </a:lnTo>
                  <a:lnTo>
                    <a:pt x="263" y="110"/>
                  </a:lnTo>
                  <a:lnTo>
                    <a:pt x="261" y="103"/>
                  </a:lnTo>
                  <a:lnTo>
                    <a:pt x="261" y="98"/>
                  </a:lnTo>
                  <a:lnTo>
                    <a:pt x="268" y="96"/>
                  </a:lnTo>
                  <a:lnTo>
                    <a:pt x="273" y="92"/>
                  </a:lnTo>
                  <a:lnTo>
                    <a:pt x="268" y="86"/>
                  </a:lnTo>
                  <a:lnTo>
                    <a:pt x="265" y="79"/>
                  </a:lnTo>
                  <a:lnTo>
                    <a:pt x="267" y="70"/>
                  </a:lnTo>
                  <a:lnTo>
                    <a:pt x="273" y="67"/>
                  </a:lnTo>
                  <a:lnTo>
                    <a:pt x="280" y="61"/>
                  </a:lnTo>
                  <a:lnTo>
                    <a:pt x="284" y="55"/>
                  </a:lnTo>
                  <a:lnTo>
                    <a:pt x="277" y="44"/>
                  </a:lnTo>
                  <a:lnTo>
                    <a:pt x="268" y="41"/>
                  </a:lnTo>
                  <a:lnTo>
                    <a:pt x="258" y="44"/>
                  </a:lnTo>
                  <a:lnTo>
                    <a:pt x="248" y="49"/>
                  </a:lnTo>
                  <a:lnTo>
                    <a:pt x="234" y="44"/>
                  </a:lnTo>
                  <a:lnTo>
                    <a:pt x="224" y="39"/>
                  </a:lnTo>
                  <a:lnTo>
                    <a:pt x="222" y="32"/>
                  </a:lnTo>
                  <a:lnTo>
                    <a:pt x="218" y="27"/>
                  </a:lnTo>
                  <a:lnTo>
                    <a:pt x="208" y="25"/>
                  </a:lnTo>
                  <a:lnTo>
                    <a:pt x="206" y="18"/>
                  </a:lnTo>
                  <a:lnTo>
                    <a:pt x="198" y="17"/>
                  </a:lnTo>
                  <a:lnTo>
                    <a:pt x="189" y="17"/>
                  </a:lnTo>
                  <a:lnTo>
                    <a:pt x="175" y="20"/>
                  </a:lnTo>
                  <a:lnTo>
                    <a:pt x="163" y="25"/>
                  </a:lnTo>
                  <a:lnTo>
                    <a:pt x="157" y="20"/>
                  </a:lnTo>
                  <a:lnTo>
                    <a:pt x="157" y="12"/>
                  </a:lnTo>
                  <a:lnTo>
                    <a:pt x="155" y="3"/>
                  </a:lnTo>
                  <a:lnTo>
                    <a:pt x="151" y="0"/>
                  </a:lnTo>
                  <a:lnTo>
                    <a:pt x="139" y="5"/>
                  </a:lnTo>
                  <a:lnTo>
                    <a:pt x="134" y="12"/>
                  </a:lnTo>
                  <a:lnTo>
                    <a:pt x="132" y="12"/>
                  </a:lnTo>
                  <a:lnTo>
                    <a:pt x="122" y="20"/>
                  </a:lnTo>
                  <a:lnTo>
                    <a:pt x="110" y="24"/>
                  </a:lnTo>
                  <a:lnTo>
                    <a:pt x="105" y="20"/>
                  </a:lnTo>
                  <a:lnTo>
                    <a:pt x="100" y="18"/>
                  </a:lnTo>
                  <a:lnTo>
                    <a:pt x="91" y="20"/>
                  </a:lnTo>
                  <a:lnTo>
                    <a:pt x="84" y="17"/>
                  </a:lnTo>
                  <a:lnTo>
                    <a:pt x="79" y="15"/>
                  </a:lnTo>
                  <a:lnTo>
                    <a:pt x="76" y="15"/>
                  </a:lnTo>
                  <a:lnTo>
                    <a:pt x="67" y="17"/>
                  </a:lnTo>
                  <a:lnTo>
                    <a:pt x="62" y="22"/>
                  </a:lnTo>
                  <a:lnTo>
                    <a:pt x="57" y="29"/>
                  </a:lnTo>
                  <a:lnTo>
                    <a:pt x="53" y="37"/>
                  </a:lnTo>
                  <a:lnTo>
                    <a:pt x="46" y="41"/>
                  </a:lnTo>
                  <a:lnTo>
                    <a:pt x="40" y="44"/>
                  </a:lnTo>
                  <a:lnTo>
                    <a:pt x="34" y="49"/>
                  </a:lnTo>
                  <a:lnTo>
                    <a:pt x="28" y="53"/>
                  </a:lnTo>
                  <a:lnTo>
                    <a:pt x="21" y="51"/>
                  </a:lnTo>
                  <a:lnTo>
                    <a:pt x="15" y="49"/>
                  </a:lnTo>
                  <a:lnTo>
                    <a:pt x="14" y="49"/>
                  </a:lnTo>
                  <a:lnTo>
                    <a:pt x="12" y="51"/>
                  </a:lnTo>
                  <a:lnTo>
                    <a:pt x="7" y="55"/>
                  </a:lnTo>
                  <a:lnTo>
                    <a:pt x="3" y="61"/>
                  </a:lnTo>
                  <a:lnTo>
                    <a:pt x="0" y="68"/>
                  </a:lnTo>
                  <a:lnTo>
                    <a:pt x="0" y="74"/>
                  </a:lnTo>
                  <a:lnTo>
                    <a:pt x="0" y="75"/>
                  </a:lnTo>
                  <a:lnTo>
                    <a:pt x="0" y="79"/>
                  </a:lnTo>
                  <a:lnTo>
                    <a:pt x="2" y="80"/>
                  </a:lnTo>
                  <a:lnTo>
                    <a:pt x="3" y="84"/>
                  </a:lnTo>
                  <a:lnTo>
                    <a:pt x="3" y="99"/>
                  </a:lnTo>
                  <a:lnTo>
                    <a:pt x="3" y="104"/>
                  </a:lnTo>
                  <a:lnTo>
                    <a:pt x="5" y="111"/>
                  </a:lnTo>
                  <a:lnTo>
                    <a:pt x="10" y="113"/>
                  </a:lnTo>
                  <a:lnTo>
                    <a:pt x="17" y="122"/>
                  </a:lnTo>
                  <a:lnTo>
                    <a:pt x="12" y="130"/>
                  </a:lnTo>
                  <a:lnTo>
                    <a:pt x="7" y="139"/>
                  </a:lnTo>
                  <a:lnTo>
                    <a:pt x="9" y="142"/>
                  </a:lnTo>
                  <a:lnTo>
                    <a:pt x="12" y="147"/>
                  </a:lnTo>
                  <a:lnTo>
                    <a:pt x="19" y="156"/>
                  </a:lnTo>
                  <a:lnTo>
                    <a:pt x="28" y="165"/>
                  </a:lnTo>
                  <a:lnTo>
                    <a:pt x="34" y="173"/>
                  </a:lnTo>
                  <a:lnTo>
                    <a:pt x="38" y="189"/>
                  </a:lnTo>
                  <a:lnTo>
                    <a:pt x="28" y="190"/>
                  </a:lnTo>
                  <a:lnTo>
                    <a:pt x="22" y="194"/>
                  </a:lnTo>
                  <a:lnTo>
                    <a:pt x="17" y="197"/>
                  </a:lnTo>
                  <a:lnTo>
                    <a:pt x="17" y="208"/>
                  </a:lnTo>
                  <a:lnTo>
                    <a:pt x="17" y="213"/>
                  </a:lnTo>
                  <a:lnTo>
                    <a:pt x="19" y="218"/>
                  </a:lnTo>
                  <a:lnTo>
                    <a:pt x="36" y="216"/>
                  </a:lnTo>
                  <a:lnTo>
                    <a:pt x="38" y="215"/>
                  </a:lnTo>
                  <a:lnTo>
                    <a:pt x="41" y="213"/>
                  </a:lnTo>
                  <a:lnTo>
                    <a:pt x="55" y="216"/>
                  </a:lnTo>
                  <a:lnTo>
                    <a:pt x="58" y="215"/>
                  </a:lnTo>
                  <a:lnTo>
                    <a:pt x="67" y="213"/>
                  </a:lnTo>
                  <a:lnTo>
                    <a:pt x="74" y="211"/>
                  </a:lnTo>
                  <a:lnTo>
                    <a:pt x="83" y="213"/>
                  </a:lnTo>
                  <a:lnTo>
                    <a:pt x="88" y="220"/>
                  </a:lnTo>
                  <a:lnTo>
                    <a:pt x="95" y="233"/>
                  </a:lnTo>
                  <a:lnTo>
                    <a:pt x="98" y="239"/>
                  </a:lnTo>
                  <a:lnTo>
                    <a:pt x="107" y="244"/>
                  </a:lnTo>
                  <a:lnTo>
                    <a:pt x="115" y="247"/>
                  </a:lnTo>
                  <a:lnTo>
                    <a:pt x="126" y="251"/>
                  </a:lnTo>
                  <a:lnTo>
                    <a:pt x="131" y="251"/>
                  </a:lnTo>
                  <a:lnTo>
                    <a:pt x="138" y="252"/>
                  </a:lnTo>
                  <a:lnTo>
                    <a:pt x="134" y="256"/>
                  </a:lnTo>
                  <a:lnTo>
                    <a:pt x="131" y="259"/>
                  </a:lnTo>
                  <a:lnTo>
                    <a:pt x="124" y="259"/>
                  </a:lnTo>
                  <a:lnTo>
                    <a:pt x="117" y="261"/>
                  </a:lnTo>
                  <a:lnTo>
                    <a:pt x="122" y="268"/>
                  </a:lnTo>
                  <a:lnTo>
                    <a:pt x="129" y="275"/>
                  </a:lnTo>
                  <a:lnTo>
                    <a:pt x="136" y="282"/>
                  </a:lnTo>
                  <a:lnTo>
                    <a:pt x="148" y="285"/>
                  </a:lnTo>
                  <a:lnTo>
                    <a:pt x="153" y="282"/>
                  </a:lnTo>
                  <a:lnTo>
                    <a:pt x="158" y="275"/>
                  </a:lnTo>
                  <a:lnTo>
                    <a:pt x="162" y="266"/>
                  </a:lnTo>
                  <a:lnTo>
                    <a:pt x="167" y="261"/>
                  </a:lnTo>
                  <a:lnTo>
                    <a:pt x="172" y="261"/>
                  </a:lnTo>
                  <a:lnTo>
                    <a:pt x="170" y="264"/>
                  </a:lnTo>
                  <a:lnTo>
                    <a:pt x="169" y="268"/>
                  </a:lnTo>
                  <a:lnTo>
                    <a:pt x="170" y="276"/>
                  </a:lnTo>
                  <a:lnTo>
                    <a:pt x="174" y="288"/>
                  </a:lnTo>
                  <a:lnTo>
                    <a:pt x="172" y="295"/>
                  </a:lnTo>
                  <a:lnTo>
                    <a:pt x="170" y="304"/>
                  </a:lnTo>
                  <a:lnTo>
                    <a:pt x="174" y="3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5" name="Freeform 196"/>
            <p:cNvSpPr>
              <a:spLocks/>
            </p:cNvSpPr>
            <p:nvPr/>
          </p:nvSpPr>
          <p:spPr bwMode="auto">
            <a:xfrm>
              <a:off x="6493669" y="3887788"/>
              <a:ext cx="244475" cy="261937"/>
            </a:xfrm>
            <a:custGeom>
              <a:avLst/>
              <a:gdLst/>
              <a:ahLst/>
              <a:cxnLst>
                <a:cxn ang="0">
                  <a:pos x="69" y="86"/>
                </a:cxn>
                <a:cxn ang="0">
                  <a:pos x="68" y="82"/>
                </a:cxn>
                <a:cxn ang="0">
                  <a:pos x="68" y="81"/>
                </a:cxn>
                <a:cxn ang="0">
                  <a:pos x="62" y="79"/>
                </a:cxn>
                <a:cxn ang="0">
                  <a:pos x="59" y="79"/>
                </a:cxn>
                <a:cxn ang="0">
                  <a:pos x="56" y="70"/>
                </a:cxn>
                <a:cxn ang="0">
                  <a:pos x="52" y="60"/>
                </a:cxn>
                <a:cxn ang="0">
                  <a:pos x="42" y="50"/>
                </a:cxn>
                <a:cxn ang="0">
                  <a:pos x="33" y="45"/>
                </a:cxn>
                <a:cxn ang="0">
                  <a:pos x="28" y="36"/>
                </a:cxn>
                <a:cxn ang="0">
                  <a:pos x="26" y="29"/>
                </a:cxn>
                <a:cxn ang="0">
                  <a:pos x="19" y="24"/>
                </a:cxn>
                <a:cxn ang="0">
                  <a:pos x="14" y="24"/>
                </a:cxn>
                <a:cxn ang="0">
                  <a:pos x="9" y="19"/>
                </a:cxn>
                <a:cxn ang="0">
                  <a:pos x="6" y="14"/>
                </a:cxn>
                <a:cxn ang="0">
                  <a:pos x="0" y="7"/>
                </a:cxn>
                <a:cxn ang="0">
                  <a:pos x="0" y="3"/>
                </a:cxn>
                <a:cxn ang="0">
                  <a:pos x="0" y="0"/>
                </a:cxn>
                <a:cxn ang="0">
                  <a:pos x="4" y="0"/>
                </a:cxn>
                <a:cxn ang="0">
                  <a:pos x="9" y="0"/>
                </a:cxn>
                <a:cxn ang="0">
                  <a:pos x="14" y="3"/>
                </a:cxn>
                <a:cxn ang="0">
                  <a:pos x="30" y="3"/>
                </a:cxn>
                <a:cxn ang="0">
                  <a:pos x="42" y="12"/>
                </a:cxn>
                <a:cxn ang="0">
                  <a:pos x="49" y="24"/>
                </a:cxn>
                <a:cxn ang="0">
                  <a:pos x="50" y="24"/>
                </a:cxn>
                <a:cxn ang="0">
                  <a:pos x="54" y="26"/>
                </a:cxn>
                <a:cxn ang="0">
                  <a:pos x="62" y="31"/>
                </a:cxn>
                <a:cxn ang="0">
                  <a:pos x="71" y="39"/>
                </a:cxn>
                <a:cxn ang="0">
                  <a:pos x="76" y="45"/>
                </a:cxn>
                <a:cxn ang="0">
                  <a:pos x="83" y="51"/>
                </a:cxn>
                <a:cxn ang="0">
                  <a:pos x="90" y="55"/>
                </a:cxn>
                <a:cxn ang="0">
                  <a:pos x="100" y="60"/>
                </a:cxn>
                <a:cxn ang="0">
                  <a:pos x="111" y="63"/>
                </a:cxn>
                <a:cxn ang="0">
                  <a:pos x="116" y="74"/>
                </a:cxn>
                <a:cxn ang="0">
                  <a:pos x="116" y="75"/>
                </a:cxn>
                <a:cxn ang="0">
                  <a:pos x="117" y="75"/>
                </a:cxn>
                <a:cxn ang="0">
                  <a:pos x="119" y="75"/>
                </a:cxn>
                <a:cxn ang="0">
                  <a:pos x="121" y="77"/>
                </a:cxn>
                <a:cxn ang="0">
                  <a:pos x="124" y="81"/>
                </a:cxn>
                <a:cxn ang="0">
                  <a:pos x="123" y="86"/>
                </a:cxn>
                <a:cxn ang="0">
                  <a:pos x="124" y="91"/>
                </a:cxn>
                <a:cxn ang="0">
                  <a:pos x="131" y="93"/>
                </a:cxn>
                <a:cxn ang="0">
                  <a:pos x="135" y="105"/>
                </a:cxn>
                <a:cxn ang="0">
                  <a:pos x="143" y="113"/>
                </a:cxn>
                <a:cxn ang="0">
                  <a:pos x="148" y="115"/>
                </a:cxn>
                <a:cxn ang="0">
                  <a:pos x="154" y="122"/>
                </a:cxn>
                <a:cxn ang="0">
                  <a:pos x="154" y="131"/>
                </a:cxn>
                <a:cxn ang="0">
                  <a:pos x="154" y="144"/>
                </a:cxn>
                <a:cxn ang="0">
                  <a:pos x="148" y="149"/>
                </a:cxn>
                <a:cxn ang="0">
                  <a:pos x="150" y="158"/>
                </a:cxn>
                <a:cxn ang="0">
                  <a:pos x="145" y="163"/>
                </a:cxn>
                <a:cxn ang="0">
                  <a:pos x="136" y="165"/>
                </a:cxn>
                <a:cxn ang="0">
                  <a:pos x="129" y="158"/>
                </a:cxn>
                <a:cxn ang="0">
                  <a:pos x="124" y="151"/>
                </a:cxn>
                <a:cxn ang="0">
                  <a:pos x="111" y="139"/>
                </a:cxn>
                <a:cxn ang="0">
                  <a:pos x="97" y="129"/>
                </a:cxn>
                <a:cxn ang="0">
                  <a:pos x="85" y="113"/>
                </a:cxn>
                <a:cxn ang="0">
                  <a:pos x="78" y="98"/>
                </a:cxn>
                <a:cxn ang="0">
                  <a:pos x="73" y="91"/>
                </a:cxn>
                <a:cxn ang="0">
                  <a:pos x="69" y="86"/>
                </a:cxn>
              </a:cxnLst>
              <a:rect l="0" t="0" r="r" b="b"/>
              <a:pathLst>
                <a:path w="154" h="165">
                  <a:moveTo>
                    <a:pt x="69" y="86"/>
                  </a:moveTo>
                  <a:lnTo>
                    <a:pt x="68" y="82"/>
                  </a:lnTo>
                  <a:lnTo>
                    <a:pt x="68" y="81"/>
                  </a:lnTo>
                  <a:lnTo>
                    <a:pt x="62" y="79"/>
                  </a:lnTo>
                  <a:lnTo>
                    <a:pt x="59" y="79"/>
                  </a:lnTo>
                  <a:lnTo>
                    <a:pt x="56" y="70"/>
                  </a:lnTo>
                  <a:lnTo>
                    <a:pt x="52" y="60"/>
                  </a:lnTo>
                  <a:lnTo>
                    <a:pt x="42" y="50"/>
                  </a:lnTo>
                  <a:lnTo>
                    <a:pt x="33" y="45"/>
                  </a:lnTo>
                  <a:lnTo>
                    <a:pt x="28" y="36"/>
                  </a:lnTo>
                  <a:lnTo>
                    <a:pt x="26" y="29"/>
                  </a:lnTo>
                  <a:lnTo>
                    <a:pt x="19" y="24"/>
                  </a:lnTo>
                  <a:lnTo>
                    <a:pt x="14" y="24"/>
                  </a:lnTo>
                  <a:lnTo>
                    <a:pt x="9" y="19"/>
                  </a:lnTo>
                  <a:lnTo>
                    <a:pt x="6" y="14"/>
                  </a:lnTo>
                  <a:lnTo>
                    <a:pt x="0" y="7"/>
                  </a:lnTo>
                  <a:lnTo>
                    <a:pt x="0" y="3"/>
                  </a:lnTo>
                  <a:lnTo>
                    <a:pt x="0" y="0"/>
                  </a:lnTo>
                  <a:lnTo>
                    <a:pt x="4" y="0"/>
                  </a:lnTo>
                  <a:lnTo>
                    <a:pt x="9" y="0"/>
                  </a:lnTo>
                  <a:lnTo>
                    <a:pt x="14" y="3"/>
                  </a:lnTo>
                  <a:lnTo>
                    <a:pt x="30" y="3"/>
                  </a:lnTo>
                  <a:lnTo>
                    <a:pt x="42" y="12"/>
                  </a:lnTo>
                  <a:lnTo>
                    <a:pt x="49" y="24"/>
                  </a:lnTo>
                  <a:lnTo>
                    <a:pt x="50" y="24"/>
                  </a:lnTo>
                  <a:lnTo>
                    <a:pt x="54" y="26"/>
                  </a:lnTo>
                  <a:lnTo>
                    <a:pt x="62" y="31"/>
                  </a:lnTo>
                  <a:lnTo>
                    <a:pt x="71" y="39"/>
                  </a:lnTo>
                  <a:lnTo>
                    <a:pt x="76" y="45"/>
                  </a:lnTo>
                  <a:lnTo>
                    <a:pt x="83" y="51"/>
                  </a:lnTo>
                  <a:lnTo>
                    <a:pt x="90" y="55"/>
                  </a:lnTo>
                  <a:lnTo>
                    <a:pt x="100" y="60"/>
                  </a:lnTo>
                  <a:lnTo>
                    <a:pt x="111" y="63"/>
                  </a:lnTo>
                  <a:lnTo>
                    <a:pt x="116" y="74"/>
                  </a:lnTo>
                  <a:lnTo>
                    <a:pt x="116" y="75"/>
                  </a:lnTo>
                  <a:lnTo>
                    <a:pt x="117" y="75"/>
                  </a:lnTo>
                  <a:lnTo>
                    <a:pt x="119" y="75"/>
                  </a:lnTo>
                  <a:lnTo>
                    <a:pt x="121" y="77"/>
                  </a:lnTo>
                  <a:lnTo>
                    <a:pt x="124" y="81"/>
                  </a:lnTo>
                  <a:lnTo>
                    <a:pt x="123" y="86"/>
                  </a:lnTo>
                  <a:lnTo>
                    <a:pt x="124" y="91"/>
                  </a:lnTo>
                  <a:lnTo>
                    <a:pt x="131" y="93"/>
                  </a:lnTo>
                  <a:lnTo>
                    <a:pt x="135" y="105"/>
                  </a:lnTo>
                  <a:lnTo>
                    <a:pt x="143" y="113"/>
                  </a:lnTo>
                  <a:lnTo>
                    <a:pt x="148" y="115"/>
                  </a:lnTo>
                  <a:lnTo>
                    <a:pt x="154" y="122"/>
                  </a:lnTo>
                  <a:lnTo>
                    <a:pt x="154" y="131"/>
                  </a:lnTo>
                  <a:lnTo>
                    <a:pt x="154" y="144"/>
                  </a:lnTo>
                  <a:lnTo>
                    <a:pt x="148" y="149"/>
                  </a:lnTo>
                  <a:lnTo>
                    <a:pt x="150" y="158"/>
                  </a:lnTo>
                  <a:lnTo>
                    <a:pt x="145" y="163"/>
                  </a:lnTo>
                  <a:lnTo>
                    <a:pt x="136" y="165"/>
                  </a:lnTo>
                  <a:lnTo>
                    <a:pt x="129" y="158"/>
                  </a:lnTo>
                  <a:lnTo>
                    <a:pt x="124" y="151"/>
                  </a:lnTo>
                  <a:lnTo>
                    <a:pt x="111" y="139"/>
                  </a:lnTo>
                  <a:lnTo>
                    <a:pt x="97" y="129"/>
                  </a:lnTo>
                  <a:lnTo>
                    <a:pt x="85" y="113"/>
                  </a:lnTo>
                  <a:lnTo>
                    <a:pt x="78" y="98"/>
                  </a:lnTo>
                  <a:lnTo>
                    <a:pt x="73" y="91"/>
                  </a:lnTo>
                  <a:lnTo>
                    <a:pt x="69" y="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6" name="Freeform 197"/>
            <p:cNvSpPr>
              <a:spLocks/>
            </p:cNvSpPr>
            <p:nvPr/>
          </p:nvSpPr>
          <p:spPr bwMode="auto">
            <a:xfrm>
              <a:off x="6807994" y="3854450"/>
              <a:ext cx="231775" cy="257175"/>
            </a:xfrm>
            <a:custGeom>
              <a:avLst/>
              <a:gdLst/>
              <a:ahLst/>
              <a:cxnLst>
                <a:cxn ang="0">
                  <a:pos x="42" y="146"/>
                </a:cxn>
                <a:cxn ang="0">
                  <a:pos x="36" y="143"/>
                </a:cxn>
                <a:cxn ang="0">
                  <a:pos x="21" y="141"/>
                </a:cxn>
                <a:cxn ang="0">
                  <a:pos x="16" y="126"/>
                </a:cxn>
                <a:cxn ang="0">
                  <a:pos x="14" y="115"/>
                </a:cxn>
                <a:cxn ang="0">
                  <a:pos x="11" y="112"/>
                </a:cxn>
                <a:cxn ang="0">
                  <a:pos x="4" y="107"/>
                </a:cxn>
                <a:cxn ang="0">
                  <a:pos x="0" y="93"/>
                </a:cxn>
                <a:cxn ang="0">
                  <a:pos x="5" y="83"/>
                </a:cxn>
                <a:cxn ang="0">
                  <a:pos x="24" y="81"/>
                </a:cxn>
                <a:cxn ang="0">
                  <a:pos x="33" y="67"/>
                </a:cxn>
                <a:cxn ang="0">
                  <a:pos x="43" y="59"/>
                </a:cxn>
                <a:cxn ang="0">
                  <a:pos x="59" y="52"/>
                </a:cxn>
                <a:cxn ang="0">
                  <a:pos x="64" y="43"/>
                </a:cxn>
                <a:cxn ang="0">
                  <a:pos x="69" y="38"/>
                </a:cxn>
                <a:cxn ang="0">
                  <a:pos x="74" y="35"/>
                </a:cxn>
                <a:cxn ang="0">
                  <a:pos x="86" y="29"/>
                </a:cxn>
                <a:cxn ang="0">
                  <a:pos x="98" y="19"/>
                </a:cxn>
                <a:cxn ang="0">
                  <a:pos x="110" y="2"/>
                </a:cxn>
                <a:cxn ang="0">
                  <a:pos x="124" y="4"/>
                </a:cxn>
                <a:cxn ang="0">
                  <a:pos x="128" y="16"/>
                </a:cxn>
                <a:cxn ang="0">
                  <a:pos x="143" y="21"/>
                </a:cxn>
                <a:cxn ang="0">
                  <a:pos x="141" y="29"/>
                </a:cxn>
                <a:cxn ang="0">
                  <a:pos x="136" y="35"/>
                </a:cxn>
                <a:cxn ang="0">
                  <a:pos x="133" y="36"/>
                </a:cxn>
                <a:cxn ang="0">
                  <a:pos x="124" y="41"/>
                </a:cxn>
                <a:cxn ang="0">
                  <a:pos x="122" y="45"/>
                </a:cxn>
                <a:cxn ang="0">
                  <a:pos x="122" y="48"/>
                </a:cxn>
                <a:cxn ang="0">
                  <a:pos x="122" y="59"/>
                </a:cxn>
                <a:cxn ang="0">
                  <a:pos x="136" y="79"/>
                </a:cxn>
                <a:cxn ang="0">
                  <a:pos x="140" y="90"/>
                </a:cxn>
                <a:cxn ang="0">
                  <a:pos x="129" y="90"/>
                </a:cxn>
                <a:cxn ang="0">
                  <a:pos x="126" y="95"/>
                </a:cxn>
                <a:cxn ang="0">
                  <a:pos x="119" y="117"/>
                </a:cxn>
                <a:cxn ang="0">
                  <a:pos x="107" y="129"/>
                </a:cxn>
                <a:cxn ang="0">
                  <a:pos x="110" y="136"/>
                </a:cxn>
                <a:cxn ang="0">
                  <a:pos x="103" y="153"/>
                </a:cxn>
                <a:cxn ang="0">
                  <a:pos x="88" y="162"/>
                </a:cxn>
                <a:cxn ang="0">
                  <a:pos x="81" y="155"/>
                </a:cxn>
                <a:cxn ang="0">
                  <a:pos x="59" y="146"/>
                </a:cxn>
                <a:cxn ang="0">
                  <a:pos x="47" y="152"/>
                </a:cxn>
                <a:cxn ang="0">
                  <a:pos x="43" y="150"/>
                </a:cxn>
              </a:cxnLst>
              <a:rect l="0" t="0" r="r" b="b"/>
              <a:pathLst>
                <a:path w="146" h="162">
                  <a:moveTo>
                    <a:pt x="43" y="150"/>
                  </a:moveTo>
                  <a:lnTo>
                    <a:pt x="42" y="146"/>
                  </a:lnTo>
                  <a:lnTo>
                    <a:pt x="42" y="143"/>
                  </a:lnTo>
                  <a:lnTo>
                    <a:pt x="36" y="143"/>
                  </a:lnTo>
                  <a:lnTo>
                    <a:pt x="31" y="145"/>
                  </a:lnTo>
                  <a:lnTo>
                    <a:pt x="21" y="141"/>
                  </a:lnTo>
                  <a:lnTo>
                    <a:pt x="17" y="134"/>
                  </a:lnTo>
                  <a:lnTo>
                    <a:pt x="16" y="126"/>
                  </a:lnTo>
                  <a:lnTo>
                    <a:pt x="14" y="117"/>
                  </a:lnTo>
                  <a:lnTo>
                    <a:pt x="14" y="115"/>
                  </a:lnTo>
                  <a:lnTo>
                    <a:pt x="14" y="114"/>
                  </a:lnTo>
                  <a:lnTo>
                    <a:pt x="11" y="112"/>
                  </a:lnTo>
                  <a:lnTo>
                    <a:pt x="7" y="112"/>
                  </a:lnTo>
                  <a:lnTo>
                    <a:pt x="4" y="107"/>
                  </a:lnTo>
                  <a:lnTo>
                    <a:pt x="2" y="100"/>
                  </a:lnTo>
                  <a:lnTo>
                    <a:pt x="0" y="93"/>
                  </a:lnTo>
                  <a:lnTo>
                    <a:pt x="0" y="90"/>
                  </a:lnTo>
                  <a:lnTo>
                    <a:pt x="5" y="83"/>
                  </a:lnTo>
                  <a:lnTo>
                    <a:pt x="17" y="84"/>
                  </a:lnTo>
                  <a:lnTo>
                    <a:pt x="24" y="81"/>
                  </a:lnTo>
                  <a:lnTo>
                    <a:pt x="30" y="76"/>
                  </a:lnTo>
                  <a:lnTo>
                    <a:pt x="33" y="67"/>
                  </a:lnTo>
                  <a:lnTo>
                    <a:pt x="38" y="62"/>
                  </a:lnTo>
                  <a:lnTo>
                    <a:pt x="43" y="59"/>
                  </a:lnTo>
                  <a:lnTo>
                    <a:pt x="52" y="57"/>
                  </a:lnTo>
                  <a:lnTo>
                    <a:pt x="59" y="52"/>
                  </a:lnTo>
                  <a:lnTo>
                    <a:pt x="64" y="47"/>
                  </a:lnTo>
                  <a:lnTo>
                    <a:pt x="64" y="43"/>
                  </a:lnTo>
                  <a:lnTo>
                    <a:pt x="67" y="41"/>
                  </a:lnTo>
                  <a:lnTo>
                    <a:pt x="69" y="38"/>
                  </a:lnTo>
                  <a:lnTo>
                    <a:pt x="73" y="38"/>
                  </a:lnTo>
                  <a:lnTo>
                    <a:pt x="74" y="35"/>
                  </a:lnTo>
                  <a:lnTo>
                    <a:pt x="76" y="33"/>
                  </a:lnTo>
                  <a:lnTo>
                    <a:pt x="86" y="29"/>
                  </a:lnTo>
                  <a:lnTo>
                    <a:pt x="95" y="28"/>
                  </a:lnTo>
                  <a:lnTo>
                    <a:pt x="98" y="19"/>
                  </a:lnTo>
                  <a:lnTo>
                    <a:pt x="103" y="11"/>
                  </a:lnTo>
                  <a:lnTo>
                    <a:pt x="110" y="2"/>
                  </a:lnTo>
                  <a:lnTo>
                    <a:pt x="117" y="0"/>
                  </a:lnTo>
                  <a:lnTo>
                    <a:pt x="124" y="4"/>
                  </a:lnTo>
                  <a:lnTo>
                    <a:pt x="126" y="12"/>
                  </a:lnTo>
                  <a:lnTo>
                    <a:pt x="128" y="16"/>
                  </a:lnTo>
                  <a:lnTo>
                    <a:pt x="136" y="19"/>
                  </a:lnTo>
                  <a:lnTo>
                    <a:pt x="143" y="21"/>
                  </a:lnTo>
                  <a:lnTo>
                    <a:pt x="146" y="28"/>
                  </a:lnTo>
                  <a:lnTo>
                    <a:pt x="141" y="29"/>
                  </a:lnTo>
                  <a:lnTo>
                    <a:pt x="136" y="33"/>
                  </a:lnTo>
                  <a:lnTo>
                    <a:pt x="136" y="35"/>
                  </a:lnTo>
                  <a:lnTo>
                    <a:pt x="138" y="36"/>
                  </a:lnTo>
                  <a:lnTo>
                    <a:pt x="133" y="36"/>
                  </a:lnTo>
                  <a:lnTo>
                    <a:pt x="129" y="40"/>
                  </a:lnTo>
                  <a:lnTo>
                    <a:pt x="124" y="41"/>
                  </a:lnTo>
                  <a:lnTo>
                    <a:pt x="122" y="43"/>
                  </a:lnTo>
                  <a:lnTo>
                    <a:pt x="122" y="45"/>
                  </a:lnTo>
                  <a:lnTo>
                    <a:pt x="124" y="48"/>
                  </a:lnTo>
                  <a:lnTo>
                    <a:pt x="122" y="48"/>
                  </a:lnTo>
                  <a:lnTo>
                    <a:pt x="121" y="52"/>
                  </a:lnTo>
                  <a:lnTo>
                    <a:pt x="122" y="59"/>
                  </a:lnTo>
                  <a:lnTo>
                    <a:pt x="128" y="71"/>
                  </a:lnTo>
                  <a:lnTo>
                    <a:pt x="136" y="79"/>
                  </a:lnTo>
                  <a:lnTo>
                    <a:pt x="145" y="84"/>
                  </a:lnTo>
                  <a:lnTo>
                    <a:pt x="140" y="90"/>
                  </a:lnTo>
                  <a:lnTo>
                    <a:pt x="133" y="90"/>
                  </a:lnTo>
                  <a:lnTo>
                    <a:pt x="129" y="90"/>
                  </a:lnTo>
                  <a:lnTo>
                    <a:pt x="128" y="90"/>
                  </a:lnTo>
                  <a:lnTo>
                    <a:pt x="126" y="95"/>
                  </a:lnTo>
                  <a:lnTo>
                    <a:pt x="121" y="107"/>
                  </a:lnTo>
                  <a:lnTo>
                    <a:pt x="119" y="117"/>
                  </a:lnTo>
                  <a:lnTo>
                    <a:pt x="110" y="122"/>
                  </a:lnTo>
                  <a:lnTo>
                    <a:pt x="107" y="129"/>
                  </a:lnTo>
                  <a:lnTo>
                    <a:pt x="109" y="133"/>
                  </a:lnTo>
                  <a:lnTo>
                    <a:pt x="110" y="136"/>
                  </a:lnTo>
                  <a:lnTo>
                    <a:pt x="107" y="145"/>
                  </a:lnTo>
                  <a:lnTo>
                    <a:pt x="103" y="153"/>
                  </a:lnTo>
                  <a:lnTo>
                    <a:pt x="95" y="158"/>
                  </a:lnTo>
                  <a:lnTo>
                    <a:pt x="88" y="162"/>
                  </a:lnTo>
                  <a:lnTo>
                    <a:pt x="81" y="158"/>
                  </a:lnTo>
                  <a:lnTo>
                    <a:pt x="81" y="155"/>
                  </a:lnTo>
                  <a:lnTo>
                    <a:pt x="69" y="150"/>
                  </a:lnTo>
                  <a:lnTo>
                    <a:pt x="59" y="146"/>
                  </a:lnTo>
                  <a:lnTo>
                    <a:pt x="52" y="148"/>
                  </a:lnTo>
                  <a:lnTo>
                    <a:pt x="47" y="152"/>
                  </a:lnTo>
                  <a:lnTo>
                    <a:pt x="45" y="150"/>
                  </a:lnTo>
                  <a:lnTo>
                    <a:pt x="43" y="15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7" name="Freeform 198"/>
            <p:cNvSpPr>
              <a:spLocks/>
            </p:cNvSpPr>
            <p:nvPr/>
          </p:nvSpPr>
          <p:spPr bwMode="auto">
            <a:xfrm>
              <a:off x="7031832" y="3978275"/>
              <a:ext cx="147638" cy="168275"/>
            </a:xfrm>
            <a:custGeom>
              <a:avLst/>
              <a:gdLst/>
              <a:ahLst/>
              <a:cxnLst>
                <a:cxn ang="0">
                  <a:pos x="33" y="41"/>
                </a:cxn>
                <a:cxn ang="0">
                  <a:pos x="23" y="36"/>
                </a:cxn>
                <a:cxn ang="0">
                  <a:pos x="26" y="18"/>
                </a:cxn>
                <a:cxn ang="0">
                  <a:pos x="47" y="17"/>
                </a:cxn>
                <a:cxn ang="0">
                  <a:pos x="66" y="18"/>
                </a:cxn>
                <a:cxn ang="0">
                  <a:pos x="85" y="13"/>
                </a:cxn>
                <a:cxn ang="0">
                  <a:pos x="91" y="1"/>
                </a:cxn>
                <a:cxn ang="0">
                  <a:pos x="90" y="0"/>
                </a:cxn>
                <a:cxn ang="0">
                  <a:pos x="73" y="12"/>
                </a:cxn>
                <a:cxn ang="0">
                  <a:pos x="33" y="5"/>
                </a:cxn>
                <a:cxn ang="0">
                  <a:pos x="18" y="13"/>
                </a:cxn>
                <a:cxn ang="0">
                  <a:pos x="14" y="34"/>
                </a:cxn>
                <a:cxn ang="0">
                  <a:pos x="11" y="41"/>
                </a:cxn>
                <a:cxn ang="0">
                  <a:pos x="0" y="68"/>
                </a:cxn>
                <a:cxn ang="0">
                  <a:pos x="11" y="75"/>
                </a:cxn>
                <a:cxn ang="0">
                  <a:pos x="11" y="99"/>
                </a:cxn>
                <a:cxn ang="0">
                  <a:pos x="19" y="106"/>
                </a:cxn>
                <a:cxn ang="0">
                  <a:pos x="24" y="96"/>
                </a:cxn>
                <a:cxn ang="0">
                  <a:pos x="26" y="86"/>
                </a:cxn>
                <a:cxn ang="0">
                  <a:pos x="23" y="70"/>
                </a:cxn>
                <a:cxn ang="0">
                  <a:pos x="30" y="63"/>
                </a:cxn>
                <a:cxn ang="0">
                  <a:pos x="33" y="63"/>
                </a:cxn>
                <a:cxn ang="0">
                  <a:pos x="35" y="80"/>
                </a:cxn>
                <a:cxn ang="0">
                  <a:pos x="40" y="91"/>
                </a:cxn>
                <a:cxn ang="0">
                  <a:pos x="47" y="94"/>
                </a:cxn>
                <a:cxn ang="0">
                  <a:pos x="57" y="84"/>
                </a:cxn>
                <a:cxn ang="0">
                  <a:pos x="50" y="74"/>
                </a:cxn>
                <a:cxn ang="0">
                  <a:pos x="52" y="72"/>
                </a:cxn>
                <a:cxn ang="0">
                  <a:pos x="43" y="60"/>
                </a:cxn>
                <a:cxn ang="0">
                  <a:pos x="40" y="49"/>
                </a:cxn>
                <a:cxn ang="0">
                  <a:pos x="54" y="43"/>
                </a:cxn>
                <a:cxn ang="0">
                  <a:pos x="67" y="36"/>
                </a:cxn>
                <a:cxn ang="0">
                  <a:pos x="61" y="31"/>
                </a:cxn>
                <a:cxn ang="0">
                  <a:pos x="40" y="37"/>
                </a:cxn>
                <a:cxn ang="0">
                  <a:pos x="36" y="39"/>
                </a:cxn>
              </a:cxnLst>
              <a:rect l="0" t="0" r="r" b="b"/>
              <a:pathLst>
                <a:path w="93" h="106">
                  <a:moveTo>
                    <a:pt x="36" y="39"/>
                  </a:moveTo>
                  <a:lnTo>
                    <a:pt x="33" y="41"/>
                  </a:lnTo>
                  <a:lnTo>
                    <a:pt x="31" y="43"/>
                  </a:lnTo>
                  <a:lnTo>
                    <a:pt x="23" y="36"/>
                  </a:lnTo>
                  <a:lnTo>
                    <a:pt x="21" y="25"/>
                  </a:lnTo>
                  <a:lnTo>
                    <a:pt x="26" y="18"/>
                  </a:lnTo>
                  <a:lnTo>
                    <a:pt x="38" y="18"/>
                  </a:lnTo>
                  <a:lnTo>
                    <a:pt x="47" y="17"/>
                  </a:lnTo>
                  <a:lnTo>
                    <a:pt x="57" y="17"/>
                  </a:lnTo>
                  <a:lnTo>
                    <a:pt x="66" y="18"/>
                  </a:lnTo>
                  <a:lnTo>
                    <a:pt x="74" y="20"/>
                  </a:lnTo>
                  <a:lnTo>
                    <a:pt x="85" y="13"/>
                  </a:lnTo>
                  <a:lnTo>
                    <a:pt x="90" y="3"/>
                  </a:lnTo>
                  <a:lnTo>
                    <a:pt x="91" y="1"/>
                  </a:lnTo>
                  <a:lnTo>
                    <a:pt x="93" y="0"/>
                  </a:lnTo>
                  <a:lnTo>
                    <a:pt x="90" y="0"/>
                  </a:lnTo>
                  <a:lnTo>
                    <a:pt x="79" y="5"/>
                  </a:lnTo>
                  <a:lnTo>
                    <a:pt x="73" y="12"/>
                  </a:lnTo>
                  <a:lnTo>
                    <a:pt x="69" y="12"/>
                  </a:lnTo>
                  <a:lnTo>
                    <a:pt x="33" y="5"/>
                  </a:lnTo>
                  <a:lnTo>
                    <a:pt x="23" y="6"/>
                  </a:lnTo>
                  <a:lnTo>
                    <a:pt x="18" y="13"/>
                  </a:lnTo>
                  <a:lnTo>
                    <a:pt x="14" y="24"/>
                  </a:lnTo>
                  <a:lnTo>
                    <a:pt x="14" y="34"/>
                  </a:lnTo>
                  <a:lnTo>
                    <a:pt x="12" y="37"/>
                  </a:lnTo>
                  <a:lnTo>
                    <a:pt x="11" y="41"/>
                  </a:lnTo>
                  <a:lnTo>
                    <a:pt x="2" y="55"/>
                  </a:lnTo>
                  <a:lnTo>
                    <a:pt x="0" y="68"/>
                  </a:lnTo>
                  <a:lnTo>
                    <a:pt x="4" y="74"/>
                  </a:lnTo>
                  <a:lnTo>
                    <a:pt x="11" y="75"/>
                  </a:lnTo>
                  <a:lnTo>
                    <a:pt x="11" y="87"/>
                  </a:lnTo>
                  <a:lnTo>
                    <a:pt x="11" y="99"/>
                  </a:lnTo>
                  <a:lnTo>
                    <a:pt x="12" y="103"/>
                  </a:lnTo>
                  <a:lnTo>
                    <a:pt x="19" y="106"/>
                  </a:lnTo>
                  <a:lnTo>
                    <a:pt x="21" y="103"/>
                  </a:lnTo>
                  <a:lnTo>
                    <a:pt x="24" y="96"/>
                  </a:lnTo>
                  <a:lnTo>
                    <a:pt x="24" y="89"/>
                  </a:lnTo>
                  <a:lnTo>
                    <a:pt x="26" y="86"/>
                  </a:lnTo>
                  <a:lnTo>
                    <a:pt x="24" y="77"/>
                  </a:lnTo>
                  <a:lnTo>
                    <a:pt x="23" y="70"/>
                  </a:lnTo>
                  <a:lnTo>
                    <a:pt x="24" y="65"/>
                  </a:lnTo>
                  <a:lnTo>
                    <a:pt x="30" y="63"/>
                  </a:lnTo>
                  <a:lnTo>
                    <a:pt x="31" y="63"/>
                  </a:lnTo>
                  <a:lnTo>
                    <a:pt x="33" y="63"/>
                  </a:lnTo>
                  <a:lnTo>
                    <a:pt x="31" y="74"/>
                  </a:lnTo>
                  <a:lnTo>
                    <a:pt x="35" y="80"/>
                  </a:lnTo>
                  <a:lnTo>
                    <a:pt x="40" y="89"/>
                  </a:lnTo>
                  <a:lnTo>
                    <a:pt x="40" y="91"/>
                  </a:lnTo>
                  <a:lnTo>
                    <a:pt x="40" y="94"/>
                  </a:lnTo>
                  <a:lnTo>
                    <a:pt x="47" y="94"/>
                  </a:lnTo>
                  <a:lnTo>
                    <a:pt x="52" y="89"/>
                  </a:lnTo>
                  <a:lnTo>
                    <a:pt x="57" y="84"/>
                  </a:lnTo>
                  <a:lnTo>
                    <a:pt x="52" y="79"/>
                  </a:lnTo>
                  <a:lnTo>
                    <a:pt x="50" y="74"/>
                  </a:lnTo>
                  <a:lnTo>
                    <a:pt x="50" y="72"/>
                  </a:lnTo>
                  <a:lnTo>
                    <a:pt x="52" y="72"/>
                  </a:lnTo>
                  <a:lnTo>
                    <a:pt x="47" y="67"/>
                  </a:lnTo>
                  <a:lnTo>
                    <a:pt x="43" y="60"/>
                  </a:lnTo>
                  <a:lnTo>
                    <a:pt x="40" y="51"/>
                  </a:lnTo>
                  <a:lnTo>
                    <a:pt x="40" y="49"/>
                  </a:lnTo>
                  <a:lnTo>
                    <a:pt x="47" y="46"/>
                  </a:lnTo>
                  <a:lnTo>
                    <a:pt x="54" y="43"/>
                  </a:lnTo>
                  <a:lnTo>
                    <a:pt x="59" y="39"/>
                  </a:lnTo>
                  <a:lnTo>
                    <a:pt x="67" y="36"/>
                  </a:lnTo>
                  <a:lnTo>
                    <a:pt x="67" y="31"/>
                  </a:lnTo>
                  <a:lnTo>
                    <a:pt x="61" y="31"/>
                  </a:lnTo>
                  <a:lnTo>
                    <a:pt x="50" y="34"/>
                  </a:lnTo>
                  <a:lnTo>
                    <a:pt x="40" y="37"/>
                  </a:lnTo>
                  <a:lnTo>
                    <a:pt x="36" y="41"/>
                  </a:lnTo>
                  <a:lnTo>
                    <a:pt x="36" y="3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8" name="Freeform 199"/>
            <p:cNvSpPr>
              <a:spLocks/>
            </p:cNvSpPr>
            <p:nvPr/>
          </p:nvSpPr>
          <p:spPr bwMode="auto">
            <a:xfrm>
              <a:off x="6728619" y="4149725"/>
              <a:ext cx="233363" cy="68262"/>
            </a:xfrm>
            <a:custGeom>
              <a:avLst/>
              <a:gdLst/>
              <a:ahLst/>
              <a:cxnLst>
                <a:cxn ang="0">
                  <a:pos x="141" y="41"/>
                </a:cxn>
                <a:cxn ang="0">
                  <a:pos x="136" y="39"/>
                </a:cxn>
                <a:cxn ang="0">
                  <a:pos x="131" y="38"/>
                </a:cxn>
                <a:cxn ang="0">
                  <a:pos x="129" y="39"/>
                </a:cxn>
                <a:cxn ang="0">
                  <a:pos x="131" y="43"/>
                </a:cxn>
                <a:cxn ang="0">
                  <a:pos x="117" y="38"/>
                </a:cxn>
                <a:cxn ang="0">
                  <a:pos x="104" y="36"/>
                </a:cxn>
                <a:cxn ang="0">
                  <a:pos x="90" y="36"/>
                </a:cxn>
                <a:cxn ang="0">
                  <a:pos x="78" y="36"/>
                </a:cxn>
                <a:cxn ang="0">
                  <a:pos x="69" y="33"/>
                </a:cxn>
                <a:cxn ang="0">
                  <a:pos x="64" y="29"/>
                </a:cxn>
                <a:cxn ang="0">
                  <a:pos x="50" y="27"/>
                </a:cxn>
                <a:cxn ang="0">
                  <a:pos x="37" y="26"/>
                </a:cxn>
                <a:cxn ang="0">
                  <a:pos x="24" y="24"/>
                </a:cxn>
                <a:cxn ang="0">
                  <a:pos x="16" y="24"/>
                </a:cxn>
                <a:cxn ang="0">
                  <a:pos x="7" y="15"/>
                </a:cxn>
                <a:cxn ang="0">
                  <a:pos x="0" y="12"/>
                </a:cxn>
                <a:cxn ang="0">
                  <a:pos x="4" y="5"/>
                </a:cxn>
                <a:cxn ang="0">
                  <a:pos x="12" y="2"/>
                </a:cxn>
                <a:cxn ang="0">
                  <a:pos x="14" y="2"/>
                </a:cxn>
                <a:cxn ang="0">
                  <a:pos x="16" y="3"/>
                </a:cxn>
                <a:cxn ang="0">
                  <a:pos x="19" y="2"/>
                </a:cxn>
                <a:cxn ang="0">
                  <a:pos x="24" y="0"/>
                </a:cxn>
                <a:cxn ang="0">
                  <a:pos x="33" y="2"/>
                </a:cxn>
                <a:cxn ang="0">
                  <a:pos x="43" y="8"/>
                </a:cxn>
                <a:cxn ang="0">
                  <a:pos x="52" y="14"/>
                </a:cxn>
                <a:cxn ang="0">
                  <a:pos x="64" y="17"/>
                </a:cxn>
                <a:cxn ang="0">
                  <a:pos x="71" y="12"/>
                </a:cxn>
                <a:cxn ang="0">
                  <a:pos x="78" y="8"/>
                </a:cxn>
                <a:cxn ang="0">
                  <a:pos x="90" y="14"/>
                </a:cxn>
                <a:cxn ang="0">
                  <a:pos x="102" y="19"/>
                </a:cxn>
                <a:cxn ang="0">
                  <a:pos x="116" y="15"/>
                </a:cxn>
                <a:cxn ang="0">
                  <a:pos x="121" y="15"/>
                </a:cxn>
                <a:cxn ang="0">
                  <a:pos x="117" y="17"/>
                </a:cxn>
                <a:cxn ang="0">
                  <a:pos x="110" y="19"/>
                </a:cxn>
                <a:cxn ang="0">
                  <a:pos x="104" y="19"/>
                </a:cxn>
                <a:cxn ang="0">
                  <a:pos x="102" y="19"/>
                </a:cxn>
                <a:cxn ang="0">
                  <a:pos x="110" y="24"/>
                </a:cxn>
                <a:cxn ang="0">
                  <a:pos x="123" y="26"/>
                </a:cxn>
                <a:cxn ang="0">
                  <a:pos x="124" y="27"/>
                </a:cxn>
                <a:cxn ang="0">
                  <a:pos x="128" y="31"/>
                </a:cxn>
                <a:cxn ang="0">
                  <a:pos x="133" y="31"/>
                </a:cxn>
                <a:cxn ang="0">
                  <a:pos x="140" y="33"/>
                </a:cxn>
                <a:cxn ang="0">
                  <a:pos x="143" y="33"/>
                </a:cxn>
                <a:cxn ang="0">
                  <a:pos x="147" y="36"/>
                </a:cxn>
                <a:cxn ang="0">
                  <a:pos x="143" y="38"/>
                </a:cxn>
                <a:cxn ang="0">
                  <a:pos x="141" y="41"/>
                </a:cxn>
              </a:cxnLst>
              <a:rect l="0" t="0" r="r" b="b"/>
              <a:pathLst>
                <a:path w="147" h="43">
                  <a:moveTo>
                    <a:pt x="141" y="41"/>
                  </a:moveTo>
                  <a:lnTo>
                    <a:pt x="136" y="39"/>
                  </a:lnTo>
                  <a:lnTo>
                    <a:pt x="131" y="38"/>
                  </a:lnTo>
                  <a:lnTo>
                    <a:pt x="129" y="39"/>
                  </a:lnTo>
                  <a:lnTo>
                    <a:pt x="131" y="43"/>
                  </a:lnTo>
                  <a:lnTo>
                    <a:pt x="117" y="38"/>
                  </a:lnTo>
                  <a:lnTo>
                    <a:pt x="104" y="36"/>
                  </a:lnTo>
                  <a:lnTo>
                    <a:pt x="90" y="36"/>
                  </a:lnTo>
                  <a:lnTo>
                    <a:pt x="78" y="36"/>
                  </a:lnTo>
                  <a:lnTo>
                    <a:pt x="69" y="33"/>
                  </a:lnTo>
                  <a:lnTo>
                    <a:pt x="64" y="29"/>
                  </a:lnTo>
                  <a:lnTo>
                    <a:pt x="50" y="27"/>
                  </a:lnTo>
                  <a:lnTo>
                    <a:pt x="37" y="26"/>
                  </a:lnTo>
                  <a:lnTo>
                    <a:pt x="24" y="24"/>
                  </a:lnTo>
                  <a:lnTo>
                    <a:pt x="16" y="24"/>
                  </a:lnTo>
                  <a:lnTo>
                    <a:pt x="7" y="15"/>
                  </a:lnTo>
                  <a:lnTo>
                    <a:pt x="0" y="12"/>
                  </a:lnTo>
                  <a:lnTo>
                    <a:pt x="4" y="5"/>
                  </a:lnTo>
                  <a:lnTo>
                    <a:pt x="12" y="2"/>
                  </a:lnTo>
                  <a:lnTo>
                    <a:pt x="14" y="2"/>
                  </a:lnTo>
                  <a:lnTo>
                    <a:pt x="16" y="3"/>
                  </a:lnTo>
                  <a:lnTo>
                    <a:pt x="19" y="2"/>
                  </a:lnTo>
                  <a:lnTo>
                    <a:pt x="24" y="0"/>
                  </a:lnTo>
                  <a:lnTo>
                    <a:pt x="33" y="2"/>
                  </a:lnTo>
                  <a:lnTo>
                    <a:pt x="43" y="8"/>
                  </a:lnTo>
                  <a:lnTo>
                    <a:pt x="52" y="14"/>
                  </a:lnTo>
                  <a:lnTo>
                    <a:pt x="64" y="17"/>
                  </a:lnTo>
                  <a:lnTo>
                    <a:pt x="71" y="12"/>
                  </a:lnTo>
                  <a:lnTo>
                    <a:pt x="78" y="8"/>
                  </a:lnTo>
                  <a:lnTo>
                    <a:pt x="90" y="14"/>
                  </a:lnTo>
                  <a:lnTo>
                    <a:pt x="102" y="19"/>
                  </a:lnTo>
                  <a:lnTo>
                    <a:pt x="116" y="15"/>
                  </a:lnTo>
                  <a:lnTo>
                    <a:pt x="121" y="15"/>
                  </a:lnTo>
                  <a:lnTo>
                    <a:pt x="117" y="17"/>
                  </a:lnTo>
                  <a:lnTo>
                    <a:pt x="110" y="19"/>
                  </a:lnTo>
                  <a:lnTo>
                    <a:pt x="104" y="19"/>
                  </a:lnTo>
                  <a:lnTo>
                    <a:pt x="102" y="19"/>
                  </a:lnTo>
                  <a:lnTo>
                    <a:pt x="110" y="24"/>
                  </a:lnTo>
                  <a:lnTo>
                    <a:pt x="123" y="26"/>
                  </a:lnTo>
                  <a:lnTo>
                    <a:pt x="124" y="27"/>
                  </a:lnTo>
                  <a:lnTo>
                    <a:pt x="128" y="31"/>
                  </a:lnTo>
                  <a:lnTo>
                    <a:pt x="133" y="31"/>
                  </a:lnTo>
                  <a:lnTo>
                    <a:pt x="140" y="33"/>
                  </a:lnTo>
                  <a:lnTo>
                    <a:pt x="143" y="33"/>
                  </a:lnTo>
                  <a:lnTo>
                    <a:pt x="147" y="36"/>
                  </a:lnTo>
                  <a:lnTo>
                    <a:pt x="143" y="38"/>
                  </a:lnTo>
                  <a:lnTo>
                    <a:pt x="141"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29" name="Freeform 200"/>
            <p:cNvSpPr>
              <a:spLocks/>
            </p:cNvSpPr>
            <p:nvPr/>
          </p:nvSpPr>
          <p:spPr bwMode="auto">
            <a:xfrm>
              <a:off x="7060407" y="4203700"/>
              <a:ext cx="69850" cy="17462"/>
            </a:xfrm>
            <a:custGeom>
              <a:avLst/>
              <a:gdLst/>
              <a:ahLst/>
              <a:cxnLst>
                <a:cxn ang="0">
                  <a:pos x="29" y="11"/>
                </a:cxn>
                <a:cxn ang="0">
                  <a:pos x="18" y="11"/>
                </a:cxn>
                <a:cxn ang="0">
                  <a:pos x="10" y="11"/>
                </a:cxn>
                <a:cxn ang="0">
                  <a:pos x="3" y="9"/>
                </a:cxn>
                <a:cxn ang="0">
                  <a:pos x="0" y="5"/>
                </a:cxn>
                <a:cxn ang="0">
                  <a:pos x="1" y="2"/>
                </a:cxn>
                <a:cxn ang="0">
                  <a:pos x="8" y="2"/>
                </a:cxn>
                <a:cxn ang="0">
                  <a:pos x="18" y="4"/>
                </a:cxn>
                <a:cxn ang="0">
                  <a:pos x="29" y="5"/>
                </a:cxn>
                <a:cxn ang="0">
                  <a:pos x="36" y="4"/>
                </a:cxn>
                <a:cxn ang="0">
                  <a:pos x="44" y="0"/>
                </a:cxn>
                <a:cxn ang="0">
                  <a:pos x="37" y="7"/>
                </a:cxn>
                <a:cxn ang="0">
                  <a:pos x="29" y="11"/>
                </a:cxn>
              </a:cxnLst>
              <a:rect l="0" t="0" r="r" b="b"/>
              <a:pathLst>
                <a:path w="44" h="11">
                  <a:moveTo>
                    <a:pt x="29" y="11"/>
                  </a:moveTo>
                  <a:lnTo>
                    <a:pt x="18" y="11"/>
                  </a:lnTo>
                  <a:lnTo>
                    <a:pt x="10" y="11"/>
                  </a:lnTo>
                  <a:lnTo>
                    <a:pt x="3" y="9"/>
                  </a:lnTo>
                  <a:lnTo>
                    <a:pt x="0" y="5"/>
                  </a:lnTo>
                  <a:lnTo>
                    <a:pt x="1" y="2"/>
                  </a:lnTo>
                  <a:lnTo>
                    <a:pt x="8" y="2"/>
                  </a:lnTo>
                  <a:lnTo>
                    <a:pt x="18" y="4"/>
                  </a:lnTo>
                  <a:lnTo>
                    <a:pt x="29" y="5"/>
                  </a:lnTo>
                  <a:lnTo>
                    <a:pt x="36" y="4"/>
                  </a:lnTo>
                  <a:lnTo>
                    <a:pt x="44" y="0"/>
                  </a:lnTo>
                  <a:lnTo>
                    <a:pt x="37" y="7"/>
                  </a:lnTo>
                  <a:lnTo>
                    <a:pt x="29"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0" name="Freeform 201"/>
            <p:cNvSpPr>
              <a:spLocks/>
            </p:cNvSpPr>
            <p:nvPr/>
          </p:nvSpPr>
          <p:spPr bwMode="auto">
            <a:xfrm>
              <a:off x="6988969" y="4210050"/>
              <a:ext cx="49213" cy="15875"/>
            </a:xfrm>
            <a:custGeom>
              <a:avLst/>
              <a:gdLst/>
              <a:ahLst/>
              <a:cxnLst>
                <a:cxn ang="0">
                  <a:pos x="31" y="7"/>
                </a:cxn>
                <a:cxn ang="0">
                  <a:pos x="27" y="7"/>
                </a:cxn>
                <a:cxn ang="0">
                  <a:pos x="22" y="5"/>
                </a:cxn>
                <a:cxn ang="0">
                  <a:pos x="15" y="7"/>
                </a:cxn>
                <a:cxn ang="0">
                  <a:pos x="10" y="10"/>
                </a:cxn>
                <a:cxn ang="0">
                  <a:pos x="3" y="8"/>
                </a:cxn>
                <a:cxn ang="0">
                  <a:pos x="0" y="7"/>
                </a:cxn>
                <a:cxn ang="0">
                  <a:pos x="2" y="1"/>
                </a:cxn>
                <a:cxn ang="0">
                  <a:pos x="8" y="1"/>
                </a:cxn>
                <a:cxn ang="0">
                  <a:pos x="14" y="1"/>
                </a:cxn>
                <a:cxn ang="0">
                  <a:pos x="19" y="3"/>
                </a:cxn>
                <a:cxn ang="0">
                  <a:pos x="19" y="0"/>
                </a:cxn>
                <a:cxn ang="0">
                  <a:pos x="31" y="0"/>
                </a:cxn>
                <a:cxn ang="0">
                  <a:pos x="31" y="3"/>
                </a:cxn>
                <a:cxn ang="0">
                  <a:pos x="31" y="7"/>
                </a:cxn>
              </a:cxnLst>
              <a:rect l="0" t="0" r="r" b="b"/>
              <a:pathLst>
                <a:path w="31" h="10">
                  <a:moveTo>
                    <a:pt x="31" y="7"/>
                  </a:moveTo>
                  <a:lnTo>
                    <a:pt x="27" y="7"/>
                  </a:lnTo>
                  <a:lnTo>
                    <a:pt x="22" y="5"/>
                  </a:lnTo>
                  <a:lnTo>
                    <a:pt x="15" y="7"/>
                  </a:lnTo>
                  <a:lnTo>
                    <a:pt x="10" y="10"/>
                  </a:lnTo>
                  <a:lnTo>
                    <a:pt x="3" y="8"/>
                  </a:lnTo>
                  <a:lnTo>
                    <a:pt x="0" y="7"/>
                  </a:lnTo>
                  <a:lnTo>
                    <a:pt x="2" y="1"/>
                  </a:lnTo>
                  <a:lnTo>
                    <a:pt x="8" y="1"/>
                  </a:lnTo>
                  <a:lnTo>
                    <a:pt x="14" y="1"/>
                  </a:lnTo>
                  <a:lnTo>
                    <a:pt x="19" y="3"/>
                  </a:lnTo>
                  <a:lnTo>
                    <a:pt x="19" y="0"/>
                  </a:lnTo>
                  <a:lnTo>
                    <a:pt x="31" y="0"/>
                  </a:lnTo>
                  <a:lnTo>
                    <a:pt x="31" y="3"/>
                  </a:lnTo>
                  <a:lnTo>
                    <a:pt x="31"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1" name="Freeform 202"/>
            <p:cNvSpPr>
              <a:spLocks/>
            </p:cNvSpPr>
            <p:nvPr/>
          </p:nvSpPr>
          <p:spPr bwMode="auto">
            <a:xfrm>
              <a:off x="7039769" y="4229100"/>
              <a:ext cx="36513" cy="26987"/>
            </a:xfrm>
            <a:custGeom>
              <a:avLst/>
              <a:gdLst/>
              <a:ahLst/>
              <a:cxnLst>
                <a:cxn ang="0">
                  <a:pos x="18" y="17"/>
                </a:cxn>
                <a:cxn ang="0">
                  <a:pos x="14" y="14"/>
                </a:cxn>
                <a:cxn ang="0">
                  <a:pos x="14" y="10"/>
                </a:cxn>
                <a:cxn ang="0">
                  <a:pos x="4" y="8"/>
                </a:cxn>
                <a:cxn ang="0">
                  <a:pos x="0" y="5"/>
                </a:cxn>
                <a:cxn ang="0">
                  <a:pos x="4" y="0"/>
                </a:cxn>
                <a:cxn ang="0">
                  <a:pos x="11" y="1"/>
                </a:cxn>
                <a:cxn ang="0">
                  <a:pos x="13" y="1"/>
                </a:cxn>
                <a:cxn ang="0">
                  <a:pos x="16" y="1"/>
                </a:cxn>
                <a:cxn ang="0">
                  <a:pos x="19" y="7"/>
                </a:cxn>
                <a:cxn ang="0">
                  <a:pos x="23" y="14"/>
                </a:cxn>
                <a:cxn ang="0">
                  <a:pos x="21" y="15"/>
                </a:cxn>
                <a:cxn ang="0">
                  <a:pos x="19" y="17"/>
                </a:cxn>
                <a:cxn ang="0">
                  <a:pos x="18" y="17"/>
                </a:cxn>
              </a:cxnLst>
              <a:rect l="0" t="0" r="r" b="b"/>
              <a:pathLst>
                <a:path w="23" h="17">
                  <a:moveTo>
                    <a:pt x="18" y="17"/>
                  </a:moveTo>
                  <a:lnTo>
                    <a:pt x="14" y="14"/>
                  </a:lnTo>
                  <a:lnTo>
                    <a:pt x="14" y="10"/>
                  </a:lnTo>
                  <a:lnTo>
                    <a:pt x="4" y="8"/>
                  </a:lnTo>
                  <a:lnTo>
                    <a:pt x="0" y="5"/>
                  </a:lnTo>
                  <a:lnTo>
                    <a:pt x="4" y="0"/>
                  </a:lnTo>
                  <a:lnTo>
                    <a:pt x="11" y="1"/>
                  </a:lnTo>
                  <a:lnTo>
                    <a:pt x="13" y="1"/>
                  </a:lnTo>
                  <a:lnTo>
                    <a:pt x="16" y="1"/>
                  </a:lnTo>
                  <a:lnTo>
                    <a:pt x="19" y="7"/>
                  </a:lnTo>
                  <a:lnTo>
                    <a:pt x="23" y="14"/>
                  </a:lnTo>
                  <a:lnTo>
                    <a:pt x="21" y="15"/>
                  </a:lnTo>
                  <a:lnTo>
                    <a:pt x="19" y="17"/>
                  </a:lnTo>
                  <a:lnTo>
                    <a:pt x="18"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2" name="Freeform 203"/>
            <p:cNvSpPr>
              <a:spLocks/>
            </p:cNvSpPr>
            <p:nvPr/>
          </p:nvSpPr>
          <p:spPr bwMode="auto">
            <a:xfrm>
              <a:off x="6971507" y="4206875"/>
              <a:ext cx="14288" cy="14287"/>
            </a:xfrm>
            <a:custGeom>
              <a:avLst/>
              <a:gdLst/>
              <a:ahLst/>
              <a:cxnLst>
                <a:cxn ang="0">
                  <a:pos x="0" y="0"/>
                </a:cxn>
                <a:cxn ang="0">
                  <a:pos x="4" y="0"/>
                </a:cxn>
                <a:cxn ang="0">
                  <a:pos x="6" y="2"/>
                </a:cxn>
                <a:cxn ang="0">
                  <a:pos x="9" y="3"/>
                </a:cxn>
                <a:cxn ang="0">
                  <a:pos x="6" y="7"/>
                </a:cxn>
                <a:cxn ang="0">
                  <a:pos x="4" y="9"/>
                </a:cxn>
                <a:cxn ang="0">
                  <a:pos x="0" y="7"/>
                </a:cxn>
                <a:cxn ang="0">
                  <a:pos x="0" y="5"/>
                </a:cxn>
                <a:cxn ang="0">
                  <a:pos x="0" y="2"/>
                </a:cxn>
                <a:cxn ang="0">
                  <a:pos x="0" y="0"/>
                </a:cxn>
              </a:cxnLst>
              <a:rect l="0" t="0" r="r" b="b"/>
              <a:pathLst>
                <a:path w="9" h="9">
                  <a:moveTo>
                    <a:pt x="0" y="0"/>
                  </a:moveTo>
                  <a:lnTo>
                    <a:pt x="4" y="0"/>
                  </a:lnTo>
                  <a:lnTo>
                    <a:pt x="6" y="2"/>
                  </a:lnTo>
                  <a:lnTo>
                    <a:pt x="9" y="3"/>
                  </a:lnTo>
                  <a:lnTo>
                    <a:pt x="6" y="7"/>
                  </a:lnTo>
                  <a:lnTo>
                    <a:pt x="4" y="9"/>
                  </a:lnTo>
                  <a:lnTo>
                    <a:pt x="0" y="7"/>
                  </a:lnTo>
                  <a:lnTo>
                    <a:pt x="0" y="5"/>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3" name="Freeform 204"/>
            <p:cNvSpPr>
              <a:spLocks/>
            </p:cNvSpPr>
            <p:nvPr/>
          </p:nvSpPr>
          <p:spPr bwMode="auto">
            <a:xfrm>
              <a:off x="7141369" y="4210050"/>
              <a:ext cx="82550" cy="46037"/>
            </a:xfrm>
            <a:custGeom>
              <a:avLst/>
              <a:gdLst/>
              <a:ahLst/>
              <a:cxnLst>
                <a:cxn ang="0">
                  <a:pos x="22" y="13"/>
                </a:cxn>
                <a:cxn ang="0">
                  <a:pos x="21" y="15"/>
                </a:cxn>
                <a:cxn ang="0">
                  <a:pos x="21" y="20"/>
                </a:cxn>
                <a:cxn ang="0">
                  <a:pos x="14" y="26"/>
                </a:cxn>
                <a:cxn ang="0">
                  <a:pos x="4" y="29"/>
                </a:cxn>
                <a:cxn ang="0">
                  <a:pos x="0" y="27"/>
                </a:cxn>
                <a:cxn ang="0">
                  <a:pos x="0" y="26"/>
                </a:cxn>
                <a:cxn ang="0">
                  <a:pos x="5" y="13"/>
                </a:cxn>
                <a:cxn ang="0">
                  <a:pos x="17" y="12"/>
                </a:cxn>
                <a:cxn ang="0">
                  <a:pos x="19" y="8"/>
                </a:cxn>
                <a:cxn ang="0">
                  <a:pos x="21" y="7"/>
                </a:cxn>
                <a:cxn ang="0">
                  <a:pos x="26" y="1"/>
                </a:cxn>
                <a:cxn ang="0">
                  <a:pos x="36" y="1"/>
                </a:cxn>
                <a:cxn ang="0">
                  <a:pos x="45" y="0"/>
                </a:cxn>
                <a:cxn ang="0">
                  <a:pos x="52" y="3"/>
                </a:cxn>
                <a:cxn ang="0">
                  <a:pos x="45" y="7"/>
                </a:cxn>
                <a:cxn ang="0">
                  <a:pos x="38" y="10"/>
                </a:cxn>
                <a:cxn ang="0">
                  <a:pos x="29" y="12"/>
                </a:cxn>
                <a:cxn ang="0">
                  <a:pos x="22" y="13"/>
                </a:cxn>
              </a:cxnLst>
              <a:rect l="0" t="0" r="r" b="b"/>
              <a:pathLst>
                <a:path w="52" h="29">
                  <a:moveTo>
                    <a:pt x="22" y="13"/>
                  </a:moveTo>
                  <a:lnTo>
                    <a:pt x="21" y="15"/>
                  </a:lnTo>
                  <a:lnTo>
                    <a:pt x="21" y="20"/>
                  </a:lnTo>
                  <a:lnTo>
                    <a:pt x="14" y="26"/>
                  </a:lnTo>
                  <a:lnTo>
                    <a:pt x="4" y="29"/>
                  </a:lnTo>
                  <a:lnTo>
                    <a:pt x="0" y="27"/>
                  </a:lnTo>
                  <a:lnTo>
                    <a:pt x="0" y="26"/>
                  </a:lnTo>
                  <a:lnTo>
                    <a:pt x="5" y="13"/>
                  </a:lnTo>
                  <a:lnTo>
                    <a:pt x="17" y="12"/>
                  </a:lnTo>
                  <a:lnTo>
                    <a:pt x="19" y="8"/>
                  </a:lnTo>
                  <a:lnTo>
                    <a:pt x="21" y="7"/>
                  </a:lnTo>
                  <a:lnTo>
                    <a:pt x="26" y="1"/>
                  </a:lnTo>
                  <a:lnTo>
                    <a:pt x="36" y="1"/>
                  </a:lnTo>
                  <a:lnTo>
                    <a:pt x="45" y="0"/>
                  </a:lnTo>
                  <a:lnTo>
                    <a:pt x="52" y="3"/>
                  </a:lnTo>
                  <a:lnTo>
                    <a:pt x="45" y="7"/>
                  </a:lnTo>
                  <a:lnTo>
                    <a:pt x="38" y="10"/>
                  </a:lnTo>
                  <a:lnTo>
                    <a:pt x="29" y="12"/>
                  </a:lnTo>
                  <a:lnTo>
                    <a:pt x="22"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4" name="Freeform 205"/>
            <p:cNvSpPr>
              <a:spLocks/>
            </p:cNvSpPr>
            <p:nvPr/>
          </p:nvSpPr>
          <p:spPr bwMode="auto">
            <a:xfrm>
              <a:off x="7384257" y="4143375"/>
              <a:ext cx="14288" cy="33337"/>
            </a:xfrm>
            <a:custGeom>
              <a:avLst/>
              <a:gdLst/>
              <a:ahLst/>
              <a:cxnLst>
                <a:cxn ang="0">
                  <a:pos x="7" y="0"/>
                </a:cxn>
                <a:cxn ang="0">
                  <a:pos x="7" y="2"/>
                </a:cxn>
                <a:cxn ang="0">
                  <a:pos x="9" y="6"/>
                </a:cxn>
                <a:cxn ang="0">
                  <a:pos x="7" y="9"/>
                </a:cxn>
                <a:cxn ang="0">
                  <a:pos x="5" y="11"/>
                </a:cxn>
                <a:cxn ang="0">
                  <a:pos x="5" y="18"/>
                </a:cxn>
                <a:cxn ang="0">
                  <a:pos x="2" y="21"/>
                </a:cxn>
                <a:cxn ang="0">
                  <a:pos x="0" y="19"/>
                </a:cxn>
                <a:cxn ang="0">
                  <a:pos x="0" y="18"/>
                </a:cxn>
                <a:cxn ang="0">
                  <a:pos x="2" y="11"/>
                </a:cxn>
                <a:cxn ang="0">
                  <a:pos x="4" y="9"/>
                </a:cxn>
                <a:cxn ang="0">
                  <a:pos x="4" y="2"/>
                </a:cxn>
                <a:cxn ang="0">
                  <a:pos x="7" y="0"/>
                </a:cxn>
              </a:cxnLst>
              <a:rect l="0" t="0" r="r" b="b"/>
              <a:pathLst>
                <a:path w="9" h="21">
                  <a:moveTo>
                    <a:pt x="7" y="0"/>
                  </a:moveTo>
                  <a:lnTo>
                    <a:pt x="7" y="2"/>
                  </a:lnTo>
                  <a:lnTo>
                    <a:pt x="9" y="6"/>
                  </a:lnTo>
                  <a:lnTo>
                    <a:pt x="7" y="9"/>
                  </a:lnTo>
                  <a:lnTo>
                    <a:pt x="5" y="11"/>
                  </a:lnTo>
                  <a:lnTo>
                    <a:pt x="5" y="18"/>
                  </a:lnTo>
                  <a:lnTo>
                    <a:pt x="2" y="21"/>
                  </a:lnTo>
                  <a:lnTo>
                    <a:pt x="0" y="19"/>
                  </a:lnTo>
                  <a:lnTo>
                    <a:pt x="0" y="18"/>
                  </a:lnTo>
                  <a:lnTo>
                    <a:pt x="2" y="11"/>
                  </a:lnTo>
                  <a:lnTo>
                    <a:pt x="4" y="9"/>
                  </a:lnTo>
                  <a:lnTo>
                    <a:pt x="4" y="2"/>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5" name="Freeform 206"/>
            <p:cNvSpPr>
              <a:spLocks/>
            </p:cNvSpPr>
            <p:nvPr/>
          </p:nvSpPr>
          <p:spPr bwMode="auto">
            <a:xfrm>
              <a:off x="7201694" y="4084638"/>
              <a:ext cx="22225" cy="20637"/>
            </a:xfrm>
            <a:custGeom>
              <a:avLst/>
              <a:gdLst/>
              <a:ahLst/>
              <a:cxnLst>
                <a:cxn ang="0">
                  <a:pos x="14" y="7"/>
                </a:cxn>
                <a:cxn ang="0">
                  <a:pos x="10" y="10"/>
                </a:cxn>
                <a:cxn ang="0">
                  <a:pos x="9" y="13"/>
                </a:cxn>
                <a:cxn ang="0">
                  <a:pos x="2" y="10"/>
                </a:cxn>
                <a:cxn ang="0">
                  <a:pos x="0" y="3"/>
                </a:cxn>
                <a:cxn ang="0">
                  <a:pos x="2" y="0"/>
                </a:cxn>
                <a:cxn ang="0">
                  <a:pos x="7" y="0"/>
                </a:cxn>
                <a:cxn ang="0">
                  <a:pos x="10" y="1"/>
                </a:cxn>
                <a:cxn ang="0">
                  <a:pos x="14" y="7"/>
                </a:cxn>
              </a:cxnLst>
              <a:rect l="0" t="0" r="r" b="b"/>
              <a:pathLst>
                <a:path w="14" h="13">
                  <a:moveTo>
                    <a:pt x="14" y="7"/>
                  </a:moveTo>
                  <a:lnTo>
                    <a:pt x="10" y="10"/>
                  </a:lnTo>
                  <a:lnTo>
                    <a:pt x="9" y="13"/>
                  </a:lnTo>
                  <a:lnTo>
                    <a:pt x="2" y="10"/>
                  </a:lnTo>
                  <a:lnTo>
                    <a:pt x="0" y="3"/>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6" name="Freeform 207"/>
            <p:cNvSpPr>
              <a:spLocks/>
            </p:cNvSpPr>
            <p:nvPr/>
          </p:nvSpPr>
          <p:spPr bwMode="auto">
            <a:xfrm>
              <a:off x="7242969" y="4084638"/>
              <a:ext cx="65088" cy="19050"/>
            </a:xfrm>
            <a:custGeom>
              <a:avLst/>
              <a:gdLst/>
              <a:ahLst/>
              <a:cxnLst>
                <a:cxn ang="0">
                  <a:pos x="36" y="1"/>
                </a:cxn>
                <a:cxn ang="0">
                  <a:pos x="38" y="5"/>
                </a:cxn>
                <a:cxn ang="0">
                  <a:pos x="41" y="10"/>
                </a:cxn>
                <a:cxn ang="0">
                  <a:pos x="39" y="10"/>
                </a:cxn>
                <a:cxn ang="0">
                  <a:pos x="38" y="12"/>
                </a:cxn>
                <a:cxn ang="0">
                  <a:pos x="29" y="8"/>
                </a:cxn>
                <a:cxn ang="0">
                  <a:pos x="20" y="7"/>
                </a:cxn>
                <a:cxn ang="0">
                  <a:pos x="14" y="7"/>
                </a:cxn>
                <a:cxn ang="0">
                  <a:pos x="8" y="7"/>
                </a:cxn>
                <a:cxn ang="0">
                  <a:pos x="3" y="5"/>
                </a:cxn>
                <a:cxn ang="0">
                  <a:pos x="0" y="3"/>
                </a:cxn>
                <a:cxn ang="0">
                  <a:pos x="0" y="0"/>
                </a:cxn>
                <a:cxn ang="0">
                  <a:pos x="3" y="0"/>
                </a:cxn>
                <a:cxn ang="0">
                  <a:pos x="26" y="0"/>
                </a:cxn>
                <a:cxn ang="0">
                  <a:pos x="29" y="1"/>
                </a:cxn>
                <a:cxn ang="0">
                  <a:pos x="34" y="1"/>
                </a:cxn>
                <a:cxn ang="0">
                  <a:pos x="36" y="1"/>
                </a:cxn>
              </a:cxnLst>
              <a:rect l="0" t="0" r="r" b="b"/>
              <a:pathLst>
                <a:path w="41" h="12">
                  <a:moveTo>
                    <a:pt x="36" y="1"/>
                  </a:moveTo>
                  <a:lnTo>
                    <a:pt x="38" y="5"/>
                  </a:lnTo>
                  <a:lnTo>
                    <a:pt x="41" y="10"/>
                  </a:lnTo>
                  <a:lnTo>
                    <a:pt x="39" y="10"/>
                  </a:lnTo>
                  <a:lnTo>
                    <a:pt x="38" y="12"/>
                  </a:lnTo>
                  <a:lnTo>
                    <a:pt x="29" y="8"/>
                  </a:lnTo>
                  <a:lnTo>
                    <a:pt x="20" y="7"/>
                  </a:lnTo>
                  <a:lnTo>
                    <a:pt x="14" y="7"/>
                  </a:lnTo>
                  <a:lnTo>
                    <a:pt x="8" y="7"/>
                  </a:lnTo>
                  <a:lnTo>
                    <a:pt x="3" y="5"/>
                  </a:lnTo>
                  <a:lnTo>
                    <a:pt x="0" y="3"/>
                  </a:lnTo>
                  <a:lnTo>
                    <a:pt x="0" y="0"/>
                  </a:lnTo>
                  <a:lnTo>
                    <a:pt x="3" y="0"/>
                  </a:lnTo>
                  <a:lnTo>
                    <a:pt x="26" y="0"/>
                  </a:lnTo>
                  <a:lnTo>
                    <a:pt x="29" y="1"/>
                  </a:lnTo>
                  <a:lnTo>
                    <a:pt x="34" y="1"/>
                  </a:lnTo>
                  <a:lnTo>
                    <a:pt x="36"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7" name="Freeform 208"/>
            <p:cNvSpPr>
              <a:spLocks/>
            </p:cNvSpPr>
            <p:nvPr/>
          </p:nvSpPr>
          <p:spPr bwMode="auto">
            <a:xfrm>
              <a:off x="7231857" y="3963988"/>
              <a:ext cx="26988" cy="63500"/>
            </a:xfrm>
            <a:custGeom>
              <a:avLst/>
              <a:gdLst/>
              <a:ahLst/>
              <a:cxnLst>
                <a:cxn ang="0">
                  <a:pos x="5" y="31"/>
                </a:cxn>
                <a:cxn ang="0">
                  <a:pos x="5" y="27"/>
                </a:cxn>
                <a:cxn ang="0">
                  <a:pos x="10" y="27"/>
                </a:cxn>
                <a:cxn ang="0">
                  <a:pos x="17" y="27"/>
                </a:cxn>
                <a:cxn ang="0">
                  <a:pos x="14" y="22"/>
                </a:cxn>
                <a:cxn ang="0">
                  <a:pos x="12" y="19"/>
                </a:cxn>
                <a:cxn ang="0">
                  <a:pos x="14" y="15"/>
                </a:cxn>
                <a:cxn ang="0">
                  <a:pos x="17" y="12"/>
                </a:cxn>
                <a:cxn ang="0">
                  <a:pos x="7" y="7"/>
                </a:cxn>
                <a:cxn ang="0">
                  <a:pos x="5" y="0"/>
                </a:cxn>
                <a:cxn ang="0">
                  <a:pos x="0" y="3"/>
                </a:cxn>
                <a:cxn ang="0">
                  <a:pos x="0" y="10"/>
                </a:cxn>
                <a:cxn ang="0">
                  <a:pos x="2" y="15"/>
                </a:cxn>
                <a:cxn ang="0">
                  <a:pos x="3" y="24"/>
                </a:cxn>
                <a:cxn ang="0">
                  <a:pos x="3" y="27"/>
                </a:cxn>
                <a:cxn ang="0">
                  <a:pos x="3" y="31"/>
                </a:cxn>
                <a:cxn ang="0">
                  <a:pos x="3" y="34"/>
                </a:cxn>
                <a:cxn ang="0">
                  <a:pos x="10" y="40"/>
                </a:cxn>
                <a:cxn ang="0">
                  <a:pos x="7" y="34"/>
                </a:cxn>
                <a:cxn ang="0">
                  <a:pos x="5" y="31"/>
                </a:cxn>
              </a:cxnLst>
              <a:rect l="0" t="0" r="r" b="b"/>
              <a:pathLst>
                <a:path w="17" h="40">
                  <a:moveTo>
                    <a:pt x="5" y="31"/>
                  </a:moveTo>
                  <a:lnTo>
                    <a:pt x="5" y="27"/>
                  </a:lnTo>
                  <a:lnTo>
                    <a:pt x="10" y="27"/>
                  </a:lnTo>
                  <a:lnTo>
                    <a:pt x="17" y="27"/>
                  </a:lnTo>
                  <a:lnTo>
                    <a:pt x="14" y="22"/>
                  </a:lnTo>
                  <a:lnTo>
                    <a:pt x="12" y="19"/>
                  </a:lnTo>
                  <a:lnTo>
                    <a:pt x="14" y="15"/>
                  </a:lnTo>
                  <a:lnTo>
                    <a:pt x="17" y="12"/>
                  </a:lnTo>
                  <a:lnTo>
                    <a:pt x="7" y="7"/>
                  </a:lnTo>
                  <a:lnTo>
                    <a:pt x="5" y="0"/>
                  </a:lnTo>
                  <a:lnTo>
                    <a:pt x="0" y="3"/>
                  </a:lnTo>
                  <a:lnTo>
                    <a:pt x="0" y="10"/>
                  </a:lnTo>
                  <a:lnTo>
                    <a:pt x="2" y="15"/>
                  </a:lnTo>
                  <a:lnTo>
                    <a:pt x="3" y="24"/>
                  </a:lnTo>
                  <a:lnTo>
                    <a:pt x="3" y="27"/>
                  </a:lnTo>
                  <a:lnTo>
                    <a:pt x="3" y="31"/>
                  </a:lnTo>
                  <a:lnTo>
                    <a:pt x="3" y="34"/>
                  </a:lnTo>
                  <a:lnTo>
                    <a:pt x="10" y="40"/>
                  </a:lnTo>
                  <a:lnTo>
                    <a:pt x="7" y="34"/>
                  </a:lnTo>
                  <a:lnTo>
                    <a:pt x="5"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8" name="Freeform 209"/>
            <p:cNvSpPr>
              <a:spLocks/>
            </p:cNvSpPr>
            <p:nvPr/>
          </p:nvSpPr>
          <p:spPr bwMode="auto">
            <a:xfrm>
              <a:off x="7717632" y="4111625"/>
              <a:ext cx="90488" cy="50800"/>
            </a:xfrm>
            <a:custGeom>
              <a:avLst/>
              <a:gdLst/>
              <a:ahLst/>
              <a:cxnLst>
                <a:cxn ang="0">
                  <a:pos x="16" y="31"/>
                </a:cxn>
                <a:cxn ang="0">
                  <a:pos x="5" y="26"/>
                </a:cxn>
                <a:cxn ang="0">
                  <a:pos x="0" y="20"/>
                </a:cxn>
                <a:cxn ang="0">
                  <a:pos x="16" y="20"/>
                </a:cxn>
                <a:cxn ang="0">
                  <a:pos x="17" y="19"/>
                </a:cxn>
                <a:cxn ang="0">
                  <a:pos x="21" y="19"/>
                </a:cxn>
                <a:cxn ang="0">
                  <a:pos x="31" y="15"/>
                </a:cxn>
                <a:cxn ang="0">
                  <a:pos x="41" y="14"/>
                </a:cxn>
                <a:cxn ang="0">
                  <a:pos x="46" y="5"/>
                </a:cxn>
                <a:cxn ang="0">
                  <a:pos x="52" y="0"/>
                </a:cxn>
                <a:cxn ang="0">
                  <a:pos x="55" y="2"/>
                </a:cxn>
                <a:cxn ang="0">
                  <a:pos x="57" y="7"/>
                </a:cxn>
                <a:cxn ang="0">
                  <a:pos x="52" y="15"/>
                </a:cxn>
                <a:cxn ang="0">
                  <a:pos x="46" y="26"/>
                </a:cxn>
                <a:cxn ang="0">
                  <a:pos x="34" y="29"/>
                </a:cxn>
                <a:cxn ang="0">
                  <a:pos x="22" y="32"/>
                </a:cxn>
                <a:cxn ang="0">
                  <a:pos x="16" y="29"/>
                </a:cxn>
                <a:cxn ang="0">
                  <a:pos x="12" y="27"/>
                </a:cxn>
                <a:cxn ang="0">
                  <a:pos x="16" y="31"/>
                </a:cxn>
              </a:cxnLst>
              <a:rect l="0" t="0" r="r" b="b"/>
              <a:pathLst>
                <a:path w="57" h="32">
                  <a:moveTo>
                    <a:pt x="16" y="31"/>
                  </a:moveTo>
                  <a:lnTo>
                    <a:pt x="5" y="26"/>
                  </a:lnTo>
                  <a:lnTo>
                    <a:pt x="0" y="20"/>
                  </a:lnTo>
                  <a:lnTo>
                    <a:pt x="16" y="20"/>
                  </a:lnTo>
                  <a:lnTo>
                    <a:pt x="17" y="19"/>
                  </a:lnTo>
                  <a:lnTo>
                    <a:pt x="21" y="19"/>
                  </a:lnTo>
                  <a:lnTo>
                    <a:pt x="31" y="15"/>
                  </a:lnTo>
                  <a:lnTo>
                    <a:pt x="41" y="14"/>
                  </a:lnTo>
                  <a:lnTo>
                    <a:pt x="46" y="5"/>
                  </a:lnTo>
                  <a:lnTo>
                    <a:pt x="52" y="0"/>
                  </a:lnTo>
                  <a:lnTo>
                    <a:pt x="55" y="2"/>
                  </a:lnTo>
                  <a:lnTo>
                    <a:pt x="57" y="7"/>
                  </a:lnTo>
                  <a:lnTo>
                    <a:pt x="52" y="15"/>
                  </a:lnTo>
                  <a:lnTo>
                    <a:pt x="46" y="26"/>
                  </a:lnTo>
                  <a:lnTo>
                    <a:pt x="34" y="29"/>
                  </a:lnTo>
                  <a:lnTo>
                    <a:pt x="22" y="32"/>
                  </a:lnTo>
                  <a:lnTo>
                    <a:pt x="16" y="29"/>
                  </a:lnTo>
                  <a:lnTo>
                    <a:pt x="12" y="27"/>
                  </a:lnTo>
                  <a:lnTo>
                    <a:pt x="1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39" name="Freeform 210"/>
            <p:cNvSpPr>
              <a:spLocks/>
            </p:cNvSpPr>
            <p:nvPr/>
          </p:nvSpPr>
          <p:spPr bwMode="auto">
            <a:xfrm>
              <a:off x="7308057" y="4021138"/>
              <a:ext cx="466725" cy="242887"/>
            </a:xfrm>
            <a:custGeom>
              <a:avLst/>
              <a:gdLst/>
              <a:ahLst/>
              <a:cxnLst>
                <a:cxn ang="0">
                  <a:pos x="162" y="40"/>
                </a:cxn>
                <a:cxn ang="0">
                  <a:pos x="191" y="48"/>
                </a:cxn>
                <a:cxn ang="0">
                  <a:pos x="205" y="57"/>
                </a:cxn>
                <a:cxn ang="0">
                  <a:pos x="225" y="74"/>
                </a:cxn>
                <a:cxn ang="0">
                  <a:pos x="249" y="89"/>
                </a:cxn>
                <a:cxn ang="0">
                  <a:pos x="243" y="103"/>
                </a:cxn>
                <a:cxn ang="0">
                  <a:pos x="256" y="124"/>
                </a:cxn>
                <a:cxn ang="0">
                  <a:pos x="270" y="131"/>
                </a:cxn>
                <a:cxn ang="0">
                  <a:pos x="279" y="136"/>
                </a:cxn>
                <a:cxn ang="0">
                  <a:pos x="287" y="143"/>
                </a:cxn>
                <a:cxn ang="0">
                  <a:pos x="287" y="153"/>
                </a:cxn>
                <a:cxn ang="0">
                  <a:pos x="279" y="150"/>
                </a:cxn>
                <a:cxn ang="0">
                  <a:pos x="248" y="141"/>
                </a:cxn>
                <a:cxn ang="0">
                  <a:pos x="237" y="129"/>
                </a:cxn>
                <a:cxn ang="0">
                  <a:pos x="210" y="107"/>
                </a:cxn>
                <a:cxn ang="0">
                  <a:pos x="189" y="108"/>
                </a:cxn>
                <a:cxn ang="0">
                  <a:pos x="181" y="124"/>
                </a:cxn>
                <a:cxn ang="0">
                  <a:pos x="160" y="131"/>
                </a:cxn>
                <a:cxn ang="0">
                  <a:pos x="138" y="115"/>
                </a:cxn>
                <a:cxn ang="0">
                  <a:pos x="122" y="117"/>
                </a:cxn>
                <a:cxn ang="0">
                  <a:pos x="103" y="114"/>
                </a:cxn>
                <a:cxn ang="0">
                  <a:pos x="110" y="91"/>
                </a:cxn>
                <a:cxn ang="0">
                  <a:pos x="100" y="72"/>
                </a:cxn>
                <a:cxn ang="0">
                  <a:pos x="81" y="64"/>
                </a:cxn>
                <a:cxn ang="0">
                  <a:pos x="62" y="62"/>
                </a:cxn>
                <a:cxn ang="0">
                  <a:pos x="46" y="50"/>
                </a:cxn>
                <a:cxn ang="0">
                  <a:pos x="38" y="53"/>
                </a:cxn>
                <a:cxn ang="0">
                  <a:pos x="29" y="55"/>
                </a:cxn>
                <a:cxn ang="0">
                  <a:pos x="21" y="40"/>
                </a:cxn>
                <a:cxn ang="0">
                  <a:pos x="31" y="33"/>
                </a:cxn>
                <a:cxn ang="0">
                  <a:pos x="40" y="29"/>
                </a:cxn>
                <a:cxn ang="0">
                  <a:pos x="21" y="29"/>
                </a:cxn>
                <a:cxn ang="0">
                  <a:pos x="16" y="24"/>
                </a:cxn>
                <a:cxn ang="0">
                  <a:pos x="2" y="9"/>
                </a:cxn>
                <a:cxn ang="0">
                  <a:pos x="26" y="0"/>
                </a:cxn>
                <a:cxn ang="0">
                  <a:pos x="50" y="19"/>
                </a:cxn>
                <a:cxn ang="0">
                  <a:pos x="57" y="33"/>
                </a:cxn>
                <a:cxn ang="0">
                  <a:pos x="72" y="38"/>
                </a:cxn>
                <a:cxn ang="0">
                  <a:pos x="89" y="28"/>
                </a:cxn>
                <a:cxn ang="0">
                  <a:pos x="108" y="17"/>
                </a:cxn>
                <a:cxn ang="0">
                  <a:pos x="126" y="29"/>
                </a:cxn>
                <a:cxn ang="0">
                  <a:pos x="148" y="33"/>
                </a:cxn>
              </a:cxnLst>
              <a:rect l="0" t="0" r="r" b="b"/>
              <a:pathLst>
                <a:path w="294" h="153">
                  <a:moveTo>
                    <a:pt x="146" y="31"/>
                  </a:moveTo>
                  <a:lnTo>
                    <a:pt x="151" y="34"/>
                  </a:lnTo>
                  <a:lnTo>
                    <a:pt x="162" y="40"/>
                  </a:lnTo>
                  <a:lnTo>
                    <a:pt x="172" y="43"/>
                  </a:lnTo>
                  <a:lnTo>
                    <a:pt x="184" y="45"/>
                  </a:lnTo>
                  <a:lnTo>
                    <a:pt x="191" y="48"/>
                  </a:lnTo>
                  <a:lnTo>
                    <a:pt x="198" y="52"/>
                  </a:lnTo>
                  <a:lnTo>
                    <a:pt x="200" y="55"/>
                  </a:lnTo>
                  <a:lnTo>
                    <a:pt x="205" y="57"/>
                  </a:lnTo>
                  <a:lnTo>
                    <a:pt x="213" y="60"/>
                  </a:lnTo>
                  <a:lnTo>
                    <a:pt x="220" y="69"/>
                  </a:lnTo>
                  <a:lnTo>
                    <a:pt x="225" y="74"/>
                  </a:lnTo>
                  <a:lnTo>
                    <a:pt x="234" y="81"/>
                  </a:lnTo>
                  <a:lnTo>
                    <a:pt x="243" y="81"/>
                  </a:lnTo>
                  <a:lnTo>
                    <a:pt x="249" y="89"/>
                  </a:lnTo>
                  <a:lnTo>
                    <a:pt x="244" y="93"/>
                  </a:lnTo>
                  <a:lnTo>
                    <a:pt x="239" y="98"/>
                  </a:lnTo>
                  <a:lnTo>
                    <a:pt x="243" y="103"/>
                  </a:lnTo>
                  <a:lnTo>
                    <a:pt x="249" y="110"/>
                  </a:lnTo>
                  <a:lnTo>
                    <a:pt x="253" y="117"/>
                  </a:lnTo>
                  <a:lnTo>
                    <a:pt x="256" y="124"/>
                  </a:lnTo>
                  <a:lnTo>
                    <a:pt x="261" y="127"/>
                  </a:lnTo>
                  <a:lnTo>
                    <a:pt x="268" y="129"/>
                  </a:lnTo>
                  <a:lnTo>
                    <a:pt x="270" y="131"/>
                  </a:lnTo>
                  <a:lnTo>
                    <a:pt x="272" y="136"/>
                  </a:lnTo>
                  <a:lnTo>
                    <a:pt x="275" y="136"/>
                  </a:lnTo>
                  <a:lnTo>
                    <a:pt x="279" y="136"/>
                  </a:lnTo>
                  <a:lnTo>
                    <a:pt x="280" y="138"/>
                  </a:lnTo>
                  <a:lnTo>
                    <a:pt x="284" y="143"/>
                  </a:lnTo>
                  <a:lnTo>
                    <a:pt x="287" y="143"/>
                  </a:lnTo>
                  <a:lnTo>
                    <a:pt x="294" y="145"/>
                  </a:lnTo>
                  <a:lnTo>
                    <a:pt x="289" y="146"/>
                  </a:lnTo>
                  <a:lnTo>
                    <a:pt x="287" y="153"/>
                  </a:lnTo>
                  <a:lnTo>
                    <a:pt x="286" y="153"/>
                  </a:lnTo>
                  <a:lnTo>
                    <a:pt x="284" y="153"/>
                  </a:lnTo>
                  <a:lnTo>
                    <a:pt x="279" y="150"/>
                  </a:lnTo>
                  <a:lnTo>
                    <a:pt x="274" y="146"/>
                  </a:lnTo>
                  <a:lnTo>
                    <a:pt x="261" y="146"/>
                  </a:lnTo>
                  <a:lnTo>
                    <a:pt x="248" y="141"/>
                  </a:lnTo>
                  <a:lnTo>
                    <a:pt x="241" y="134"/>
                  </a:lnTo>
                  <a:lnTo>
                    <a:pt x="239" y="131"/>
                  </a:lnTo>
                  <a:lnTo>
                    <a:pt x="237" y="129"/>
                  </a:lnTo>
                  <a:lnTo>
                    <a:pt x="229" y="120"/>
                  </a:lnTo>
                  <a:lnTo>
                    <a:pt x="220" y="112"/>
                  </a:lnTo>
                  <a:lnTo>
                    <a:pt x="210" y="107"/>
                  </a:lnTo>
                  <a:lnTo>
                    <a:pt x="201" y="105"/>
                  </a:lnTo>
                  <a:lnTo>
                    <a:pt x="193" y="105"/>
                  </a:lnTo>
                  <a:lnTo>
                    <a:pt x="189" y="108"/>
                  </a:lnTo>
                  <a:lnTo>
                    <a:pt x="186" y="114"/>
                  </a:lnTo>
                  <a:lnTo>
                    <a:pt x="182" y="119"/>
                  </a:lnTo>
                  <a:lnTo>
                    <a:pt x="181" y="124"/>
                  </a:lnTo>
                  <a:lnTo>
                    <a:pt x="179" y="131"/>
                  </a:lnTo>
                  <a:lnTo>
                    <a:pt x="167" y="131"/>
                  </a:lnTo>
                  <a:lnTo>
                    <a:pt x="160" y="131"/>
                  </a:lnTo>
                  <a:lnTo>
                    <a:pt x="150" y="127"/>
                  </a:lnTo>
                  <a:lnTo>
                    <a:pt x="145" y="122"/>
                  </a:lnTo>
                  <a:lnTo>
                    <a:pt x="138" y="115"/>
                  </a:lnTo>
                  <a:lnTo>
                    <a:pt x="131" y="114"/>
                  </a:lnTo>
                  <a:lnTo>
                    <a:pt x="124" y="114"/>
                  </a:lnTo>
                  <a:lnTo>
                    <a:pt x="122" y="117"/>
                  </a:lnTo>
                  <a:lnTo>
                    <a:pt x="112" y="117"/>
                  </a:lnTo>
                  <a:lnTo>
                    <a:pt x="105" y="115"/>
                  </a:lnTo>
                  <a:lnTo>
                    <a:pt x="103" y="114"/>
                  </a:lnTo>
                  <a:lnTo>
                    <a:pt x="108" y="105"/>
                  </a:lnTo>
                  <a:lnTo>
                    <a:pt x="117" y="103"/>
                  </a:lnTo>
                  <a:lnTo>
                    <a:pt x="110" y="91"/>
                  </a:lnTo>
                  <a:lnTo>
                    <a:pt x="110" y="81"/>
                  </a:lnTo>
                  <a:lnTo>
                    <a:pt x="105" y="76"/>
                  </a:lnTo>
                  <a:lnTo>
                    <a:pt x="100" y="72"/>
                  </a:lnTo>
                  <a:lnTo>
                    <a:pt x="91" y="69"/>
                  </a:lnTo>
                  <a:lnTo>
                    <a:pt x="88" y="67"/>
                  </a:lnTo>
                  <a:lnTo>
                    <a:pt x="81" y="64"/>
                  </a:lnTo>
                  <a:lnTo>
                    <a:pt x="74" y="64"/>
                  </a:lnTo>
                  <a:lnTo>
                    <a:pt x="67" y="62"/>
                  </a:lnTo>
                  <a:lnTo>
                    <a:pt x="62" y="62"/>
                  </a:lnTo>
                  <a:lnTo>
                    <a:pt x="55" y="59"/>
                  </a:lnTo>
                  <a:lnTo>
                    <a:pt x="52" y="55"/>
                  </a:lnTo>
                  <a:lnTo>
                    <a:pt x="46" y="50"/>
                  </a:lnTo>
                  <a:lnTo>
                    <a:pt x="43" y="52"/>
                  </a:lnTo>
                  <a:lnTo>
                    <a:pt x="43" y="47"/>
                  </a:lnTo>
                  <a:lnTo>
                    <a:pt x="38" y="53"/>
                  </a:lnTo>
                  <a:lnTo>
                    <a:pt x="34" y="57"/>
                  </a:lnTo>
                  <a:lnTo>
                    <a:pt x="31" y="55"/>
                  </a:lnTo>
                  <a:lnTo>
                    <a:pt x="29" y="55"/>
                  </a:lnTo>
                  <a:lnTo>
                    <a:pt x="28" y="48"/>
                  </a:lnTo>
                  <a:lnTo>
                    <a:pt x="28" y="43"/>
                  </a:lnTo>
                  <a:lnTo>
                    <a:pt x="21" y="40"/>
                  </a:lnTo>
                  <a:lnTo>
                    <a:pt x="17" y="38"/>
                  </a:lnTo>
                  <a:lnTo>
                    <a:pt x="22" y="34"/>
                  </a:lnTo>
                  <a:lnTo>
                    <a:pt x="31" y="33"/>
                  </a:lnTo>
                  <a:lnTo>
                    <a:pt x="38" y="31"/>
                  </a:lnTo>
                  <a:lnTo>
                    <a:pt x="43" y="29"/>
                  </a:lnTo>
                  <a:lnTo>
                    <a:pt x="40" y="29"/>
                  </a:lnTo>
                  <a:lnTo>
                    <a:pt x="33" y="29"/>
                  </a:lnTo>
                  <a:lnTo>
                    <a:pt x="26" y="31"/>
                  </a:lnTo>
                  <a:lnTo>
                    <a:pt x="21" y="29"/>
                  </a:lnTo>
                  <a:lnTo>
                    <a:pt x="19" y="29"/>
                  </a:lnTo>
                  <a:lnTo>
                    <a:pt x="16" y="26"/>
                  </a:lnTo>
                  <a:lnTo>
                    <a:pt x="16" y="24"/>
                  </a:lnTo>
                  <a:lnTo>
                    <a:pt x="5" y="19"/>
                  </a:lnTo>
                  <a:lnTo>
                    <a:pt x="0" y="14"/>
                  </a:lnTo>
                  <a:lnTo>
                    <a:pt x="2" y="9"/>
                  </a:lnTo>
                  <a:lnTo>
                    <a:pt x="7" y="9"/>
                  </a:lnTo>
                  <a:lnTo>
                    <a:pt x="14" y="4"/>
                  </a:lnTo>
                  <a:lnTo>
                    <a:pt x="26" y="0"/>
                  </a:lnTo>
                  <a:lnTo>
                    <a:pt x="38" y="4"/>
                  </a:lnTo>
                  <a:lnTo>
                    <a:pt x="50" y="10"/>
                  </a:lnTo>
                  <a:lnTo>
                    <a:pt x="50" y="19"/>
                  </a:lnTo>
                  <a:lnTo>
                    <a:pt x="50" y="29"/>
                  </a:lnTo>
                  <a:lnTo>
                    <a:pt x="52" y="31"/>
                  </a:lnTo>
                  <a:lnTo>
                    <a:pt x="57" y="33"/>
                  </a:lnTo>
                  <a:lnTo>
                    <a:pt x="60" y="38"/>
                  </a:lnTo>
                  <a:lnTo>
                    <a:pt x="67" y="43"/>
                  </a:lnTo>
                  <a:lnTo>
                    <a:pt x="72" y="38"/>
                  </a:lnTo>
                  <a:lnTo>
                    <a:pt x="77" y="34"/>
                  </a:lnTo>
                  <a:lnTo>
                    <a:pt x="81" y="29"/>
                  </a:lnTo>
                  <a:lnTo>
                    <a:pt x="89" y="28"/>
                  </a:lnTo>
                  <a:lnTo>
                    <a:pt x="96" y="21"/>
                  </a:lnTo>
                  <a:lnTo>
                    <a:pt x="105" y="16"/>
                  </a:lnTo>
                  <a:lnTo>
                    <a:pt x="108" y="17"/>
                  </a:lnTo>
                  <a:lnTo>
                    <a:pt x="112" y="19"/>
                  </a:lnTo>
                  <a:lnTo>
                    <a:pt x="119" y="24"/>
                  </a:lnTo>
                  <a:lnTo>
                    <a:pt x="126" y="29"/>
                  </a:lnTo>
                  <a:lnTo>
                    <a:pt x="139" y="29"/>
                  </a:lnTo>
                  <a:lnTo>
                    <a:pt x="143" y="31"/>
                  </a:lnTo>
                  <a:lnTo>
                    <a:pt x="148" y="33"/>
                  </a:lnTo>
                  <a:lnTo>
                    <a:pt x="148" y="34"/>
                  </a:lnTo>
                  <a:lnTo>
                    <a:pt x="146" y="3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0" name="Freeform 211"/>
            <p:cNvSpPr>
              <a:spLocks/>
            </p:cNvSpPr>
            <p:nvPr/>
          </p:nvSpPr>
          <p:spPr bwMode="auto">
            <a:xfrm>
              <a:off x="7781132" y="4075113"/>
              <a:ext cx="46038" cy="44450"/>
            </a:xfrm>
            <a:custGeom>
              <a:avLst/>
              <a:gdLst/>
              <a:ahLst/>
              <a:cxnLst>
                <a:cxn ang="0">
                  <a:pos x="27" y="28"/>
                </a:cxn>
                <a:cxn ang="0">
                  <a:pos x="20" y="23"/>
                </a:cxn>
                <a:cxn ang="0">
                  <a:pos x="22" y="18"/>
                </a:cxn>
                <a:cxn ang="0">
                  <a:pos x="15" y="11"/>
                </a:cxn>
                <a:cxn ang="0">
                  <a:pos x="10" y="6"/>
                </a:cxn>
                <a:cxn ang="0">
                  <a:pos x="3" y="2"/>
                </a:cxn>
                <a:cxn ang="0">
                  <a:pos x="0" y="0"/>
                </a:cxn>
                <a:cxn ang="0">
                  <a:pos x="12" y="6"/>
                </a:cxn>
                <a:cxn ang="0">
                  <a:pos x="20" y="14"/>
                </a:cxn>
                <a:cxn ang="0">
                  <a:pos x="25" y="18"/>
                </a:cxn>
                <a:cxn ang="0">
                  <a:pos x="29" y="25"/>
                </a:cxn>
                <a:cxn ang="0">
                  <a:pos x="29" y="26"/>
                </a:cxn>
                <a:cxn ang="0">
                  <a:pos x="29" y="28"/>
                </a:cxn>
                <a:cxn ang="0">
                  <a:pos x="27" y="28"/>
                </a:cxn>
              </a:cxnLst>
              <a:rect l="0" t="0" r="r" b="b"/>
              <a:pathLst>
                <a:path w="29" h="28">
                  <a:moveTo>
                    <a:pt x="27" y="28"/>
                  </a:moveTo>
                  <a:lnTo>
                    <a:pt x="20" y="23"/>
                  </a:lnTo>
                  <a:lnTo>
                    <a:pt x="22" y="18"/>
                  </a:lnTo>
                  <a:lnTo>
                    <a:pt x="15" y="11"/>
                  </a:lnTo>
                  <a:lnTo>
                    <a:pt x="10" y="6"/>
                  </a:lnTo>
                  <a:lnTo>
                    <a:pt x="3" y="2"/>
                  </a:lnTo>
                  <a:lnTo>
                    <a:pt x="0" y="0"/>
                  </a:lnTo>
                  <a:lnTo>
                    <a:pt x="12" y="6"/>
                  </a:lnTo>
                  <a:lnTo>
                    <a:pt x="20" y="14"/>
                  </a:lnTo>
                  <a:lnTo>
                    <a:pt x="25" y="18"/>
                  </a:lnTo>
                  <a:lnTo>
                    <a:pt x="29" y="25"/>
                  </a:lnTo>
                  <a:lnTo>
                    <a:pt x="29" y="26"/>
                  </a:lnTo>
                  <a:lnTo>
                    <a:pt x="29" y="28"/>
                  </a:lnTo>
                  <a:lnTo>
                    <a:pt x="27"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1" name="Freeform 212"/>
            <p:cNvSpPr>
              <a:spLocks/>
            </p:cNvSpPr>
            <p:nvPr/>
          </p:nvSpPr>
          <p:spPr bwMode="auto">
            <a:xfrm>
              <a:off x="7865269" y="4141788"/>
              <a:ext cx="22225" cy="30162"/>
            </a:xfrm>
            <a:custGeom>
              <a:avLst/>
              <a:gdLst/>
              <a:ahLst/>
              <a:cxnLst>
                <a:cxn ang="0">
                  <a:pos x="7" y="10"/>
                </a:cxn>
                <a:cxn ang="0">
                  <a:pos x="0" y="7"/>
                </a:cxn>
                <a:cxn ang="0">
                  <a:pos x="0" y="0"/>
                </a:cxn>
                <a:cxn ang="0">
                  <a:pos x="7" y="7"/>
                </a:cxn>
                <a:cxn ang="0">
                  <a:pos x="14" y="13"/>
                </a:cxn>
                <a:cxn ang="0">
                  <a:pos x="12" y="15"/>
                </a:cxn>
                <a:cxn ang="0">
                  <a:pos x="10" y="19"/>
                </a:cxn>
                <a:cxn ang="0">
                  <a:pos x="7" y="17"/>
                </a:cxn>
                <a:cxn ang="0">
                  <a:pos x="7" y="15"/>
                </a:cxn>
                <a:cxn ang="0">
                  <a:pos x="7" y="12"/>
                </a:cxn>
                <a:cxn ang="0">
                  <a:pos x="7" y="10"/>
                </a:cxn>
              </a:cxnLst>
              <a:rect l="0" t="0" r="r" b="b"/>
              <a:pathLst>
                <a:path w="14" h="19">
                  <a:moveTo>
                    <a:pt x="7" y="10"/>
                  </a:moveTo>
                  <a:lnTo>
                    <a:pt x="0" y="7"/>
                  </a:lnTo>
                  <a:lnTo>
                    <a:pt x="0" y="0"/>
                  </a:lnTo>
                  <a:lnTo>
                    <a:pt x="7" y="7"/>
                  </a:lnTo>
                  <a:lnTo>
                    <a:pt x="14" y="13"/>
                  </a:lnTo>
                  <a:lnTo>
                    <a:pt x="12" y="15"/>
                  </a:lnTo>
                  <a:lnTo>
                    <a:pt x="10" y="19"/>
                  </a:lnTo>
                  <a:lnTo>
                    <a:pt x="7" y="17"/>
                  </a:lnTo>
                  <a:lnTo>
                    <a:pt x="7" y="15"/>
                  </a:lnTo>
                  <a:lnTo>
                    <a:pt x="7" y="12"/>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2" name="Freeform 213"/>
            <p:cNvSpPr>
              <a:spLocks/>
            </p:cNvSpPr>
            <p:nvPr/>
          </p:nvSpPr>
          <p:spPr bwMode="auto">
            <a:xfrm>
              <a:off x="8020844" y="4248150"/>
              <a:ext cx="14288" cy="15875"/>
            </a:xfrm>
            <a:custGeom>
              <a:avLst/>
              <a:gdLst/>
              <a:ahLst/>
              <a:cxnLst>
                <a:cxn ang="0">
                  <a:pos x="9" y="8"/>
                </a:cxn>
                <a:cxn ang="0">
                  <a:pos x="7" y="8"/>
                </a:cxn>
                <a:cxn ang="0">
                  <a:pos x="9" y="10"/>
                </a:cxn>
                <a:cxn ang="0">
                  <a:pos x="2" y="5"/>
                </a:cxn>
                <a:cxn ang="0">
                  <a:pos x="0" y="0"/>
                </a:cxn>
                <a:cxn ang="0">
                  <a:pos x="5" y="3"/>
                </a:cxn>
                <a:cxn ang="0">
                  <a:pos x="9" y="8"/>
                </a:cxn>
              </a:cxnLst>
              <a:rect l="0" t="0" r="r" b="b"/>
              <a:pathLst>
                <a:path w="9" h="10">
                  <a:moveTo>
                    <a:pt x="9" y="8"/>
                  </a:moveTo>
                  <a:lnTo>
                    <a:pt x="7" y="8"/>
                  </a:lnTo>
                  <a:lnTo>
                    <a:pt x="9" y="10"/>
                  </a:lnTo>
                  <a:lnTo>
                    <a:pt x="2" y="5"/>
                  </a:lnTo>
                  <a:lnTo>
                    <a:pt x="0" y="0"/>
                  </a:lnTo>
                  <a:lnTo>
                    <a:pt x="5" y="3"/>
                  </a:lnTo>
                  <a:lnTo>
                    <a:pt x="9" y="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3" name="Freeform 214"/>
            <p:cNvSpPr>
              <a:spLocks/>
            </p:cNvSpPr>
            <p:nvPr/>
          </p:nvSpPr>
          <p:spPr bwMode="auto">
            <a:xfrm>
              <a:off x="7985919" y="4237038"/>
              <a:ext cx="26988" cy="11112"/>
            </a:xfrm>
            <a:custGeom>
              <a:avLst/>
              <a:gdLst/>
              <a:ahLst/>
              <a:cxnLst>
                <a:cxn ang="0">
                  <a:pos x="17" y="7"/>
                </a:cxn>
                <a:cxn ang="0">
                  <a:pos x="13" y="7"/>
                </a:cxn>
                <a:cxn ang="0">
                  <a:pos x="3" y="5"/>
                </a:cxn>
                <a:cxn ang="0">
                  <a:pos x="0" y="0"/>
                </a:cxn>
                <a:cxn ang="0">
                  <a:pos x="10" y="0"/>
                </a:cxn>
                <a:cxn ang="0">
                  <a:pos x="17" y="7"/>
                </a:cxn>
              </a:cxnLst>
              <a:rect l="0" t="0" r="r" b="b"/>
              <a:pathLst>
                <a:path w="17" h="7">
                  <a:moveTo>
                    <a:pt x="17" y="7"/>
                  </a:moveTo>
                  <a:lnTo>
                    <a:pt x="13" y="7"/>
                  </a:lnTo>
                  <a:lnTo>
                    <a:pt x="3" y="5"/>
                  </a:lnTo>
                  <a:lnTo>
                    <a:pt x="0" y="0"/>
                  </a:lnTo>
                  <a:lnTo>
                    <a:pt x="10" y="0"/>
                  </a:lnTo>
                  <a:lnTo>
                    <a:pt x="1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4" name="Freeform 215"/>
            <p:cNvSpPr>
              <a:spLocks/>
            </p:cNvSpPr>
            <p:nvPr/>
          </p:nvSpPr>
          <p:spPr bwMode="auto">
            <a:xfrm>
              <a:off x="7987507" y="4203700"/>
              <a:ext cx="25400" cy="25400"/>
            </a:xfrm>
            <a:custGeom>
              <a:avLst/>
              <a:gdLst/>
              <a:ahLst/>
              <a:cxnLst>
                <a:cxn ang="0">
                  <a:pos x="16" y="16"/>
                </a:cxn>
                <a:cxn ang="0">
                  <a:pos x="5" y="9"/>
                </a:cxn>
                <a:cxn ang="0">
                  <a:pos x="0" y="0"/>
                </a:cxn>
                <a:cxn ang="0">
                  <a:pos x="9" y="5"/>
                </a:cxn>
                <a:cxn ang="0">
                  <a:pos x="16" y="16"/>
                </a:cxn>
              </a:cxnLst>
              <a:rect l="0" t="0" r="r" b="b"/>
              <a:pathLst>
                <a:path w="16" h="16">
                  <a:moveTo>
                    <a:pt x="16" y="16"/>
                  </a:moveTo>
                  <a:lnTo>
                    <a:pt x="5" y="9"/>
                  </a:lnTo>
                  <a:lnTo>
                    <a:pt x="0" y="0"/>
                  </a:lnTo>
                  <a:lnTo>
                    <a:pt x="9" y="5"/>
                  </a:lnTo>
                  <a:lnTo>
                    <a:pt x="16"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5" name="Freeform 216"/>
            <p:cNvSpPr>
              <a:spLocks/>
            </p:cNvSpPr>
            <p:nvPr/>
          </p:nvSpPr>
          <p:spPr bwMode="auto">
            <a:xfrm>
              <a:off x="7938294" y="4184650"/>
              <a:ext cx="33338" cy="17462"/>
            </a:xfrm>
            <a:custGeom>
              <a:avLst/>
              <a:gdLst/>
              <a:ahLst/>
              <a:cxnLst>
                <a:cxn ang="0">
                  <a:pos x="4" y="0"/>
                </a:cxn>
                <a:cxn ang="0">
                  <a:pos x="12" y="4"/>
                </a:cxn>
                <a:cxn ang="0">
                  <a:pos x="21" y="11"/>
                </a:cxn>
                <a:cxn ang="0">
                  <a:pos x="18" y="11"/>
                </a:cxn>
                <a:cxn ang="0">
                  <a:pos x="5" y="7"/>
                </a:cxn>
                <a:cxn ang="0">
                  <a:pos x="0" y="2"/>
                </a:cxn>
                <a:cxn ang="0">
                  <a:pos x="2" y="2"/>
                </a:cxn>
                <a:cxn ang="0">
                  <a:pos x="4" y="0"/>
                </a:cxn>
              </a:cxnLst>
              <a:rect l="0" t="0" r="r" b="b"/>
              <a:pathLst>
                <a:path w="21" h="11">
                  <a:moveTo>
                    <a:pt x="4" y="0"/>
                  </a:moveTo>
                  <a:lnTo>
                    <a:pt x="12" y="4"/>
                  </a:lnTo>
                  <a:lnTo>
                    <a:pt x="21" y="11"/>
                  </a:lnTo>
                  <a:lnTo>
                    <a:pt x="18" y="11"/>
                  </a:lnTo>
                  <a:lnTo>
                    <a:pt x="5" y="7"/>
                  </a:lnTo>
                  <a:lnTo>
                    <a:pt x="0" y="2"/>
                  </a:lnTo>
                  <a:lnTo>
                    <a:pt x="2"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6" name="Freeform 217"/>
            <p:cNvSpPr>
              <a:spLocks/>
            </p:cNvSpPr>
            <p:nvPr/>
          </p:nvSpPr>
          <p:spPr bwMode="auto">
            <a:xfrm>
              <a:off x="7903369" y="4165600"/>
              <a:ext cx="19050" cy="11112"/>
            </a:xfrm>
            <a:custGeom>
              <a:avLst/>
              <a:gdLst/>
              <a:ahLst/>
              <a:cxnLst>
                <a:cxn ang="0">
                  <a:pos x="0" y="0"/>
                </a:cxn>
                <a:cxn ang="0">
                  <a:pos x="5" y="2"/>
                </a:cxn>
                <a:cxn ang="0">
                  <a:pos x="12" y="7"/>
                </a:cxn>
                <a:cxn ang="0">
                  <a:pos x="9" y="7"/>
                </a:cxn>
                <a:cxn ang="0">
                  <a:pos x="0" y="2"/>
                </a:cxn>
                <a:cxn ang="0">
                  <a:pos x="2" y="0"/>
                </a:cxn>
                <a:cxn ang="0">
                  <a:pos x="3" y="0"/>
                </a:cxn>
                <a:cxn ang="0">
                  <a:pos x="0" y="0"/>
                </a:cxn>
              </a:cxnLst>
              <a:rect l="0" t="0" r="r" b="b"/>
              <a:pathLst>
                <a:path w="12" h="7">
                  <a:moveTo>
                    <a:pt x="0" y="0"/>
                  </a:moveTo>
                  <a:lnTo>
                    <a:pt x="5" y="2"/>
                  </a:lnTo>
                  <a:lnTo>
                    <a:pt x="12" y="7"/>
                  </a:lnTo>
                  <a:lnTo>
                    <a:pt x="9" y="7"/>
                  </a:lnTo>
                  <a:lnTo>
                    <a:pt x="0" y="2"/>
                  </a:lnTo>
                  <a:lnTo>
                    <a:pt x="2" y="0"/>
                  </a:lnTo>
                  <a:lnTo>
                    <a:pt x="3"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7" name="Freeform 218"/>
            <p:cNvSpPr>
              <a:spLocks/>
            </p:cNvSpPr>
            <p:nvPr/>
          </p:nvSpPr>
          <p:spPr bwMode="auto">
            <a:xfrm>
              <a:off x="7627144" y="5006975"/>
              <a:ext cx="87313" cy="84137"/>
            </a:xfrm>
            <a:custGeom>
              <a:avLst/>
              <a:gdLst/>
              <a:ahLst/>
              <a:cxnLst>
                <a:cxn ang="0">
                  <a:pos x="28" y="5"/>
                </a:cxn>
                <a:cxn ang="0">
                  <a:pos x="38" y="2"/>
                </a:cxn>
                <a:cxn ang="0">
                  <a:pos x="50" y="0"/>
                </a:cxn>
                <a:cxn ang="0">
                  <a:pos x="52" y="7"/>
                </a:cxn>
                <a:cxn ang="0">
                  <a:pos x="55" y="15"/>
                </a:cxn>
                <a:cxn ang="0">
                  <a:pos x="52" y="24"/>
                </a:cxn>
                <a:cxn ang="0">
                  <a:pos x="47" y="38"/>
                </a:cxn>
                <a:cxn ang="0">
                  <a:pos x="38" y="48"/>
                </a:cxn>
                <a:cxn ang="0">
                  <a:pos x="31" y="53"/>
                </a:cxn>
                <a:cxn ang="0">
                  <a:pos x="19" y="46"/>
                </a:cxn>
                <a:cxn ang="0">
                  <a:pos x="9" y="32"/>
                </a:cxn>
                <a:cxn ang="0">
                  <a:pos x="2" y="15"/>
                </a:cxn>
                <a:cxn ang="0">
                  <a:pos x="0" y="5"/>
                </a:cxn>
                <a:cxn ang="0">
                  <a:pos x="4" y="0"/>
                </a:cxn>
                <a:cxn ang="0">
                  <a:pos x="12" y="2"/>
                </a:cxn>
                <a:cxn ang="0">
                  <a:pos x="21" y="3"/>
                </a:cxn>
                <a:cxn ang="0">
                  <a:pos x="28" y="5"/>
                </a:cxn>
              </a:cxnLst>
              <a:rect l="0" t="0" r="r" b="b"/>
              <a:pathLst>
                <a:path w="55" h="53">
                  <a:moveTo>
                    <a:pt x="28" y="5"/>
                  </a:moveTo>
                  <a:lnTo>
                    <a:pt x="38" y="2"/>
                  </a:lnTo>
                  <a:lnTo>
                    <a:pt x="50" y="0"/>
                  </a:lnTo>
                  <a:lnTo>
                    <a:pt x="52" y="7"/>
                  </a:lnTo>
                  <a:lnTo>
                    <a:pt x="55" y="15"/>
                  </a:lnTo>
                  <a:lnTo>
                    <a:pt x="52" y="24"/>
                  </a:lnTo>
                  <a:lnTo>
                    <a:pt x="47" y="38"/>
                  </a:lnTo>
                  <a:lnTo>
                    <a:pt x="38" y="48"/>
                  </a:lnTo>
                  <a:lnTo>
                    <a:pt x="31" y="53"/>
                  </a:lnTo>
                  <a:lnTo>
                    <a:pt x="19" y="46"/>
                  </a:lnTo>
                  <a:lnTo>
                    <a:pt x="9" y="32"/>
                  </a:lnTo>
                  <a:lnTo>
                    <a:pt x="2" y="15"/>
                  </a:lnTo>
                  <a:lnTo>
                    <a:pt x="0" y="5"/>
                  </a:lnTo>
                  <a:lnTo>
                    <a:pt x="4" y="0"/>
                  </a:lnTo>
                  <a:lnTo>
                    <a:pt x="12" y="2"/>
                  </a:lnTo>
                  <a:lnTo>
                    <a:pt x="21" y="3"/>
                  </a:lnTo>
                  <a:lnTo>
                    <a:pt x="2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8" name="Freeform 219"/>
            <p:cNvSpPr>
              <a:spLocks/>
            </p:cNvSpPr>
            <p:nvPr/>
          </p:nvSpPr>
          <p:spPr bwMode="auto">
            <a:xfrm>
              <a:off x="7703344" y="4984750"/>
              <a:ext cx="9525" cy="14287"/>
            </a:xfrm>
            <a:custGeom>
              <a:avLst/>
              <a:gdLst/>
              <a:ahLst/>
              <a:cxnLst>
                <a:cxn ang="0">
                  <a:pos x="6" y="0"/>
                </a:cxn>
                <a:cxn ang="0">
                  <a:pos x="6" y="4"/>
                </a:cxn>
                <a:cxn ang="0">
                  <a:pos x="6" y="9"/>
                </a:cxn>
                <a:cxn ang="0">
                  <a:pos x="0" y="4"/>
                </a:cxn>
                <a:cxn ang="0">
                  <a:pos x="0" y="0"/>
                </a:cxn>
                <a:cxn ang="0">
                  <a:pos x="2" y="0"/>
                </a:cxn>
                <a:cxn ang="0">
                  <a:pos x="6" y="0"/>
                </a:cxn>
              </a:cxnLst>
              <a:rect l="0" t="0" r="r" b="b"/>
              <a:pathLst>
                <a:path w="6" h="9">
                  <a:moveTo>
                    <a:pt x="6" y="0"/>
                  </a:moveTo>
                  <a:lnTo>
                    <a:pt x="6" y="4"/>
                  </a:lnTo>
                  <a:lnTo>
                    <a:pt x="6" y="9"/>
                  </a:lnTo>
                  <a:lnTo>
                    <a:pt x="0" y="4"/>
                  </a:lnTo>
                  <a:lnTo>
                    <a:pt x="0" y="0"/>
                  </a:lnTo>
                  <a:lnTo>
                    <a:pt x="2" y="0"/>
                  </a:lnTo>
                  <a:lnTo>
                    <a:pt x="6"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49" name="Freeform 220"/>
            <p:cNvSpPr>
              <a:spLocks/>
            </p:cNvSpPr>
            <p:nvPr/>
          </p:nvSpPr>
          <p:spPr bwMode="auto">
            <a:xfrm>
              <a:off x="7441407" y="4873625"/>
              <a:ext cx="28575" cy="7937"/>
            </a:xfrm>
            <a:custGeom>
              <a:avLst/>
              <a:gdLst/>
              <a:ahLst/>
              <a:cxnLst>
                <a:cxn ang="0">
                  <a:pos x="18" y="3"/>
                </a:cxn>
                <a:cxn ang="0">
                  <a:pos x="7" y="5"/>
                </a:cxn>
                <a:cxn ang="0">
                  <a:pos x="0" y="3"/>
                </a:cxn>
                <a:cxn ang="0">
                  <a:pos x="9" y="0"/>
                </a:cxn>
                <a:cxn ang="0">
                  <a:pos x="18" y="3"/>
                </a:cxn>
              </a:cxnLst>
              <a:rect l="0" t="0" r="r" b="b"/>
              <a:pathLst>
                <a:path w="18" h="5">
                  <a:moveTo>
                    <a:pt x="18" y="3"/>
                  </a:moveTo>
                  <a:lnTo>
                    <a:pt x="7" y="5"/>
                  </a:lnTo>
                  <a:lnTo>
                    <a:pt x="0" y="3"/>
                  </a:lnTo>
                  <a:lnTo>
                    <a:pt x="9" y="0"/>
                  </a:lnTo>
                  <a:lnTo>
                    <a:pt x="18"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0" name="Freeform 221"/>
            <p:cNvSpPr>
              <a:spLocks/>
            </p:cNvSpPr>
            <p:nvPr/>
          </p:nvSpPr>
          <p:spPr bwMode="auto">
            <a:xfrm>
              <a:off x="7292182" y="4278313"/>
              <a:ext cx="30163" cy="11112"/>
            </a:xfrm>
            <a:custGeom>
              <a:avLst/>
              <a:gdLst/>
              <a:ahLst/>
              <a:cxnLst>
                <a:cxn ang="0">
                  <a:pos x="19" y="0"/>
                </a:cxn>
                <a:cxn ang="0">
                  <a:pos x="19" y="7"/>
                </a:cxn>
                <a:cxn ang="0">
                  <a:pos x="15" y="7"/>
                </a:cxn>
                <a:cxn ang="0">
                  <a:pos x="13" y="7"/>
                </a:cxn>
                <a:cxn ang="0">
                  <a:pos x="5" y="5"/>
                </a:cxn>
                <a:cxn ang="0">
                  <a:pos x="0" y="1"/>
                </a:cxn>
                <a:cxn ang="0">
                  <a:pos x="8" y="0"/>
                </a:cxn>
                <a:cxn ang="0">
                  <a:pos x="19" y="0"/>
                </a:cxn>
              </a:cxnLst>
              <a:rect l="0" t="0" r="r" b="b"/>
              <a:pathLst>
                <a:path w="19" h="7">
                  <a:moveTo>
                    <a:pt x="19" y="0"/>
                  </a:moveTo>
                  <a:lnTo>
                    <a:pt x="19" y="7"/>
                  </a:lnTo>
                  <a:lnTo>
                    <a:pt x="15" y="7"/>
                  </a:lnTo>
                  <a:lnTo>
                    <a:pt x="13" y="7"/>
                  </a:lnTo>
                  <a:lnTo>
                    <a:pt x="5" y="5"/>
                  </a:lnTo>
                  <a:lnTo>
                    <a:pt x="0" y="1"/>
                  </a:lnTo>
                  <a:lnTo>
                    <a:pt x="8"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1" name="Freeform 222"/>
            <p:cNvSpPr>
              <a:spLocks/>
            </p:cNvSpPr>
            <p:nvPr/>
          </p:nvSpPr>
          <p:spPr bwMode="auto">
            <a:xfrm>
              <a:off x="6909594" y="4264025"/>
              <a:ext cx="922338" cy="698500"/>
            </a:xfrm>
            <a:custGeom>
              <a:avLst/>
              <a:gdLst/>
              <a:ahLst/>
              <a:cxnLst>
                <a:cxn ang="0">
                  <a:pos x="580" y="253"/>
                </a:cxn>
                <a:cxn ang="0">
                  <a:pos x="576" y="292"/>
                </a:cxn>
                <a:cxn ang="0">
                  <a:pos x="571" y="323"/>
                </a:cxn>
                <a:cxn ang="0">
                  <a:pos x="547" y="359"/>
                </a:cxn>
                <a:cxn ang="0">
                  <a:pos x="533" y="404"/>
                </a:cxn>
                <a:cxn ang="0">
                  <a:pos x="488" y="427"/>
                </a:cxn>
                <a:cxn ang="0">
                  <a:pos x="457" y="428"/>
                </a:cxn>
                <a:cxn ang="0">
                  <a:pos x="418" y="433"/>
                </a:cxn>
                <a:cxn ang="0">
                  <a:pos x="380" y="392"/>
                </a:cxn>
                <a:cxn ang="0">
                  <a:pos x="365" y="384"/>
                </a:cxn>
                <a:cxn ang="0">
                  <a:pos x="359" y="365"/>
                </a:cxn>
                <a:cxn ang="0">
                  <a:pos x="351" y="373"/>
                </a:cxn>
                <a:cxn ang="0">
                  <a:pos x="344" y="366"/>
                </a:cxn>
                <a:cxn ang="0">
                  <a:pos x="346" y="344"/>
                </a:cxn>
                <a:cxn ang="0">
                  <a:pos x="316" y="368"/>
                </a:cxn>
                <a:cxn ang="0">
                  <a:pos x="303" y="339"/>
                </a:cxn>
                <a:cxn ang="0">
                  <a:pos x="256" y="318"/>
                </a:cxn>
                <a:cxn ang="0">
                  <a:pos x="217" y="325"/>
                </a:cxn>
                <a:cxn ang="0">
                  <a:pos x="179" y="334"/>
                </a:cxn>
                <a:cxn ang="0">
                  <a:pos x="151" y="344"/>
                </a:cxn>
                <a:cxn ang="0">
                  <a:pos x="110" y="356"/>
                </a:cxn>
                <a:cxn ang="0">
                  <a:pos x="69" y="372"/>
                </a:cxn>
                <a:cxn ang="0">
                  <a:pos x="26" y="363"/>
                </a:cxn>
                <a:cxn ang="0">
                  <a:pos x="33" y="323"/>
                </a:cxn>
                <a:cxn ang="0">
                  <a:pos x="19" y="287"/>
                </a:cxn>
                <a:cxn ang="0">
                  <a:pos x="3" y="244"/>
                </a:cxn>
                <a:cxn ang="0">
                  <a:pos x="5" y="232"/>
                </a:cxn>
                <a:cxn ang="0">
                  <a:pos x="5" y="217"/>
                </a:cxn>
                <a:cxn ang="0">
                  <a:pos x="2" y="179"/>
                </a:cxn>
                <a:cxn ang="0">
                  <a:pos x="7" y="169"/>
                </a:cxn>
                <a:cxn ang="0">
                  <a:pos x="39" y="148"/>
                </a:cxn>
                <a:cxn ang="0">
                  <a:pos x="76" y="141"/>
                </a:cxn>
                <a:cxn ang="0">
                  <a:pos x="113" y="126"/>
                </a:cxn>
                <a:cxn ang="0">
                  <a:pos x="129" y="105"/>
                </a:cxn>
                <a:cxn ang="0">
                  <a:pos x="139" y="93"/>
                </a:cxn>
                <a:cxn ang="0">
                  <a:pos x="153" y="84"/>
                </a:cxn>
                <a:cxn ang="0">
                  <a:pos x="167" y="64"/>
                </a:cxn>
                <a:cxn ang="0">
                  <a:pos x="189" y="48"/>
                </a:cxn>
                <a:cxn ang="0">
                  <a:pos x="217" y="62"/>
                </a:cxn>
                <a:cxn ang="0">
                  <a:pos x="232" y="59"/>
                </a:cxn>
                <a:cxn ang="0">
                  <a:pos x="242" y="29"/>
                </a:cxn>
                <a:cxn ang="0">
                  <a:pos x="273" y="22"/>
                </a:cxn>
                <a:cxn ang="0">
                  <a:pos x="279" y="12"/>
                </a:cxn>
                <a:cxn ang="0">
                  <a:pos x="322" y="21"/>
                </a:cxn>
                <a:cxn ang="0">
                  <a:pos x="334" y="33"/>
                </a:cxn>
                <a:cxn ang="0">
                  <a:pos x="332" y="69"/>
                </a:cxn>
                <a:cxn ang="0">
                  <a:pos x="353" y="84"/>
                </a:cxn>
                <a:cxn ang="0">
                  <a:pos x="390" y="105"/>
                </a:cxn>
                <a:cxn ang="0">
                  <a:pos x="411" y="64"/>
                </a:cxn>
                <a:cxn ang="0">
                  <a:pos x="425" y="9"/>
                </a:cxn>
                <a:cxn ang="0">
                  <a:pos x="437" y="43"/>
                </a:cxn>
                <a:cxn ang="0">
                  <a:pos x="461" y="62"/>
                </a:cxn>
                <a:cxn ang="0">
                  <a:pos x="468" y="95"/>
                </a:cxn>
                <a:cxn ang="0">
                  <a:pos x="483" y="126"/>
                </a:cxn>
                <a:cxn ang="0">
                  <a:pos x="519" y="157"/>
                </a:cxn>
                <a:cxn ang="0">
                  <a:pos x="542" y="186"/>
                </a:cxn>
                <a:cxn ang="0">
                  <a:pos x="568" y="215"/>
                </a:cxn>
              </a:cxnLst>
              <a:rect l="0" t="0" r="r" b="b"/>
              <a:pathLst>
                <a:path w="581" h="440">
                  <a:moveTo>
                    <a:pt x="568" y="215"/>
                  </a:moveTo>
                  <a:lnTo>
                    <a:pt x="571" y="224"/>
                  </a:lnTo>
                  <a:lnTo>
                    <a:pt x="576" y="239"/>
                  </a:lnTo>
                  <a:lnTo>
                    <a:pt x="580" y="253"/>
                  </a:lnTo>
                  <a:lnTo>
                    <a:pt x="581" y="268"/>
                  </a:lnTo>
                  <a:lnTo>
                    <a:pt x="580" y="275"/>
                  </a:lnTo>
                  <a:lnTo>
                    <a:pt x="578" y="286"/>
                  </a:lnTo>
                  <a:lnTo>
                    <a:pt x="576" y="292"/>
                  </a:lnTo>
                  <a:lnTo>
                    <a:pt x="574" y="299"/>
                  </a:lnTo>
                  <a:lnTo>
                    <a:pt x="574" y="313"/>
                  </a:lnTo>
                  <a:lnTo>
                    <a:pt x="571" y="318"/>
                  </a:lnTo>
                  <a:lnTo>
                    <a:pt x="571" y="323"/>
                  </a:lnTo>
                  <a:lnTo>
                    <a:pt x="562" y="332"/>
                  </a:lnTo>
                  <a:lnTo>
                    <a:pt x="555" y="341"/>
                  </a:lnTo>
                  <a:lnTo>
                    <a:pt x="550" y="347"/>
                  </a:lnTo>
                  <a:lnTo>
                    <a:pt x="547" y="359"/>
                  </a:lnTo>
                  <a:lnTo>
                    <a:pt x="542" y="368"/>
                  </a:lnTo>
                  <a:lnTo>
                    <a:pt x="538" y="378"/>
                  </a:lnTo>
                  <a:lnTo>
                    <a:pt x="533" y="390"/>
                  </a:lnTo>
                  <a:lnTo>
                    <a:pt x="533" y="404"/>
                  </a:lnTo>
                  <a:lnTo>
                    <a:pt x="533" y="404"/>
                  </a:lnTo>
                  <a:lnTo>
                    <a:pt x="521" y="415"/>
                  </a:lnTo>
                  <a:lnTo>
                    <a:pt x="506" y="421"/>
                  </a:lnTo>
                  <a:lnTo>
                    <a:pt x="488" y="427"/>
                  </a:lnTo>
                  <a:lnTo>
                    <a:pt x="482" y="440"/>
                  </a:lnTo>
                  <a:lnTo>
                    <a:pt x="473" y="437"/>
                  </a:lnTo>
                  <a:lnTo>
                    <a:pt x="466" y="433"/>
                  </a:lnTo>
                  <a:lnTo>
                    <a:pt x="457" y="428"/>
                  </a:lnTo>
                  <a:lnTo>
                    <a:pt x="456" y="425"/>
                  </a:lnTo>
                  <a:lnTo>
                    <a:pt x="445" y="430"/>
                  </a:lnTo>
                  <a:lnTo>
                    <a:pt x="435" y="437"/>
                  </a:lnTo>
                  <a:lnTo>
                    <a:pt x="418" y="433"/>
                  </a:lnTo>
                  <a:lnTo>
                    <a:pt x="401" y="427"/>
                  </a:lnTo>
                  <a:lnTo>
                    <a:pt x="387" y="416"/>
                  </a:lnTo>
                  <a:lnTo>
                    <a:pt x="383" y="402"/>
                  </a:lnTo>
                  <a:lnTo>
                    <a:pt x="380" y="392"/>
                  </a:lnTo>
                  <a:lnTo>
                    <a:pt x="377" y="382"/>
                  </a:lnTo>
                  <a:lnTo>
                    <a:pt x="375" y="380"/>
                  </a:lnTo>
                  <a:lnTo>
                    <a:pt x="370" y="382"/>
                  </a:lnTo>
                  <a:lnTo>
                    <a:pt x="365" y="384"/>
                  </a:lnTo>
                  <a:lnTo>
                    <a:pt x="359" y="384"/>
                  </a:lnTo>
                  <a:lnTo>
                    <a:pt x="361" y="378"/>
                  </a:lnTo>
                  <a:lnTo>
                    <a:pt x="363" y="373"/>
                  </a:lnTo>
                  <a:lnTo>
                    <a:pt x="359" y="365"/>
                  </a:lnTo>
                  <a:lnTo>
                    <a:pt x="358" y="363"/>
                  </a:lnTo>
                  <a:lnTo>
                    <a:pt x="356" y="365"/>
                  </a:lnTo>
                  <a:lnTo>
                    <a:pt x="356" y="368"/>
                  </a:lnTo>
                  <a:lnTo>
                    <a:pt x="351" y="373"/>
                  </a:lnTo>
                  <a:lnTo>
                    <a:pt x="344" y="378"/>
                  </a:lnTo>
                  <a:lnTo>
                    <a:pt x="340" y="377"/>
                  </a:lnTo>
                  <a:lnTo>
                    <a:pt x="339" y="373"/>
                  </a:lnTo>
                  <a:lnTo>
                    <a:pt x="344" y="366"/>
                  </a:lnTo>
                  <a:lnTo>
                    <a:pt x="351" y="356"/>
                  </a:lnTo>
                  <a:lnTo>
                    <a:pt x="353" y="344"/>
                  </a:lnTo>
                  <a:lnTo>
                    <a:pt x="354" y="337"/>
                  </a:lnTo>
                  <a:lnTo>
                    <a:pt x="346" y="344"/>
                  </a:lnTo>
                  <a:lnTo>
                    <a:pt x="337" y="358"/>
                  </a:lnTo>
                  <a:lnTo>
                    <a:pt x="328" y="368"/>
                  </a:lnTo>
                  <a:lnTo>
                    <a:pt x="322" y="373"/>
                  </a:lnTo>
                  <a:lnTo>
                    <a:pt x="316" y="368"/>
                  </a:lnTo>
                  <a:lnTo>
                    <a:pt x="316" y="363"/>
                  </a:lnTo>
                  <a:lnTo>
                    <a:pt x="311" y="358"/>
                  </a:lnTo>
                  <a:lnTo>
                    <a:pt x="308" y="349"/>
                  </a:lnTo>
                  <a:lnTo>
                    <a:pt x="303" y="339"/>
                  </a:lnTo>
                  <a:lnTo>
                    <a:pt x="299" y="334"/>
                  </a:lnTo>
                  <a:lnTo>
                    <a:pt x="287" y="325"/>
                  </a:lnTo>
                  <a:lnTo>
                    <a:pt x="273" y="322"/>
                  </a:lnTo>
                  <a:lnTo>
                    <a:pt x="256" y="318"/>
                  </a:lnTo>
                  <a:lnTo>
                    <a:pt x="244" y="318"/>
                  </a:lnTo>
                  <a:lnTo>
                    <a:pt x="230" y="318"/>
                  </a:lnTo>
                  <a:lnTo>
                    <a:pt x="224" y="322"/>
                  </a:lnTo>
                  <a:lnTo>
                    <a:pt x="217" y="325"/>
                  </a:lnTo>
                  <a:lnTo>
                    <a:pt x="210" y="329"/>
                  </a:lnTo>
                  <a:lnTo>
                    <a:pt x="199" y="330"/>
                  </a:lnTo>
                  <a:lnTo>
                    <a:pt x="189" y="332"/>
                  </a:lnTo>
                  <a:lnTo>
                    <a:pt x="179" y="334"/>
                  </a:lnTo>
                  <a:lnTo>
                    <a:pt x="170" y="335"/>
                  </a:lnTo>
                  <a:lnTo>
                    <a:pt x="162" y="335"/>
                  </a:lnTo>
                  <a:lnTo>
                    <a:pt x="156" y="339"/>
                  </a:lnTo>
                  <a:lnTo>
                    <a:pt x="151" y="344"/>
                  </a:lnTo>
                  <a:lnTo>
                    <a:pt x="150" y="354"/>
                  </a:lnTo>
                  <a:lnTo>
                    <a:pt x="132" y="356"/>
                  </a:lnTo>
                  <a:lnTo>
                    <a:pt x="119" y="358"/>
                  </a:lnTo>
                  <a:lnTo>
                    <a:pt x="110" y="356"/>
                  </a:lnTo>
                  <a:lnTo>
                    <a:pt x="105" y="358"/>
                  </a:lnTo>
                  <a:lnTo>
                    <a:pt x="91" y="359"/>
                  </a:lnTo>
                  <a:lnTo>
                    <a:pt x="81" y="366"/>
                  </a:lnTo>
                  <a:lnTo>
                    <a:pt x="69" y="372"/>
                  </a:lnTo>
                  <a:lnTo>
                    <a:pt x="57" y="375"/>
                  </a:lnTo>
                  <a:lnTo>
                    <a:pt x="46" y="372"/>
                  </a:lnTo>
                  <a:lnTo>
                    <a:pt x="34" y="368"/>
                  </a:lnTo>
                  <a:lnTo>
                    <a:pt x="26" y="363"/>
                  </a:lnTo>
                  <a:lnTo>
                    <a:pt x="22" y="358"/>
                  </a:lnTo>
                  <a:lnTo>
                    <a:pt x="27" y="346"/>
                  </a:lnTo>
                  <a:lnTo>
                    <a:pt x="34" y="334"/>
                  </a:lnTo>
                  <a:lnTo>
                    <a:pt x="33" y="323"/>
                  </a:lnTo>
                  <a:lnTo>
                    <a:pt x="29" y="315"/>
                  </a:lnTo>
                  <a:lnTo>
                    <a:pt x="26" y="308"/>
                  </a:lnTo>
                  <a:lnTo>
                    <a:pt x="24" y="303"/>
                  </a:lnTo>
                  <a:lnTo>
                    <a:pt x="19" y="287"/>
                  </a:lnTo>
                  <a:lnTo>
                    <a:pt x="17" y="277"/>
                  </a:lnTo>
                  <a:lnTo>
                    <a:pt x="14" y="265"/>
                  </a:lnTo>
                  <a:lnTo>
                    <a:pt x="10" y="253"/>
                  </a:lnTo>
                  <a:lnTo>
                    <a:pt x="3" y="244"/>
                  </a:lnTo>
                  <a:lnTo>
                    <a:pt x="0" y="236"/>
                  </a:lnTo>
                  <a:lnTo>
                    <a:pt x="2" y="232"/>
                  </a:lnTo>
                  <a:lnTo>
                    <a:pt x="3" y="229"/>
                  </a:lnTo>
                  <a:lnTo>
                    <a:pt x="5" y="232"/>
                  </a:lnTo>
                  <a:lnTo>
                    <a:pt x="9" y="236"/>
                  </a:lnTo>
                  <a:lnTo>
                    <a:pt x="9" y="232"/>
                  </a:lnTo>
                  <a:lnTo>
                    <a:pt x="9" y="229"/>
                  </a:lnTo>
                  <a:lnTo>
                    <a:pt x="5" y="217"/>
                  </a:lnTo>
                  <a:lnTo>
                    <a:pt x="2" y="203"/>
                  </a:lnTo>
                  <a:lnTo>
                    <a:pt x="2" y="193"/>
                  </a:lnTo>
                  <a:lnTo>
                    <a:pt x="2" y="186"/>
                  </a:lnTo>
                  <a:lnTo>
                    <a:pt x="2" y="179"/>
                  </a:lnTo>
                  <a:lnTo>
                    <a:pt x="2" y="174"/>
                  </a:lnTo>
                  <a:lnTo>
                    <a:pt x="3" y="169"/>
                  </a:lnTo>
                  <a:lnTo>
                    <a:pt x="7" y="167"/>
                  </a:lnTo>
                  <a:lnTo>
                    <a:pt x="7" y="169"/>
                  </a:lnTo>
                  <a:lnTo>
                    <a:pt x="9" y="172"/>
                  </a:lnTo>
                  <a:lnTo>
                    <a:pt x="22" y="163"/>
                  </a:lnTo>
                  <a:lnTo>
                    <a:pt x="34" y="153"/>
                  </a:lnTo>
                  <a:lnTo>
                    <a:pt x="39" y="148"/>
                  </a:lnTo>
                  <a:lnTo>
                    <a:pt x="50" y="146"/>
                  </a:lnTo>
                  <a:lnTo>
                    <a:pt x="58" y="145"/>
                  </a:lnTo>
                  <a:lnTo>
                    <a:pt x="69" y="145"/>
                  </a:lnTo>
                  <a:lnTo>
                    <a:pt x="76" y="141"/>
                  </a:lnTo>
                  <a:lnTo>
                    <a:pt x="84" y="139"/>
                  </a:lnTo>
                  <a:lnTo>
                    <a:pt x="95" y="136"/>
                  </a:lnTo>
                  <a:lnTo>
                    <a:pt x="105" y="133"/>
                  </a:lnTo>
                  <a:lnTo>
                    <a:pt x="113" y="126"/>
                  </a:lnTo>
                  <a:lnTo>
                    <a:pt x="122" y="120"/>
                  </a:lnTo>
                  <a:lnTo>
                    <a:pt x="125" y="115"/>
                  </a:lnTo>
                  <a:lnTo>
                    <a:pt x="129" y="110"/>
                  </a:lnTo>
                  <a:lnTo>
                    <a:pt x="129" y="105"/>
                  </a:lnTo>
                  <a:lnTo>
                    <a:pt x="129" y="102"/>
                  </a:lnTo>
                  <a:lnTo>
                    <a:pt x="129" y="93"/>
                  </a:lnTo>
                  <a:lnTo>
                    <a:pt x="136" y="88"/>
                  </a:lnTo>
                  <a:lnTo>
                    <a:pt x="139" y="93"/>
                  </a:lnTo>
                  <a:lnTo>
                    <a:pt x="143" y="98"/>
                  </a:lnTo>
                  <a:lnTo>
                    <a:pt x="146" y="90"/>
                  </a:lnTo>
                  <a:lnTo>
                    <a:pt x="148" y="83"/>
                  </a:lnTo>
                  <a:lnTo>
                    <a:pt x="153" y="84"/>
                  </a:lnTo>
                  <a:lnTo>
                    <a:pt x="158" y="86"/>
                  </a:lnTo>
                  <a:lnTo>
                    <a:pt x="158" y="76"/>
                  </a:lnTo>
                  <a:lnTo>
                    <a:pt x="163" y="71"/>
                  </a:lnTo>
                  <a:lnTo>
                    <a:pt x="167" y="64"/>
                  </a:lnTo>
                  <a:lnTo>
                    <a:pt x="170" y="59"/>
                  </a:lnTo>
                  <a:lnTo>
                    <a:pt x="177" y="55"/>
                  </a:lnTo>
                  <a:lnTo>
                    <a:pt x="184" y="53"/>
                  </a:lnTo>
                  <a:lnTo>
                    <a:pt x="189" y="48"/>
                  </a:lnTo>
                  <a:lnTo>
                    <a:pt x="198" y="48"/>
                  </a:lnTo>
                  <a:lnTo>
                    <a:pt x="206" y="53"/>
                  </a:lnTo>
                  <a:lnTo>
                    <a:pt x="211" y="67"/>
                  </a:lnTo>
                  <a:lnTo>
                    <a:pt x="217" y="62"/>
                  </a:lnTo>
                  <a:lnTo>
                    <a:pt x="224" y="62"/>
                  </a:lnTo>
                  <a:lnTo>
                    <a:pt x="227" y="64"/>
                  </a:lnTo>
                  <a:lnTo>
                    <a:pt x="230" y="65"/>
                  </a:lnTo>
                  <a:lnTo>
                    <a:pt x="232" y="59"/>
                  </a:lnTo>
                  <a:lnTo>
                    <a:pt x="232" y="53"/>
                  </a:lnTo>
                  <a:lnTo>
                    <a:pt x="236" y="43"/>
                  </a:lnTo>
                  <a:lnTo>
                    <a:pt x="241" y="35"/>
                  </a:lnTo>
                  <a:lnTo>
                    <a:pt x="242" y="29"/>
                  </a:lnTo>
                  <a:lnTo>
                    <a:pt x="251" y="26"/>
                  </a:lnTo>
                  <a:lnTo>
                    <a:pt x="260" y="24"/>
                  </a:lnTo>
                  <a:lnTo>
                    <a:pt x="268" y="24"/>
                  </a:lnTo>
                  <a:lnTo>
                    <a:pt x="273" y="22"/>
                  </a:lnTo>
                  <a:lnTo>
                    <a:pt x="279" y="21"/>
                  </a:lnTo>
                  <a:lnTo>
                    <a:pt x="272" y="14"/>
                  </a:lnTo>
                  <a:lnTo>
                    <a:pt x="268" y="9"/>
                  </a:lnTo>
                  <a:lnTo>
                    <a:pt x="279" y="12"/>
                  </a:lnTo>
                  <a:lnTo>
                    <a:pt x="291" y="17"/>
                  </a:lnTo>
                  <a:lnTo>
                    <a:pt x="301" y="21"/>
                  </a:lnTo>
                  <a:lnTo>
                    <a:pt x="315" y="22"/>
                  </a:lnTo>
                  <a:lnTo>
                    <a:pt x="322" y="21"/>
                  </a:lnTo>
                  <a:lnTo>
                    <a:pt x="328" y="19"/>
                  </a:lnTo>
                  <a:lnTo>
                    <a:pt x="334" y="21"/>
                  </a:lnTo>
                  <a:lnTo>
                    <a:pt x="339" y="28"/>
                  </a:lnTo>
                  <a:lnTo>
                    <a:pt x="334" y="33"/>
                  </a:lnTo>
                  <a:lnTo>
                    <a:pt x="327" y="38"/>
                  </a:lnTo>
                  <a:lnTo>
                    <a:pt x="322" y="64"/>
                  </a:lnTo>
                  <a:lnTo>
                    <a:pt x="325" y="65"/>
                  </a:lnTo>
                  <a:lnTo>
                    <a:pt x="332" y="69"/>
                  </a:lnTo>
                  <a:lnTo>
                    <a:pt x="334" y="74"/>
                  </a:lnTo>
                  <a:lnTo>
                    <a:pt x="337" y="79"/>
                  </a:lnTo>
                  <a:lnTo>
                    <a:pt x="346" y="81"/>
                  </a:lnTo>
                  <a:lnTo>
                    <a:pt x="353" y="84"/>
                  </a:lnTo>
                  <a:lnTo>
                    <a:pt x="359" y="86"/>
                  </a:lnTo>
                  <a:lnTo>
                    <a:pt x="370" y="91"/>
                  </a:lnTo>
                  <a:lnTo>
                    <a:pt x="378" y="98"/>
                  </a:lnTo>
                  <a:lnTo>
                    <a:pt x="390" y="105"/>
                  </a:lnTo>
                  <a:lnTo>
                    <a:pt x="399" y="98"/>
                  </a:lnTo>
                  <a:lnTo>
                    <a:pt x="406" y="88"/>
                  </a:lnTo>
                  <a:lnTo>
                    <a:pt x="408" y="74"/>
                  </a:lnTo>
                  <a:lnTo>
                    <a:pt x="411" y="64"/>
                  </a:lnTo>
                  <a:lnTo>
                    <a:pt x="411" y="17"/>
                  </a:lnTo>
                  <a:lnTo>
                    <a:pt x="418" y="9"/>
                  </a:lnTo>
                  <a:lnTo>
                    <a:pt x="425" y="0"/>
                  </a:lnTo>
                  <a:lnTo>
                    <a:pt x="425" y="9"/>
                  </a:lnTo>
                  <a:lnTo>
                    <a:pt x="430" y="17"/>
                  </a:lnTo>
                  <a:lnTo>
                    <a:pt x="433" y="24"/>
                  </a:lnTo>
                  <a:lnTo>
                    <a:pt x="437" y="33"/>
                  </a:lnTo>
                  <a:lnTo>
                    <a:pt x="437" y="43"/>
                  </a:lnTo>
                  <a:lnTo>
                    <a:pt x="442" y="53"/>
                  </a:lnTo>
                  <a:lnTo>
                    <a:pt x="451" y="55"/>
                  </a:lnTo>
                  <a:lnTo>
                    <a:pt x="457" y="59"/>
                  </a:lnTo>
                  <a:lnTo>
                    <a:pt x="461" y="62"/>
                  </a:lnTo>
                  <a:lnTo>
                    <a:pt x="463" y="71"/>
                  </a:lnTo>
                  <a:lnTo>
                    <a:pt x="464" y="79"/>
                  </a:lnTo>
                  <a:lnTo>
                    <a:pt x="466" y="88"/>
                  </a:lnTo>
                  <a:lnTo>
                    <a:pt x="468" y="95"/>
                  </a:lnTo>
                  <a:lnTo>
                    <a:pt x="473" y="103"/>
                  </a:lnTo>
                  <a:lnTo>
                    <a:pt x="475" y="110"/>
                  </a:lnTo>
                  <a:lnTo>
                    <a:pt x="480" y="120"/>
                  </a:lnTo>
                  <a:lnTo>
                    <a:pt x="483" y="126"/>
                  </a:lnTo>
                  <a:lnTo>
                    <a:pt x="494" y="133"/>
                  </a:lnTo>
                  <a:lnTo>
                    <a:pt x="504" y="138"/>
                  </a:lnTo>
                  <a:lnTo>
                    <a:pt x="514" y="145"/>
                  </a:lnTo>
                  <a:lnTo>
                    <a:pt x="519" y="157"/>
                  </a:lnTo>
                  <a:lnTo>
                    <a:pt x="523" y="169"/>
                  </a:lnTo>
                  <a:lnTo>
                    <a:pt x="528" y="174"/>
                  </a:lnTo>
                  <a:lnTo>
                    <a:pt x="540" y="176"/>
                  </a:lnTo>
                  <a:lnTo>
                    <a:pt x="542" y="186"/>
                  </a:lnTo>
                  <a:lnTo>
                    <a:pt x="550" y="196"/>
                  </a:lnTo>
                  <a:lnTo>
                    <a:pt x="559" y="205"/>
                  </a:lnTo>
                  <a:lnTo>
                    <a:pt x="569" y="213"/>
                  </a:lnTo>
                  <a:lnTo>
                    <a:pt x="568" y="2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2" name="Freeform 223"/>
            <p:cNvSpPr>
              <a:spLocks/>
            </p:cNvSpPr>
            <p:nvPr/>
          </p:nvSpPr>
          <p:spPr bwMode="auto">
            <a:xfrm>
              <a:off x="8149432" y="5181600"/>
              <a:ext cx="15875" cy="12700"/>
            </a:xfrm>
            <a:custGeom>
              <a:avLst/>
              <a:gdLst/>
              <a:ahLst/>
              <a:cxnLst>
                <a:cxn ang="0">
                  <a:pos x="10" y="0"/>
                </a:cxn>
                <a:cxn ang="0">
                  <a:pos x="5" y="5"/>
                </a:cxn>
                <a:cxn ang="0">
                  <a:pos x="0" y="8"/>
                </a:cxn>
                <a:cxn ang="0">
                  <a:pos x="0" y="3"/>
                </a:cxn>
                <a:cxn ang="0">
                  <a:pos x="0" y="0"/>
                </a:cxn>
                <a:cxn ang="0">
                  <a:pos x="10" y="0"/>
                </a:cxn>
              </a:cxnLst>
              <a:rect l="0" t="0" r="r" b="b"/>
              <a:pathLst>
                <a:path w="10" h="8">
                  <a:moveTo>
                    <a:pt x="10" y="0"/>
                  </a:moveTo>
                  <a:lnTo>
                    <a:pt x="5" y="5"/>
                  </a:lnTo>
                  <a:lnTo>
                    <a:pt x="0" y="8"/>
                  </a:lnTo>
                  <a:lnTo>
                    <a:pt x="0" y="3"/>
                  </a:lnTo>
                  <a:lnTo>
                    <a:pt x="0"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3" name="Freeform 224"/>
            <p:cNvSpPr>
              <a:spLocks/>
            </p:cNvSpPr>
            <p:nvPr/>
          </p:nvSpPr>
          <p:spPr bwMode="auto">
            <a:xfrm>
              <a:off x="8127207" y="5006975"/>
              <a:ext cx="174625" cy="171450"/>
            </a:xfrm>
            <a:custGeom>
              <a:avLst/>
              <a:gdLst/>
              <a:ahLst/>
              <a:cxnLst>
                <a:cxn ang="0">
                  <a:pos x="67" y="29"/>
                </a:cxn>
                <a:cxn ang="0">
                  <a:pos x="67" y="26"/>
                </a:cxn>
                <a:cxn ang="0">
                  <a:pos x="67" y="24"/>
                </a:cxn>
                <a:cxn ang="0">
                  <a:pos x="71" y="19"/>
                </a:cxn>
                <a:cxn ang="0">
                  <a:pos x="77" y="19"/>
                </a:cxn>
                <a:cxn ang="0">
                  <a:pos x="77" y="17"/>
                </a:cxn>
                <a:cxn ang="0">
                  <a:pos x="77" y="15"/>
                </a:cxn>
                <a:cxn ang="0">
                  <a:pos x="81" y="5"/>
                </a:cxn>
                <a:cxn ang="0">
                  <a:pos x="89" y="0"/>
                </a:cxn>
                <a:cxn ang="0">
                  <a:pos x="89" y="3"/>
                </a:cxn>
                <a:cxn ang="0">
                  <a:pos x="93" y="5"/>
                </a:cxn>
                <a:cxn ang="0">
                  <a:pos x="93" y="8"/>
                </a:cxn>
                <a:cxn ang="0">
                  <a:pos x="96" y="12"/>
                </a:cxn>
                <a:cxn ang="0">
                  <a:pos x="100" y="8"/>
                </a:cxn>
                <a:cxn ang="0">
                  <a:pos x="105" y="7"/>
                </a:cxn>
                <a:cxn ang="0">
                  <a:pos x="108" y="8"/>
                </a:cxn>
                <a:cxn ang="0">
                  <a:pos x="108" y="14"/>
                </a:cxn>
                <a:cxn ang="0">
                  <a:pos x="110" y="17"/>
                </a:cxn>
                <a:cxn ang="0">
                  <a:pos x="107" y="22"/>
                </a:cxn>
                <a:cxn ang="0">
                  <a:pos x="103" y="31"/>
                </a:cxn>
                <a:cxn ang="0">
                  <a:pos x="96" y="39"/>
                </a:cxn>
                <a:cxn ang="0">
                  <a:pos x="91" y="43"/>
                </a:cxn>
                <a:cxn ang="0">
                  <a:pos x="89" y="50"/>
                </a:cxn>
                <a:cxn ang="0">
                  <a:pos x="91" y="58"/>
                </a:cxn>
                <a:cxn ang="0">
                  <a:pos x="81" y="58"/>
                </a:cxn>
                <a:cxn ang="0">
                  <a:pos x="72" y="60"/>
                </a:cxn>
                <a:cxn ang="0">
                  <a:pos x="67" y="67"/>
                </a:cxn>
                <a:cxn ang="0">
                  <a:pos x="64" y="81"/>
                </a:cxn>
                <a:cxn ang="0">
                  <a:pos x="58" y="91"/>
                </a:cxn>
                <a:cxn ang="0">
                  <a:pos x="57" y="96"/>
                </a:cxn>
                <a:cxn ang="0">
                  <a:pos x="46" y="103"/>
                </a:cxn>
                <a:cxn ang="0">
                  <a:pos x="38" y="108"/>
                </a:cxn>
                <a:cxn ang="0">
                  <a:pos x="31" y="106"/>
                </a:cxn>
                <a:cxn ang="0">
                  <a:pos x="26" y="105"/>
                </a:cxn>
                <a:cxn ang="0">
                  <a:pos x="19" y="103"/>
                </a:cxn>
                <a:cxn ang="0">
                  <a:pos x="12" y="100"/>
                </a:cxn>
                <a:cxn ang="0">
                  <a:pos x="5" y="96"/>
                </a:cxn>
                <a:cxn ang="0">
                  <a:pos x="3" y="94"/>
                </a:cxn>
                <a:cxn ang="0">
                  <a:pos x="0" y="93"/>
                </a:cxn>
                <a:cxn ang="0">
                  <a:pos x="2" y="82"/>
                </a:cxn>
                <a:cxn ang="0">
                  <a:pos x="7" y="75"/>
                </a:cxn>
                <a:cxn ang="0">
                  <a:pos x="14" y="70"/>
                </a:cxn>
                <a:cxn ang="0">
                  <a:pos x="21" y="65"/>
                </a:cxn>
                <a:cxn ang="0">
                  <a:pos x="24" y="60"/>
                </a:cxn>
                <a:cxn ang="0">
                  <a:pos x="29" y="58"/>
                </a:cxn>
                <a:cxn ang="0">
                  <a:pos x="43" y="51"/>
                </a:cxn>
                <a:cxn ang="0">
                  <a:pos x="57" y="43"/>
                </a:cxn>
                <a:cxn ang="0">
                  <a:pos x="62" y="34"/>
                </a:cxn>
                <a:cxn ang="0">
                  <a:pos x="67" y="29"/>
                </a:cxn>
              </a:cxnLst>
              <a:rect l="0" t="0" r="r" b="b"/>
              <a:pathLst>
                <a:path w="110" h="108">
                  <a:moveTo>
                    <a:pt x="67" y="29"/>
                  </a:moveTo>
                  <a:lnTo>
                    <a:pt x="67" y="26"/>
                  </a:lnTo>
                  <a:lnTo>
                    <a:pt x="67" y="24"/>
                  </a:lnTo>
                  <a:lnTo>
                    <a:pt x="71" y="19"/>
                  </a:lnTo>
                  <a:lnTo>
                    <a:pt x="77" y="19"/>
                  </a:lnTo>
                  <a:lnTo>
                    <a:pt x="77" y="17"/>
                  </a:lnTo>
                  <a:lnTo>
                    <a:pt x="77" y="15"/>
                  </a:lnTo>
                  <a:lnTo>
                    <a:pt x="81" y="5"/>
                  </a:lnTo>
                  <a:lnTo>
                    <a:pt x="89" y="0"/>
                  </a:lnTo>
                  <a:lnTo>
                    <a:pt x="89" y="3"/>
                  </a:lnTo>
                  <a:lnTo>
                    <a:pt x="93" y="5"/>
                  </a:lnTo>
                  <a:lnTo>
                    <a:pt x="93" y="8"/>
                  </a:lnTo>
                  <a:lnTo>
                    <a:pt x="96" y="12"/>
                  </a:lnTo>
                  <a:lnTo>
                    <a:pt x="100" y="8"/>
                  </a:lnTo>
                  <a:lnTo>
                    <a:pt x="105" y="7"/>
                  </a:lnTo>
                  <a:lnTo>
                    <a:pt x="108" y="8"/>
                  </a:lnTo>
                  <a:lnTo>
                    <a:pt x="108" y="14"/>
                  </a:lnTo>
                  <a:lnTo>
                    <a:pt x="110" y="17"/>
                  </a:lnTo>
                  <a:lnTo>
                    <a:pt x="107" y="22"/>
                  </a:lnTo>
                  <a:lnTo>
                    <a:pt x="103" y="31"/>
                  </a:lnTo>
                  <a:lnTo>
                    <a:pt x="96" y="39"/>
                  </a:lnTo>
                  <a:lnTo>
                    <a:pt x="91" y="43"/>
                  </a:lnTo>
                  <a:lnTo>
                    <a:pt x="89" y="50"/>
                  </a:lnTo>
                  <a:lnTo>
                    <a:pt x="91" y="58"/>
                  </a:lnTo>
                  <a:lnTo>
                    <a:pt x="81" y="58"/>
                  </a:lnTo>
                  <a:lnTo>
                    <a:pt x="72" y="60"/>
                  </a:lnTo>
                  <a:lnTo>
                    <a:pt x="67" y="67"/>
                  </a:lnTo>
                  <a:lnTo>
                    <a:pt x="64" y="81"/>
                  </a:lnTo>
                  <a:lnTo>
                    <a:pt x="58" y="91"/>
                  </a:lnTo>
                  <a:lnTo>
                    <a:pt x="57" y="96"/>
                  </a:lnTo>
                  <a:lnTo>
                    <a:pt x="46" y="103"/>
                  </a:lnTo>
                  <a:lnTo>
                    <a:pt x="38" y="108"/>
                  </a:lnTo>
                  <a:lnTo>
                    <a:pt x="31" y="106"/>
                  </a:lnTo>
                  <a:lnTo>
                    <a:pt x="26" y="105"/>
                  </a:lnTo>
                  <a:lnTo>
                    <a:pt x="19" y="103"/>
                  </a:lnTo>
                  <a:lnTo>
                    <a:pt x="12" y="100"/>
                  </a:lnTo>
                  <a:lnTo>
                    <a:pt x="5" y="96"/>
                  </a:lnTo>
                  <a:lnTo>
                    <a:pt x="3" y="94"/>
                  </a:lnTo>
                  <a:lnTo>
                    <a:pt x="0" y="93"/>
                  </a:lnTo>
                  <a:lnTo>
                    <a:pt x="2" y="82"/>
                  </a:lnTo>
                  <a:lnTo>
                    <a:pt x="7" y="75"/>
                  </a:lnTo>
                  <a:lnTo>
                    <a:pt x="14" y="70"/>
                  </a:lnTo>
                  <a:lnTo>
                    <a:pt x="21" y="65"/>
                  </a:lnTo>
                  <a:lnTo>
                    <a:pt x="24" y="60"/>
                  </a:lnTo>
                  <a:lnTo>
                    <a:pt x="29" y="58"/>
                  </a:lnTo>
                  <a:lnTo>
                    <a:pt x="43" y="51"/>
                  </a:lnTo>
                  <a:lnTo>
                    <a:pt x="57" y="43"/>
                  </a:lnTo>
                  <a:lnTo>
                    <a:pt x="62" y="34"/>
                  </a:lnTo>
                  <a:lnTo>
                    <a:pt x="67"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4" name="Freeform 225"/>
            <p:cNvSpPr>
              <a:spLocks/>
            </p:cNvSpPr>
            <p:nvPr/>
          </p:nvSpPr>
          <p:spPr bwMode="auto">
            <a:xfrm>
              <a:off x="8271669" y="4840288"/>
              <a:ext cx="131763" cy="190500"/>
            </a:xfrm>
            <a:custGeom>
              <a:avLst/>
              <a:gdLst/>
              <a:ahLst/>
              <a:cxnLst>
                <a:cxn ang="0">
                  <a:pos x="26" y="45"/>
                </a:cxn>
                <a:cxn ang="0">
                  <a:pos x="21" y="39"/>
                </a:cxn>
                <a:cxn ang="0">
                  <a:pos x="19" y="36"/>
                </a:cxn>
                <a:cxn ang="0">
                  <a:pos x="19" y="33"/>
                </a:cxn>
                <a:cxn ang="0">
                  <a:pos x="21" y="31"/>
                </a:cxn>
                <a:cxn ang="0">
                  <a:pos x="12" y="26"/>
                </a:cxn>
                <a:cxn ang="0">
                  <a:pos x="7" y="19"/>
                </a:cxn>
                <a:cxn ang="0">
                  <a:pos x="2" y="9"/>
                </a:cxn>
                <a:cxn ang="0">
                  <a:pos x="0" y="0"/>
                </a:cxn>
                <a:cxn ang="0">
                  <a:pos x="9" y="7"/>
                </a:cxn>
                <a:cxn ang="0">
                  <a:pos x="19" y="14"/>
                </a:cxn>
                <a:cxn ang="0">
                  <a:pos x="21" y="17"/>
                </a:cxn>
                <a:cxn ang="0">
                  <a:pos x="24" y="22"/>
                </a:cxn>
                <a:cxn ang="0">
                  <a:pos x="23" y="24"/>
                </a:cxn>
                <a:cxn ang="0">
                  <a:pos x="23" y="26"/>
                </a:cxn>
                <a:cxn ang="0">
                  <a:pos x="26" y="33"/>
                </a:cxn>
                <a:cxn ang="0">
                  <a:pos x="31" y="41"/>
                </a:cxn>
                <a:cxn ang="0">
                  <a:pos x="35" y="41"/>
                </a:cxn>
                <a:cxn ang="0">
                  <a:pos x="35" y="38"/>
                </a:cxn>
                <a:cxn ang="0">
                  <a:pos x="40" y="38"/>
                </a:cxn>
                <a:cxn ang="0">
                  <a:pos x="41" y="38"/>
                </a:cxn>
                <a:cxn ang="0">
                  <a:pos x="45" y="52"/>
                </a:cxn>
                <a:cxn ang="0">
                  <a:pos x="60" y="58"/>
                </a:cxn>
                <a:cxn ang="0">
                  <a:pos x="69" y="55"/>
                </a:cxn>
                <a:cxn ang="0">
                  <a:pos x="78" y="53"/>
                </a:cxn>
                <a:cxn ang="0">
                  <a:pos x="79" y="53"/>
                </a:cxn>
                <a:cxn ang="0">
                  <a:pos x="83" y="55"/>
                </a:cxn>
                <a:cxn ang="0">
                  <a:pos x="76" y="67"/>
                </a:cxn>
                <a:cxn ang="0">
                  <a:pos x="72" y="81"/>
                </a:cxn>
                <a:cxn ang="0">
                  <a:pos x="71" y="79"/>
                </a:cxn>
                <a:cxn ang="0">
                  <a:pos x="69" y="79"/>
                </a:cxn>
                <a:cxn ang="0">
                  <a:pos x="60" y="81"/>
                </a:cxn>
                <a:cxn ang="0">
                  <a:pos x="59" y="86"/>
                </a:cxn>
                <a:cxn ang="0">
                  <a:pos x="59" y="88"/>
                </a:cxn>
                <a:cxn ang="0">
                  <a:pos x="60" y="91"/>
                </a:cxn>
                <a:cxn ang="0">
                  <a:pos x="57" y="96"/>
                </a:cxn>
                <a:cxn ang="0">
                  <a:pos x="53" y="101"/>
                </a:cxn>
                <a:cxn ang="0">
                  <a:pos x="45" y="113"/>
                </a:cxn>
                <a:cxn ang="0">
                  <a:pos x="35" y="120"/>
                </a:cxn>
                <a:cxn ang="0">
                  <a:pos x="28" y="117"/>
                </a:cxn>
                <a:cxn ang="0">
                  <a:pos x="28" y="113"/>
                </a:cxn>
                <a:cxn ang="0">
                  <a:pos x="29" y="105"/>
                </a:cxn>
                <a:cxn ang="0">
                  <a:pos x="33" y="98"/>
                </a:cxn>
                <a:cxn ang="0">
                  <a:pos x="29" y="91"/>
                </a:cxn>
                <a:cxn ang="0">
                  <a:pos x="23" y="89"/>
                </a:cxn>
                <a:cxn ang="0">
                  <a:pos x="16" y="86"/>
                </a:cxn>
                <a:cxn ang="0">
                  <a:pos x="14" y="82"/>
                </a:cxn>
                <a:cxn ang="0">
                  <a:pos x="16" y="77"/>
                </a:cxn>
                <a:cxn ang="0">
                  <a:pos x="21" y="76"/>
                </a:cxn>
                <a:cxn ang="0">
                  <a:pos x="26" y="65"/>
                </a:cxn>
                <a:cxn ang="0">
                  <a:pos x="28" y="55"/>
                </a:cxn>
                <a:cxn ang="0">
                  <a:pos x="26" y="48"/>
                </a:cxn>
                <a:cxn ang="0">
                  <a:pos x="24" y="43"/>
                </a:cxn>
                <a:cxn ang="0">
                  <a:pos x="26" y="43"/>
                </a:cxn>
                <a:cxn ang="0">
                  <a:pos x="26" y="45"/>
                </a:cxn>
              </a:cxnLst>
              <a:rect l="0" t="0" r="r" b="b"/>
              <a:pathLst>
                <a:path w="83" h="120">
                  <a:moveTo>
                    <a:pt x="26" y="45"/>
                  </a:moveTo>
                  <a:lnTo>
                    <a:pt x="21" y="39"/>
                  </a:lnTo>
                  <a:lnTo>
                    <a:pt x="19" y="36"/>
                  </a:lnTo>
                  <a:lnTo>
                    <a:pt x="19" y="33"/>
                  </a:lnTo>
                  <a:lnTo>
                    <a:pt x="21" y="31"/>
                  </a:lnTo>
                  <a:lnTo>
                    <a:pt x="12" y="26"/>
                  </a:lnTo>
                  <a:lnTo>
                    <a:pt x="7" y="19"/>
                  </a:lnTo>
                  <a:lnTo>
                    <a:pt x="2" y="9"/>
                  </a:lnTo>
                  <a:lnTo>
                    <a:pt x="0" y="0"/>
                  </a:lnTo>
                  <a:lnTo>
                    <a:pt x="9" y="7"/>
                  </a:lnTo>
                  <a:lnTo>
                    <a:pt x="19" y="14"/>
                  </a:lnTo>
                  <a:lnTo>
                    <a:pt x="21" y="17"/>
                  </a:lnTo>
                  <a:lnTo>
                    <a:pt x="24" y="22"/>
                  </a:lnTo>
                  <a:lnTo>
                    <a:pt x="23" y="24"/>
                  </a:lnTo>
                  <a:lnTo>
                    <a:pt x="23" y="26"/>
                  </a:lnTo>
                  <a:lnTo>
                    <a:pt x="26" y="33"/>
                  </a:lnTo>
                  <a:lnTo>
                    <a:pt x="31" y="41"/>
                  </a:lnTo>
                  <a:lnTo>
                    <a:pt x="35" y="41"/>
                  </a:lnTo>
                  <a:lnTo>
                    <a:pt x="35" y="38"/>
                  </a:lnTo>
                  <a:lnTo>
                    <a:pt x="40" y="38"/>
                  </a:lnTo>
                  <a:lnTo>
                    <a:pt x="41" y="38"/>
                  </a:lnTo>
                  <a:lnTo>
                    <a:pt x="45" y="52"/>
                  </a:lnTo>
                  <a:lnTo>
                    <a:pt x="60" y="58"/>
                  </a:lnTo>
                  <a:lnTo>
                    <a:pt x="69" y="55"/>
                  </a:lnTo>
                  <a:lnTo>
                    <a:pt x="78" y="53"/>
                  </a:lnTo>
                  <a:lnTo>
                    <a:pt x="79" y="53"/>
                  </a:lnTo>
                  <a:lnTo>
                    <a:pt x="83" y="55"/>
                  </a:lnTo>
                  <a:lnTo>
                    <a:pt x="76" y="67"/>
                  </a:lnTo>
                  <a:lnTo>
                    <a:pt x="72" y="81"/>
                  </a:lnTo>
                  <a:lnTo>
                    <a:pt x="71" y="79"/>
                  </a:lnTo>
                  <a:lnTo>
                    <a:pt x="69" y="79"/>
                  </a:lnTo>
                  <a:lnTo>
                    <a:pt x="60" y="81"/>
                  </a:lnTo>
                  <a:lnTo>
                    <a:pt x="59" y="86"/>
                  </a:lnTo>
                  <a:lnTo>
                    <a:pt x="59" y="88"/>
                  </a:lnTo>
                  <a:lnTo>
                    <a:pt x="60" y="91"/>
                  </a:lnTo>
                  <a:lnTo>
                    <a:pt x="57" y="96"/>
                  </a:lnTo>
                  <a:lnTo>
                    <a:pt x="53" y="101"/>
                  </a:lnTo>
                  <a:lnTo>
                    <a:pt x="45" y="113"/>
                  </a:lnTo>
                  <a:lnTo>
                    <a:pt x="35" y="120"/>
                  </a:lnTo>
                  <a:lnTo>
                    <a:pt x="28" y="117"/>
                  </a:lnTo>
                  <a:lnTo>
                    <a:pt x="28" y="113"/>
                  </a:lnTo>
                  <a:lnTo>
                    <a:pt x="29" y="105"/>
                  </a:lnTo>
                  <a:lnTo>
                    <a:pt x="33" y="98"/>
                  </a:lnTo>
                  <a:lnTo>
                    <a:pt x="29" y="91"/>
                  </a:lnTo>
                  <a:lnTo>
                    <a:pt x="23" y="89"/>
                  </a:lnTo>
                  <a:lnTo>
                    <a:pt x="16" y="86"/>
                  </a:lnTo>
                  <a:lnTo>
                    <a:pt x="14" y="82"/>
                  </a:lnTo>
                  <a:lnTo>
                    <a:pt x="16" y="77"/>
                  </a:lnTo>
                  <a:lnTo>
                    <a:pt x="21" y="76"/>
                  </a:lnTo>
                  <a:lnTo>
                    <a:pt x="26" y="65"/>
                  </a:lnTo>
                  <a:lnTo>
                    <a:pt x="28" y="55"/>
                  </a:lnTo>
                  <a:lnTo>
                    <a:pt x="26" y="48"/>
                  </a:lnTo>
                  <a:lnTo>
                    <a:pt x="24" y="43"/>
                  </a:lnTo>
                  <a:lnTo>
                    <a:pt x="26" y="43"/>
                  </a:lnTo>
                  <a:lnTo>
                    <a:pt x="2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5" name="Freeform 226"/>
            <p:cNvSpPr>
              <a:spLocks/>
            </p:cNvSpPr>
            <p:nvPr/>
          </p:nvSpPr>
          <p:spPr bwMode="auto">
            <a:xfrm>
              <a:off x="8370094" y="4416425"/>
              <a:ext cx="26988" cy="22225"/>
            </a:xfrm>
            <a:custGeom>
              <a:avLst/>
              <a:gdLst/>
              <a:ahLst/>
              <a:cxnLst>
                <a:cxn ang="0">
                  <a:pos x="12" y="0"/>
                </a:cxn>
                <a:cxn ang="0">
                  <a:pos x="14" y="4"/>
                </a:cxn>
                <a:cxn ang="0">
                  <a:pos x="17" y="6"/>
                </a:cxn>
                <a:cxn ang="0">
                  <a:pos x="17" y="11"/>
                </a:cxn>
                <a:cxn ang="0">
                  <a:pos x="14" y="12"/>
                </a:cxn>
                <a:cxn ang="0">
                  <a:pos x="10" y="14"/>
                </a:cxn>
                <a:cxn ang="0">
                  <a:pos x="4" y="12"/>
                </a:cxn>
                <a:cxn ang="0">
                  <a:pos x="0" y="11"/>
                </a:cxn>
                <a:cxn ang="0">
                  <a:pos x="4" y="2"/>
                </a:cxn>
                <a:cxn ang="0">
                  <a:pos x="12" y="0"/>
                </a:cxn>
              </a:cxnLst>
              <a:rect l="0" t="0" r="r" b="b"/>
              <a:pathLst>
                <a:path w="17" h="14">
                  <a:moveTo>
                    <a:pt x="12" y="0"/>
                  </a:moveTo>
                  <a:lnTo>
                    <a:pt x="14" y="4"/>
                  </a:lnTo>
                  <a:lnTo>
                    <a:pt x="17" y="6"/>
                  </a:lnTo>
                  <a:lnTo>
                    <a:pt x="17" y="11"/>
                  </a:lnTo>
                  <a:lnTo>
                    <a:pt x="14" y="12"/>
                  </a:lnTo>
                  <a:lnTo>
                    <a:pt x="10" y="14"/>
                  </a:lnTo>
                  <a:lnTo>
                    <a:pt x="4" y="12"/>
                  </a:lnTo>
                  <a:lnTo>
                    <a:pt x="0" y="11"/>
                  </a:lnTo>
                  <a:lnTo>
                    <a:pt x="4" y="2"/>
                  </a:lnTo>
                  <a:lnTo>
                    <a:pt x="1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6" name="Freeform 227"/>
            <p:cNvSpPr>
              <a:spLocks/>
            </p:cNvSpPr>
            <p:nvPr/>
          </p:nvSpPr>
          <p:spPr bwMode="auto">
            <a:xfrm>
              <a:off x="8403432" y="4395788"/>
              <a:ext cx="23813" cy="15875"/>
            </a:xfrm>
            <a:custGeom>
              <a:avLst/>
              <a:gdLst/>
              <a:ahLst/>
              <a:cxnLst>
                <a:cxn ang="0">
                  <a:pos x="15" y="0"/>
                </a:cxn>
                <a:cxn ang="0">
                  <a:pos x="15" y="3"/>
                </a:cxn>
                <a:cxn ang="0">
                  <a:pos x="7" y="7"/>
                </a:cxn>
                <a:cxn ang="0">
                  <a:pos x="1" y="10"/>
                </a:cxn>
                <a:cxn ang="0">
                  <a:pos x="0" y="7"/>
                </a:cxn>
                <a:cxn ang="0">
                  <a:pos x="0" y="5"/>
                </a:cxn>
                <a:cxn ang="0">
                  <a:pos x="5" y="0"/>
                </a:cxn>
                <a:cxn ang="0">
                  <a:pos x="15" y="0"/>
                </a:cxn>
              </a:cxnLst>
              <a:rect l="0" t="0" r="r" b="b"/>
              <a:pathLst>
                <a:path w="15" h="10">
                  <a:moveTo>
                    <a:pt x="15" y="0"/>
                  </a:moveTo>
                  <a:lnTo>
                    <a:pt x="15" y="3"/>
                  </a:lnTo>
                  <a:lnTo>
                    <a:pt x="7" y="7"/>
                  </a:lnTo>
                  <a:lnTo>
                    <a:pt x="1" y="10"/>
                  </a:lnTo>
                  <a:lnTo>
                    <a:pt x="0" y="7"/>
                  </a:lnTo>
                  <a:lnTo>
                    <a:pt x="0" y="5"/>
                  </a:lnTo>
                  <a:lnTo>
                    <a:pt x="5"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7" name="Freeform 228"/>
            <p:cNvSpPr>
              <a:spLocks/>
            </p:cNvSpPr>
            <p:nvPr/>
          </p:nvSpPr>
          <p:spPr bwMode="auto">
            <a:xfrm>
              <a:off x="7114382" y="3789363"/>
              <a:ext cx="101600" cy="98425"/>
            </a:xfrm>
            <a:custGeom>
              <a:avLst/>
              <a:gdLst/>
              <a:ahLst/>
              <a:cxnLst>
                <a:cxn ang="0">
                  <a:pos x="53" y="43"/>
                </a:cxn>
                <a:cxn ang="0">
                  <a:pos x="52" y="41"/>
                </a:cxn>
                <a:cxn ang="0">
                  <a:pos x="50" y="39"/>
                </a:cxn>
                <a:cxn ang="0">
                  <a:pos x="46" y="43"/>
                </a:cxn>
                <a:cxn ang="0">
                  <a:pos x="46" y="46"/>
                </a:cxn>
                <a:cxn ang="0">
                  <a:pos x="48" y="48"/>
                </a:cxn>
                <a:cxn ang="0">
                  <a:pos x="52" y="55"/>
                </a:cxn>
                <a:cxn ang="0">
                  <a:pos x="50" y="58"/>
                </a:cxn>
                <a:cxn ang="0">
                  <a:pos x="46" y="62"/>
                </a:cxn>
                <a:cxn ang="0">
                  <a:pos x="43" y="60"/>
                </a:cxn>
                <a:cxn ang="0">
                  <a:pos x="43" y="58"/>
                </a:cxn>
                <a:cxn ang="0">
                  <a:pos x="41" y="58"/>
                </a:cxn>
                <a:cxn ang="0">
                  <a:pos x="39" y="58"/>
                </a:cxn>
                <a:cxn ang="0">
                  <a:pos x="31" y="53"/>
                </a:cxn>
                <a:cxn ang="0">
                  <a:pos x="27" y="43"/>
                </a:cxn>
                <a:cxn ang="0">
                  <a:pos x="27" y="38"/>
                </a:cxn>
                <a:cxn ang="0">
                  <a:pos x="29" y="38"/>
                </a:cxn>
                <a:cxn ang="0">
                  <a:pos x="27" y="34"/>
                </a:cxn>
                <a:cxn ang="0">
                  <a:pos x="27" y="33"/>
                </a:cxn>
                <a:cxn ang="0">
                  <a:pos x="21" y="33"/>
                </a:cxn>
                <a:cxn ang="0">
                  <a:pos x="21" y="34"/>
                </a:cxn>
                <a:cxn ang="0">
                  <a:pos x="21" y="36"/>
                </a:cxn>
                <a:cxn ang="0">
                  <a:pos x="17" y="34"/>
                </a:cxn>
                <a:cxn ang="0">
                  <a:pos x="15" y="34"/>
                </a:cxn>
                <a:cxn ang="0">
                  <a:pos x="15" y="36"/>
                </a:cxn>
                <a:cxn ang="0">
                  <a:pos x="12" y="34"/>
                </a:cxn>
                <a:cxn ang="0">
                  <a:pos x="10" y="33"/>
                </a:cxn>
                <a:cxn ang="0">
                  <a:pos x="7" y="36"/>
                </a:cxn>
                <a:cxn ang="0">
                  <a:pos x="5" y="43"/>
                </a:cxn>
                <a:cxn ang="0">
                  <a:pos x="3" y="48"/>
                </a:cxn>
                <a:cxn ang="0">
                  <a:pos x="2" y="52"/>
                </a:cxn>
                <a:cxn ang="0">
                  <a:pos x="0" y="46"/>
                </a:cxn>
                <a:cxn ang="0">
                  <a:pos x="2" y="41"/>
                </a:cxn>
                <a:cxn ang="0">
                  <a:pos x="0" y="38"/>
                </a:cxn>
                <a:cxn ang="0">
                  <a:pos x="0" y="36"/>
                </a:cxn>
                <a:cxn ang="0">
                  <a:pos x="0" y="31"/>
                </a:cxn>
                <a:cxn ang="0">
                  <a:pos x="3" y="26"/>
                </a:cxn>
                <a:cxn ang="0">
                  <a:pos x="10" y="21"/>
                </a:cxn>
                <a:cxn ang="0">
                  <a:pos x="19" y="15"/>
                </a:cxn>
                <a:cxn ang="0">
                  <a:pos x="24" y="19"/>
                </a:cxn>
                <a:cxn ang="0">
                  <a:pos x="27" y="22"/>
                </a:cxn>
                <a:cxn ang="0">
                  <a:pos x="31" y="22"/>
                </a:cxn>
                <a:cxn ang="0">
                  <a:pos x="31" y="19"/>
                </a:cxn>
                <a:cxn ang="0">
                  <a:pos x="34" y="17"/>
                </a:cxn>
                <a:cxn ang="0">
                  <a:pos x="38" y="12"/>
                </a:cxn>
                <a:cxn ang="0">
                  <a:pos x="45" y="10"/>
                </a:cxn>
                <a:cxn ang="0">
                  <a:pos x="45" y="3"/>
                </a:cxn>
                <a:cxn ang="0">
                  <a:pos x="46" y="0"/>
                </a:cxn>
                <a:cxn ang="0">
                  <a:pos x="50" y="0"/>
                </a:cxn>
                <a:cxn ang="0">
                  <a:pos x="53" y="3"/>
                </a:cxn>
                <a:cxn ang="0">
                  <a:pos x="55" y="9"/>
                </a:cxn>
                <a:cxn ang="0">
                  <a:pos x="58" y="21"/>
                </a:cxn>
                <a:cxn ang="0">
                  <a:pos x="62" y="31"/>
                </a:cxn>
                <a:cxn ang="0">
                  <a:pos x="64" y="38"/>
                </a:cxn>
                <a:cxn ang="0">
                  <a:pos x="60" y="43"/>
                </a:cxn>
                <a:cxn ang="0">
                  <a:pos x="58" y="53"/>
                </a:cxn>
                <a:cxn ang="0">
                  <a:pos x="53" y="46"/>
                </a:cxn>
                <a:cxn ang="0">
                  <a:pos x="52" y="41"/>
                </a:cxn>
                <a:cxn ang="0">
                  <a:pos x="53" y="43"/>
                </a:cxn>
              </a:cxnLst>
              <a:rect l="0" t="0" r="r" b="b"/>
              <a:pathLst>
                <a:path w="64" h="62">
                  <a:moveTo>
                    <a:pt x="53" y="43"/>
                  </a:moveTo>
                  <a:lnTo>
                    <a:pt x="52" y="41"/>
                  </a:lnTo>
                  <a:lnTo>
                    <a:pt x="50" y="39"/>
                  </a:lnTo>
                  <a:lnTo>
                    <a:pt x="46" y="43"/>
                  </a:lnTo>
                  <a:lnTo>
                    <a:pt x="46" y="46"/>
                  </a:lnTo>
                  <a:lnTo>
                    <a:pt x="48" y="48"/>
                  </a:lnTo>
                  <a:lnTo>
                    <a:pt x="52" y="55"/>
                  </a:lnTo>
                  <a:lnTo>
                    <a:pt x="50" y="58"/>
                  </a:lnTo>
                  <a:lnTo>
                    <a:pt x="46" y="62"/>
                  </a:lnTo>
                  <a:lnTo>
                    <a:pt x="43" y="60"/>
                  </a:lnTo>
                  <a:lnTo>
                    <a:pt x="43" y="58"/>
                  </a:lnTo>
                  <a:lnTo>
                    <a:pt x="41" y="58"/>
                  </a:lnTo>
                  <a:lnTo>
                    <a:pt x="39" y="58"/>
                  </a:lnTo>
                  <a:lnTo>
                    <a:pt x="31" y="53"/>
                  </a:lnTo>
                  <a:lnTo>
                    <a:pt x="27" y="43"/>
                  </a:lnTo>
                  <a:lnTo>
                    <a:pt x="27" y="38"/>
                  </a:lnTo>
                  <a:lnTo>
                    <a:pt x="29" y="38"/>
                  </a:lnTo>
                  <a:lnTo>
                    <a:pt x="27" y="34"/>
                  </a:lnTo>
                  <a:lnTo>
                    <a:pt x="27" y="33"/>
                  </a:lnTo>
                  <a:lnTo>
                    <a:pt x="21" y="33"/>
                  </a:lnTo>
                  <a:lnTo>
                    <a:pt x="21" y="34"/>
                  </a:lnTo>
                  <a:lnTo>
                    <a:pt x="21" y="36"/>
                  </a:lnTo>
                  <a:lnTo>
                    <a:pt x="17" y="34"/>
                  </a:lnTo>
                  <a:lnTo>
                    <a:pt x="15" y="34"/>
                  </a:lnTo>
                  <a:lnTo>
                    <a:pt x="15" y="36"/>
                  </a:lnTo>
                  <a:lnTo>
                    <a:pt x="12" y="34"/>
                  </a:lnTo>
                  <a:lnTo>
                    <a:pt x="10" y="33"/>
                  </a:lnTo>
                  <a:lnTo>
                    <a:pt x="7" y="36"/>
                  </a:lnTo>
                  <a:lnTo>
                    <a:pt x="5" y="43"/>
                  </a:lnTo>
                  <a:lnTo>
                    <a:pt x="3" y="48"/>
                  </a:lnTo>
                  <a:lnTo>
                    <a:pt x="2" y="52"/>
                  </a:lnTo>
                  <a:lnTo>
                    <a:pt x="0" y="46"/>
                  </a:lnTo>
                  <a:lnTo>
                    <a:pt x="2" y="41"/>
                  </a:lnTo>
                  <a:lnTo>
                    <a:pt x="0" y="38"/>
                  </a:lnTo>
                  <a:lnTo>
                    <a:pt x="0" y="36"/>
                  </a:lnTo>
                  <a:lnTo>
                    <a:pt x="0" y="31"/>
                  </a:lnTo>
                  <a:lnTo>
                    <a:pt x="3" y="26"/>
                  </a:lnTo>
                  <a:lnTo>
                    <a:pt x="10" y="21"/>
                  </a:lnTo>
                  <a:lnTo>
                    <a:pt x="19" y="15"/>
                  </a:lnTo>
                  <a:lnTo>
                    <a:pt x="24" y="19"/>
                  </a:lnTo>
                  <a:lnTo>
                    <a:pt x="27" y="22"/>
                  </a:lnTo>
                  <a:lnTo>
                    <a:pt x="31" y="22"/>
                  </a:lnTo>
                  <a:lnTo>
                    <a:pt x="31" y="19"/>
                  </a:lnTo>
                  <a:lnTo>
                    <a:pt x="34" y="17"/>
                  </a:lnTo>
                  <a:lnTo>
                    <a:pt x="38" y="12"/>
                  </a:lnTo>
                  <a:lnTo>
                    <a:pt x="45" y="10"/>
                  </a:lnTo>
                  <a:lnTo>
                    <a:pt x="45" y="3"/>
                  </a:lnTo>
                  <a:lnTo>
                    <a:pt x="46" y="0"/>
                  </a:lnTo>
                  <a:lnTo>
                    <a:pt x="50" y="0"/>
                  </a:lnTo>
                  <a:lnTo>
                    <a:pt x="53" y="3"/>
                  </a:lnTo>
                  <a:lnTo>
                    <a:pt x="55" y="9"/>
                  </a:lnTo>
                  <a:lnTo>
                    <a:pt x="58" y="21"/>
                  </a:lnTo>
                  <a:lnTo>
                    <a:pt x="62" y="31"/>
                  </a:lnTo>
                  <a:lnTo>
                    <a:pt x="64" y="38"/>
                  </a:lnTo>
                  <a:lnTo>
                    <a:pt x="60" y="43"/>
                  </a:lnTo>
                  <a:lnTo>
                    <a:pt x="58" y="53"/>
                  </a:lnTo>
                  <a:lnTo>
                    <a:pt x="53" y="46"/>
                  </a:lnTo>
                  <a:lnTo>
                    <a:pt x="52" y="41"/>
                  </a:lnTo>
                  <a:lnTo>
                    <a:pt x="53"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8" name="Freeform 229"/>
            <p:cNvSpPr>
              <a:spLocks/>
            </p:cNvSpPr>
            <p:nvPr/>
          </p:nvSpPr>
          <p:spPr bwMode="auto">
            <a:xfrm>
              <a:off x="7015957" y="3763963"/>
              <a:ext cx="52388" cy="52387"/>
            </a:xfrm>
            <a:custGeom>
              <a:avLst/>
              <a:gdLst/>
              <a:ahLst/>
              <a:cxnLst>
                <a:cxn ang="0">
                  <a:pos x="3" y="33"/>
                </a:cxn>
                <a:cxn ang="0">
                  <a:pos x="0" y="33"/>
                </a:cxn>
                <a:cxn ang="0">
                  <a:pos x="3" y="23"/>
                </a:cxn>
                <a:cxn ang="0">
                  <a:pos x="12" y="18"/>
                </a:cxn>
                <a:cxn ang="0">
                  <a:pos x="19" y="11"/>
                </a:cxn>
                <a:cxn ang="0">
                  <a:pos x="26" y="6"/>
                </a:cxn>
                <a:cxn ang="0">
                  <a:pos x="26" y="2"/>
                </a:cxn>
                <a:cxn ang="0">
                  <a:pos x="28" y="0"/>
                </a:cxn>
                <a:cxn ang="0">
                  <a:pos x="29" y="4"/>
                </a:cxn>
                <a:cxn ang="0">
                  <a:pos x="33" y="7"/>
                </a:cxn>
                <a:cxn ang="0">
                  <a:pos x="29" y="7"/>
                </a:cxn>
                <a:cxn ang="0">
                  <a:pos x="28" y="9"/>
                </a:cxn>
                <a:cxn ang="0">
                  <a:pos x="22" y="12"/>
                </a:cxn>
                <a:cxn ang="0">
                  <a:pos x="19" y="14"/>
                </a:cxn>
                <a:cxn ang="0">
                  <a:pos x="12" y="26"/>
                </a:cxn>
                <a:cxn ang="0">
                  <a:pos x="3" y="33"/>
                </a:cxn>
              </a:cxnLst>
              <a:rect l="0" t="0" r="r" b="b"/>
              <a:pathLst>
                <a:path w="33" h="33">
                  <a:moveTo>
                    <a:pt x="3" y="33"/>
                  </a:moveTo>
                  <a:lnTo>
                    <a:pt x="0" y="33"/>
                  </a:lnTo>
                  <a:lnTo>
                    <a:pt x="3" y="23"/>
                  </a:lnTo>
                  <a:lnTo>
                    <a:pt x="12" y="18"/>
                  </a:lnTo>
                  <a:lnTo>
                    <a:pt x="19" y="11"/>
                  </a:lnTo>
                  <a:lnTo>
                    <a:pt x="26" y="6"/>
                  </a:lnTo>
                  <a:lnTo>
                    <a:pt x="26" y="2"/>
                  </a:lnTo>
                  <a:lnTo>
                    <a:pt x="28" y="0"/>
                  </a:lnTo>
                  <a:lnTo>
                    <a:pt x="29" y="4"/>
                  </a:lnTo>
                  <a:lnTo>
                    <a:pt x="33" y="7"/>
                  </a:lnTo>
                  <a:lnTo>
                    <a:pt x="29" y="7"/>
                  </a:lnTo>
                  <a:lnTo>
                    <a:pt x="28" y="9"/>
                  </a:lnTo>
                  <a:lnTo>
                    <a:pt x="22" y="12"/>
                  </a:lnTo>
                  <a:lnTo>
                    <a:pt x="19" y="14"/>
                  </a:lnTo>
                  <a:lnTo>
                    <a:pt x="12" y="26"/>
                  </a:lnTo>
                  <a:lnTo>
                    <a:pt x="3"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59" name="Freeform 230"/>
            <p:cNvSpPr>
              <a:spLocks/>
            </p:cNvSpPr>
            <p:nvPr/>
          </p:nvSpPr>
          <p:spPr bwMode="auto">
            <a:xfrm>
              <a:off x="7054057" y="3587750"/>
              <a:ext cx="98425" cy="138112"/>
            </a:xfrm>
            <a:custGeom>
              <a:avLst/>
              <a:gdLst/>
              <a:ahLst/>
              <a:cxnLst>
                <a:cxn ang="0">
                  <a:pos x="4" y="36"/>
                </a:cxn>
                <a:cxn ang="0">
                  <a:pos x="5" y="29"/>
                </a:cxn>
                <a:cxn ang="0">
                  <a:pos x="7" y="24"/>
                </a:cxn>
                <a:cxn ang="0">
                  <a:pos x="5" y="15"/>
                </a:cxn>
                <a:cxn ang="0">
                  <a:pos x="5" y="8"/>
                </a:cxn>
                <a:cxn ang="0">
                  <a:pos x="5" y="1"/>
                </a:cxn>
                <a:cxn ang="0">
                  <a:pos x="10" y="0"/>
                </a:cxn>
                <a:cxn ang="0">
                  <a:pos x="14" y="3"/>
                </a:cxn>
                <a:cxn ang="0">
                  <a:pos x="17" y="8"/>
                </a:cxn>
                <a:cxn ang="0">
                  <a:pos x="21" y="5"/>
                </a:cxn>
                <a:cxn ang="0">
                  <a:pos x="24" y="3"/>
                </a:cxn>
                <a:cxn ang="0">
                  <a:pos x="24" y="5"/>
                </a:cxn>
                <a:cxn ang="0">
                  <a:pos x="26" y="7"/>
                </a:cxn>
                <a:cxn ang="0">
                  <a:pos x="26" y="8"/>
                </a:cxn>
                <a:cxn ang="0">
                  <a:pos x="28" y="19"/>
                </a:cxn>
                <a:cxn ang="0">
                  <a:pos x="31" y="29"/>
                </a:cxn>
                <a:cxn ang="0">
                  <a:pos x="26" y="38"/>
                </a:cxn>
                <a:cxn ang="0">
                  <a:pos x="22" y="48"/>
                </a:cxn>
                <a:cxn ang="0">
                  <a:pos x="26" y="60"/>
                </a:cxn>
                <a:cxn ang="0">
                  <a:pos x="34" y="68"/>
                </a:cxn>
                <a:cxn ang="0">
                  <a:pos x="34" y="67"/>
                </a:cxn>
                <a:cxn ang="0">
                  <a:pos x="34" y="63"/>
                </a:cxn>
                <a:cxn ang="0">
                  <a:pos x="40" y="63"/>
                </a:cxn>
                <a:cxn ang="0">
                  <a:pos x="45" y="68"/>
                </a:cxn>
                <a:cxn ang="0">
                  <a:pos x="48" y="74"/>
                </a:cxn>
                <a:cxn ang="0">
                  <a:pos x="50" y="72"/>
                </a:cxn>
                <a:cxn ang="0">
                  <a:pos x="53" y="70"/>
                </a:cxn>
                <a:cxn ang="0">
                  <a:pos x="55" y="72"/>
                </a:cxn>
                <a:cxn ang="0">
                  <a:pos x="53" y="74"/>
                </a:cxn>
                <a:cxn ang="0">
                  <a:pos x="53" y="77"/>
                </a:cxn>
                <a:cxn ang="0">
                  <a:pos x="57" y="77"/>
                </a:cxn>
                <a:cxn ang="0">
                  <a:pos x="57" y="80"/>
                </a:cxn>
                <a:cxn ang="0">
                  <a:pos x="62" y="82"/>
                </a:cxn>
                <a:cxn ang="0">
                  <a:pos x="62" y="84"/>
                </a:cxn>
                <a:cxn ang="0">
                  <a:pos x="62" y="86"/>
                </a:cxn>
                <a:cxn ang="0">
                  <a:pos x="60" y="86"/>
                </a:cxn>
                <a:cxn ang="0">
                  <a:pos x="60" y="87"/>
                </a:cxn>
                <a:cxn ang="0">
                  <a:pos x="59" y="86"/>
                </a:cxn>
                <a:cxn ang="0">
                  <a:pos x="59" y="84"/>
                </a:cxn>
                <a:cxn ang="0">
                  <a:pos x="50" y="77"/>
                </a:cxn>
                <a:cxn ang="0">
                  <a:pos x="41" y="72"/>
                </a:cxn>
                <a:cxn ang="0">
                  <a:pos x="40" y="74"/>
                </a:cxn>
                <a:cxn ang="0">
                  <a:pos x="41" y="79"/>
                </a:cxn>
                <a:cxn ang="0">
                  <a:pos x="34" y="74"/>
                </a:cxn>
                <a:cxn ang="0">
                  <a:pos x="29" y="70"/>
                </a:cxn>
                <a:cxn ang="0">
                  <a:pos x="24" y="70"/>
                </a:cxn>
                <a:cxn ang="0">
                  <a:pos x="21" y="72"/>
                </a:cxn>
                <a:cxn ang="0">
                  <a:pos x="16" y="68"/>
                </a:cxn>
                <a:cxn ang="0">
                  <a:pos x="14" y="65"/>
                </a:cxn>
                <a:cxn ang="0">
                  <a:pos x="14" y="62"/>
                </a:cxn>
                <a:cxn ang="0">
                  <a:pos x="17" y="62"/>
                </a:cxn>
                <a:cxn ang="0">
                  <a:pos x="17" y="56"/>
                </a:cxn>
                <a:cxn ang="0">
                  <a:pos x="14" y="56"/>
                </a:cxn>
                <a:cxn ang="0">
                  <a:pos x="12" y="58"/>
                </a:cxn>
                <a:cxn ang="0">
                  <a:pos x="10" y="60"/>
                </a:cxn>
                <a:cxn ang="0">
                  <a:pos x="5" y="56"/>
                </a:cxn>
                <a:cxn ang="0">
                  <a:pos x="2" y="51"/>
                </a:cxn>
                <a:cxn ang="0">
                  <a:pos x="0" y="41"/>
                </a:cxn>
                <a:cxn ang="0">
                  <a:pos x="4" y="36"/>
                </a:cxn>
              </a:cxnLst>
              <a:rect l="0" t="0" r="r" b="b"/>
              <a:pathLst>
                <a:path w="62" h="87">
                  <a:moveTo>
                    <a:pt x="4" y="36"/>
                  </a:moveTo>
                  <a:lnTo>
                    <a:pt x="5" y="29"/>
                  </a:lnTo>
                  <a:lnTo>
                    <a:pt x="7" y="24"/>
                  </a:lnTo>
                  <a:lnTo>
                    <a:pt x="5" y="15"/>
                  </a:lnTo>
                  <a:lnTo>
                    <a:pt x="5" y="8"/>
                  </a:lnTo>
                  <a:lnTo>
                    <a:pt x="5" y="1"/>
                  </a:lnTo>
                  <a:lnTo>
                    <a:pt x="10" y="0"/>
                  </a:lnTo>
                  <a:lnTo>
                    <a:pt x="14" y="3"/>
                  </a:lnTo>
                  <a:lnTo>
                    <a:pt x="17" y="8"/>
                  </a:lnTo>
                  <a:lnTo>
                    <a:pt x="21" y="5"/>
                  </a:lnTo>
                  <a:lnTo>
                    <a:pt x="24" y="3"/>
                  </a:lnTo>
                  <a:lnTo>
                    <a:pt x="24" y="5"/>
                  </a:lnTo>
                  <a:lnTo>
                    <a:pt x="26" y="7"/>
                  </a:lnTo>
                  <a:lnTo>
                    <a:pt x="26" y="8"/>
                  </a:lnTo>
                  <a:lnTo>
                    <a:pt x="28" y="19"/>
                  </a:lnTo>
                  <a:lnTo>
                    <a:pt x="31" y="29"/>
                  </a:lnTo>
                  <a:lnTo>
                    <a:pt x="26" y="38"/>
                  </a:lnTo>
                  <a:lnTo>
                    <a:pt x="22" y="48"/>
                  </a:lnTo>
                  <a:lnTo>
                    <a:pt x="26" y="60"/>
                  </a:lnTo>
                  <a:lnTo>
                    <a:pt x="34" y="68"/>
                  </a:lnTo>
                  <a:lnTo>
                    <a:pt x="34" y="67"/>
                  </a:lnTo>
                  <a:lnTo>
                    <a:pt x="34" y="63"/>
                  </a:lnTo>
                  <a:lnTo>
                    <a:pt x="40" y="63"/>
                  </a:lnTo>
                  <a:lnTo>
                    <a:pt x="45" y="68"/>
                  </a:lnTo>
                  <a:lnTo>
                    <a:pt x="48" y="74"/>
                  </a:lnTo>
                  <a:lnTo>
                    <a:pt x="50" y="72"/>
                  </a:lnTo>
                  <a:lnTo>
                    <a:pt x="53" y="70"/>
                  </a:lnTo>
                  <a:lnTo>
                    <a:pt x="55" y="72"/>
                  </a:lnTo>
                  <a:lnTo>
                    <a:pt x="53" y="74"/>
                  </a:lnTo>
                  <a:lnTo>
                    <a:pt x="53" y="77"/>
                  </a:lnTo>
                  <a:lnTo>
                    <a:pt x="57" y="77"/>
                  </a:lnTo>
                  <a:lnTo>
                    <a:pt x="57" y="80"/>
                  </a:lnTo>
                  <a:lnTo>
                    <a:pt x="62" y="82"/>
                  </a:lnTo>
                  <a:lnTo>
                    <a:pt x="62" y="84"/>
                  </a:lnTo>
                  <a:lnTo>
                    <a:pt x="62" y="86"/>
                  </a:lnTo>
                  <a:lnTo>
                    <a:pt x="60" y="86"/>
                  </a:lnTo>
                  <a:lnTo>
                    <a:pt x="60" y="87"/>
                  </a:lnTo>
                  <a:lnTo>
                    <a:pt x="59" y="86"/>
                  </a:lnTo>
                  <a:lnTo>
                    <a:pt x="59" y="84"/>
                  </a:lnTo>
                  <a:lnTo>
                    <a:pt x="50" y="77"/>
                  </a:lnTo>
                  <a:lnTo>
                    <a:pt x="41" y="72"/>
                  </a:lnTo>
                  <a:lnTo>
                    <a:pt x="40" y="74"/>
                  </a:lnTo>
                  <a:lnTo>
                    <a:pt x="41" y="79"/>
                  </a:lnTo>
                  <a:lnTo>
                    <a:pt x="34" y="74"/>
                  </a:lnTo>
                  <a:lnTo>
                    <a:pt x="29" y="70"/>
                  </a:lnTo>
                  <a:lnTo>
                    <a:pt x="24" y="70"/>
                  </a:lnTo>
                  <a:lnTo>
                    <a:pt x="21" y="72"/>
                  </a:lnTo>
                  <a:lnTo>
                    <a:pt x="16" y="68"/>
                  </a:lnTo>
                  <a:lnTo>
                    <a:pt x="14" y="65"/>
                  </a:lnTo>
                  <a:lnTo>
                    <a:pt x="14" y="62"/>
                  </a:lnTo>
                  <a:lnTo>
                    <a:pt x="17" y="62"/>
                  </a:lnTo>
                  <a:lnTo>
                    <a:pt x="17" y="56"/>
                  </a:lnTo>
                  <a:lnTo>
                    <a:pt x="14" y="56"/>
                  </a:lnTo>
                  <a:lnTo>
                    <a:pt x="12" y="58"/>
                  </a:lnTo>
                  <a:lnTo>
                    <a:pt x="10" y="60"/>
                  </a:lnTo>
                  <a:lnTo>
                    <a:pt x="5" y="56"/>
                  </a:lnTo>
                  <a:lnTo>
                    <a:pt x="2" y="51"/>
                  </a:lnTo>
                  <a:lnTo>
                    <a:pt x="0" y="41"/>
                  </a:lnTo>
                  <a:lnTo>
                    <a:pt x="4"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0" name="Freeform 231"/>
            <p:cNvSpPr>
              <a:spLocks/>
            </p:cNvSpPr>
            <p:nvPr/>
          </p:nvSpPr>
          <p:spPr bwMode="auto">
            <a:xfrm>
              <a:off x="7155657" y="3729038"/>
              <a:ext cx="31750" cy="53975"/>
            </a:xfrm>
            <a:custGeom>
              <a:avLst/>
              <a:gdLst/>
              <a:ahLst/>
              <a:cxnLst>
                <a:cxn ang="0">
                  <a:pos x="19" y="22"/>
                </a:cxn>
                <a:cxn ang="0">
                  <a:pos x="12" y="22"/>
                </a:cxn>
                <a:cxn ang="0">
                  <a:pos x="12" y="28"/>
                </a:cxn>
                <a:cxn ang="0">
                  <a:pos x="15" y="33"/>
                </a:cxn>
                <a:cxn ang="0">
                  <a:pos x="15" y="34"/>
                </a:cxn>
                <a:cxn ang="0">
                  <a:pos x="13" y="34"/>
                </a:cxn>
                <a:cxn ang="0">
                  <a:pos x="12" y="34"/>
                </a:cxn>
                <a:cxn ang="0">
                  <a:pos x="8" y="31"/>
                </a:cxn>
                <a:cxn ang="0">
                  <a:pos x="10" y="29"/>
                </a:cxn>
                <a:cxn ang="0">
                  <a:pos x="10" y="26"/>
                </a:cxn>
                <a:cxn ang="0">
                  <a:pos x="5" y="22"/>
                </a:cxn>
                <a:cxn ang="0">
                  <a:pos x="3" y="21"/>
                </a:cxn>
                <a:cxn ang="0">
                  <a:pos x="3" y="17"/>
                </a:cxn>
                <a:cxn ang="0">
                  <a:pos x="5" y="17"/>
                </a:cxn>
                <a:cxn ang="0">
                  <a:pos x="8" y="17"/>
                </a:cxn>
                <a:cxn ang="0">
                  <a:pos x="10" y="16"/>
                </a:cxn>
                <a:cxn ang="0">
                  <a:pos x="12" y="16"/>
                </a:cxn>
                <a:cxn ang="0">
                  <a:pos x="5" y="7"/>
                </a:cxn>
                <a:cxn ang="0">
                  <a:pos x="0" y="2"/>
                </a:cxn>
                <a:cxn ang="0">
                  <a:pos x="1" y="0"/>
                </a:cxn>
                <a:cxn ang="0">
                  <a:pos x="5" y="0"/>
                </a:cxn>
                <a:cxn ang="0">
                  <a:pos x="10" y="0"/>
                </a:cxn>
                <a:cxn ang="0">
                  <a:pos x="15" y="2"/>
                </a:cxn>
                <a:cxn ang="0">
                  <a:pos x="15" y="4"/>
                </a:cxn>
                <a:cxn ang="0">
                  <a:pos x="15" y="7"/>
                </a:cxn>
                <a:cxn ang="0">
                  <a:pos x="17" y="7"/>
                </a:cxn>
                <a:cxn ang="0">
                  <a:pos x="17" y="10"/>
                </a:cxn>
                <a:cxn ang="0">
                  <a:pos x="17" y="14"/>
                </a:cxn>
                <a:cxn ang="0">
                  <a:pos x="19" y="16"/>
                </a:cxn>
                <a:cxn ang="0">
                  <a:pos x="20" y="17"/>
                </a:cxn>
                <a:cxn ang="0">
                  <a:pos x="19" y="19"/>
                </a:cxn>
                <a:cxn ang="0">
                  <a:pos x="19" y="22"/>
                </a:cxn>
              </a:cxnLst>
              <a:rect l="0" t="0" r="r" b="b"/>
              <a:pathLst>
                <a:path w="20" h="34">
                  <a:moveTo>
                    <a:pt x="19" y="22"/>
                  </a:moveTo>
                  <a:lnTo>
                    <a:pt x="12" y="22"/>
                  </a:lnTo>
                  <a:lnTo>
                    <a:pt x="12" y="28"/>
                  </a:lnTo>
                  <a:lnTo>
                    <a:pt x="15" y="33"/>
                  </a:lnTo>
                  <a:lnTo>
                    <a:pt x="15" y="34"/>
                  </a:lnTo>
                  <a:lnTo>
                    <a:pt x="13" y="34"/>
                  </a:lnTo>
                  <a:lnTo>
                    <a:pt x="12" y="34"/>
                  </a:lnTo>
                  <a:lnTo>
                    <a:pt x="8" y="31"/>
                  </a:lnTo>
                  <a:lnTo>
                    <a:pt x="10" y="29"/>
                  </a:lnTo>
                  <a:lnTo>
                    <a:pt x="10" y="26"/>
                  </a:lnTo>
                  <a:lnTo>
                    <a:pt x="5" y="22"/>
                  </a:lnTo>
                  <a:lnTo>
                    <a:pt x="3" y="21"/>
                  </a:lnTo>
                  <a:lnTo>
                    <a:pt x="3" y="17"/>
                  </a:lnTo>
                  <a:lnTo>
                    <a:pt x="5" y="17"/>
                  </a:lnTo>
                  <a:lnTo>
                    <a:pt x="8" y="17"/>
                  </a:lnTo>
                  <a:lnTo>
                    <a:pt x="10" y="16"/>
                  </a:lnTo>
                  <a:lnTo>
                    <a:pt x="12" y="16"/>
                  </a:lnTo>
                  <a:lnTo>
                    <a:pt x="5" y="7"/>
                  </a:lnTo>
                  <a:lnTo>
                    <a:pt x="0" y="2"/>
                  </a:lnTo>
                  <a:lnTo>
                    <a:pt x="1" y="0"/>
                  </a:lnTo>
                  <a:lnTo>
                    <a:pt x="5" y="0"/>
                  </a:lnTo>
                  <a:lnTo>
                    <a:pt x="10" y="0"/>
                  </a:lnTo>
                  <a:lnTo>
                    <a:pt x="15" y="2"/>
                  </a:lnTo>
                  <a:lnTo>
                    <a:pt x="15" y="4"/>
                  </a:lnTo>
                  <a:lnTo>
                    <a:pt x="15" y="7"/>
                  </a:lnTo>
                  <a:lnTo>
                    <a:pt x="17" y="7"/>
                  </a:lnTo>
                  <a:lnTo>
                    <a:pt x="17" y="10"/>
                  </a:lnTo>
                  <a:lnTo>
                    <a:pt x="17" y="14"/>
                  </a:lnTo>
                  <a:lnTo>
                    <a:pt x="19" y="16"/>
                  </a:lnTo>
                  <a:lnTo>
                    <a:pt x="20" y="17"/>
                  </a:lnTo>
                  <a:lnTo>
                    <a:pt x="19" y="19"/>
                  </a:lnTo>
                  <a:lnTo>
                    <a:pt x="19"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1" name="Freeform 232"/>
            <p:cNvSpPr>
              <a:spLocks/>
            </p:cNvSpPr>
            <p:nvPr/>
          </p:nvSpPr>
          <p:spPr bwMode="auto">
            <a:xfrm>
              <a:off x="7108032" y="3743325"/>
              <a:ext cx="25400" cy="34925"/>
            </a:xfrm>
            <a:custGeom>
              <a:avLst/>
              <a:gdLst/>
              <a:ahLst/>
              <a:cxnLst>
                <a:cxn ang="0">
                  <a:pos x="4" y="1"/>
                </a:cxn>
                <a:cxn ang="0">
                  <a:pos x="9" y="3"/>
                </a:cxn>
                <a:cxn ang="0">
                  <a:pos x="16" y="8"/>
                </a:cxn>
                <a:cxn ang="0">
                  <a:pos x="9" y="17"/>
                </a:cxn>
                <a:cxn ang="0">
                  <a:pos x="2" y="22"/>
                </a:cxn>
                <a:cxn ang="0">
                  <a:pos x="0" y="10"/>
                </a:cxn>
                <a:cxn ang="0">
                  <a:pos x="0" y="3"/>
                </a:cxn>
                <a:cxn ang="0">
                  <a:pos x="0" y="0"/>
                </a:cxn>
                <a:cxn ang="0">
                  <a:pos x="2" y="0"/>
                </a:cxn>
                <a:cxn ang="0">
                  <a:pos x="4" y="0"/>
                </a:cxn>
                <a:cxn ang="0">
                  <a:pos x="6" y="3"/>
                </a:cxn>
                <a:cxn ang="0">
                  <a:pos x="4" y="1"/>
                </a:cxn>
              </a:cxnLst>
              <a:rect l="0" t="0" r="r" b="b"/>
              <a:pathLst>
                <a:path w="16" h="22">
                  <a:moveTo>
                    <a:pt x="4" y="1"/>
                  </a:moveTo>
                  <a:lnTo>
                    <a:pt x="9" y="3"/>
                  </a:lnTo>
                  <a:lnTo>
                    <a:pt x="16" y="8"/>
                  </a:lnTo>
                  <a:lnTo>
                    <a:pt x="9" y="17"/>
                  </a:lnTo>
                  <a:lnTo>
                    <a:pt x="2" y="22"/>
                  </a:lnTo>
                  <a:lnTo>
                    <a:pt x="0" y="10"/>
                  </a:lnTo>
                  <a:lnTo>
                    <a:pt x="0" y="3"/>
                  </a:lnTo>
                  <a:lnTo>
                    <a:pt x="0" y="0"/>
                  </a:lnTo>
                  <a:lnTo>
                    <a:pt x="2" y="0"/>
                  </a:lnTo>
                  <a:lnTo>
                    <a:pt x="4" y="0"/>
                  </a:lnTo>
                  <a:lnTo>
                    <a:pt x="6" y="3"/>
                  </a:lnTo>
                  <a:lnTo>
                    <a:pt x="4" y="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2" name="Freeform 233"/>
            <p:cNvSpPr>
              <a:spLocks/>
            </p:cNvSpPr>
            <p:nvPr/>
          </p:nvSpPr>
          <p:spPr bwMode="auto">
            <a:xfrm>
              <a:off x="7122319" y="3767138"/>
              <a:ext cx="26988" cy="41275"/>
            </a:xfrm>
            <a:custGeom>
              <a:avLst/>
              <a:gdLst/>
              <a:ahLst/>
              <a:cxnLst>
                <a:cxn ang="0">
                  <a:pos x="17" y="5"/>
                </a:cxn>
                <a:cxn ang="0">
                  <a:pos x="14" y="12"/>
                </a:cxn>
                <a:cxn ang="0">
                  <a:pos x="12" y="19"/>
                </a:cxn>
                <a:cxn ang="0">
                  <a:pos x="12" y="21"/>
                </a:cxn>
                <a:cxn ang="0">
                  <a:pos x="14" y="24"/>
                </a:cxn>
                <a:cxn ang="0">
                  <a:pos x="12" y="24"/>
                </a:cxn>
                <a:cxn ang="0">
                  <a:pos x="10" y="26"/>
                </a:cxn>
                <a:cxn ang="0">
                  <a:pos x="4" y="21"/>
                </a:cxn>
                <a:cxn ang="0">
                  <a:pos x="0" y="16"/>
                </a:cxn>
                <a:cxn ang="0">
                  <a:pos x="2" y="12"/>
                </a:cxn>
                <a:cxn ang="0">
                  <a:pos x="5" y="12"/>
                </a:cxn>
                <a:cxn ang="0">
                  <a:pos x="5" y="5"/>
                </a:cxn>
                <a:cxn ang="0">
                  <a:pos x="10" y="0"/>
                </a:cxn>
                <a:cxn ang="0">
                  <a:pos x="14" y="0"/>
                </a:cxn>
                <a:cxn ang="0">
                  <a:pos x="17" y="5"/>
                </a:cxn>
              </a:cxnLst>
              <a:rect l="0" t="0" r="r" b="b"/>
              <a:pathLst>
                <a:path w="17" h="26">
                  <a:moveTo>
                    <a:pt x="17" y="5"/>
                  </a:moveTo>
                  <a:lnTo>
                    <a:pt x="14" y="12"/>
                  </a:lnTo>
                  <a:lnTo>
                    <a:pt x="12" y="19"/>
                  </a:lnTo>
                  <a:lnTo>
                    <a:pt x="12" y="21"/>
                  </a:lnTo>
                  <a:lnTo>
                    <a:pt x="14" y="24"/>
                  </a:lnTo>
                  <a:lnTo>
                    <a:pt x="12" y="24"/>
                  </a:lnTo>
                  <a:lnTo>
                    <a:pt x="10" y="26"/>
                  </a:lnTo>
                  <a:lnTo>
                    <a:pt x="4" y="21"/>
                  </a:lnTo>
                  <a:lnTo>
                    <a:pt x="0" y="16"/>
                  </a:lnTo>
                  <a:lnTo>
                    <a:pt x="2" y="12"/>
                  </a:lnTo>
                  <a:lnTo>
                    <a:pt x="5" y="12"/>
                  </a:lnTo>
                  <a:lnTo>
                    <a:pt x="5" y="5"/>
                  </a:lnTo>
                  <a:lnTo>
                    <a:pt x="10" y="0"/>
                  </a:lnTo>
                  <a:lnTo>
                    <a:pt x="14" y="0"/>
                  </a:lnTo>
                  <a:lnTo>
                    <a:pt x="1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3" name="Freeform 234"/>
            <p:cNvSpPr>
              <a:spLocks/>
            </p:cNvSpPr>
            <p:nvPr/>
          </p:nvSpPr>
          <p:spPr bwMode="auto">
            <a:xfrm>
              <a:off x="7144544" y="3767138"/>
              <a:ext cx="12700" cy="26987"/>
            </a:xfrm>
            <a:custGeom>
              <a:avLst/>
              <a:gdLst/>
              <a:ahLst/>
              <a:cxnLst>
                <a:cxn ang="0">
                  <a:pos x="8" y="0"/>
                </a:cxn>
                <a:cxn ang="0">
                  <a:pos x="5" y="9"/>
                </a:cxn>
                <a:cxn ang="0">
                  <a:pos x="3" y="17"/>
                </a:cxn>
                <a:cxn ang="0">
                  <a:pos x="0" y="17"/>
                </a:cxn>
                <a:cxn ang="0">
                  <a:pos x="2" y="9"/>
                </a:cxn>
                <a:cxn ang="0">
                  <a:pos x="5" y="0"/>
                </a:cxn>
                <a:cxn ang="0">
                  <a:pos x="7" y="0"/>
                </a:cxn>
                <a:cxn ang="0">
                  <a:pos x="8" y="0"/>
                </a:cxn>
              </a:cxnLst>
              <a:rect l="0" t="0" r="r" b="b"/>
              <a:pathLst>
                <a:path w="8" h="17">
                  <a:moveTo>
                    <a:pt x="8" y="0"/>
                  </a:moveTo>
                  <a:lnTo>
                    <a:pt x="5" y="9"/>
                  </a:lnTo>
                  <a:lnTo>
                    <a:pt x="3" y="17"/>
                  </a:lnTo>
                  <a:lnTo>
                    <a:pt x="0" y="17"/>
                  </a:lnTo>
                  <a:lnTo>
                    <a:pt x="2" y="9"/>
                  </a:lnTo>
                  <a:lnTo>
                    <a:pt x="5" y="0"/>
                  </a:lnTo>
                  <a:lnTo>
                    <a:pt x="7" y="0"/>
                  </a:lnTo>
                  <a:lnTo>
                    <a:pt x="8"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4" name="Freeform 235"/>
            <p:cNvSpPr>
              <a:spLocks/>
            </p:cNvSpPr>
            <p:nvPr/>
          </p:nvSpPr>
          <p:spPr bwMode="auto">
            <a:xfrm>
              <a:off x="7152482" y="3786188"/>
              <a:ext cx="15875" cy="14287"/>
            </a:xfrm>
            <a:custGeom>
              <a:avLst/>
              <a:gdLst/>
              <a:ahLst/>
              <a:cxnLst>
                <a:cxn ang="0">
                  <a:pos x="10" y="0"/>
                </a:cxn>
                <a:cxn ang="0">
                  <a:pos x="7" y="5"/>
                </a:cxn>
                <a:cxn ang="0">
                  <a:pos x="2" y="9"/>
                </a:cxn>
                <a:cxn ang="0">
                  <a:pos x="0" y="7"/>
                </a:cxn>
                <a:cxn ang="0">
                  <a:pos x="0" y="5"/>
                </a:cxn>
                <a:cxn ang="0">
                  <a:pos x="0" y="2"/>
                </a:cxn>
                <a:cxn ang="0">
                  <a:pos x="3" y="0"/>
                </a:cxn>
                <a:cxn ang="0">
                  <a:pos x="7" y="0"/>
                </a:cxn>
                <a:cxn ang="0">
                  <a:pos x="10" y="0"/>
                </a:cxn>
              </a:cxnLst>
              <a:rect l="0" t="0" r="r" b="b"/>
              <a:pathLst>
                <a:path w="10" h="9">
                  <a:moveTo>
                    <a:pt x="10" y="0"/>
                  </a:moveTo>
                  <a:lnTo>
                    <a:pt x="7" y="5"/>
                  </a:lnTo>
                  <a:lnTo>
                    <a:pt x="2" y="9"/>
                  </a:lnTo>
                  <a:lnTo>
                    <a:pt x="0" y="7"/>
                  </a:lnTo>
                  <a:lnTo>
                    <a:pt x="0" y="5"/>
                  </a:lnTo>
                  <a:lnTo>
                    <a:pt x="0" y="2"/>
                  </a:lnTo>
                  <a:lnTo>
                    <a:pt x="3" y="0"/>
                  </a:lnTo>
                  <a:lnTo>
                    <a:pt x="7" y="0"/>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5" name="Freeform 236"/>
            <p:cNvSpPr>
              <a:spLocks/>
            </p:cNvSpPr>
            <p:nvPr/>
          </p:nvSpPr>
          <p:spPr bwMode="auto">
            <a:xfrm>
              <a:off x="7133432" y="3729038"/>
              <a:ext cx="19050" cy="15875"/>
            </a:xfrm>
            <a:custGeom>
              <a:avLst/>
              <a:gdLst/>
              <a:ahLst/>
              <a:cxnLst>
                <a:cxn ang="0">
                  <a:pos x="0" y="7"/>
                </a:cxn>
                <a:cxn ang="0">
                  <a:pos x="0" y="2"/>
                </a:cxn>
                <a:cxn ang="0">
                  <a:pos x="0" y="0"/>
                </a:cxn>
                <a:cxn ang="0">
                  <a:pos x="5" y="0"/>
                </a:cxn>
                <a:cxn ang="0">
                  <a:pos x="9" y="4"/>
                </a:cxn>
                <a:cxn ang="0">
                  <a:pos x="12" y="10"/>
                </a:cxn>
                <a:cxn ang="0">
                  <a:pos x="9" y="10"/>
                </a:cxn>
                <a:cxn ang="0">
                  <a:pos x="7" y="7"/>
                </a:cxn>
                <a:cxn ang="0">
                  <a:pos x="3" y="5"/>
                </a:cxn>
                <a:cxn ang="0">
                  <a:pos x="0" y="7"/>
                </a:cxn>
              </a:cxnLst>
              <a:rect l="0" t="0" r="r" b="b"/>
              <a:pathLst>
                <a:path w="12" h="10">
                  <a:moveTo>
                    <a:pt x="0" y="7"/>
                  </a:moveTo>
                  <a:lnTo>
                    <a:pt x="0" y="2"/>
                  </a:lnTo>
                  <a:lnTo>
                    <a:pt x="0" y="0"/>
                  </a:lnTo>
                  <a:lnTo>
                    <a:pt x="5" y="0"/>
                  </a:lnTo>
                  <a:lnTo>
                    <a:pt x="9" y="4"/>
                  </a:lnTo>
                  <a:lnTo>
                    <a:pt x="12" y="10"/>
                  </a:lnTo>
                  <a:lnTo>
                    <a:pt x="9" y="10"/>
                  </a:lnTo>
                  <a:lnTo>
                    <a:pt x="7" y="7"/>
                  </a:lnTo>
                  <a:lnTo>
                    <a:pt x="3" y="5"/>
                  </a:lnTo>
                  <a:lnTo>
                    <a:pt x="0"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6" name="Freeform 237"/>
            <p:cNvSpPr>
              <a:spLocks/>
            </p:cNvSpPr>
            <p:nvPr/>
          </p:nvSpPr>
          <p:spPr bwMode="auto">
            <a:xfrm>
              <a:off x="7073107" y="3706813"/>
              <a:ext cx="25400" cy="28575"/>
            </a:xfrm>
            <a:custGeom>
              <a:avLst/>
              <a:gdLst/>
              <a:ahLst/>
              <a:cxnLst>
                <a:cxn ang="0">
                  <a:pos x="12" y="18"/>
                </a:cxn>
                <a:cxn ang="0">
                  <a:pos x="9" y="14"/>
                </a:cxn>
                <a:cxn ang="0">
                  <a:pos x="5" y="9"/>
                </a:cxn>
                <a:cxn ang="0">
                  <a:pos x="0" y="2"/>
                </a:cxn>
                <a:cxn ang="0">
                  <a:pos x="0" y="0"/>
                </a:cxn>
                <a:cxn ang="0">
                  <a:pos x="4" y="0"/>
                </a:cxn>
                <a:cxn ang="0">
                  <a:pos x="12" y="2"/>
                </a:cxn>
                <a:cxn ang="0">
                  <a:pos x="16" y="9"/>
                </a:cxn>
                <a:cxn ang="0">
                  <a:pos x="16" y="14"/>
                </a:cxn>
                <a:cxn ang="0">
                  <a:pos x="12" y="18"/>
                </a:cxn>
              </a:cxnLst>
              <a:rect l="0" t="0" r="r" b="b"/>
              <a:pathLst>
                <a:path w="16" h="18">
                  <a:moveTo>
                    <a:pt x="12" y="18"/>
                  </a:moveTo>
                  <a:lnTo>
                    <a:pt x="9" y="14"/>
                  </a:lnTo>
                  <a:lnTo>
                    <a:pt x="5" y="9"/>
                  </a:lnTo>
                  <a:lnTo>
                    <a:pt x="0" y="2"/>
                  </a:lnTo>
                  <a:lnTo>
                    <a:pt x="0" y="0"/>
                  </a:lnTo>
                  <a:lnTo>
                    <a:pt x="4" y="0"/>
                  </a:lnTo>
                  <a:lnTo>
                    <a:pt x="12" y="2"/>
                  </a:lnTo>
                  <a:lnTo>
                    <a:pt x="16" y="9"/>
                  </a:lnTo>
                  <a:lnTo>
                    <a:pt x="16" y="14"/>
                  </a:lnTo>
                  <a:lnTo>
                    <a:pt x="12" y="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7" name="Freeform 238"/>
            <p:cNvSpPr>
              <a:spLocks/>
            </p:cNvSpPr>
            <p:nvPr/>
          </p:nvSpPr>
          <p:spPr bwMode="auto">
            <a:xfrm>
              <a:off x="7100094" y="3709988"/>
              <a:ext cx="7938" cy="3175"/>
            </a:xfrm>
            <a:custGeom>
              <a:avLst/>
              <a:gdLst/>
              <a:ahLst/>
              <a:cxnLst>
                <a:cxn ang="0">
                  <a:pos x="0" y="0"/>
                </a:cxn>
                <a:cxn ang="0">
                  <a:pos x="2" y="0"/>
                </a:cxn>
                <a:cxn ang="0">
                  <a:pos x="5" y="2"/>
                </a:cxn>
                <a:cxn ang="0">
                  <a:pos x="2" y="0"/>
                </a:cxn>
                <a:cxn ang="0">
                  <a:pos x="0" y="0"/>
                </a:cxn>
              </a:cxnLst>
              <a:rect l="0" t="0" r="r" b="b"/>
              <a:pathLst>
                <a:path w="5" h="2">
                  <a:moveTo>
                    <a:pt x="0" y="0"/>
                  </a:moveTo>
                  <a:lnTo>
                    <a:pt x="2" y="0"/>
                  </a:lnTo>
                  <a:lnTo>
                    <a:pt x="5" y="2"/>
                  </a:lnTo>
                  <a:lnTo>
                    <a:pt x="2" y="0"/>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68" name="Freeform 239"/>
            <p:cNvSpPr>
              <a:spLocks/>
            </p:cNvSpPr>
            <p:nvPr/>
          </p:nvSpPr>
          <p:spPr bwMode="auto">
            <a:xfrm>
              <a:off x="7061994" y="3421063"/>
              <a:ext cx="36513" cy="69850"/>
            </a:xfrm>
            <a:custGeom>
              <a:avLst/>
              <a:gdLst/>
              <a:ahLst/>
              <a:cxnLst>
                <a:cxn ang="0">
                  <a:pos x="9" y="44"/>
                </a:cxn>
                <a:cxn ang="0">
                  <a:pos x="0" y="39"/>
                </a:cxn>
                <a:cxn ang="0">
                  <a:pos x="0" y="29"/>
                </a:cxn>
                <a:cxn ang="0">
                  <a:pos x="0" y="19"/>
                </a:cxn>
                <a:cxn ang="0">
                  <a:pos x="5" y="10"/>
                </a:cxn>
                <a:cxn ang="0">
                  <a:pos x="11" y="2"/>
                </a:cxn>
                <a:cxn ang="0">
                  <a:pos x="17" y="0"/>
                </a:cxn>
                <a:cxn ang="0">
                  <a:pos x="23" y="5"/>
                </a:cxn>
                <a:cxn ang="0">
                  <a:pos x="21" y="22"/>
                </a:cxn>
                <a:cxn ang="0">
                  <a:pos x="16" y="36"/>
                </a:cxn>
                <a:cxn ang="0">
                  <a:pos x="9" y="44"/>
                </a:cxn>
              </a:cxnLst>
              <a:rect l="0" t="0" r="r" b="b"/>
              <a:pathLst>
                <a:path w="23" h="44">
                  <a:moveTo>
                    <a:pt x="9" y="44"/>
                  </a:moveTo>
                  <a:lnTo>
                    <a:pt x="0" y="39"/>
                  </a:lnTo>
                  <a:lnTo>
                    <a:pt x="0" y="29"/>
                  </a:lnTo>
                  <a:lnTo>
                    <a:pt x="0" y="19"/>
                  </a:lnTo>
                  <a:lnTo>
                    <a:pt x="5" y="10"/>
                  </a:lnTo>
                  <a:lnTo>
                    <a:pt x="11" y="2"/>
                  </a:lnTo>
                  <a:lnTo>
                    <a:pt x="17" y="0"/>
                  </a:lnTo>
                  <a:lnTo>
                    <a:pt x="23" y="5"/>
                  </a:lnTo>
                  <a:lnTo>
                    <a:pt x="21" y="22"/>
                  </a:lnTo>
                  <a:lnTo>
                    <a:pt x="16" y="36"/>
                  </a:lnTo>
                  <a:lnTo>
                    <a:pt x="9" y="4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1" name="Freeform 240"/>
            <p:cNvSpPr>
              <a:spLocks/>
            </p:cNvSpPr>
            <p:nvPr/>
          </p:nvSpPr>
          <p:spPr bwMode="auto">
            <a:xfrm>
              <a:off x="6796882" y="3543300"/>
              <a:ext cx="55563" cy="49212"/>
            </a:xfrm>
            <a:custGeom>
              <a:avLst/>
              <a:gdLst/>
              <a:ahLst/>
              <a:cxnLst>
                <a:cxn ang="0">
                  <a:pos x="2" y="14"/>
                </a:cxn>
                <a:cxn ang="0">
                  <a:pos x="6" y="10"/>
                </a:cxn>
                <a:cxn ang="0">
                  <a:pos x="14" y="7"/>
                </a:cxn>
                <a:cxn ang="0">
                  <a:pos x="21" y="2"/>
                </a:cxn>
                <a:cxn ang="0">
                  <a:pos x="30" y="0"/>
                </a:cxn>
                <a:cxn ang="0">
                  <a:pos x="31" y="2"/>
                </a:cxn>
                <a:cxn ang="0">
                  <a:pos x="35" y="9"/>
                </a:cxn>
                <a:cxn ang="0">
                  <a:pos x="31" y="14"/>
                </a:cxn>
                <a:cxn ang="0">
                  <a:pos x="26" y="23"/>
                </a:cxn>
                <a:cxn ang="0">
                  <a:pos x="18" y="28"/>
                </a:cxn>
                <a:cxn ang="0">
                  <a:pos x="12" y="31"/>
                </a:cxn>
                <a:cxn ang="0">
                  <a:pos x="4" y="28"/>
                </a:cxn>
                <a:cxn ang="0">
                  <a:pos x="2" y="21"/>
                </a:cxn>
                <a:cxn ang="0">
                  <a:pos x="0" y="16"/>
                </a:cxn>
                <a:cxn ang="0">
                  <a:pos x="2" y="14"/>
                </a:cxn>
              </a:cxnLst>
              <a:rect l="0" t="0" r="r" b="b"/>
              <a:pathLst>
                <a:path w="35" h="31">
                  <a:moveTo>
                    <a:pt x="2" y="14"/>
                  </a:moveTo>
                  <a:lnTo>
                    <a:pt x="6" y="10"/>
                  </a:lnTo>
                  <a:lnTo>
                    <a:pt x="14" y="7"/>
                  </a:lnTo>
                  <a:lnTo>
                    <a:pt x="21" y="2"/>
                  </a:lnTo>
                  <a:lnTo>
                    <a:pt x="30" y="0"/>
                  </a:lnTo>
                  <a:lnTo>
                    <a:pt x="31" y="2"/>
                  </a:lnTo>
                  <a:lnTo>
                    <a:pt x="35" y="9"/>
                  </a:lnTo>
                  <a:lnTo>
                    <a:pt x="31" y="14"/>
                  </a:lnTo>
                  <a:lnTo>
                    <a:pt x="26" y="23"/>
                  </a:lnTo>
                  <a:lnTo>
                    <a:pt x="18" y="28"/>
                  </a:lnTo>
                  <a:lnTo>
                    <a:pt x="12" y="31"/>
                  </a:lnTo>
                  <a:lnTo>
                    <a:pt x="4" y="28"/>
                  </a:lnTo>
                  <a:lnTo>
                    <a:pt x="2" y="21"/>
                  </a:lnTo>
                  <a:lnTo>
                    <a:pt x="0" y="16"/>
                  </a:lnTo>
                  <a:lnTo>
                    <a:pt x="2"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2" name="Freeform 241"/>
            <p:cNvSpPr>
              <a:spLocks/>
            </p:cNvSpPr>
            <p:nvPr/>
          </p:nvSpPr>
          <p:spPr bwMode="auto">
            <a:xfrm>
              <a:off x="6549232" y="3467100"/>
              <a:ext cx="266700" cy="515937"/>
            </a:xfrm>
            <a:custGeom>
              <a:avLst/>
              <a:gdLst/>
              <a:ahLst/>
              <a:cxnLst>
                <a:cxn ang="0">
                  <a:pos x="24" y="175"/>
                </a:cxn>
                <a:cxn ang="0">
                  <a:pos x="27" y="162"/>
                </a:cxn>
                <a:cxn ang="0">
                  <a:pos x="19" y="138"/>
                </a:cxn>
                <a:cxn ang="0">
                  <a:pos x="8" y="124"/>
                </a:cxn>
                <a:cxn ang="0">
                  <a:pos x="12" y="117"/>
                </a:cxn>
                <a:cxn ang="0">
                  <a:pos x="10" y="89"/>
                </a:cxn>
                <a:cxn ang="0">
                  <a:pos x="2" y="62"/>
                </a:cxn>
                <a:cxn ang="0">
                  <a:pos x="22" y="50"/>
                </a:cxn>
                <a:cxn ang="0">
                  <a:pos x="43" y="31"/>
                </a:cxn>
                <a:cxn ang="0">
                  <a:pos x="55" y="26"/>
                </a:cxn>
                <a:cxn ang="0">
                  <a:pos x="60" y="24"/>
                </a:cxn>
                <a:cxn ang="0">
                  <a:pos x="65" y="9"/>
                </a:cxn>
                <a:cxn ang="0">
                  <a:pos x="100" y="3"/>
                </a:cxn>
                <a:cxn ang="0">
                  <a:pos x="132" y="7"/>
                </a:cxn>
                <a:cxn ang="0">
                  <a:pos x="139" y="34"/>
                </a:cxn>
                <a:cxn ang="0">
                  <a:pos x="115" y="67"/>
                </a:cxn>
                <a:cxn ang="0">
                  <a:pos x="125" y="83"/>
                </a:cxn>
                <a:cxn ang="0">
                  <a:pos x="150" y="107"/>
                </a:cxn>
                <a:cxn ang="0">
                  <a:pos x="167" y="141"/>
                </a:cxn>
                <a:cxn ang="0">
                  <a:pos x="163" y="181"/>
                </a:cxn>
                <a:cxn ang="0">
                  <a:pos x="139" y="191"/>
                </a:cxn>
                <a:cxn ang="0">
                  <a:pos x="120" y="206"/>
                </a:cxn>
                <a:cxn ang="0">
                  <a:pos x="119" y="206"/>
                </a:cxn>
                <a:cxn ang="0">
                  <a:pos x="107" y="220"/>
                </a:cxn>
                <a:cxn ang="0">
                  <a:pos x="103" y="205"/>
                </a:cxn>
                <a:cxn ang="0">
                  <a:pos x="101" y="196"/>
                </a:cxn>
                <a:cxn ang="0">
                  <a:pos x="76" y="181"/>
                </a:cxn>
                <a:cxn ang="0">
                  <a:pos x="50" y="162"/>
                </a:cxn>
                <a:cxn ang="0">
                  <a:pos x="41" y="150"/>
                </a:cxn>
                <a:cxn ang="0">
                  <a:pos x="31" y="155"/>
                </a:cxn>
                <a:cxn ang="0">
                  <a:pos x="29" y="172"/>
                </a:cxn>
                <a:cxn ang="0">
                  <a:pos x="19" y="198"/>
                </a:cxn>
                <a:cxn ang="0">
                  <a:pos x="33" y="213"/>
                </a:cxn>
                <a:cxn ang="0">
                  <a:pos x="36" y="229"/>
                </a:cxn>
                <a:cxn ang="0">
                  <a:pos x="67" y="253"/>
                </a:cxn>
                <a:cxn ang="0">
                  <a:pos x="81" y="270"/>
                </a:cxn>
                <a:cxn ang="0">
                  <a:pos x="82" y="289"/>
                </a:cxn>
                <a:cxn ang="0">
                  <a:pos x="94" y="315"/>
                </a:cxn>
                <a:cxn ang="0">
                  <a:pos x="89" y="323"/>
                </a:cxn>
                <a:cxn ang="0">
                  <a:pos x="81" y="322"/>
                </a:cxn>
                <a:cxn ang="0">
                  <a:pos x="55" y="304"/>
                </a:cxn>
                <a:cxn ang="0">
                  <a:pos x="38" y="272"/>
                </a:cxn>
                <a:cxn ang="0">
                  <a:pos x="31" y="246"/>
                </a:cxn>
                <a:cxn ang="0">
                  <a:pos x="19" y="222"/>
                </a:cxn>
                <a:cxn ang="0">
                  <a:pos x="10" y="220"/>
                </a:cxn>
                <a:cxn ang="0">
                  <a:pos x="10" y="208"/>
                </a:cxn>
              </a:cxnLst>
              <a:rect l="0" t="0" r="r" b="b"/>
              <a:pathLst>
                <a:path w="168" h="325">
                  <a:moveTo>
                    <a:pt x="14" y="199"/>
                  </a:moveTo>
                  <a:lnTo>
                    <a:pt x="19" y="186"/>
                  </a:lnTo>
                  <a:lnTo>
                    <a:pt x="24" y="175"/>
                  </a:lnTo>
                  <a:lnTo>
                    <a:pt x="26" y="172"/>
                  </a:lnTo>
                  <a:lnTo>
                    <a:pt x="29" y="169"/>
                  </a:lnTo>
                  <a:lnTo>
                    <a:pt x="27" y="162"/>
                  </a:lnTo>
                  <a:lnTo>
                    <a:pt x="24" y="153"/>
                  </a:lnTo>
                  <a:lnTo>
                    <a:pt x="21" y="143"/>
                  </a:lnTo>
                  <a:lnTo>
                    <a:pt x="19" y="138"/>
                  </a:lnTo>
                  <a:lnTo>
                    <a:pt x="10" y="132"/>
                  </a:lnTo>
                  <a:lnTo>
                    <a:pt x="8" y="126"/>
                  </a:lnTo>
                  <a:lnTo>
                    <a:pt x="8" y="124"/>
                  </a:lnTo>
                  <a:lnTo>
                    <a:pt x="10" y="122"/>
                  </a:lnTo>
                  <a:lnTo>
                    <a:pt x="10" y="122"/>
                  </a:lnTo>
                  <a:lnTo>
                    <a:pt x="12" y="117"/>
                  </a:lnTo>
                  <a:lnTo>
                    <a:pt x="14" y="112"/>
                  </a:lnTo>
                  <a:lnTo>
                    <a:pt x="12" y="100"/>
                  </a:lnTo>
                  <a:lnTo>
                    <a:pt x="10" y="89"/>
                  </a:lnTo>
                  <a:lnTo>
                    <a:pt x="3" y="83"/>
                  </a:lnTo>
                  <a:lnTo>
                    <a:pt x="0" y="76"/>
                  </a:lnTo>
                  <a:lnTo>
                    <a:pt x="2" y="62"/>
                  </a:lnTo>
                  <a:lnTo>
                    <a:pt x="8" y="55"/>
                  </a:lnTo>
                  <a:lnTo>
                    <a:pt x="14" y="52"/>
                  </a:lnTo>
                  <a:lnTo>
                    <a:pt x="22" y="50"/>
                  </a:lnTo>
                  <a:lnTo>
                    <a:pt x="29" y="43"/>
                  </a:lnTo>
                  <a:lnTo>
                    <a:pt x="36" y="38"/>
                  </a:lnTo>
                  <a:lnTo>
                    <a:pt x="43" y="31"/>
                  </a:lnTo>
                  <a:lnTo>
                    <a:pt x="51" y="22"/>
                  </a:lnTo>
                  <a:lnTo>
                    <a:pt x="55" y="22"/>
                  </a:lnTo>
                  <a:lnTo>
                    <a:pt x="55" y="26"/>
                  </a:lnTo>
                  <a:lnTo>
                    <a:pt x="58" y="28"/>
                  </a:lnTo>
                  <a:lnTo>
                    <a:pt x="58" y="26"/>
                  </a:lnTo>
                  <a:lnTo>
                    <a:pt x="60" y="24"/>
                  </a:lnTo>
                  <a:lnTo>
                    <a:pt x="60" y="17"/>
                  </a:lnTo>
                  <a:lnTo>
                    <a:pt x="60" y="10"/>
                  </a:lnTo>
                  <a:lnTo>
                    <a:pt x="65" y="9"/>
                  </a:lnTo>
                  <a:lnTo>
                    <a:pt x="74" y="7"/>
                  </a:lnTo>
                  <a:lnTo>
                    <a:pt x="89" y="7"/>
                  </a:lnTo>
                  <a:lnTo>
                    <a:pt x="100" y="3"/>
                  </a:lnTo>
                  <a:lnTo>
                    <a:pt x="110" y="0"/>
                  </a:lnTo>
                  <a:lnTo>
                    <a:pt x="120" y="3"/>
                  </a:lnTo>
                  <a:lnTo>
                    <a:pt x="132" y="7"/>
                  </a:lnTo>
                  <a:lnTo>
                    <a:pt x="137" y="19"/>
                  </a:lnTo>
                  <a:lnTo>
                    <a:pt x="150" y="26"/>
                  </a:lnTo>
                  <a:lnTo>
                    <a:pt x="139" y="34"/>
                  </a:lnTo>
                  <a:lnTo>
                    <a:pt x="127" y="43"/>
                  </a:lnTo>
                  <a:lnTo>
                    <a:pt x="119" y="52"/>
                  </a:lnTo>
                  <a:lnTo>
                    <a:pt x="115" y="67"/>
                  </a:lnTo>
                  <a:lnTo>
                    <a:pt x="115" y="71"/>
                  </a:lnTo>
                  <a:lnTo>
                    <a:pt x="119" y="74"/>
                  </a:lnTo>
                  <a:lnTo>
                    <a:pt x="125" y="83"/>
                  </a:lnTo>
                  <a:lnTo>
                    <a:pt x="132" y="91"/>
                  </a:lnTo>
                  <a:lnTo>
                    <a:pt x="139" y="100"/>
                  </a:lnTo>
                  <a:lnTo>
                    <a:pt x="150" y="107"/>
                  </a:lnTo>
                  <a:lnTo>
                    <a:pt x="156" y="114"/>
                  </a:lnTo>
                  <a:lnTo>
                    <a:pt x="163" y="127"/>
                  </a:lnTo>
                  <a:lnTo>
                    <a:pt x="167" y="141"/>
                  </a:lnTo>
                  <a:lnTo>
                    <a:pt x="168" y="155"/>
                  </a:lnTo>
                  <a:lnTo>
                    <a:pt x="165" y="167"/>
                  </a:lnTo>
                  <a:lnTo>
                    <a:pt x="163" y="181"/>
                  </a:lnTo>
                  <a:lnTo>
                    <a:pt x="151" y="182"/>
                  </a:lnTo>
                  <a:lnTo>
                    <a:pt x="146" y="186"/>
                  </a:lnTo>
                  <a:lnTo>
                    <a:pt x="139" y="191"/>
                  </a:lnTo>
                  <a:lnTo>
                    <a:pt x="132" y="196"/>
                  </a:lnTo>
                  <a:lnTo>
                    <a:pt x="125" y="201"/>
                  </a:lnTo>
                  <a:lnTo>
                    <a:pt x="120" y="206"/>
                  </a:lnTo>
                  <a:lnTo>
                    <a:pt x="119" y="205"/>
                  </a:lnTo>
                  <a:lnTo>
                    <a:pt x="119" y="203"/>
                  </a:lnTo>
                  <a:lnTo>
                    <a:pt x="119" y="206"/>
                  </a:lnTo>
                  <a:lnTo>
                    <a:pt x="119" y="208"/>
                  </a:lnTo>
                  <a:lnTo>
                    <a:pt x="113" y="215"/>
                  </a:lnTo>
                  <a:lnTo>
                    <a:pt x="107" y="220"/>
                  </a:lnTo>
                  <a:lnTo>
                    <a:pt x="103" y="215"/>
                  </a:lnTo>
                  <a:lnTo>
                    <a:pt x="103" y="212"/>
                  </a:lnTo>
                  <a:lnTo>
                    <a:pt x="103" y="205"/>
                  </a:lnTo>
                  <a:lnTo>
                    <a:pt x="105" y="203"/>
                  </a:lnTo>
                  <a:lnTo>
                    <a:pt x="101" y="199"/>
                  </a:lnTo>
                  <a:lnTo>
                    <a:pt x="101" y="196"/>
                  </a:lnTo>
                  <a:lnTo>
                    <a:pt x="89" y="193"/>
                  </a:lnTo>
                  <a:lnTo>
                    <a:pt x="84" y="186"/>
                  </a:lnTo>
                  <a:lnTo>
                    <a:pt x="76" y="181"/>
                  </a:lnTo>
                  <a:lnTo>
                    <a:pt x="72" y="172"/>
                  </a:lnTo>
                  <a:lnTo>
                    <a:pt x="60" y="165"/>
                  </a:lnTo>
                  <a:lnTo>
                    <a:pt x="50" y="162"/>
                  </a:lnTo>
                  <a:lnTo>
                    <a:pt x="48" y="158"/>
                  </a:lnTo>
                  <a:lnTo>
                    <a:pt x="48" y="155"/>
                  </a:lnTo>
                  <a:lnTo>
                    <a:pt x="41" y="150"/>
                  </a:lnTo>
                  <a:lnTo>
                    <a:pt x="34" y="150"/>
                  </a:lnTo>
                  <a:lnTo>
                    <a:pt x="31" y="150"/>
                  </a:lnTo>
                  <a:lnTo>
                    <a:pt x="31" y="155"/>
                  </a:lnTo>
                  <a:lnTo>
                    <a:pt x="31" y="158"/>
                  </a:lnTo>
                  <a:lnTo>
                    <a:pt x="33" y="165"/>
                  </a:lnTo>
                  <a:lnTo>
                    <a:pt x="29" y="172"/>
                  </a:lnTo>
                  <a:lnTo>
                    <a:pt x="26" y="181"/>
                  </a:lnTo>
                  <a:lnTo>
                    <a:pt x="21" y="187"/>
                  </a:lnTo>
                  <a:lnTo>
                    <a:pt x="19" y="198"/>
                  </a:lnTo>
                  <a:lnTo>
                    <a:pt x="21" y="205"/>
                  </a:lnTo>
                  <a:lnTo>
                    <a:pt x="27" y="210"/>
                  </a:lnTo>
                  <a:lnTo>
                    <a:pt x="33" y="213"/>
                  </a:lnTo>
                  <a:lnTo>
                    <a:pt x="36" y="222"/>
                  </a:lnTo>
                  <a:lnTo>
                    <a:pt x="34" y="222"/>
                  </a:lnTo>
                  <a:lnTo>
                    <a:pt x="36" y="229"/>
                  </a:lnTo>
                  <a:lnTo>
                    <a:pt x="41" y="237"/>
                  </a:lnTo>
                  <a:lnTo>
                    <a:pt x="53" y="244"/>
                  </a:lnTo>
                  <a:lnTo>
                    <a:pt x="67" y="253"/>
                  </a:lnTo>
                  <a:lnTo>
                    <a:pt x="72" y="258"/>
                  </a:lnTo>
                  <a:lnTo>
                    <a:pt x="77" y="263"/>
                  </a:lnTo>
                  <a:lnTo>
                    <a:pt x="81" y="270"/>
                  </a:lnTo>
                  <a:lnTo>
                    <a:pt x="84" y="280"/>
                  </a:lnTo>
                  <a:lnTo>
                    <a:pt x="82" y="284"/>
                  </a:lnTo>
                  <a:lnTo>
                    <a:pt x="82" y="289"/>
                  </a:lnTo>
                  <a:lnTo>
                    <a:pt x="86" y="299"/>
                  </a:lnTo>
                  <a:lnTo>
                    <a:pt x="93" y="308"/>
                  </a:lnTo>
                  <a:lnTo>
                    <a:pt x="94" y="315"/>
                  </a:lnTo>
                  <a:lnTo>
                    <a:pt x="96" y="323"/>
                  </a:lnTo>
                  <a:lnTo>
                    <a:pt x="93" y="323"/>
                  </a:lnTo>
                  <a:lnTo>
                    <a:pt x="89" y="323"/>
                  </a:lnTo>
                  <a:lnTo>
                    <a:pt x="88" y="323"/>
                  </a:lnTo>
                  <a:lnTo>
                    <a:pt x="86" y="325"/>
                  </a:lnTo>
                  <a:lnTo>
                    <a:pt x="81" y="322"/>
                  </a:lnTo>
                  <a:lnTo>
                    <a:pt x="77" y="320"/>
                  </a:lnTo>
                  <a:lnTo>
                    <a:pt x="65" y="313"/>
                  </a:lnTo>
                  <a:lnTo>
                    <a:pt x="55" y="304"/>
                  </a:lnTo>
                  <a:lnTo>
                    <a:pt x="46" y="294"/>
                  </a:lnTo>
                  <a:lnTo>
                    <a:pt x="43" y="284"/>
                  </a:lnTo>
                  <a:lnTo>
                    <a:pt x="38" y="272"/>
                  </a:lnTo>
                  <a:lnTo>
                    <a:pt x="36" y="263"/>
                  </a:lnTo>
                  <a:lnTo>
                    <a:pt x="33" y="253"/>
                  </a:lnTo>
                  <a:lnTo>
                    <a:pt x="31" y="246"/>
                  </a:lnTo>
                  <a:lnTo>
                    <a:pt x="27" y="237"/>
                  </a:lnTo>
                  <a:lnTo>
                    <a:pt x="24" y="230"/>
                  </a:lnTo>
                  <a:lnTo>
                    <a:pt x="19" y="222"/>
                  </a:lnTo>
                  <a:lnTo>
                    <a:pt x="15" y="220"/>
                  </a:lnTo>
                  <a:lnTo>
                    <a:pt x="12" y="220"/>
                  </a:lnTo>
                  <a:lnTo>
                    <a:pt x="10" y="220"/>
                  </a:lnTo>
                  <a:lnTo>
                    <a:pt x="8" y="218"/>
                  </a:lnTo>
                  <a:lnTo>
                    <a:pt x="10" y="218"/>
                  </a:lnTo>
                  <a:lnTo>
                    <a:pt x="10" y="208"/>
                  </a:lnTo>
                  <a:lnTo>
                    <a:pt x="12" y="199"/>
                  </a:lnTo>
                  <a:lnTo>
                    <a:pt x="14" y="19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3" name="Freeform 242"/>
            <p:cNvSpPr>
              <a:spLocks/>
            </p:cNvSpPr>
            <p:nvPr/>
          </p:nvSpPr>
          <p:spPr bwMode="auto">
            <a:xfrm>
              <a:off x="6723857" y="4048125"/>
              <a:ext cx="34925" cy="36512"/>
            </a:xfrm>
            <a:custGeom>
              <a:avLst/>
              <a:gdLst/>
              <a:ahLst/>
              <a:cxnLst>
                <a:cxn ang="0">
                  <a:pos x="14" y="19"/>
                </a:cxn>
                <a:cxn ang="0">
                  <a:pos x="10" y="16"/>
                </a:cxn>
                <a:cxn ang="0">
                  <a:pos x="9" y="12"/>
                </a:cxn>
                <a:cxn ang="0">
                  <a:pos x="3" y="9"/>
                </a:cxn>
                <a:cxn ang="0">
                  <a:pos x="0" y="7"/>
                </a:cxn>
                <a:cxn ang="0">
                  <a:pos x="3" y="2"/>
                </a:cxn>
                <a:cxn ang="0">
                  <a:pos x="10" y="0"/>
                </a:cxn>
                <a:cxn ang="0">
                  <a:pos x="14" y="11"/>
                </a:cxn>
                <a:cxn ang="0">
                  <a:pos x="22" y="17"/>
                </a:cxn>
                <a:cxn ang="0">
                  <a:pos x="22" y="19"/>
                </a:cxn>
                <a:cxn ang="0">
                  <a:pos x="22" y="23"/>
                </a:cxn>
                <a:cxn ang="0">
                  <a:pos x="21" y="23"/>
                </a:cxn>
                <a:cxn ang="0">
                  <a:pos x="19" y="23"/>
                </a:cxn>
                <a:cxn ang="0">
                  <a:pos x="15" y="21"/>
                </a:cxn>
                <a:cxn ang="0">
                  <a:pos x="14" y="19"/>
                </a:cxn>
              </a:cxnLst>
              <a:rect l="0" t="0" r="r" b="b"/>
              <a:pathLst>
                <a:path w="22" h="23">
                  <a:moveTo>
                    <a:pt x="14" y="19"/>
                  </a:moveTo>
                  <a:lnTo>
                    <a:pt x="10" y="16"/>
                  </a:lnTo>
                  <a:lnTo>
                    <a:pt x="9" y="12"/>
                  </a:lnTo>
                  <a:lnTo>
                    <a:pt x="3" y="9"/>
                  </a:lnTo>
                  <a:lnTo>
                    <a:pt x="0" y="7"/>
                  </a:lnTo>
                  <a:lnTo>
                    <a:pt x="3" y="2"/>
                  </a:lnTo>
                  <a:lnTo>
                    <a:pt x="10" y="0"/>
                  </a:lnTo>
                  <a:lnTo>
                    <a:pt x="14" y="11"/>
                  </a:lnTo>
                  <a:lnTo>
                    <a:pt x="22" y="17"/>
                  </a:lnTo>
                  <a:lnTo>
                    <a:pt x="22" y="19"/>
                  </a:lnTo>
                  <a:lnTo>
                    <a:pt x="22" y="23"/>
                  </a:lnTo>
                  <a:lnTo>
                    <a:pt x="21" y="23"/>
                  </a:lnTo>
                  <a:lnTo>
                    <a:pt x="19" y="23"/>
                  </a:lnTo>
                  <a:lnTo>
                    <a:pt x="15" y="21"/>
                  </a:lnTo>
                  <a:lnTo>
                    <a:pt x="14"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4" name="Freeform 243"/>
            <p:cNvSpPr>
              <a:spLocks/>
            </p:cNvSpPr>
            <p:nvPr/>
          </p:nvSpPr>
          <p:spPr bwMode="auto">
            <a:xfrm>
              <a:off x="6781007" y="4075113"/>
              <a:ext cx="15875" cy="14287"/>
            </a:xfrm>
            <a:custGeom>
              <a:avLst/>
              <a:gdLst/>
              <a:ahLst/>
              <a:cxnLst>
                <a:cxn ang="0">
                  <a:pos x="0" y="0"/>
                </a:cxn>
                <a:cxn ang="0">
                  <a:pos x="2" y="0"/>
                </a:cxn>
                <a:cxn ang="0">
                  <a:pos x="5" y="0"/>
                </a:cxn>
                <a:cxn ang="0">
                  <a:pos x="7" y="0"/>
                </a:cxn>
                <a:cxn ang="0">
                  <a:pos x="10" y="2"/>
                </a:cxn>
                <a:cxn ang="0">
                  <a:pos x="7" y="6"/>
                </a:cxn>
                <a:cxn ang="0">
                  <a:pos x="4" y="9"/>
                </a:cxn>
                <a:cxn ang="0">
                  <a:pos x="0" y="6"/>
                </a:cxn>
                <a:cxn ang="0">
                  <a:pos x="0" y="2"/>
                </a:cxn>
                <a:cxn ang="0">
                  <a:pos x="0" y="0"/>
                </a:cxn>
              </a:cxnLst>
              <a:rect l="0" t="0" r="r" b="b"/>
              <a:pathLst>
                <a:path w="10" h="9">
                  <a:moveTo>
                    <a:pt x="0" y="0"/>
                  </a:moveTo>
                  <a:lnTo>
                    <a:pt x="2" y="0"/>
                  </a:lnTo>
                  <a:lnTo>
                    <a:pt x="5" y="0"/>
                  </a:lnTo>
                  <a:lnTo>
                    <a:pt x="7" y="0"/>
                  </a:lnTo>
                  <a:lnTo>
                    <a:pt x="10" y="2"/>
                  </a:lnTo>
                  <a:lnTo>
                    <a:pt x="7" y="6"/>
                  </a:lnTo>
                  <a:lnTo>
                    <a:pt x="4" y="9"/>
                  </a:lnTo>
                  <a:lnTo>
                    <a:pt x="0" y="6"/>
                  </a:lnTo>
                  <a:lnTo>
                    <a:pt x="0" y="2"/>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5" name="Freeform 244"/>
            <p:cNvSpPr>
              <a:spLocks/>
            </p:cNvSpPr>
            <p:nvPr/>
          </p:nvSpPr>
          <p:spPr bwMode="auto">
            <a:xfrm>
              <a:off x="6576219" y="4040188"/>
              <a:ext cx="14288" cy="22225"/>
            </a:xfrm>
            <a:custGeom>
              <a:avLst/>
              <a:gdLst/>
              <a:ahLst/>
              <a:cxnLst>
                <a:cxn ang="0">
                  <a:pos x="2" y="0"/>
                </a:cxn>
                <a:cxn ang="0">
                  <a:pos x="7" y="5"/>
                </a:cxn>
                <a:cxn ang="0">
                  <a:pos x="9" y="14"/>
                </a:cxn>
                <a:cxn ang="0">
                  <a:pos x="4" y="9"/>
                </a:cxn>
                <a:cxn ang="0">
                  <a:pos x="0" y="2"/>
                </a:cxn>
                <a:cxn ang="0">
                  <a:pos x="0" y="0"/>
                </a:cxn>
                <a:cxn ang="0">
                  <a:pos x="4" y="0"/>
                </a:cxn>
                <a:cxn ang="0">
                  <a:pos x="4" y="2"/>
                </a:cxn>
                <a:cxn ang="0">
                  <a:pos x="2" y="0"/>
                </a:cxn>
              </a:cxnLst>
              <a:rect l="0" t="0" r="r" b="b"/>
              <a:pathLst>
                <a:path w="9" h="14">
                  <a:moveTo>
                    <a:pt x="2" y="0"/>
                  </a:moveTo>
                  <a:lnTo>
                    <a:pt x="7" y="5"/>
                  </a:lnTo>
                  <a:lnTo>
                    <a:pt x="9" y="14"/>
                  </a:lnTo>
                  <a:lnTo>
                    <a:pt x="4" y="9"/>
                  </a:lnTo>
                  <a:lnTo>
                    <a:pt x="0" y="2"/>
                  </a:lnTo>
                  <a:lnTo>
                    <a:pt x="0" y="0"/>
                  </a:lnTo>
                  <a:lnTo>
                    <a:pt x="4" y="0"/>
                  </a:lnTo>
                  <a:lnTo>
                    <a:pt x="4" y="2"/>
                  </a:lnTo>
                  <a:lnTo>
                    <a:pt x="2"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6" name="Freeform 245"/>
            <p:cNvSpPr>
              <a:spLocks/>
            </p:cNvSpPr>
            <p:nvPr/>
          </p:nvSpPr>
          <p:spPr bwMode="auto">
            <a:xfrm>
              <a:off x="6546057" y="3990975"/>
              <a:ext cx="15875" cy="19050"/>
            </a:xfrm>
            <a:custGeom>
              <a:avLst/>
              <a:gdLst/>
              <a:ahLst/>
              <a:cxnLst>
                <a:cxn ang="0">
                  <a:pos x="4" y="0"/>
                </a:cxn>
                <a:cxn ang="0">
                  <a:pos x="9" y="5"/>
                </a:cxn>
                <a:cxn ang="0">
                  <a:pos x="10" y="12"/>
                </a:cxn>
                <a:cxn ang="0">
                  <a:pos x="5" y="7"/>
                </a:cxn>
                <a:cxn ang="0">
                  <a:pos x="2" y="0"/>
                </a:cxn>
                <a:cxn ang="0">
                  <a:pos x="0" y="0"/>
                </a:cxn>
                <a:cxn ang="0">
                  <a:pos x="4" y="0"/>
                </a:cxn>
              </a:cxnLst>
              <a:rect l="0" t="0" r="r" b="b"/>
              <a:pathLst>
                <a:path w="10" h="12">
                  <a:moveTo>
                    <a:pt x="4" y="0"/>
                  </a:moveTo>
                  <a:lnTo>
                    <a:pt x="9" y="5"/>
                  </a:lnTo>
                  <a:lnTo>
                    <a:pt x="10" y="12"/>
                  </a:lnTo>
                  <a:lnTo>
                    <a:pt x="5" y="7"/>
                  </a:lnTo>
                  <a:lnTo>
                    <a:pt x="2" y="0"/>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7" name="Freeform 246"/>
            <p:cNvSpPr>
              <a:spLocks/>
            </p:cNvSpPr>
            <p:nvPr/>
          </p:nvSpPr>
          <p:spPr bwMode="auto">
            <a:xfrm>
              <a:off x="7284244" y="3205163"/>
              <a:ext cx="50800" cy="68262"/>
            </a:xfrm>
            <a:custGeom>
              <a:avLst/>
              <a:gdLst/>
              <a:ahLst/>
              <a:cxnLst>
                <a:cxn ang="0">
                  <a:pos x="12" y="26"/>
                </a:cxn>
                <a:cxn ang="0">
                  <a:pos x="15" y="17"/>
                </a:cxn>
                <a:cxn ang="0">
                  <a:pos x="10" y="14"/>
                </a:cxn>
                <a:cxn ang="0">
                  <a:pos x="10" y="12"/>
                </a:cxn>
                <a:cxn ang="0">
                  <a:pos x="10" y="14"/>
                </a:cxn>
                <a:cxn ang="0">
                  <a:pos x="10" y="15"/>
                </a:cxn>
                <a:cxn ang="0">
                  <a:pos x="6" y="15"/>
                </a:cxn>
                <a:cxn ang="0">
                  <a:pos x="5" y="17"/>
                </a:cxn>
                <a:cxn ang="0">
                  <a:pos x="0" y="15"/>
                </a:cxn>
                <a:cxn ang="0">
                  <a:pos x="0" y="12"/>
                </a:cxn>
                <a:cxn ang="0">
                  <a:pos x="1" y="7"/>
                </a:cxn>
                <a:cxn ang="0">
                  <a:pos x="6" y="3"/>
                </a:cxn>
                <a:cxn ang="0">
                  <a:pos x="10" y="0"/>
                </a:cxn>
                <a:cxn ang="0">
                  <a:pos x="15" y="0"/>
                </a:cxn>
                <a:cxn ang="0">
                  <a:pos x="20" y="2"/>
                </a:cxn>
                <a:cxn ang="0">
                  <a:pos x="27" y="3"/>
                </a:cxn>
                <a:cxn ang="0">
                  <a:pos x="27" y="5"/>
                </a:cxn>
                <a:cxn ang="0">
                  <a:pos x="29" y="9"/>
                </a:cxn>
                <a:cxn ang="0">
                  <a:pos x="32" y="14"/>
                </a:cxn>
                <a:cxn ang="0">
                  <a:pos x="32" y="15"/>
                </a:cxn>
                <a:cxn ang="0">
                  <a:pos x="32" y="17"/>
                </a:cxn>
                <a:cxn ang="0">
                  <a:pos x="31" y="17"/>
                </a:cxn>
                <a:cxn ang="0">
                  <a:pos x="29" y="17"/>
                </a:cxn>
                <a:cxn ang="0">
                  <a:pos x="25" y="24"/>
                </a:cxn>
                <a:cxn ang="0">
                  <a:pos x="24" y="33"/>
                </a:cxn>
                <a:cxn ang="0">
                  <a:pos x="18" y="39"/>
                </a:cxn>
                <a:cxn ang="0">
                  <a:pos x="15" y="43"/>
                </a:cxn>
                <a:cxn ang="0">
                  <a:pos x="15" y="39"/>
                </a:cxn>
                <a:cxn ang="0">
                  <a:pos x="15" y="38"/>
                </a:cxn>
                <a:cxn ang="0">
                  <a:pos x="15" y="41"/>
                </a:cxn>
                <a:cxn ang="0">
                  <a:pos x="8" y="36"/>
                </a:cxn>
                <a:cxn ang="0">
                  <a:pos x="6" y="33"/>
                </a:cxn>
                <a:cxn ang="0">
                  <a:pos x="8" y="29"/>
                </a:cxn>
                <a:cxn ang="0">
                  <a:pos x="12" y="26"/>
                </a:cxn>
              </a:cxnLst>
              <a:rect l="0" t="0" r="r" b="b"/>
              <a:pathLst>
                <a:path w="32" h="43">
                  <a:moveTo>
                    <a:pt x="12" y="26"/>
                  </a:moveTo>
                  <a:lnTo>
                    <a:pt x="15" y="17"/>
                  </a:lnTo>
                  <a:lnTo>
                    <a:pt x="10" y="14"/>
                  </a:lnTo>
                  <a:lnTo>
                    <a:pt x="10" y="12"/>
                  </a:lnTo>
                  <a:lnTo>
                    <a:pt x="10" y="14"/>
                  </a:lnTo>
                  <a:lnTo>
                    <a:pt x="10" y="15"/>
                  </a:lnTo>
                  <a:lnTo>
                    <a:pt x="6" y="15"/>
                  </a:lnTo>
                  <a:lnTo>
                    <a:pt x="5" y="17"/>
                  </a:lnTo>
                  <a:lnTo>
                    <a:pt x="0" y="15"/>
                  </a:lnTo>
                  <a:lnTo>
                    <a:pt x="0" y="12"/>
                  </a:lnTo>
                  <a:lnTo>
                    <a:pt x="1" y="7"/>
                  </a:lnTo>
                  <a:lnTo>
                    <a:pt x="6" y="3"/>
                  </a:lnTo>
                  <a:lnTo>
                    <a:pt x="10" y="0"/>
                  </a:lnTo>
                  <a:lnTo>
                    <a:pt x="15" y="0"/>
                  </a:lnTo>
                  <a:lnTo>
                    <a:pt x="20" y="2"/>
                  </a:lnTo>
                  <a:lnTo>
                    <a:pt x="27" y="3"/>
                  </a:lnTo>
                  <a:lnTo>
                    <a:pt x="27" y="5"/>
                  </a:lnTo>
                  <a:lnTo>
                    <a:pt x="29" y="9"/>
                  </a:lnTo>
                  <a:lnTo>
                    <a:pt x="32" y="14"/>
                  </a:lnTo>
                  <a:lnTo>
                    <a:pt x="32" y="15"/>
                  </a:lnTo>
                  <a:lnTo>
                    <a:pt x="32" y="17"/>
                  </a:lnTo>
                  <a:lnTo>
                    <a:pt x="31" y="17"/>
                  </a:lnTo>
                  <a:lnTo>
                    <a:pt x="29" y="17"/>
                  </a:lnTo>
                  <a:lnTo>
                    <a:pt x="25" y="24"/>
                  </a:lnTo>
                  <a:lnTo>
                    <a:pt x="24" y="33"/>
                  </a:lnTo>
                  <a:lnTo>
                    <a:pt x="18" y="39"/>
                  </a:lnTo>
                  <a:lnTo>
                    <a:pt x="15" y="43"/>
                  </a:lnTo>
                  <a:lnTo>
                    <a:pt x="15" y="39"/>
                  </a:lnTo>
                  <a:lnTo>
                    <a:pt x="15" y="38"/>
                  </a:lnTo>
                  <a:lnTo>
                    <a:pt x="15" y="41"/>
                  </a:lnTo>
                  <a:lnTo>
                    <a:pt x="8" y="36"/>
                  </a:lnTo>
                  <a:lnTo>
                    <a:pt x="6" y="33"/>
                  </a:lnTo>
                  <a:lnTo>
                    <a:pt x="8" y="29"/>
                  </a:lnTo>
                  <a:lnTo>
                    <a:pt x="12"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8" name="Freeform 247"/>
            <p:cNvSpPr>
              <a:spLocks/>
            </p:cNvSpPr>
            <p:nvPr/>
          </p:nvSpPr>
          <p:spPr bwMode="auto">
            <a:xfrm>
              <a:off x="7346157" y="3189288"/>
              <a:ext cx="49213" cy="42862"/>
            </a:xfrm>
            <a:custGeom>
              <a:avLst/>
              <a:gdLst/>
              <a:ahLst/>
              <a:cxnLst>
                <a:cxn ang="0">
                  <a:pos x="26" y="17"/>
                </a:cxn>
                <a:cxn ang="0">
                  <a:pos x="21" y="15"/>
                </a:cxn>
                <a:cxn ang="0">
                  <a:pos x="19" y="13"/>
                </a:cxn>
                <a:cxn ang="0">
                  <a:pos x="12" y="22"/>
                </a:cxn>
                <a:cxn ang="0">
                  <a:pos x="7" y="27"/>
                </a:cxn>
                <a:cxn ang="0">
                  <a:pos x="4" y="24"/>
                </a:cxn>
                <a:cxn ang="0">
                  <a:pos x="4" y="19"/>
                </a:cxn>
                <a:cxn ang="0">
                  <a:pos x="0" y="15"/>
                </a:cxn>
                <a:cxn ang="0">
                  <a:pos x="0" y="13"/>
                </a:cxn>
                <a:cxn ang="0">
                  <a:pos x="4" y="10"/>
                </a:cxn>
                <a:cxn ang="0">
                  <a:pos x="9" y="7"/>
                </a:cxn>
                <a:cxn ang="0">
                  <a:pos x="17" y="3"/>
                </a:cxn>
                <a:cxn ang="0">
                  <a:pos x="26" y="0"/>
                </a:cxn>
                <a:cxn ang="0">
                  <a:pos x="31" y="1"/>
                </a:cxn>
                <a:cxn ang="0">
                  <a:pos x="31" y="8"/>
                </a:cxn>
                <a:cxn ang="0">
                  <a:pos x="28" y="13"/>
                </a:cxn>
                <a:cxn ang="0">
                  <a:pos x="26" y="17"/>
                </a:cxn>
              </a:cxnLst>
              <a:rect l="0" t="0" r="r" b="b"/>
              <a:pathLst>
                <a:path w="31" h="27">
                  <a:moveTo>
                    <a:pt x="26" y="17"/>
                  </a:moveTo>
                  <a:lnTo>
                    <a:pt x="21" y="15"/>
                  </a:lnTo>
                  <a:lnTo>
                    <a:pt x="19" y="13"/>
                  </a:lnTo>
                  <a:lnTo>
                    <a:pt x="12" y="22"/>
                  </a:lnTo>
                  <a:lnTo>
                    <a:pt x="7" y="27"/>
                  </a:lnTo>
                  <a:lnTo>
                    <a:pt x="4" y="24"/>
                  </a:lnTo>
                  <a:lnTo>
                    <a:pt x="4" y="19"/>
                  </a:lnTo>
                  <a:lnTo>
                    <a:pt x="0" y="15"/>
                  </a:lnTo>
                  <a:lnTo>
                    <a:pt x="0" y="13"/>
                  </a:lnTo>
                  <a:lnTo>
                    <a:pt x="4" y="10"/>
                  </a:lnTo>
                  <a:lnTo>
                    <a:pt x="9" y="7"/>
                  </a:lnTo>
                  <a:lnTo>
                    <a:pt x="17" y="3"/>
                  </a:lnTo>
                  <a:lnTo>
                    <a:pt x="26" y="0"/>
                  </a:lnTo>
                  <a:lnTo>
                    <a:pt x="31" y="1"/>
                  </a:lnTo>
                  <a:lnTo>
                    <a:pt x="31" y="8"/>
                  </a:lnTo>
                  <a:lnTo>
                    <a:pt x="28" y="13"/>
                  </a:lnTo>
                  <a:lnTo>
                    <a:pt x="26"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79" name="Freeform 248"/>
            <p:cNvSpPr>
              <a:spLocks/>
            </p:cNvSpPr>
            <p:nvPr/>
          </p:nvSpPr>
          <p:spPr bwMode="auto">
            <a:xfrm>
              <a:off x="7312819" y="3003550"/>
              <a:ext cx="257175" cy="209550"/>
            </a:xfrm>
            <a:custGeom>
              <a:avLst/>
              <a:gdLst/>
              <a:ahLst/>
              <a:cxnLst>
                <a:cxn ang="0">
                  <a:pos x="62" y="125"/>
                </a:cxn>
                <a:cxn ang="0">
                  <a:pos x="62" y="118"/>
                </a:cxn>
                <a:cxn ang="0">
                  <a:pos x="56" y="111"/>
                </a:cxn>
                <a:cxn ang="0">
                  <a:pos x="45" y="111"/>
                </a:cxn>
                <a:cxn ang="0">
                  <a:pos x="38" y="113"/>
                </a:cxn>
                <a:cxn ang="0">
                  <a:pos x="21" y="120"/>
                </a:cxn>
                <a:cxn ang="0">
                  <a:pos x="2" y="122"/>
                </a:cxn>
                <a:cxn ang="0">
                  <a:pos x="2" y="118"/>
                </a:cxn>
                <a:cxn ang="0">
                  <a:pos x="13" y="110"/>
                </a:cxn>
                <a:cxn ang="0">
                  <a:pos x="25" y="98"/>
                </a:cxn>
                <a:cxn ang="0">
                  <a:pos x="43" y="98"/>
                </a:cxn>
                <a:cxn ang="0">
                  <a:pos x="57" y="98"/>
                </a:cxn>
                <a:cxn ang="0">
                  <a:pos x="69" y="94"/>
                </a:cxn>
                <a:cxn ang="0">
                  <a:pos x="78" y="84"/>
                </a:cxn>
                <a:cxn ang="0">
                  <a:pos x="86" y="75"/>
                </a:cxn>
                <a:cxn ang="0">
                  <a:pos x="88" y="70"/>
                </a:cxn>
                <a:cxn ang="0">
                  <a:pos x="88" y="75"/>
                </a:cxn>
                <a:cxn ang="0">
                  <a:pos x="99" y="74"/>
                </a:cxn>
                <a:cxn ang="0">
                  <a:pos x="114" y="63"/>
                </a:cxn>
                <a:cxn ang="0">
                  <a:pos x="131" y="41"/>
                </a:cxn>
                <a:cxn ang="0">
                  <a:pos x="133" y="25"/>
                </a:cxn>
                <a:cxn ang="0">
                  <a:pos x="131" y="15"/>
                </a:cxn>
                <a:cxn ang="0">
                  <a:pos x="138" y="5"/>
                </a:cxn>
                <a:cxn ang="0">
                  <a:pos x="143" y="5"/>
                </a:cxn>
                <a:cxn ang="0">
                  <a:pos x="148" y="5"/>
                </a:cxn>
                <a:cxn ang="0">
                  <a:pos x="147" y="0"/>
                </a:cxn>
                <a:cxn ang="0">
                  <a:pos x="154" y="3"/>
                </a:cxn>
                <a:cxn ang="0">
                  <a:pos x="155" y="13"/>
                </a:cxn>
                <a:cxn ang="0">
                  <a:pos x="162" y="31"/>
                </a:cxn>
                <a:cxn ang="0">
                  <a:pos x="155" y="46"/>
                </a:cxn>
                <a:cxn ang="0">
                  <a:pos x="155" y="50"/>
                </a:cxn>
                <a:cxn ang="0">
                  <a:pos x="150" y="51"/>
                </a:cxn>
                <a:cxn ang="0">
                  <a:pos x="145" y="60"/>
                </a:cxn>
                <a:cxn ang="0">
                  <a:pos x="147" y="74"/>
                </a:cxn>
                <a:cxn ang="0">
                  <a:pos x="142" y="87"/>
                </a:cxn>
                <a:cxn ang="0">
                  <a:pos x="143" y="98"/>
                </a:cxn>
                <a:cxn ang="0">
                  <a:pos x="131" y="108"/>
                </a:cxn>
                <a:cxn ang="0">
                  <a:pos x="131" y="99"/>
                </a:cxn>
                <a:cxn ang="0">
                  <a:pos x="117" y="111"/>
                </a:cxn>
                <a:cxn ang="0">
                  <a:pos x="111" y="110"/>
                </a:cxn>
                <a:cxn ang="0">
                  <a:pos x="100" y="115"/>
                </a:cxn>
                <a:cxn ang="0">
                  <a:pos x="85" y="106"/>
                </a:cxn>
                <a:cxn ang="0">
                  <a:pos x="83" y="110"/>
                </a:cxn>
                <a:cxn ang="0">
                  <a:pos x="88" y="118"/>
                </a:cxn>
                <a:cxn ang="0">
                  <a:pos x="83" y="118"/>
                </a:cxn>
                <a:cxn ang="0">
                  <a:pos x="71" y="132"/>
                </a:cxn>
                <a:cxn ang="0">
                  <a:pos x="62" y="127"/>
                </a:cxn>
              </a:cxnLst>
              <a:rect l="0" t="0" r="r" b="b"/>
              <a:pathLst>
                <a:path w="162" h="132">
                  <a:moveTo>
                    <a:pt x="62" y="127"/>
                  </a:moveTo>
                  <a:lnTo>
                    <a:pt x="62" y="125"/>
                  </a:lnTo>
                  <a:lnTo>
                    <a:pt x="62" y="124"/>
                  </a:lnTo>
                  <a:lnTo>
                    <a:pt x="62" y="118"/>
                  </a:lnTo>
                  <a:lnTo>
                    <a:pt x="64" y="115"/>
                  </a:lnTo>
                  <a:lnTo>
                    <a:pt x="56" y="111"/>
                  </a:lnTo>
                  <a:lnTo>
                    <a:pt x="49" y="110"/>
                  </a:lnTo>
                  <a:lnTo>
                    <a:pt x="45" y="111"/>
                  </a:lnTo>
                  <a:lnTo>
                    <a:pt x="45" y="113"/>
                  </a:lnTo>
                  <a:lnTo>
                    <a:pt x="38" y="113"/>
                  </a:lnTo>
                  <a:lnTo>
                    <a:pt x="33" y="115"/>
                  </a:lnTo>
                  <a:lnTo>
                    <a:pt x="21" y="120"/>
                  </a:lnTo>
                  <a:lnTo>
                    <a:pt x="7" y="124"/>
                  </a:lnTo>
                  <a:lnTo>
                    <a:pt x="2" y="122"/>
                  </a:lnTo>
                  <a:lnTo>
                    <a:pt x="0" y="120"/>
                  </a:lnTo>
                  <a:lnTo>
                    <a:pt x="2" y="118"/>
                  </a:lnTo>
                  <a:lnTo>
                    <a:pt x="6" y="117"/>
                  </a:lnTo>
                  <a:lnTo>
                    <a:pt x="13" y="110"/>
                  </a:lnTo>
                  <a:lnTo>
                    <a:pt x="19" y="105"/>
                  </a:lnTo>
                  <a:lnTo>
                    <a:pt x="25" y="98"/>
                  </a:lnTo>
                  <a:lnTo>
                    <a:pt x="35" y="98"/>
                  </a:lnTo>
                  <a:lnTo>
                    <a:pt x="43" y="98"/>
                  </a:lnTo>
                  <a:lnTo>
                    <a:pt x="50" y="98"/>
                  </a:lnTo>
                  <a:lnTo>
                    <a:pt x="57" y="98"/>
                  </a:lnTo>
                  <a:lnTo>
                    <a:pt x="66" y="98"/>
                  </a:lnTo>
                  <a:lnTo>
                    <a:pt x="69" y="94"/>
                  </a:lnTo>
                  <a:lnTo>
                    <a:pt x="74" y="89"/>
                  </a:lnTo>
                  <a:lnTo>
                    <a:pt x="78" y="84"/>
                  </a:lnTo>
                  <a:lnTo>
                    <a:pt x="83" y="82"/>
                  </a:lnTo>
                  <a:lnTo>
                    <a:pt x="86" y="75"/>
                  </a:lnTo>
                  <a:lnTo>
                    <a:pt x="92" y="68"/>
                  </a:lnTo>
                  <a:lnTo>
                    <a:pt x="88" y="70"/>
                  </a:lnTo>
                  <a:lnTo>
                    <a:pt x="88" y="74"/>
                  </a:lnTo>
                  <a:lnTo>
                    <a:pt x="88" y="75"/>
                  </a:lnTo>
                  <a:lnTo>
                    <a:pt x="92" y="77"/>
                  </a:lnTo>
                  <a:lnTo>
                    <a:pt x="99" y="74"/>
                  </a:lnTo>
                  <a:lnTo>
                    <a:pt x="105" y="70"/>
                  </a:lnTo>
                  <a:lnTo>
                    <a:pt x="114" y="63"/>
                  </a:lnTo>
                  <a:lnTo>
                    <a:pt x="123" y="53"/>
                  </a:lnTo>
                  <a:lnTo>
                    <a:pt x="131" y="41"/>
                  </a:lnTo>
                  <a:lnTo>
                    <a:pt x="135" y="29"/>
                  </a:lnTo>
                  <a:lnTo>
                    <a:pt x="133" y="25"/>
                  </a:lnTo>
                  <a:lnTo>
                    <a:pt x="131" y="22"/>
                  </a:lnTo>
                  <a:lnTo>
                    <a:pt x="131" y="15"/>
                  </a:lnTo>
                  <a:lnTo>
                    <a:pt x="135" y="10"/>
                  </a:lnTo>
                  <a:lnTo>
                    <a:pt x="138" y="5"/>
                  </a:lnTo>
                  <a:lnTo>
                    <a:pt x="143" y="3"/>
                  </a:lnTo>
                  <a:lnTo>
                    <a:pt x="143" y="5"/>
                  </a:lnTo>
                  <a:lnTo>
                    <a:pt x="150" y="5"/>
                  </a:lnTo>
                  <a:lnTo>
                    <a:pt x="148" y="5"/>
                  </a:lnTo>
                  <a:lnTo>
                    <a:pt x="145" y="1"/>
                  </a:lnTo>
                  <a:lnTo>
                    <a:pt x="147" y="0"/>
                  </a:lnTo>
                  <a:lnTo>
                    <a:pt x="152" y="0"/>
                  </a:lnTo>
                  <a:lnTo>
                    <a:pt x="154" y="3"/>
                  </a:lnTo>
                  <a:lnTo>
                    <a:pt x="154" y="8"/>
                  </a:lnTo>
                  <a:lnTo>
                    <a:pt x="155" y="13"/>
                  </a:lnTo>
                  <a:lnTo>
                    <a:pt x="159" y="22"/>
                  </a:lnTo>
                  <a:lnTo>
                    <a:pt x="162" y="31"/>
                  </a:lnTo>
                  <a:lnTo>
                    <a:pt x="159" y="38"/>
                  </a:lnTo>
                  <a:lnTo>
                    <a:pt x="155" y="46"/>
                  </a:lnTo>
                  <a:lnTo>
                    <a:pt x="155" y="48"/>
                  </a:lnTo>
                  <a:lnTo>
                    <a:pt x="155" y="50"/>
                  </a:lnTo>
                  <a:lnTo>
                    <a:pt x="152" y="50"/>
                  </a:lnTo>
                  <a:lnTo>
                    <a:pt x="150" y="51"/>
                  </a:lnTo>
                  <a:lnTo>
                    <a:pt x="147" y="53"/>
                  </a:lnTo>
                  <a:lnTo>
                    <a:pt x="145" y="60"/>
                  </a:lnTo>
                  <a:lnTo>
                    <a:pt x="145" y="67"/>
                  </a:lnTo>
                  <a:lnTo>
                    <a:pt x="147" y="74"/>
                  </a:lnTo>
                  <a:lnTo>
                    <a:pt x="143" y="79"/>
                  </a:lnTo>
                  <a:lnTo>
                    <a:pt x="142" y="87"/>
                  </a:lnTo>
                  <a:lnTo>
                    <a:pt x="142" y="93"/>
                  </a:lnTo>
                  <a:lnTo>
                    <a:pt x="143" y="98"/>
                  </a:lnTo>
                  <a:lnTo>
                    <a:pt x="136" y="101"/>
                  </a:lnTo>
                  <a:lnTo>
                    <a:pt x="131" y="108"/>
                  </a:lnTo>
                  <a:lnTo>
                    <a:pt x="129" y="103"/>
                  </a:lnTo>
                  <a:lnTo>
                    <a:pt x="131" y="99"/>
                  </a:lnTo>
                  <a:lnTo>
                    <a:pt x="123" y="105"/>
                  </a:lnTo>
                  <a:lnTo>
                    <a:pt x="117" y="111"/>
                  </a:lnTo>
                  <a:lnTo>
                    <a:pt x="116" y="110"/>
                  </a:lnTo>
                  <a:lnTo>
                    <a:pt x="111" y="110"/>
                  </a:lnTo>
                  <a:lnTo>
                    <a:pt x="105" y="111"/>
                  </a:lnTo>
                  <a:lnTo>
                    <a:pt x="100" y="115"/>
                  </a:lnTo>
                  <a:lnTo>
                    <a:pt x="90" y="110"/>
                  </a:lnTo>
                  <a:lnTo>
                    <a:pt x="85" y="106"/>
                  </a:lnTo>
                  <a:lnTo>
                    <a:pt x="83" y="108"/>
                  </a:lnTo>
                  <a:lnTo>
                    <a:pt x="83" y="110"/>
                  </a:lnTo>
                  <a:lnTo>
                    <a:pt x="85" y="115"/>
                  </a:lnTo>
                  <a:lnTo>
                    <a:pt x="88" y="118"/>
                  </a:lnTo>
                  <a:lnTo>
                    <a:pt x="85" y="118"/>
                  </a:lnTo>
                  <a:lnTo>
                    <a:pt x="83" y="118"/>
                  </a:lnTo>
                  <a:lnTo>
                    <a:pt x="76" y="122"/>
                  </a:lnTo>
                  <a:lnTo>
                    <a:pt x="71" y="132"/>
                  </a:lnTo>
                  <a:lnTo>
                    <a:pt x="66" y="129"/>
                  </a:lnTo>
                  <a:lnTo>
                    <a:pt x="62" y="12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0" name="Freeform 249"/>
            <p:cNvSpPr>
              <a:spLocks/>
            </p:cNvSpPr>
            <p:nvPr/>
          </p:nvSpPr>
          <p:spPr bwMode="auto">
            <a:xfrm>
              <a:off x="7520782" y="2887663"/>
              <a:ext cx="131763" cy="112712"/>
            </a:xfrm>
            <a:custGeom>
              <a:avLst/>
              <a:gdLst/>
              <a:ahLst/>
              <a:cxnLst>
                <a:cxn ang="0">
                  <a:pos x="11" y="38"/>
                </a:cxn>
                <a:cxn ang="0">
                  <a:pos x="12" y="38"/>
                </a:cxn>
                <a:cxn ang="0">
                  <a:pos x="16" y="38"/>
                </a:cxn>
                <a:cxn ang="0">
                  <a:pos x="19" y="35"/>
                </a:cxn>
                <a:cxn ang="0">
                  <a:pos x="24" y="28"/>
                </a:cxn>
                <a:cxn ang="0">
                  <a:pos x="26" y="18"/>
                </a:cxn>
                <a:cxn ang="0">
                  <a:pos x="28" y="13"/>
                </a:cxn>
                <a:cxn ang="0">
                  <a:pos x="26" y="9"/>
                </a:cxn>
                <a:cxn ang="0">
                  <a:pos x="26" y="7"/>
                </a:cxn>
                <a:cxn ang="0">
                  <a:pos x="26" y="2"/>
                </a:cxn>
                <a:cxn ang="0">
                  <a:pos x="29" y="0"/>
                </a:cxn>
                <a:cxn ang="0">
                  <a:pos x="38" y="7"/>
                </a:cxn>
                <a:cxn ang="0">
                  <a:pos x="47" y="16"/>
                </a:cxn>
                <a:cxn ang="0">
                  <a:pos x="55" y="23"/>
                </a:cxn>
                <a:cxn ang="0">
                  <a:pos x="69" y="26"/>
                </a:cxn>
                <a:cxn ang="0">
                  <a:pos x="74" y="25"/>
                </a:cxn>
                <a:cxn ang="0">
                  <a:pos x="79" y="25"/>
                </a:cxn>
                <a:cxn ang="0">
                  <a:pos x="76" y="28"/>
                </a:cxn>
                <a:cxn ang="0">
                  <a:pos x="76" y="31"/>
                </a:cxn>
                <a:cxn ang="0">
                  <a:pos x="78" y="35"/>
                </a:cxn>
                <a:cxn ang="0">
                  <a:pos x="83" y="38"/>
                </a:cxn>
                <a:cxn ang="0">
                  <a:pos x="74" y="40"/>
                </a:cxn>
                <a:cxn ang="0">
                  <a:pos x="67" y="42"/>
                </a:cxn>
                <a:cxn ang="0">
                  <a:pos x="54" y="49"/>
                </a:cxn>
                <a:cxn ang="0">
                  <a:pos x="48" y="61"/>
                </a:cxn>
                <a:cxn ang="0">
                  <a:pos x="36" y="54"/>
                </a:cxn>
                <a:cxn ang="0">
                  <a:pos x="26" y="49"/>
                </a:cxn>
                <a:cxn ang="0">
                  <a:pos x="23" y="49"/>
                </a:cxn>
                <a:cxn ang="0">
                  <a:pos x="23" y="52"/>
                </a:cxn>
                <a:cxn ang="0">
                  <a:pos x="12" y="50"/>
                </a:cxn>
                <a:cxn ang="0">
                  <a:pos x="7" y="56"/>
                </a:cxn>
                <a:cxn ang="0">
                  <a:pos x="11" y="59"/>
                </a:cxn>
                <a:cxn ang="0">
                  <a:pos x="17" y="64"/>
                </a:cxn>
                <a:cxn ang="0">
                  <a:pos x="11" y="68"/>
                </a:cxn>
                <a:cxn ang="0">
                  <a:pos x="5" y="71"/>
                </a:cxn>
                <a:cxn ang="0">
                  <a:pos x="2" y="71"/>
                </a:cxn>
                <a:cxn ang="0">
                  <a:pos x="2" y="64"/>
                </a:cxn>
                <a:cxn ang="0">
                  <a:pos x="2" y="59"/>
                </a:cxn>
                <a:cxn ang="0">
                  <a:pos x="0" y="56"/>
                </a:cxn>
                <a:cxn ang="0">
                  <a:pos x="0" y="54"/>
                </a:cxn>
                <a:cxn ang="0">
                  <a:pos x="4" y="47"/>
                </a:cxn>
                <a:cxn ang="0">
                  <a:pos x="9" y="42"/>
                </a:cxn>
                <a:cxn ang="0">
                  <a:pos x="9" y="38"/>
                </a:cxn>
                <a:cxn ang="0">
                  <a:pos x="11" y="38"/>
                </a:cxn>
                <a:cxn ang="0">
                  <a:pos x="12" y="40"/>
                </a:cxn>
                <a:cxn ang="0">
                  <a:pos x="11" y="38"/>
                </a:cxn>
              </a:cxnLst>
              <a:rect l="0" t="0" r="r" b="b"/>
              <a:pathLst>
                <a:path w="83" h="71">
                  <a:moveTo>
                    <a:pt x="11" y="38"/>
                  </a:moveTo>
                  <a:lnTo>
                    <a:pt x="12" y="38"/>
                  </a:lnTo>
                  <a:lnTo>
                    <a:pt x="16" y="38"/>
                  </a:lnTo>
                  <a:lnTo>
                    <a:pt x="19" y="35"/>
                  </a:lnTo>
                  <a:lnTo>
                    <a:pt x="24" y="28"/>
                  </a:lnTo>
                  <a:lnTo>
                    <a:pt x="26" y="18"/>
                  </a:lnTo>
                  <a:lnTo>
                    <a:pt x="28" y="13"/>
                  </a:lnTo>
                  <a:lnTo>
                    <a:pt x="26" y="9"/>
                  </a:lnTo>
                  <a:lnTo>
                    <a:pt x="26" y="7"/>
                  </a:lnTo>
                  <a:lnTo>
                    <a:pt x="26" y="2"/>
                  </a:lnTo>
                  <a:lnTo>
                    <a:pt x="29" y="0"/>
                  </a:lnTo>
                  <a:lnTo>
                    <a:pt x="38" y="7"/>
                  </a:lnTo>
                  <a:lnTo>
                    <a:pt x="47" y="16"/>
                  </a:lnTo>
                  <a:lnTo>
                    <a:pt x="55" y="23"/>
                  </a:lnTo>
                  <a:lnTo>
                    <a:pt x="69" y="26"/>
                  </a:lnTo>
                  <a:lnTo>
                    <a:pt x="74" y="25"/>
                  </a:lnTo>
                  <a:lnTo>
                    <a:pt x="79" y="25"/>
                  </a:lnTo>
                  <a:lnTo>
                    <a:pt x="76" y="28"/>
                  </a:lnTo>
                  <a:lnTo>
                    <a:pt x="76" y="31"/>
                  </a:lnTo>
                  <a:lnTo>
                    <a:pt x="78" y="35"/>
                  </a:lnTo>
                  <a:lnTo>
                    <a:pt x="83" y="38"/>
                  </a:lnTo>
                  <a:lnTo>
                    <a:pt x="74" y="40"/>
                  </a:lnTo>
                  <a:lnTo>
                    <a:pt x="67" y="42"/>
                  </a:lnTo>
                  <a:lnTo>
                    <a:pt x="54" y="49"/>
                  </a:lnTo>
                  <a:lnTo>
                    <a:pt x="48" y="61"/>
                  </a:lnTo>
                  <a:lnTo>
                    <a:pt x="36" y="54"/>
                  </a:lnTo>
                  <a:lnTo>
                    <a:pt x="26" y="49"/>
                  </a:lnTo>
                  <a:lnTo>
                    <a:pt x="23" y="49"/>
                  </a:lnTo>
                  <a:lnTo>
                    <a:pt x="23" y="52"/>
                  </a:lnTo>
                  <a:lnTo>
                    <a:pt x="12" y="50"/>
                  </a:lnTo>
                  <a:lnTo>
                    <a:pt x="7" y="56"/>
                  </a:lnTo>
                  <a:lnTo>
                    <a:pt x="11" y="59"/>
                  </a:lnTo>
                  <a:lnTo>
                    <a:pt x="17" y="64"/>
                  </a:lnTo>
                  <a:lnTo>
                    <a:pt x="11" y="68"/>
                  </a:lnTo>
                  <a:lnTo>
                    <a:pt x="5" y="71"/>
                  </a:lnTo>
                  <a:lnTo>
                    <a:pt x="2" y="71"/>
                  </a:lnTo>
                  <a:lnTo>
                    <a:pt x="2" y="64"/>
                  </a:lnTo>
                  <a:lnTo>
                    <a:pt x="2" y="59"/>
                  </a:lnTo>
                  <a:lnTo>
                    <a:pt x="0" y="56"/>
                  </a:lnTo>
                  <a:lnTo>
                    <a:pt x="0" y="54"/>
                  </a:lnTo>
                  <a:lnTo>
                    <a:pt x="4" y="47"/>
                  </a:lnTo>
                  <a:lnTo>
                    <a:pt x="9" y="42"/>
                  </a:lnTo>
                  <a:lnTo>
                    <a:pt x="9" y="38"/>
                  </a:lnTo>
                  <a:lnTo>
                    <a:pt x="11" y="38"/>
                  </a:lnTo>
                  <a:lnTo>
                    <a:pt x="12" y="40"/>
                  </a:lnTo>
                  <a:lnTo>
                    <a:pt x="11" y="3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1" name="Freeform 250"/>
            <p:cNvSpPr>
              <a:spLocks/>
            </p:cNvSpPr>
            <p:nvPr/>
          </p:nvSpPr>
          <p:spPr bwMode="auto">
            <a:xfrm>
              <a:off x="7649369" y="2916238"/>
              <a:ext cx="22225" cy="20637"/>
            </a:xfrm>
            <a:custGeom>
              <a:avLst/>
              <a:gdLst/>
              <a:ahLst/>
              <a:cxnLst>
                <a:cxn ang="0">
                  <a:pos x="10" y="0"/>
                </a:cxn>
                <a:cxn ang="0">
                  <a:pos x="14" y="1"/>
                </a:cxn>
                <a:cxn ang="0">
                  <a:pos x="7" y="8"/>
                </a:cxn>
                <a:cxn ang="0">
                  <a:pos x="0" y="13"/>
                </a:cxn>
                <a:cxn ang="0">
                  <a:pos x="0" y="10"/>
                </a:cxn>
                <a:cxn ang="0">
                  <a:pos x="0" y="8"/>
                </a:cxn>
                <a:cxn ang="0">
                  <a:pos x="5" y="3"/>
                </a:cxn>
                <a:cxn ang="0">
                  <a:pos x="12" y="1"/>
                </a:cxn>
                <a:cxn ang="0">
                  <a:pos x="10" y="0"/>
                </a:cxn>
              </a:cxnLst>
              <a:rect l="0" t="0" r="r" b="b"/>
              <a:pathLst>
                <a:path w="14" h="13">
                  <a:moveTo>
                    <a:pt x="10" y="0"/>
                  </a:moveTo>
                  <a:lnTo>
                    <a:pt x="14" y="1"/>
                  </a:lnTo>
                  <a:lnTo>
                    <a:pt x="7" y="8"/>
                  </a:lnTo>
                  <a:lnTo>
                    <a:pt x="0" y="13"/>
                  </a:lnTo>
                  <a:lnTo>
                    <a:pt x="0" y="10"/>
                  </a:lnTo>
                  <a:lnTo>
                    <a:pt x="0" y="8"/>
                  </a:lnTo>
                  <a:lnTo>
                    <a:pt x="5" y="3"/>
                  </a:lnTo>
                  <a:lnTo>
                    <a:pt x="12" y="1"/>
                  </a:lnTo>
                  <a:lnTo>
                    <a:pt x="1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2" name="Freeform 251"/>
            <p:cNvSpPr>
              <a:spLocks/>
            </p:cNvSpPr>
            <p:nvPr/>
          </p:nvSpPr>
          <p:spPr bwMode="auto">
            <a:xfrm>
              <a:off x="7693819" y="2887663"/>
              <a:ext cx="28575" cy="22225"/>
            </a:xfrm>
            <a:custGeom>
              <a:avLst/>
              <a:gdLst/>
              <a:ahLst/>
              <a:cxnLst>
                <a:cxn ang="0">
                  <a:pos x="18" y="4"/>
                </a:cxn>
                <a:cxn ang="0">
                  <a:pos x="8" y="9"/>
                </a:cxn>
                <a:cxn ang="0">
                  <a:pos x="0" y="14"/>
                </a:cxn>
                <a:cxn ang="0">
                  <a:pos x="0" y="13"/>
                </a:cxn>
                <a:cxn ang="0">
                  <a:pos x="0" y="11"/>
                </a:cxn>
                <a:cxn ang="0">
                  <a:pos x="3" y="6"/>
                </a:cxn>
                <a:cxn ang="0">
                  <a:pos x="12" y="0"/>
                </a:cxn>
                <a:cxn ang="0">
                  <a:pos x="15" y="0"/>
                </a:cxn>
                <a:cxn ang="0">
                  <a:pos x="18" y="0"/>
                </a:cxn>
                <a:cxn ang="0">
                  <a:pos x="18" y="4"/>
                </a:cxn>
              </a:cxnLst>
              <a:rect l="0" t="0" r="r" b="b"/>
              <a:pathLst>
                <a:path w="18" h="14">
                  <a:moveTo>
                    <a:pt x="18" y="4"/>
                  </a:moveTo>
                  <a:lnTo>
                    <a:pt x="8" y="9"/>
                  </a:lnTo>
                  <a:lnTo>
                    <a:pt x="0" y="14"/>
                  </a:lnTo>
                  <a:lnTo>
                    <a:pt x="0" y="13"/>
                  </a:lnTo>
                  <a:lnTo>
                    <a:pt x="0" y="11"/>
                  </a:lnTo>
                  <a:lnTo>
                    <a:pt x="3" y="6"/>
                  </a:lnTo>
                  <a:lnTo>
                    <a:pt x="12" y="0"/>
                  </a:lnTo>
                  <a:lnTo>
                    <a:pt x="15" y="0"/>
                  </a:lnTo>
                  <a:lnTo>
                    <a:pt x="18" y="0"/>
                  </a:lnTo>
                  <a:lnTo>
                    <a:pt x="18"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3" name="Freeform 252"/>
            <p:cNvSpPr>
              <a:spLocks/>
            </p:cNvSpPr>
            <p:nvPr/>
          </p:nvSpPr>
          <p:spPr bwMode="auto">
            <a:xfrm>
              <a:off x="7747794" y="2863850"/>
              <a:ext cx="15875" cy="15875"/>
            </a:xfrm>
            <a:custGeom>
              <a:avLst/>
              <a:gdLst/>
              <a:ahLst/>
              <a:cxnLst>
                <a:cxn ang="0">
                  <a:pos x="2" y="7"/>
                </a:cxn>
                <a:cxn ang="0">
                  <a:pos x="2" y="5"/>
                </a:cxn>
                <a:cxn ang="0">
                  <a:pos x="2" y="3"/>
                </a:cxn>
                <a:cxn ang="0">
                  <a:pos x="5" y="0"/>
                </a:cxn>
                <a:cxn ang="0">
                  <a:pos x="10" y="0"/>
                </a:cxn>
                <a:cxn ang="0">
                  <a:pos x="5" y="5"/>
                </a:cxn>
                <a:cxn ang="0">
                  <a:pos x="2" y="10"/>
                </a:cxn>
                <a:cxn ang="0">
                  <a:pos x="0" y="9"/>
                </a:cxn>
                <a:cxn ang="0">
                  <a:pos x="2" y="7"/>
                </a:cxn>
              </a:cxnLst>
              <a:rect l="0" t="0" r="r" b="b"/>
              <a:pathLst>
                <a:path w="10" h="10">
                  <a:moveTo>
                    <a:pt x="2" y="7"/>
                  </a:moveTo>
                  <a:lnTo>
                    <a:pt x="2" y="5"/>
                  </a:lnTo>
                  <a:lnTo>
                    <a:pt x="2" y="3"/>
                  </a:lnTo>
                  <a:lnTo>
                    <a:pt x="5" y="0"/>
                  </a:lnTo>
                  <a:lnTo>
                    <a:pt x="10" y="0"/>
                  </a:lnTo>
                  <a:lnTo>
                    <a:pt x="5" y="5"/>
                  </a:lnTo>
                  <a:lnTo>
                    <a:pt x="2" y="10"/>
                  </a:lnTo>
                  <a:lnTo>
                    <a:pt x="0" y="9"/>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4" name="Freeform 253"/>
            <p:cNvSpPr>
              <a:spLocks/>
            </p:cNvSpPr>
            <p:nvPr/>
          </p:nvSpPr>
          <p:spPr bwMode="auto">
            <a:xfrm>
              <a:off x="7562057" y="2617788"/>
              <a:ext cx="65088" cy="250825"/>
            </a:xfrm>
            <a:custGeom>
              <a:avLst/>
              <a:gdLst/>
              <a:ahLst/>
              <a:cxnLst>
                <a:cxn ang="0">
                  <a:pos x="29" y="98"/>
                </a:cxn>
                <a:cxn ang="0">
                  <a:pos x="21" y="100"/>
                </a:cxn>
                <a:cxn ang="0">
                  <a:pos x="17" y="107"/>
                </a:cxn>
                <a:cxn ang="0">
                  <a:pos x="15" y="115"/>
                </a:cxn>
                <a:cxn ang="0">
                  <a:pos x="15" y="127"/>
                </a:cxn>
                <a:cxn ang="0">
                  <a:pos x="21" y="140"/>
                </a:cxn>
                <a:cxn ang="0">
                  <a:pos x="29" y="153"/>
                </a:cxn>
                <a:cxn ang="0">
                  <a:pos x="28" y="153"/>
                </a:cxn>
                <a:cxn ang="0">
                  <a:pos x="24" y="150"/>
                </a:cxn>
                <a:cxn ang="0">
                  <a:pos x="22" y="148"/>
                </a:cxn>
                <a:cxn ang="0">
                  <a:pos x="19" y="148"/>
                </a:cxn>
                <a:cxn ang="0">
                  <a:pos x="17" y="148"/>
                </a:cxn>
                <a:cxn ang="0">
                  <a:pos x="10" y="153"/>
                </a:cxn>
                <a:cxn ang="0">
                  <a:pos x="5" y="158"/>
                </a:cxn>
                <a:cxn ang="0">
                  <a:pos x="3" y="152"/>
                </a:cxn>
                <a:cxn ang="0">
                  <a:pos x="5" y="145"/>
                </a:cxn>
                <a:cxn ang="0">
                  <a:pos x="5" y="133"/>
                </a:cxn>
                <a:cxn ang="0">
                  <a:pos x="7" y="122"/>
                </a:cxn>
                <a:cxn ang="0">
                  <a:pos x="5" y="114"/>
                </a:cxn>
                <a:cxn ang="0">
                  <a:pos x="5" y="107"/>
                </a:cxn>
                <a:cxn ang="0">
                  <a:pos x="5" y="98"/>
                </a:cxn>
                <a:cxn ang="0">
                  <a:pos x="7" y="91"/>
                </a:cxn>
                <a:cxn ang="0">
                  <a:pos x="7" y="76"/>
                </a:cxn>
                <a:cxn ang="0">
                  <a:pos x="7" y="62"/>
                </a:cxn>
                <a:cxn ang="0">
                  <a:pos x="3" y="52"/>
                </a:cxn>
                <a:cxn ang="0">
                  <a:pos x="0" y="43"/>
                </a:cxn>
                <a:cxn ang="0">
                  <a:pos x="0" y="35"/>
                </a:cxn>
                <a:cxn ang="0">
                  <a:pos x="2" y="26"/>
                </a:cxn>
                <a:cxn ang="0">
                  <a:pos x="3" y="19"/>
                </a:cxn>
                <a:cxn ang="0">
                  <a:pos x="10" y="17"/>
                </a:cxn>
                <a:cxn ang="0">
                  <a:pos x="10" y="14"/>
                </a:cxn>
                <a:cxn ang="0">
                  <a:pos x="12" y="11"/>
                </a:cxn>
                <a:cxn ang="0">
                  <a:pos x="12" y="5"/>
                </a:cxn>
                <a:cxn ang="0">
                  <a:pos x="12" y="0"/>
                </a:cxn>
                <a:cxn ang="0">
                  <a:pos x="14" y="0"/>
                </a:cxn>
                <a:cxn ang="0">
                  <a:pos x="15" y="0"/>
                </a:cxn>
                <a:cxn ang="0">
                  <a:pos x="17" y="12"/>
                </a:cxn>
                <a:cxn ang="0">
                  <a:pos x="22" y="24"/>
                </a:cxn>
                <a:cxn ang="0">
                  <a:pos x="21" y="33"/>
                </a:cxn>
                <a:cxn ang="0">
                  <a:pos x="24" y="43"/>
                </a:cxn>
                <a:cxn ang="0">
                  <a:pos x="24" y="55"/>
                </a:cxn>
                <a:cxn ang="0">
                  <a:pos x="24" y="62"/>
                </a:cxn>
                <a:cxn ang="0">
                  <a:pos x="28" y="69"/>
                </a:cxn>
                <a:cxn ang="0">
                  <a:pos x="34" y="86"/>
                </a:cxn>
                <a:cxn ang="0">
                  <a:pos x="41" y="103"/>
                </a:cxn>
                <a:cxn ang="0">
                  <a:pos x="34" y="98"/>
                </a:cxn>
                <a:cxn ang="0">
                  <a:pos x="29" y="98"/>
                </a:cxn>
              </a:cxnLst>
              <a:rect l="0" t="0" r="r" b="b"/>
              <a:pathLst>
                <a:path w="41" h="158">
                  <a:moveTo>
                    <a:pt x="29" y="98"/>
                  </a:moveTo>
                  <a:lnTo>
                    <a:pt x="21" y="100"/>
                  </a:lnTo>
                  <a:lnTo>
                    <a:pt x="17" y="107"/>
                  </a:lnTo>
                  <a:lnTo>
                    <a:pt x="15" y="115"/>
                  </a:lnTo>
                  <a:lnTo>
                    <a:pt x="15" y="127"/>
                  </a:lnTo>
                  <a:lnTo>
                    <a:pt x="21" y="140"/>
                  </a:lnTo>
                  <a:lnTo>
                    <a:pt x="29" y="153"/>
                  </a:lnTo>
                  <a:lnTo>
                    <a:pt x="28" y="153"/>
                  </a:lnTo>
                  <a:lnTo>
                    <a:pt x="24" y="150"/>
                  </a:lnTo>
                  <a:lnTo>
                    <a:pt x="22" y="148"/>
                  </a:lnTo>
                  <a:lnTo>
                    <a:pt x="19" y="148"/>
                  </a:lnTo>
                  <a:lnTo>
                    <a:pt x="17" y="148"/>
                  </a:lnTo>
                  <a:lnTo>
                    <a:pt x="10" y="153"/>
                  </a:lnTo>
                  <a:lnTo>
                    <a:pt x="5" y="158"/>
                  </a:lnTo>
                  <a:lnTo>
                    <a:pt x="3" y="152"/>
                  </a:lnTo>
                  <a:lnTo>
                    <a:pt x="5" y="145"/>
                  </a:lnTo>
                  <a:lnTo>
                    <a:pt x="5" y="133"/>
                  </a:lnTo>
                  <a:lnTo>
                    <a:pt x="7" y="122"/>
                  </a:lnTo>
                  <a:lnTo>
                    <a:pt x="5" y="114"/>
                  </a:lnTo>
                  <a:lnTo>
                    <a:pt x="5" y="107"/>
                  </a:lnTo>
                  <a:lnTo>
                    <a:pt x="5" y="98"/>
                  </a:lnTo>
                  <a:lnTo>
                    <a:pt x="7" y="91"/>
                  </a:lnTo>
                  <a:lnTo>
                    <a:pt x="7" y="76"/>
                  </a:lnTo>
                  <a:lnTo>
                    <a:pt x="7" y="62"/>
                  </a:lnTo>
                  <a:lnTo>
                    <a:pt x="3" y="52"/>
                  </a:lnTo>
                  <a:lnTo>
                    <a:pt x="0" y="43"/>
                  </a:lnTo>
                  <a:lnTo>
                    <a:pt x="0" y="35"/>
                  </a:lnTo>
                  <a:lnTo>
                    <a:pt x="2" y="26"/>
                  </a:lnTo>
                  <a:lnTo>
                    <a:pt x="3" y="19"/>
                  </a:lnTo>
                  <a:lnTo>
                    <a:pt x="10" y="17"/>
                  </a:lnTo>
                  <a:lnTo>
                    <a:pt x="10" y="14"/>
                  </a:lnTo>
                  <a:lnTo>
                    <a:pt x="12" y="11"/>
                  </a:lnTo>
                  <a:lnTo>
                    <a:pt x="12" y="5"/>
                  </a:lnTo>
                  <a:lnTo>
                    <a:pt x="12" y="0"/>
                  </a:lnTo>
                  <a:lnTo>
                    <a:pt x="14" y="0"/>
                  </a:lnTo>
                  <a:lnTo>
                    <a:pt x="15" y="0"/>
                  </a:lnTo>
                  <a:lnTo>
                    <a:pt x="17" y="12"/>
                  </a:lnTo>
                  <a:lnTo>
                    <a:pt x="22" y="24"/>
                  </a:lnTo>
                  <a:lnTo>
                    <a:pt x="21" y="33"/>
                  </a:lnTo>
                  <a:lnTo>
                    <a:pt x="24" y="43"/>
                  </a:lnTo>
                  <a:lnTo>
                    <a:pt x="24" y="55"/>
                  </a:lnTo>
                  <a:lnTo>
                    <a:pt x="24" y="62"/>
                  </a:lnTo>
                  <a:lnTo>
                    <a:pt x="28" y="69"/>
                  </a:lnTo>
                  <a:lnTo>
                    <a:pt x="34" y="86"/>
                  </a:lnTo>
                  <a:lnTo>
                    <a:pt x="41" y="103"/>
                  </a:lnTo>
                  <a:lnTo>
                    <a:pt x="34" y="98"/>
                  </a:lnTo>
                  <a:lnTo>
                    <a:pt x="29" y="9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5" name="Freeform 254"/>
            <p:cNvSpPr>
              <a:spLocks/>
            </p:cNvSpPr>
            <p:nvPr/>
          </p:nvSpPr>
          <p:spPr bwMode="auto">
            <a:xfrm>
              <a:off x="5487194" y="1744663"/>
              <a:ext cx="403225" cy="295275"/>
            </a:xfrm>
            <a:custGeom>
              <a:avLst/>
              <a:gdLst/>
              <a:ahLst/>
              <a:cxnLst>
                <a:cxn ang="0">
                  <a:pos x="77" y="177"/>
                </a:cxn>
                <a:cxn ang="0">
                  <a:pos x="60" y="162"/>
                </a:cxn>
                <a:cxn ang="0">
                  <a:pos x="58" y="138"/>
                </a:cxn>
                <a:cxn ang="0">
                  <a:pos x="69" y="113"/>
                </a:cxn>
                <a:cxn ang="0">
                  <a:pos x="88" y="93"/>
                </a:cxn>
                <a:cxn ang="0">
                  <a:pos x="108" y="81"/>
                </a:cxn>
                <a:cxn ang="0">
                  <a:pos x="124" y="72"/>
                </a:cxn>
                <a:cxn ang="0">
                  <a:pos x="134" y="64"/>
                </a:cxn>
                <a:cxn ang="0">
                  <a:pos x="149" y="57"/>
                </a:cxn>
                <a:cxn ang="0">
                  <a:pos x="167" y="46"/>
                </a:cxn>
                <a:cxn ang="0">
                  <a:pos x="189" y="43"/>
                </a:cxn>
                <a:cxn ang="0">
                  <a:pos x="206" y="36"/>
                </a:cxn>
                <a:cxn ang="0">
                  <a:pos x="223" y="31"/>
                </a:cxn>
                <a:cxn ang="0">
                  <a:pos x="248" y="22"/>
                </a:cxn>
                <a:cxn ang="0">
                  <a:pos x="251" y="7"/>
                </a:cxn>
                <a:cxn ang="0">
                  <a:pos x="239" y="0"/>
                </a:cxn>
                <a:cxn ang="0">
                  <a:pos x="223" y="0"/>
                </a:cxn>
                <a:cxn ang="0">
                  <a:pos x="205" y="9"/>
                </a:cxn>
                <a:cxn ang="0">
                  <a:pos x="186" y="19"/>
                </a:cxn>
                <a:cxn ang="0">
                  <a:pos x="167" y="26"/>
                </a:cxn>
                <a:cxn ang="0">
                  <a:pos x="149" y="26"/>
                </a:cxn>
                <a:cxn ang="0">
                  <a:pos x="132" y="26"/>
                </a:cxn>
                <a:cxn ang="0">
                  <a:pos x="112" y="33"/>
                </a:cxn>
                <a:cxn ang="0">
                  <a:pos x="89" y="48"/>
                </a:cxn>
                <a:cxn ang="0">
                  <a:pos x="70" y="55"/>
                </a:cxn>
                <a:cxn ang="0">
                  <a:pos x="55" y="58"/>
                </a:cxn>
                <a:cxn ang="0">
                  <a:pos x="57" y="65"/>
                </a:cxn>
                <a:cxn ang="0">
                  <a:pos x="53" y="79"/>
                </a:cxn>
                <a:cxn ang="0">
                  <a:pos x="36" y="95"/>
                </a:cxn>
                <a:cxn ang="0">
                  <a:pos x="36" y="105"/>
                </a:cxn>
                <a:cxn ang="0">
                  <a:pos x="31" y="113"/>
                </a:cxn>
                <a:cxn ang="0">
                  <a:pos x="17" y="120"/>
                </a:cxn>
                <a:cxn ang="0">
                  <a:pos x="15" y="132"/>
                </a:cxn>
                <a:cxn ang="0">
                  <a:pos x="12" y="139"/>
                </a:cxn>
                <a:cxn ang="0">
                  <a:pos x="2" y="146"/>
                </a:cxn>
                <a:cxn ang="0">
                  <a:pos x="5" y="162"/>
                </a:cxn>
                <a:cxn ang="0">
                  <a:pos x="12" y="165"/>
                </a:cxn>
                <a:cxn ang="0">
                  <a:pos x="20" y="165"/>
                </a:cxn>
                <a:cxn ang="0">
                  <a:pos x="31" y="170"/>
                </a:cxn>
                <a:cxn ang="0">
                  <a:pos x="38" y="182"/>
                </a:cxn>
                <a:cxn ang="0">
                  <a:pos x="46" y="184"/>
                </a:cxn>
                <a:cxn ang="0">
                  <a:pos x="88" y="186"/>
                </a:cxn>
                <a:cxn ang="0">
                  <a:pos x="82" y="181"/>
                </a:cxn>
              </a:cxnLst>
              <a:rect l="0" t="0" r="r" b="b"/>
              <a:pathLst>
                <a:path w="254" h="186">
                  <a:moveTo>
                    <a:pt x="88" y="186"/>
                  </a:moveTo>
                  <a:lnTo>
                    <a:pt x="77" y="177"/>
                  </a:lnTo>
                  <a:lnTo>
                    <a:pt x="69" y="170"/>
                  </a:lnTo>
                  <a:lnTo>
                    <a:pt x="60" y="162"/>
                  </a:lnTo>
                  <a:lnTo>
                    <a:pt x="58" y="151"/>
                  </a:lnTo>
                  <a:lnTo>
                    <a:pt x="58" y="138"/>
                  </a:lnTo>
                  <a:lnTo>
                    <a:pt x="63" y="126"/>
                  </a:lnTo>
                  <a:lnTo>
                    <a:pt x="69" y="113"/>
                  </a:lnTo>
                  <a:lnTo>
                    <a:pt x="79" y="103"/>
                  </a:lnTo>
                  <a:lnTo>
                    <a:pt x="88" y="93"/>
                  </a:lnTo>
                  <a:lnTo>
                    <a:pt x="98" y="86"/>
                  </a:lnTo>
                  <a:lnTo>
                    <a:pt x="108" y="81"/>
                  </a:lnTo>
                  <a:lnTo>
                    <a:pt x="120" y="77"/>
                  </a:lnTo>
                  <a:lnTo>
                    <a:pt x="124" y="72"/>
                  </a:lnTo>
                  <a:lnTo>
                    <a:pt x="129" y="69"/>
                  </a:lnTo>
                  <a:lnTo>
                    <a:pt x="134" y="64"/>
                  </a:lnTo>
                  <a:lnTo>
                    <a:pt x="144" y="64"/>
                  </a:lnTo>
                  <a:lnTo>
                    <a:pt x="149" y="57"/>
                  </a:lnTo>
                  <a:lnTo>
                    <a:pt x="155" y="52"/>
                  </a:lnTo>
                  <a:lnTo>
                    <a:pt x="167" y="46"/>
                  </a:lnTo>
                  <a:lnTo>
                    <a:pt x="179" y="45"/>
                  </a:lnTo>
                  <a:lnTo>
                    <a:pt x="189" y="43"/>
                  </a:lnTo>
                  <a:lnTo>
                    <a:pt x="203" y="40"/>
                  </a:lnTo>
                  <a:lnTo>
                    <a:pt x="206" y="36"/>
                  </a:lnTo>
                  <a:lnTo>
                    <a:pt x="215" y="34"/>
                  </a:lnTo>
                  <a:lnTo>
                    <a:pt x="223" y="31"/>
                  </a:lnTo>
                  <a:lnTo>
                    <a:pt x="232" y="29"/>
                  </a:lnTo>
                  <a:lnTo>
                    <a:pt x="248" y="22"/>
                  </a:lnTo>
                  <a:lnTo>
                    <a:pt x="254" y="12"/>
                  </a:lnTo>
                  <a:lnTo>
                    <a:pt x="251" y="7"/>
                  </a:lnTo>
                  <a:lnTo>
                    <a:pt x="246" y="3"/>
                  </a:lnTo>
                  <a:lnTo>
                    <a:pt x="239" y="0"/>
                  </a:lnTo>
                  <a:lnTo>
                    <a:pt x="234" y="0"/>
                  </a:lnTo>
                  <a:lnTo>
                    <a:pt x="223" y="0"/>
                  </a:lnTo>
                  <a:lnTo>
                    <a:pt x="213" y="3"/>
                  </a:lnTo>
                  <a:lnTo>
                    <a:pt x="205" y="9"/>
                  </a:lnTo>
                  <a:lnTo>
                    <a:pt x="196" y="14"/>
                  </a:lnTo>
                  <a:lnTo>
                    <a:pt x="186" y="19"/>
                  </a:lnTo>
                  <a:lnTo>
                    <a:pt x="177" y="24"/>
                  </a:lnTo>
                  <a:lnTo>
                    <a:pt x="167" y="26"/>
                  </a:lnTo>
                  <a:lnTo>
                    <a:pt x="158" y="29"/>
                  </a:lnTo>
                  <a:lnTo>
                    <a:pt x="149" y="26"/>
                  </a:lnTo>
                  <a:lnTo>
                    <a:pt x="143" y="22"/>
                  </a:lnTo>
                  <a:lnTo>
                    <a:pt x="132" y="26"/>
                  </a:lnTo>
                  <a:lnTo>
                    <a:pt x="127" y="29"/>
                  </a:lnTo>
                  <a:lnTo>
                    <a:pt x="112" y="33"/>
                  </a:lnTo>
                  <a:lnTo>
                    <a:pt x="101" y="41"/>
                  </a:lnTo>
                  <a:lnTo>
                    <a:pt x="89" y="48"/>
                  </a:lnTo>
                  <a:lnTo>
                    <a:pt x="81" y="53"/>
                  </a:lnTo>
                  <a:lnTo>
                    <a:pt x="70" y="55"/>
                  </a:lnTo>
                  <a:lnTo>
                    <a:pt x="60" y="57"/>
                  </a:lnTo>
                  <a:lnTo>
                    <a:pt x="55" y="58"/>
                  </a:lnTo>
                  <a:lnTo>
                    <a:pt x="55" y="62"/>
                  </a:lnTo>
                  <a:lnTo>
                    <a:pt x="57" y="65"/>
                  </a:lnTo>
                  <a:lnTo>
                    <a:pt x="58" y="71"/>
                  </a:lnTo>
                  <a:lnTo>
                    <a:pt x="53" y="79"/>
                  </a:lnTo>
                  <a:lnTo>
                    <a:pt x="45" y="88"/>
                  </a:lnTo>
                  <a:lnTo>
                    <a:pt x="36" y="95"/>
                  </a:lnTo>
                  <a:lnTo>
                    <a:pt x="33" y="101"/>
                  </a:lnTo>
                  <a:lnTo>
                    <a:pt x="36" y="105"/>
                  </a:lnTo>
                  <a:lnTo>
                    <a:pt x="39" y="113"/>
                  </a:lnTo>
                  <a:lnTo>
                    <a:pt x="31" y="113"/>
                  </a:lnTo>
                  <a:lnTo>
                    <a:pt x="24" y="117"/>
                  </a:lnTo>
                  <a:lnTo>
                    <a:pt x="17" y="120"/>
                  </a:lnTo>
                  <a:lnTo>
                    <a:pt x="15" y="127"/>
                  </a:lnTo>
                  <a:lnTo>
                    <a:pt x="15" y="132"/>
                  </a:lnTo>
                  <a:lnTo>
                    <a:pt x="15" y="134"/>
                  </a:lnTo>
                  <a:lnTo>
                    <a:pt x="12" y="139"/>
                  </a:lnTo>
                  <a:lnTo>
                    <a:pt x="7" y="143"/>
                  </a:lnTo>
                  <a:lnTo>
                    <a:pt x="2" y="146"/>
                  </a:lnTo>
                  <a:lnTo>
                    <a:pt x="0" y="155"/>
                  </a:lnTo>
                  <a:lnTo>
                    <a:pt x="5" y="162"/>
                  </a:lnTo>
                  <a:lnTo>
                    <a:pt x="10" y="165"/>
                  </a:lnTo>
                  <a:lnTo>
                    <a:pt x="12" y="165"/>
                  </a:lnTo>
                  <a:lnTo>
                    <a:pt x="17" y="165"/>
                  </a:lnTo>
                  <a:lnTo>
                    <a:pt x="20" y="165"/>
                  </a:lnTo>
                  <a:lnTo>
                    <a:pt x="26" y="165"/>
                  </a:lnTo>
                  <a:lnTo>
                    <a:pt x="31" y="170"/>
                  </a:lnTo>
                  <a:lnTo>
                    <a:pt x="33" y="182"/>
                  </a:lnTo>
                  <a:lnTo>
                    <a:pt x="38" y="182"/>
                  </a:lnTo>
                  <a:lnTo>
                    <a:pt x="45" y="182"/>
                  </a:lnTo>
                  <a:lnTo>
                    <a:pt x="46" y="184"/>
                  </a:lnTo>
                  <a:lnTo>
                    <a:pt x="48" y="186"/>
                  </a:lnTo>
                  <a:lnTo>
                    <a:pt x="88" y="186"/>
                  </a:lnTo>
                  <a:lnTo>
                    <a:pt x="84" y="181"/>
                  </a:lnTo>
                  <a:lnTo>
                    <a:pt x="82" y="181"/>
                  </a:lnTo>
                  <a:lnTo>
                    <a:pt x="88" y="1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6" name="Freeform 255"/>
            <p:cNvSpPr>
              <a:spLocks/>
            </p:cNvSpPr>
            <p:nvPr/>
          </p:nvSpPr>
          <p:spPr bwMode="auto">
            <a:xfrm>
              <a:off x="4102894" y="2519363"/>
              <a:ext cx="884238" cy="633412"/>
            </a:xfrm>
            <a:custGeom>
              <a:avLst/>
              <a:gdLst/>
              <a:ahLst/>
              <a:cxnLst>
                <a:cxn ang="0">
                  <a:pos x="530" y="291"/>
                </a:cxn>
                <a:cxn ang="0">
                  <a:pos x="540" y="313"/>
                </a:cxn>
                <a:cxn ang="0">
                  <a:pos x="492" y="315"/>
                </a:cxn>
                <a:cxn ang="0">
                  <a:pos x="461" y="325"/>
                </a:cxn>
                <a:cxn ang="0">
                  <a:pos x="466" y="349"/>
                </a:cxn>
                <a:cxn ang="0">
                  <a:pos x="478" y="367"/>
                </a:cxn>
                <a:cxn ang="0">
                  <a:pos x="462" y="370"/>
                </a:cxn>
                <a:cxn ang="0">
                  <a:pos x="445" y="380"/>
                </a:cxn>
                <a:cxn ang="0">
                  <a:pos x="437" y="358"/>
                </a:cxn>
                <a:cxn ang="0">
                  <a:pos x="411" y="312"/>
                </a:cxn>
                <a:cxn ang="0">
                  <a:pos x="373" y="274"/>
                </a:cxn>
                <a:cxn ang="0">
                  <a:pos x="339" y="245"/>
                </a:cxn>
                <a:cxn ang="0">
                  <a:pos x="308" y="241"/>
                </a:cxn>
                <a:cxn ang="0">
                  <a:pos x="328" y="270"/>
                </a:cxn>
                <a:cxn ang="0">
                  <a:pos x="361" y="300"/>
                </a:cxn>
                <a:cxn ang="0">
                  <a:pos x="387" y="329"/>
                </a:cxn>
                <a:cxn ang="0">
                  <a:pos x="373" y="349"/>
                </a:cxn>
                <a:cxn ang="0">
                  <a:pos x="361" y="356"/>
                </a:cxn>
                <a:cxn ang="0">
                  <a:pos x="337" y="317"/>
                </a:cxn>
                <a:cxn ang="0">
                  <a:pos x="299" y="293"/>
                </a:cxn>
                <a:cxn ang="0">
                  <a:pos x="253" y="258"/>
                </a:cxn>
                <a:cxn ang="0">
                  <a:pos x="182" y="275"/>
                </a:cxn>
                <a:cxn ang="0">
                  <a:pos x="139" y="325"/>
                </a:cxn>
                <a:cxn ang="0">
                  <a:pos x="117" y="375"/>
                </a:cxn>
                <a:cxn ang="0">
                  <a:pos x="89" y="387"/>
                </a:cxn>
                <a:cxn ang="0">
                  <a:pos x="38" y="382"/>
                </a:cxn>
                <a:cxn ang="0">
                  <a:pos x="7" y="367"/>
                </a:cxn>
                <a:cxn ang="0">
                  <a:pos x="5" y="330"/>
                </a:cxn>
                <a:cxn ang="0">
                  <a:pos x="5" y="277"/>
                </a:cxn>
                <a:cxn ang="0">
                  <a:pos x="55" y="270"/>
                </a:cxn>
                <a:cxn ang="0">
                  <a:pos x="108" y="274"/>
                </a:cxn>
                <a:cxn ang="0">
                  <a:pos x="120" y="238"/>
                </a:cxn>
                <a:cxn ang="0">
                  <a:pos x="105" y="205"/>
                </a:cxn>
                <a:cxn ang="0">
                  <a:pos x="69" y="186"/>
                </a:cxn>
                <a:cxn ang="0">
                  <a:pos x="93" y="179"/>
                </a:cxn>
                <a:cxn ang="0">
                  <a:pos x="110" y="164"/>
                </a:cxn>
                <a:cxn ang="0">
                  <a:pos x="139" y="160"/>
                </a:cxn>
                <a:cxn ang="0">
                  <a:pos x="168" y="134"/>
                </a:cxn>
                <a:cxn ang="0">
                  <a:pos x="198" y="107"/>
                </a:cxn>
                <a:cxn ang="0">
                  <a:pos x="235" y="86"/>
                </a:cxn>
                <a:cxn ang="0">
                  <a:pos x="263" y="74"/>
                </a:cxn>
                <a:cxn ang="0">
                  <a:pos x="249" y="31"/>
                </a:cxn>
                <a:cxn ang="0">
                  <a:pos x="278" y="12"/>
                </a:cxn>
                <a:cxn ang="0">
                  <a:pos x="284" y="30"/>
                </a:cxn>
                <a:cxn ang="0">
                  <a:pos x="277" y="64"/>
                </a:cxn>
                <a:cxn ang="0">
                  <a:pos x="301" y="73"/>
                </a:cxn>
                <a:cxn ang="0">
                  <a:pos x="328" y="74"/>
                </a:cxn>
                <a:cxn ang="0">
                  <a:pos x="371" y="61"/>
                </a:cxn>
                <a:cxn ang="0">
                  <a:pos x="407" y="64"/>
                </a:cxn>
                <a:cxn ang="0">
                  <a:pos x="466" y="64"/>
                </a:cxn>
                <a:cxn ang="0">
                  <a:pos x="473" y="122"/>
                </a:cxn>
                <a:cxn ang="0">
                  <a:pos x="459" y="183"/>
                </a:cxn>
                <a:cxn ang="0">
                  <a:pos x="507" y="181"/>
                </a:cxn>
                <a:cxn ang="0">
                  <a:pos x="540" y="227"/>
                </a:cxn>
                <a:cxn ang="0">
                  <a:pos x="557" y="234"/>
                </a:cxn>
              </a:cxnLst>
              <a:rect l="0" t="0" r="r" b="b"/>
              <a:pathLst>
                <a:path w="557" h="399">
                  <a:moveTo>
                    <a:pt x="547" y="248"/>
                  </a:moveTo>
                  <a:lnTo>
                    <a:pt x="545" y="253"/>
                  </a:lnTo>
                  <a:lnTo>
                    <a:pt x="543" y="255"/>
                  </a:lnTo>
                  <a:lnTo>
                    <a:pt x="543" y="269"/>
                  </a:lnTo>
                  <a:lnTo>
                    <a:pt x="535" y="277"/>
                  </a:lnTo>
                  <a:lnTo>
                    <a:pt x="530" y="291"/>
                  </a:lnTo>
                  <a:lnTo>
                    <a:pt x="531" y="296"/>
                  </a:lnTo>
                  <a:lnTo>
                    <a:pt x="536" y="303"/>
                  </a:lnTo>
                  <a:lnTo>
                    <a:pt x="542" y="306"/>
                  </a:lnTo>
                  <a:lnTo>
                    <a:pt x="547" y="312"/>
                  </a:lnTo>
                  <a:lnTo>
                    <a:pt x="543" y="312"/>
                  </a:lnTo>
                  <a:lnTo>
                    <a:pt x="540" y="313"/>
                  </a:lnTo>
                  <a:lnTo>
                    <a:pt x="533" y="313"/>
                  </a:lnTo>
                  <a:lnTo>
                    <a:pt x="528" y="315"/>
                  </a:lnTo>
                  <a:lnTo>
                    <a:pt x="519" y="320"/>
                  </a:lnTo>
                  <a:lnTo>
                    <a:pt x="512" y="325"/>
                  </a:lnTo>
                  <a:lnTo>
                    <a:pt x="502" y="320"/>
                  </a:lnTo>
                  <a:lnTo>
                    <a:pt x="492" y="315"/>
                  </a:lnTo>
                  <a:lnTo>
                    <a:pt x="481" y="317"/>
                  </a:lnTo>
                  <a:lnTo>
                    <a:pt x="475" y="322"/>
                  </a:lnTo>
                  <a:lnTo>
                    <a:pt x="475" y="327"/>
                  </a:lnTo>
                  <a:lnTo>
                    <a:pt x="475" y="332"/>
                  </a:lnTo>
                  <a:lnTo>
                    <a:pt x="466" y="329"/>
                  </a:lnTo>
                  <a:lnTo>
                    <a:pt x="461" y="325"/>
                  </a:lnTo>
                  <a:lnTo>
                    <a:pt x="457" y="327"/>
                  </a:lnTo>
                  <a:lnTo>
                    <a:pt x="456" y="330"/>
                  </a:lnTo>
                  <a:lnTo>
                    <a:pt x="466" y="343"/>
                  </a:lnTo>
                  <a:lnTo>
                    <a:pt x="464" y="344"/>
                  </a:lnTo>
                  <a:lnTo>
                    <a:pt x="464" y="348"/>
                  </a:lnTo>
                  <a:lnTo>
                    <a:pt x="466" y="349"/>
                  </a:lnTo>
                  <a:lnTo>
                    <a:pt x="471" y="355"/>
                  </a:lnTo>
                  <a:lnTo>
                    <a:pt x="476" y="358"/>
                  </a:lnTo>
                  <a:lnTo>
                    <a:pt x="481" y="361"/>
                  </a:lnTo>
                  <a:lnTo>
                    <a:pt x="481" y="363"/>
                  </a:lnTo>
                  <a:lnTo>
                    <a:pt x="483" y="367"/>
                  </a:lnTo>
                  <a:lnTo>
                    <a:pt x="478" y="367"/>
                  </a:lnTo>
                  <a:lnTo>
                    <a:pt x="475" y="370"/>
                  </a:lnTo>
                  <a:lnTo>
                    <a:pt x="475" y="370"/>
                  </a:lnTo>
                  <a:lnTo>
                    <a:pt x="464" y="365"/>
                  </a:lnTo>
                  <a:lnTo>
                    <a:pt x="461" y="361"/>
                  </a:lnTo>
                  <a:lnTo>
                    <a:pt x="461" y="367"/>
                  </a:lnTo>
                  <a:lnTo>
                    <a:pt x="462" y="370"/>
                  </a:lnTo>
                  <a:lnTo>
                    <a:pt x="464" y="375"/>
                  </a:lnTo>
                  <a:lnTo>
                    <a:pt x="461" y="380"/>
                  </a:lnTo>
                  <a:lnTo>
                    <a:pt x="464" y="387"/>
                  </a:lnTo>
                  <a:lnTo>
                    <a:pt x="459" y="387"/>
                  </a:lnTo>
                  <a:lnTo>
                    <a:pt x="456" y="387"/>
                  </a:lnTo>
                  <a:lnTo>
                    <a:pt x="445" y="380"/>
                  </a:lnTo>
                  <a:lnTo>
                    <a:pt x="442" y="370"/>
                  </a:lnTo>
                  <a:lnTo>
                    <a:pt x="444" y="365"/>
                  </a:lnTo>
                  <a:lnTo>
                    <a:pt x="447" y="361"/>
                  </a:lnTo>
                  <a:lnTo>
                    <a:pt x="442" y="361"/>
                  </a:lnTo>
                  <a:lnTo>
                    <a:pt x="438" y="361"/>
                  </a:lnTo>
                  <a:lnTo>
                    <a:pt x="437" y="358"/>
                  </a:lnTo>
                  <a:lnTo>
                    <a:pt x="437" y="356"/>
                  </a:lnTo>
                  <a:lnTo>
                    <a:pt x="430" y="346"/>
                  </a:lnTo>
                  <a:lnTo>
                    <a:pt x="425" y="341"/>
                  </a:lnTo>
                  <a:lnTo>
                    <a:pt x="414" y="330"/>
                  </a:lnTo>
                  <a:lnTo>
                    <a:pt x="411" y="318"/>
                  </a:lnTo>
                  <a:lnTo>
                    <a:pt x="411" y="312"/>
                  </a:lnTo>
                  <a:lnTo>
                    <a:pt x="411" y="306"/>
                  </a:lnTo>
                  <a:lnTo>
                    <a:pt x="404" y="293"/>
                  </a:lnTo>
                  <a:lnTo>
                    <a:pt x="394" y="284"/>
                  </a:lnTo>
                  <a:lnTo>
                    <a:pt x="382" y="279"/>
                  </a:lnTo>
                  <a:lnTo>
                    <a:pt x="378" y="274"/>
                  </a:lnTo>
                  <a:lnTo>
                    <a:pt x="373" y="274"/>
                  </a:lnTo>
                  <a:lnTo>
                    <a:pt x="371" y="274"/>
                  </a:lnTo>
                  <a:lnTo>
                    <a:pt x="361" y="270"/>
                  </a:lnTo>
                  <a:lnTo>
                    <a:pt x="354" y="263"/>
                  </a:lnTo>
                  <a:lnTo>
                    <a:pt x="347" y="253"/>
                  </a:lnTo>
                  <a:lnTo>
                    <a:pt x="347" y="245"/>
                  </a:lnTo>
                  <a:lnTo>
                    <a:pt x="339" y="245"/>
                  </a:lnTo>
                  <a:lnTo>
                    <a:pt x="332" y="245"/>
                  </a:lnTo>
                  <a:lnTo>
                    <a:pt x="327" y="238"/>
                  </a:lnTo>
                  <a:lnTo>
                    <a:pt x="325" y="231"/>
                  </a:lnTo>
                  <a:lnTo>
                    <a:pt x="313" y="234"/>
                  </a:lnTo>
                  <a:lnTo>
                    <a:pt x="308" y="239"/>
                  </a:lnTo>
                  <a:lnTo>
                    <a:pt x="308" y="241"/>
                  </a:lnTo>
                  <a:lnTo>
                    <a:pt x="311" y="243"/>
                  </a:lnTo>
                  <a:lnTo>
                    <a:pt x="309" y="246"/>
                  </a:lnTo>
                  <a:lnTo>
                    <a:pt x="309" y="251"/>
                  </a:lnTo>
                  <a:lnTo>
                    <a:pt x="311" y="260"/>
                  </a:lnTo>
                  <a:lnTo>
                    <a:pt x="320" y="265"/>
                  </a:lnTo>
                  <a:lnTo>
                    <a:pt x="328" y="270"/>
                  </a:lnTo>
                  <a:lnTo>
                    <a:pt x="332" y="281"/>
                  </a:lnTo>
                  <a:lnTo>
                    <a:pt x="337" y="291"/>
                  </a:lnTo>
                  <a:lnTo>
                    <a:pt x="342" y="298"/>
                  </a:lnTo>
                  <a:lnTo>
                    <a:pt x="352" y="300"/>
                  </a:lnTo>
                  <a:lnTo>
                    <a:pt x="363" y="300"/>
                  </a:lnTo>
                  <a:lnTo>
                    <a:pt x="361" y="300"/>
                  </a:lnTo>
                  <a:lnTo>
                    <a:pt x="361" y="303"/>
                  </a:lnTo>
                  <a:lnTo>
                    <a:pt x="364" y="308"/>
                  </a:lnTo>
                  <a:lnTo>
                    <a:pt x="375" y="313"/>
                  </a:lnTo>
                  <a:lnTo>
                    <a:pt x="389" y="320"/>
                  </a:lnTo>
                  <a:lnTo>
                    <a:pt x="395" y="332"/>
                  </a:lnTo>
                  <a:lnTo>
                    <a:pt x="387" y="329"/>
                  </a:lnTo>
                  <a:lnTo>
                    <a:pt x="380" y="325"/>
                  </a:lnTo>
                  <a:lnTo>
                    <a:pt x="371" y="327"/>
                  </a:lnTo>
                  <a:lnTo>
                    <a:pt x="368" y="334"/>
                  </a:lnTo>
                  <a:lnTo>
                    <a:pt x="371" y="339"/>
                  </a:lnTo>
                  <a:lnTo>
                    <a:pt x="376" y="348"/>
                  </a:lnTo>
                  <a:lnTo>
                    <a:pt x="373" y="349"/>
                  </a:lnTo>
                  <a:lnTo>
                    <a:pt x="371" y="351"/>
                  </a:lnTo>
                  <a:lnTo>
                    <a:pt x="366" y="360"/>
                  </a:lnTo>
                  <a:lnTo>
                    <a:pt x="359" y="367"/>
                  </a:lnTo>
                  <a:lnTo>
                    <a:pt x="354" y="365"/>
                  </a:lnTo>
                  <a:lnTo>
                    <a:pt x="354" y="361"/>
                  </a:lnTo>
                  <a:lnTo>
                    <a:pt x="361" y="356"/>
                  </a:lnTo>
                  <a:lnTo>
                    <a:pt x="363" y="349"/>
                  </a:lnTo>
                  <a:lnTo>
                    <a:pt x="359" y="339"/>
                  </a:lnTo>
                  <a:lnTo>
                    <a:pt x="358" y="334"/>
                  </a:lnTo>
                  <a:lnTo>
                    <a:pt x="349" y="327"/>
                  </a:lnTo>
                  <a:lnTo>
                    <a:pt x="344" y="318"/>
                  </a:lnTo>
                  <a:lnTo>
                    <a:pt x="337" y="317"/>
                  </a:lnTo>
                  <a:lnTo>
                    <a:pt x="333" y="313"/>
                  </a:lnTo>
                  <a:lnTo>
                    <a:pt x="321" y="310"/>
                  </a:lnTo>
                  <a:lnTo>
                    <a:pt x="316" y="306"/>
                  </a:lnTo>
                  <a:lnTo>
                    <a:pt x="311" y="301"/>
                  </a:lnTo>
                  <a:lnTo>
                    <a:pt x="306" y="298"/>
                  </a:lnTo>
                  <a:lnTo>
                    <a:pt x="299" y="293"/>
                  </a:lnTo>
                  <a:lnTo>
                    <a:pt x="294" y="288"/>
                  </a:lnTo>
                  <a:lnTo>
                    <a:pt x="287" y="277"/>
                  </a:lnTo>
                  <a:lnTo>
                    <a:pt x="282" y="267"/>
                  </a:lnTo>
                  <a:lnTo>
                    <a:pt x="273" y="258"/>
                  </a:lnTo>
                  <a:lnTo>
                    <a:pt x="263" y="257"/>
                  </a:lnTo>
                  <a:lnTo>
                    <a:pt x="253" y="258"/>
                  </a:lnTo>
                  <a:lnTo>
                    <a:pt x="249" y="265"/>
                  </a:lnTo>
                  <a:lnTo>
                    <a:pt x="235" y="272"/>
                  </a:lnTo>
                  <a:lnTo>
                    <a:pt x="222" y="279"/>
                  </a:lnTo>
                  <a:lnTo>
                    <a:pt x="206" y="275"/>
                  </a:lnTo>
                  <a:lnTo>
                    <a:pt x="192" y="272"/>
                  </a:lnTo>
                  <a:lnTo>
                    <a:pt x="182" y="275"/>
                  </a:lnTo>
                  <a:lnTo>
                    <a:pt x="177" y="286"/>
                  </a:lnTo>
                  <a:lnTo>
                    <a:pt x="180" y="296"/>
                  </a:lnTo>
                  <a:lnTo>
                    <a:pt x="170" y="306"/>
                  </a:lnTo>
                  <a:lnTo>
                    <a:pt x="155" y="313"/>
                  </a:lnTo>
                  <a:lnTo>
                    <a:pt x="146" y="317"/>
                  </a:lnTo>
                  <a:lnTo>
                    <a:pt x="139" y="325"/>
                  </a:lnTo>
                  <a:lnTo>
                    <a:pt x="132" y="336"/>
                  </a:lnTo>
                  <a:lnTo>
                    <a:pt x="131" y="346"/>
                  </a:lnTo>
                  <a:lnTo>
                    <a:pt x="132" y="351"/>
                  </a:lnTo>
                  <a:lnTo>
                    <a:pt x="136" y="353"/>
                  </a:lnTo>
                  <a:lnTo>
                    <a:pt x="127" y="365"/>
                  </a:lnTo>
                  <a:lnTo>
                    <a:pt x="117" y="375"/>
                  </a:lnTo>
                  <a:lnTo>
                    <a:pt x="112" y="377"/>
                  </a:lnTo>
                  <a:lnTo>
                    <a:pt x="108" y="382"/>
                  </a:lnTo>
                  <a:lnTo>
                    <a:pt x="103" y="386"/>
                  </a:lnTo>
                  <a:lnTo>
                    <a:pt x="98" y="387"/>
                  </a:lnTo>
                  <a:lnTo>
                    <a:pt x="98" y="387"/>
                  </a:lnTo>
                  <a:lnTo>
                    <a:pt x="89" y="387"/>
                  </a:lnTo>
                  <a:lnTo>
                    <a:pt x="82" y="389"/>
                  </a:lnTo>
                  <a:lnTo>
                    <a:pt x="67" y="394"/>
                  </a:lnTo>
                  <a:lnTo>
                    <a:pt x="53" y="399"/>
                  </a:lnTo>
                  <a:lnTo>
                    <a:pt x="48" y="396"/>
                  </a:lnTo>
                  <a:lnTo>
                    <a:pt x="45" y="389"/>
                  </a:lnTo>
                  <a:lnTo>
                    <a:pt x="38" y="382"/>
                  </a:lnTo>
                  <a:lnTo>
                    <a:pt x="33" y="380"/>
                  </a:lnTo>
                  <a:lnTo>
                    <a:pt x="20" y="382"/>
                  </a:lnTo>
                  <a:lnTo>
                    <a:pt x="12" y="384"/>
                  </a:lnTo>
                  <a:lnTo>
                    <a:pt x="7" y="380"/>
                  </a:lnTo>
                  <a:lnTo>
                    <a:pt x="7" y="379"/>
                  </a:lnTo>
                  <a:lnTo>
                    <a:pt x="7" y="367"/>
                  </a:lnTo>
                  <a:lnTo>
                    <a:pt x="7" y="360"/>
                  </a:lnTo>
                  <a:lnTo>
                    <a:pt x="2" y="356"/>
                  </a:lnTo>
                  <a:lnTo>
                    <a:pt x="0" y="353"/>
                  </a:lnTo>
                  <a:lnTo>
                    <a:pt x="2" y="344"/>
                  </a:lnTo>
                  <a:lnTo>
                    <a:pt x="5" y="341"/>
                  </a:lnTo>
                  <a:lnTo>
                    <a:pt x="5" y="330"/>
                  </a:lnTo>
                  <a:lnTo>
                    <a:pt x="7" y="320"/>
                  </a:lnTo>
                  <a:lnTo>
                    <a:pt x="8" y="310"/>
                  </a:lnTo>
                  <a:lnTo>
                    <a:pt x="10" y="301"/>
                  </a:lnTo>
                  <a:lnTo>
                    <a:pt x="7" y="291"/>
                  </a:lnTo>
                  <a:lnTo>
                    <a:pt x="3" y="282"/>
                  </a:lnTo>
                  <a:lnTo>
                    <a:pt x="5" y="277"/>
                  </a:lnTo>
                  <a:lnTo>
                    <a:pt x="12" y="274"/>
                  </a:lnTo>
                  <a:lnTo>
                    <a:pt x="19" y="269"/>
                  </a:lnTo>
                  <a:lnTo>
                    <a:pt x="24" y="269"/>
                  </a:lnTo>
                  <a:lnTo>
                    <a:pt x="27" y="269"/>
                  </a:lnTo>
                  <a:lnTo>
                    <a:pt x="33" y="270"/>
                  </a:lnTo>
                  <a:lnTo>
                    <a:pt x="55" y="270"/>
                  </a:lnTo>
                  <a:lnTo>
                    <a:pt x="58" y="272"/>
                  </a:lnTo>
                  <a:lnTo>
                    <a:pt x="63" y="274"/>
                  </a:lnTo>
                  <a:lnTo>
                    <a:pt x="88" y="274"/>
                  </a:lnTo>
                  <a:lnTo>
                    <a:pt x="94" y="274"/>
                  </a:lnTo>
                  <a:lnTo>
                    <a:pt x="101" y="275"/>
                  </a:lnTo>
                  <a:lnTo>
                    <a:pt x="108" y="274"/>
                  </a:lnTo>
                  <a:lnTo>
                    <a:pt x="115" y="274"/>
                  </a:lnTo>
                  <a:lnTo>
                    <a:pt x="119" y="262"/>
                  </a:lnTo>
                  <a:lnTo>
                    <a:pt x="122" y="250"/>
                  </a:lnTo>
                  <a:lnTo>
                    <a:pt x="120" y="243"/>
                  </a:lnTo>
                  <a:lnTo>
                    <a:pt x="120" y="236"/>
                  </a:lnTo>
                  <a:lnTo>
                    <a:pt x="120" y="238"/>
                  </a:lnTo>
                  <a:lnTo>
                    <a:pt x="120" y="232"/>
                  </a:lnTo>
                  <a:lnTo>
                    <a:pt x="122" y="229"/>
                  </a:lnTo>
                  <a:lnTo>
                    <a:pt x="120" y="226"/>
                  </a:lnTo>
                  <a:lnTo>
                    <a:pt x="119" y="222"/>
                  </a:lnTo>
                  <a:lnTo>
                    <a:pt x="106" y="215"/>
                  </a:lnTo>
                  <a:lnTo>
                    <a:pt x="105" y="205"/>
                  </a:lnTo>
                  <a:lnTo>
                    <a:pt x="101" y="202"/>
                  </a:lnTo>
                  <a:lnTo>
                    <a:pt x="100" y="202"/>
                  </a:lnTo>
                  <a:lnTo>
                    <a:pt x="89" y="198"/>
                  </a:lnTo>
                  <a:lnTo>
                    <a:pt x="81" y="195"/>
                  </a:lnTo>
                  <a:lnTo>
                    <a:pt x="72" y="189"/>
                  </a:lnTo>
                  <a:lnTo>
                    <a:pt x="69" y="186"/>
                  </a:lnTo>
                  <a:lnTo>
                    <a:pt x="69" y="184"/>
                  </a:lnTo>
                  <a:lnTo>
                    <a:pt x="70" y="181"/>
                  </a:lnTo>
                  <a:lnTo>
                    <a:pt x="76" y="179"/>
                  </a:lnTo>
                  <a:lnTo>
                    <a:pt x="81" y="176"/>
                  </a:lnTo>
                  <a:lnTo>
                    <a:pt x="88" y="176"/>
                  </a:lnTo>
                  <a:lnTo>
                    <a:pt x="93" y="179"/>
                  </a:lnTo>
                  <a:lnTo>
                    <a:pt x="101" y="181"/>
                  </a:lnTo>
                  <a:lnTo>
                    <a:pt x="106" y="179"/>
                  </a:lnTo>
                  <a:lnTo>
                    <a:pt x="113" y="177"/>
                  </a:lnTo>
                  <a:lnTo>
                    <a:pt x="113" y="174"/>
                  </a:lnTo>
                  <a:lnTo>
                    <a:pt x="110" y="169"/>
                  </a:lnTo>
                  <a:lnTo>
                    <a:pt x="110" y="164"/>
                  </a:lnTo>
                  <a:lnTo>
                    <a:pt x="110" y="160"/>
                  </a:lnTo>
                  <a:lnTo>
                    <a:pt x="115" y="160"/>
                  </a:lnTo>
                  <a:lnTo>
                    <a:pt x="122" y="164"/>
                  </a:lnTo>
                  <a:lnTo>
                    <a:pt x="131" y="167"/>
                  </a:lnTo>
                  <a:lnTo>
                    <a:pt x="136" y="164"/>
                  </a:lnTo>
                  <a:lnTo>
                    <a:pt x="139" y="160"/>
                  </a:lnTo>
                  <a:lnTo>
                    <a:pt x="148" y="157"/>
                  </a:lnTo>
                  <a:lnTo>
                    <a:pt x="155" y="152"/>
                  </a:lnTo>
                  <a:lnTo>
                    <a:pt x="158" y="143"/>
                  </a:lnTo>
                  <a:lnTo>
                    <a:pt x="162" y="136"/>
                  </a:lnTo>
                  <a:lnTo>
                    <a:pt x="165" y="134"/>
                  </a:lnTo>
                  <a:lnTo>
                    <a:pt x="168" y="134"/>
                  </a:lnTo>
                  <a:lnTo>
                    <a:pt x="172" y="131"/>
                  </a:lnTo>
                  <a:lnTo>
                    <a:pt x="180" y="129"/>
                  </a:lnTo>
                  <a:lnTo>
                    <a:pt x="189" y="126"/>
                  </a:lnTo>
                  <a:lnTo>
                    <a:pt x="194" y="124"/>
                  </a:lnTo>
                  <a:lnTo>
                    <a:pt x="196" y="116"/>
                  </a:lnTo>
                  <a:lnTo>
                    <a:pt x="198" y="107"/>
                  </a:lnTo>
                  <a:lnTo>
                    <a:pt x="199" y="104"/>
                  </a:lnTo>
                  <a:lnTo>
                    <a:pt x="201" y="102"/>
                  </a:lnTo>
                  <a:lnTo>
                    <a:pt x="211" y="91"/>
                  </a:lnTo>
                  <a:lnTo>
                    <a:pt x="229" y="86"/>
                  </a:lnTo>
                  <a:lnTo>
                    <a:pt x="232" y="86"/>
                  </a:lnTo>
                  <a:lnTo>
                    <a:pt x="235" y="86"/>
                  </a:lnTo>
                  <a:lnTo>
                    <a:pt x="235" y="85"/>
                  </a:lnTo>
                  <a:lnTo>
                    <a:pt x="239" y="83"/>
                  </a:lnTo>
                  <a:lnTo>
                    <a:pt x="244" y="81"/>
                  </a:lnTo>
                  <a:lnTo>
                    <a:pt x="251" y="83"/>
                  </a:lnTo>
                  <a:lnTo>
                    <a:pt x="258" y="79"/>
                  </a:lnTo>
                  <a:lnTo>
                    <a:pt x="263" y="74"/>
                  </a:lnTo>
                  <a:lnTo>
                    <a:pt x="261" y="67"/>
                  </a:lnTo>
                  <a:lnTo>
                    <a:pt x="260" y="62"/>
                  </a:lnTo>
                  <a:lnTo>
                    <a:pt x="256" y="52"/>
                  </a:lnTo>
                  <a:lnTo>
                    <a:pt x="253" y="45"/>
                  </a:lnTo>
                  <a:lnTo>
                    <a:pt x="249" y="38"/>
                  </a:lnTo>
                  <a:lnTo>
                    <a:pt x="249" y="31"/>
                  </a:lnTo>
                  <a:lnTo>
                    <a:pt x="251" y="18"/>
                  </a:lnTo>
                  <a:lnTo>
                    <a:pt x="260" y="11"/>
                  </a:lnTo>
                  <a:lnTo>
                    <a:pt x="270" y="6"/>
                  </a:lnTo>
                  <a:lnTo>
                    <a:pt x="282" y="0"/>
                  </a:lnTo>
                  <a:lnTo>
                    <a:pt x="282" y="6"/>
                  </a:lnTo>
                  <a:lnTo>
                    <a:pt x="278" y="12"/>
                  </a:lnTo>
                  <a:lnTo>
                    <a:pt x="278" y="19"/>
                  </a:lnTo>
                  <a:lnTo>
                    <a:pt x="280" y="23"/>
                  </a:lnTo>
                  <a:lnTo>
                    <a:pt x="287" y="24"/>
                  </a:lnTo>
                  <a:lnTo>
                    <a:pt x="287" y="26"/>
                  </a:lnTo>
                  <a:lnTo>
                    <a:pt x="287" y="28"/>
                  </a:lnTo>
                  <a:lnTo>
                    <a:pt x="284" y="30"/>
                  </a:lnTo>
                  <a:lnTo>
                    <a:pt x="282" y="33"/>
                  </a:lnTo>
                  <a:lnTo>
                    <a:pt x="273" y="40"/>
                  </a:lnTo>
                  <a:lnTo>
                    <a:pt x="270" y="52"/>
                  </a:lnTo>
                  <a:lnTo>
                    <a:pt x="272" y="57"/>
                  </a:lnTo>
                  <a:lnTo>
                    <a:pt x="277" y="62"/>
                  </a:lnTo>
                  <a:lnTo>
                    <a:pt x="277" y="64"/>
                  </a:lnTo>
                  <a:lnTo>
                    <a:pt x="277" y="67"/>
                  </a:lnTo>
                  <a:lnTo>
                    <a:pt x="282" y="67"/>
                  </a:lnTo>
                  <a:lnTo>
                    <a:pt x="289" y="69"/>
                  </a:lnTo>
                  <a:lnTo>
                    <a:pt x="289" y="73"/>
                  </a:lnTo>
                  <a:lnTo>
                    <a:pt x="292" y="76"/>
                  </a:lnTo>
                  <a:lnTo>
                    <a:pt x="301" y="73"/>
                  </a:lnTo>
                  <a:lnTo>
                    <a:pt x="309" y="69"/>
                  </a:lnTo>
                  <a:lnTo>
                    <a:pt x="316" y="66"/>
                  </a:lnTo>
                  <a:lnTo>
                    <a:pt x="327" y="66"/>
                  </a:lnTo>
                  <a:lnTo>
                    <a:pt x="325" y="67"/>
                  </a:lnTo>
                  <a:lnTo>
                    <a:pt x="325" y="71"/>
                  </a:lnTo>
                  <a:lnTo>
                    <a:pt x="328" y="74"/>
                  </a:lnTo>
                  <a:lnTo>
                    <a:pt x="332" y="78"/>
                  </a:lnTo>
                  <a:lnTo>
                    <a:pt x="337" y="74"/>
                  </a:lnTo>
                  <a:lnTo>
                    <a:pt x="342" y="73"/>
                  </a:lnTo>
                  <a:lnTo>
                    <a:pt x="352" y="69"/>
                  </a:lnTo>
                  <a:lnTo>
                    <a:pt x="364" y="67"/>
                  </a:lnTo>
                  <a:lnTo>
                    <a:pt x="371" y="61"/>
                  </a:lnTo>
                  <a:lnTo>
                    <a:pt x="383" y="57"/>
                  </a:lnTo>
                  <a:lnTo>
                    <a:pt x="392" y="57"/>
                  </a:lnTo>
                  <a:lnTo>
                    <a:pt x="401" y="59"/>
                  </a:lnTo>
                  <a:lnTo>
                    <a:pt x="399" y="62"/>
                  </a:lnTo>
                  <a:lnTo>
                    <a:pt x="399" y="66"/>
                  </a:lnTo>
                  <a:lnTo>
                    <a:pt x="407" y="64"/>
                  </a:lnTo>
                  <a:lnTo>
                    <a:pt x="416" y="64"/>
                  </a:lnTo>
                  <a:lnTo>
                    <a:pt x="425" y="62"/>
                  </a:lnTo>
                  <a:lnTo>
                    <a:pt x="435" y="62"/>
                  </a:lnTo>
                  <a:lnTo>
                    <a:pt x="447" y="62"/>
                  </a:lnTo>
                  <a:lnTo>
                    <a:pt x="461" y="62"/>
                  </a:lnTo>
                  <a:lnTo>
                    <a:pt x="466" y="64"/>
                  </a:lnTo>
                  <a:lnTo>
                    <a:pt x="471" y="73"/>
                  </a:lnTo>
                  <a:lnTo>
                    <a:pt x="475" y="81"/>
                  </a:lnTo>
                  <a:lnTo>
                    <a:pt x="476" y="91"/>
                  </a:lnTo>
                  <a:lnTo>
                    <a:pt x="473" y="100"/>
                  </a:lnTo>
                  <a:lnTo>
                    <a:pt x="469" y="109"/>
                  </a:lnTo>
                  <a:lnTo>
                    <a:pt x="473" y="122"/>
                  </a:lnTo>
                  <a:lnTo>
                    <a:pt x="478" y="136"/>
                  </a:lnTo>
                  <a:lnTo>
                    <a:pt x="473" y="141"/>
                  </a:lnTo>
                  <a:lnTo>
                    <a:pt x="468" y="147"/>
                  </a:lnTo>
                  <a:lnTo>
                    <a:pt x="461" y="159"/>
                  </a:lnTo>
                  <a:lnTo>
                    <a:pt x="459" y="176"/>
                  </a:lnTo>
                  <a:lnTo>
                    <a:pt x="459" y="183"/>
                  </a:lnTo>
                  <a:lnTo>
                    <a:pt x="464" y="186"/>
                  </a:lnTo>
                  <a:lnTo>
                    <a:pt x="471" y="186"/>
                  </a:lnTo>
                  <a:lnTo>
                    <a:pt x="481" y="188"/>
                  </a:lnTo>
                  <a:lnTo>
                    <a:pt x="490" y="186"/>
                  </a:lnTo>
                  <a:lnTo>
                    <a:pt x="500" y="184"/>
                  </a:lnTo>
                  <a:lnTo>
                    <a:pt x="507" y="181"/>
                  </a:lnTo>
                  <a:lnTo>
                    <a:pt x="518" y="181"/>
                  </a:lnTo>
                  <a:lnTo>
                    <a:pt x="524" y="184"/>
                  </a:lnTo>
                  <a:lnTo>
                    <a:pt x="528" y="193"/>
                  </a:lnTo>
                  <a:lnTo>
                    <a:pt x="531" y="202"/>
                  </a:lnTo>
                  <a:lnTo>
                    <a:pt x="540" y="207"/>
                  </a:lnTo>
                  <a:lnTo>
                    <a:pt x="540" y="227"/>
                  </a:lnTo>
                  <a:lnTo>
                    <a:pt x="540" y="229"/>
                  </a:lnTo>
                  <a:lnTo>
                    <a:pt x="543" y="231"/>
                  </a:lnTo>
                  <a:lnTo>
                    <a:pt x="545" y="234"/>
                  </a:lnTo>
                  <a:lnTo>
                    <a:pt x="550" y="232"/>
                  </a:lnTo>
                  <a:lnTo>
                    <a:pt x="557" y="231"/>
                  </a:lnTo>
                  <a:lnTo>
                    <a:pt x="557" y="234"/>
                  </a:lnTo>
                  <a:lnTo>
                    <a:pt x="557" y="239"/>
                  </a:lnTo>
                  <a:lnTo>
                    <a:pt x="550" y="241"/>
                  </a:lnTo>
                  <a:lnTo>
                    <a:pt x="547" y="2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7" name="Freeform 256"/>
            <p:cNvSpPr>
              <a:spLocks/>
            </p:cNvSpPr>
            <p:nvPr/>
          </p:nvSpPr>
          <p:spPr bwMode="auto">
            <a:xfrm>
              <a:off x="4429919" y="2020888"/>
              <a:ext cx="598488" cy="574675"/>
            </a:xfrm>
            <a:custGeom>
              <a:avLst/>
              <a:gdLst/>
              <a:ahLst/>
              <a:cxnLst>
                <a:cxn ang="0">
                  <a:pos x="66" y="278"/>
                </a:cxn>
                <a:cxn ang="0">
                  <a:pos x="23" y="299"/>
                </a:cxn>
                <a:cxn ang="0">
                  <a:pos x="9" y="283"/>
                </a:cxn>
                <a:cxn ang="0">
                  <a:pos x="2" y="277"/>
                </a:cxn>
                <a:cxn ang="0">
                  <a:pos x="2" y="246"/>
                </a:cxn>
                <a:cxn ang="0">
                  <a:pos x="12" y="215"/>
                </a:cxn>
                <a:cxn ang="0">
                  <a:pos x="45" y="187"/>
                </a:cxn>
                <a:cxn ang="0">
                  <a:pos x="52" y="180"/>
                </a:cxn>
                <a:cxn ang="0">
                  <a:pos x="98" y="146"/>
                </a:cxn>
                <a:cxn ang="0">
                  <a:pos x="107" y="125"/>
                </a:cxn>
                <a:cxn ang="0">
                  <a:pos x="136" y="93"/>
                </a:cxn>
                <a:cxn ang="0">
                  <a:pos x="164" y="60"/>
                </a:cxn>
                <a:cxn ang="0">
                  <a:pos x="145" y="62"/>
                </a:cxn>
                <a:cxn ang="0">
                  <a:pos x="145" y="53"/>
                </a:cxn>
                <a:cxn ang="0">
                  <a:pos x="153" y="51"/>
                </a:cxn>
                <a:cxn ang="0">
                  <a:pos x="176" y="55"/>
                </a:cxn>
                <a:cxn ang="0">
                  <a:pos x="176" y="41"/>
                </a:cxn>
                <a:cxn ang="0">
                  <a:pos x="191" y="36"/>
                </a:cxn>
                <a:cxn ang="0">
                  <a:pos x="212" y="36"/>
                </a:cxn>
                <a:cxn ang="0">
                  <a:pos x="241" y="19"/>
                </a:cxn>
                <a:cxn ang="0">
                  <a:pos x="251" y="5"/>
                </a:cxn>
                <a:cxn ang="0">
                  <a:pos x="274" y="7"/>
                </a:cxn>
                <a:cxn ang="0">
                  <a:pos x="289" y="10"/>
                </a:cxn>
                <a:cxn ang="0">
                  <a:pos x="306" y="8"/>
                </a:cxn>
                <a:cxn ang="0">
                  <a:pos x="329" y="7"/>
                </a:cxn>
                <a:cxn ang="0">
                  <a:pos x="349" y="7"/>
                </a:cxn>
                <a:cxn ang="0">
                  <a:pos x="344" y="27"/>
                </a:cxn>
                <a:cxn ang="0">
                  <a:pos x="355" y="38"/>
                </a:cxn>
                <a:cxn ang="0">
                  <a:pos x="339" y="63"/>
                </a:cxn>
                <a:cxn ang="0">
                  <a:pos x="351" y="89"/>
                </a:cxn>
                <a:cxn ang="0">
                  <a:pos x="353" y="132"/>
                </a:cxn>
                <a:cxn ang="0">
                  <a:pos x="363" y="160"/>
                </a:cxn>
                <a:cxn ang="0">
                  <a:pos x="370" y="182"/>
                </a:cxn>
                <a:cxn ang="0">
                  <a:pos x="342" y="232"/>
                </a:cxn>
                <a:cxn ang="0">
                  <a:pos x="301" y="252"/>
                </a:cxn>
                <a:cxn ang="0">
                  <a:pos x="255" y="261"/>
                </a:cxn>
                <a:cxn ang="0">
                  <a:pos x="232" y="230"/>
                </a:cxn>
                <a:cxn ang="0">
                  <a:pos x="227" y="203"/>
                </a:cxn>
                <a:cxn ang="0">
                  <a:pos x="263" y="168"/>
                </a:cxn>
                <a:cxn ang="0">
                  <a:pos x="289" y="137"/>
                </a:cxn>
                <a:cxn ang="0">
                  <a:pos x="250" y="132"/>
                </a:cxn>
                <a:cxn ang="0">
                  <a:pos x="232" y="158"/>
                </a:cxn>
                <a:cxn ang="0">
                  <a:pos x="207" y="184"/>
                </a:cxn>
                <a:cxn ang="0">
                  <a:pos x="174" y="218"/>
                </a:cxn>
                <a:cxn ang="0">
                  <a:pos x="174" y="247"/>
                </a:cxn>
                <a:cxn ang="0">
                  <a:pos x="196" y="266"/>
                </a:cxn>
                <a:cxn ang="0">
                  <a:pos x="176" y="287"/>
                </a:cxn>
                <a:cxn ang="0">
                  <a:pos x="162" y="313"/>
                </a:cxn>
                <a:cxn ang="0">
                  <a:pos x="160" y="335"/>
                </a:cxn>
                <a:cxn ang="0">
                  <a:pos x="140" y="345"/>
                </a:cxn>
                <a:cxn ang="0">
                  <a:pos x="115" y="362"/>
                </a:cxn>
                <a:cxn ang="0">
                  <a:pos x="105" y="338"/>
                </a:cxn>
                <a:cxn ang="0">
                  <a:pos x="95" y="306"/>
                </a:cxn>
                <a:cxn ang="0">
                  <a:pos x="88" y="278"/>
                </a:cxn>
              </a:cxnLst>
              <a:rect l="0" t="0" r="r" b="b"/>
              <a:pathLst>
                <a:path w="377" h="362">
                  <a:moveTo>
                    <a:pt x="88" y="280"/>
                  </a:moveTo>
                  <a:lnTo>
                    <a:pt x="81" y="275"/>
                  </a:lnTo>
                  <a:lnTo>
                    <a:pt x="78" y="268"/>
                  </a:lnTo>
                  <a:lnTo>
                    <a:pt x="66" y="278"/>
                  </a:lnTo>
                  <a:lnTo>
                    <a:pt x="55" y="290"/>
                  </a:lnTo>
                  <a:lnTo>
                    <a:pt x="43" y="299"/>
                  </a:lnTo>
                  <a:lnTo>
                    <a:pt x="29" y="302"/>
                  </a:lnTo>
                  <a:lnTo>
                    <a:pt x="23" y="299"/>
                  </a:lnTo>
                  <a:lnTo>
                    <a:pt x="16" y="295"/>
                  </a:lnTo>
                  <a:lnTo>
                    <a:pt x="7" y="290"/>
                  </a:lnTo>
                  <a:lnTo>
                    <a:pt x="5" y="289"/>
                  </a:lnTo>
                  <a:lnTo>
                    <a:pt x="9" y="283"/>
                  </a:lnTo>
                  <a:lnTo>
                    <a:pt x="14" y="280"/>
                  </a:lnTo>
                  <a:lnTo>
                    <a:pt x="14" y="273"/>
                  </a:lnTo>
                  <a:lnTo>
                    <a:pt x="7" y="273"/>
                  </a:lnTo>
                  <a:lnTo>
                    <a:pt x="2" y="277"/>
                  </a:lnTo>
                  <a:lnTo>
                    <a:pt x="4" y="270"/>
                  </a:lnTo>
                  <a:lnTo>
                    <a:pt x="9" y="263"/>
                  </a:lnTo>
                  <a:lnTo>
                    <a:pt x="4" y="254"/>
                  </a:lnTo>
                  <a:lnTo>
                    <a:pt x="2" y="246"/>
                  </a:lnTo>
                  <a:lnTo>
                    <a:pt x="0" y="235"/>
                  </a:lnTo>
                  <a:lnTo>
                    <a:pt x="0" y="227"/>
                  </a:lnTo>
                  <a:lnTo>
                    <a:pt x="4" y="218"/>
                  </a:lnTo>
                  <a:lnTo>
                    <a:pt x="12" y="215"/>
                  </a:lnTo>
                  <a:lnTo>
                    <a:pt x="21" y="203"/>
                  </a:lnTo>
                  <a:lnTo>
                    <a:pt x="35" y="197"/>
                  </a:lnTo>
                  <a:lnTo>
                    <a:pt x="40" y="192"/>
                  </a:lnTo>
                  <a:lnTo>
                    <a:pt x="45" y="187"/>
                  </a:lnTo>
                  <a:lnTo>
                    <a:pt x="52" y="184"/>
                  </a:lnTo>
                  <a:lnTo>
                    <a:pt x="64" y="184"/>
                  </a:lnTo>
                  <a:lnTo>
                    <a:pt x="57" y="182"/>
                  </a:lnTo>
                  <a:lnTo>
                    <a:pt x="52" y="180"/>
                  </a:lnTo>
                  <a:lnTo>
                    <a:pt x="66" y="173"/>
                  </a:lnTo>
                  <a:lnTo>
                    <a:pt x="78" y="165"/>
                  </a:lnTo>
                  <a:lnTo>
                    <a:pt x="86" y="154"/>
                  </a:lnTo>
                  <a:lnTo>
                    <a:pt x="98" y="146"/>
                  </a:lnTo>
                  <a:lnTo>
                    <a:pt x="100" y="139"/>
                  </a:lnTo>
                  <a:lnTo>
                    <a:pt x="103" y="132"/>
                  </a:lnTo>
                  <a:lnTo>
                    <a:pt x="103" y="127"/>
                  </a:lnTo>
                  <a:lnTo>
                    <a:pt x="107" y="125"/>
                  </a:lnTo>
                  <a:lnTo>
                    <a:pt x="109" y="118"/>
                  </a:lnTo>
                  <a:lnTo>
                    <a:pt x="112" y="113"/>
                  </a:lnTo>
                  <a:lnTo>
                    <a:pt x="122" y="99"/>
                  </a:lnTo>
                  <a:lnTo>
                    <a:pt x="136" y="93"/>
                  </a:lnTo>
                  <a:lnTo>
                    <a:pt x="143" y="86"/>
                  </a:lnTo>
                  <a:lnTo>
                    <a:pt x="152" y="77"/>
                  </a:lnTo>
                  <a:lnTo>
                    <a:pt x="158" y="68"/>
                  </a:lnTo>
                  <a:lnTo>
                    <a:pt x="164" y="60"/>
                  </a:lnTo>
                  <a:lnTo>
                    <a:pt x="148" y="65"/>
                  </a:lnTo>
                  <a:lnTo>
                    <a:pt x="134" y="70"/>
                  </a:lnTo>
                  <a:lnTo>
                    <a:pt x="138" y="65"/>
                  </a:lnTo>
                  <a:lnTo>
                    <a:pt x="145" y="62"/>
                  </a:lnTo>
                  <a:lnTo>
                    <a:pt x="138" y="60"/>
                  </a:lnTo>
                  <a:lnTo>
                    <a:pt x="136" y="60"/>
                  </a:lnTo>
                  <a:lnTo>
                    <a:pt x="138" y="55"/>
                  </a:lnTo>
                  <a:lnTo>
                    <a:pt x="145" y="53"/>
                  </a:lnTo>
                  <a:lnTo>
                    <a:pt x="148" y="55"/>
                  </a:lnTo>
                  <a:lnTo>
                    <a:pt x="150" y="50"/>
                  </a:lnTo>
                  <a:lnTo>
                    <a:pt x="153" y="48"/>
                  </a:lnTo>
                  <a:lnTo>
                    <a:pt x="153" y="51"/>
                  </a:lnTo>
                  <a:lnTo>
                    <a:pt x="153" y="56"/>
                  </a:lnTo>
                  <a:lnTo>
                    <a:pt x="162" y="58"/>
                  </a:lnTo>
                  <a:lnTo>
                    <a:pt x="170" y="62"/>
                  </a:lnTo>
                  <a:lnTo>
                    <a:pt x="176" y="55"/>
                  </a:lnTo>
                  <a:lnTo>
                    <a:pt x="179" y="50"/>
                  </a:lnTo>
                  <a:lnTo>
                    <a:pt x="176" y="48"/>
                  </a:lnTo>
                  <a:lnTo>
                    <a:pt x="172" y="48"/>
                  </a:lnTo>
                  <a:lnTo>
                    <a:pt x="176" y="41"/>
                  </a:lnTo>
                  <a:lnTo>
                    <a:pt x="184" y="39"/>
                  </a:lnTo>
                  <a:lnTo>
                    <a:pt x="188" y="39"/>
                  </a:lnTo>
                  <a:lnTo>
                    <a:pt x="193" y="39"/>
                  </a:lnTo>
                  <a:lnTo>
                    <a:pt x="191" y="36"/>
                  </a:lnTo>
                  <a:lnTo>
                    <a:pt x="189" y="36"/>
                  </a:lnTo>
                  <a:lnTo>
                    <a:pt x="198" y="29"/>
                  </a:lnTo>
                  <a:lnTo>
                    <a:pt x="212" y="29"/>
                  </a:lnTo>
                  <a:lnTo>
                    <a:pt x="212" y="36"/>
                  </a:lnTo>
                  <a:lnTo>
                    <a:pt x="219" y="27"/>
                  </a:lnTo>
                  <a:lnTo>
                    <a:pt x="231" y="22"/>
                  </a:lnTo>
                  <a:lnTo>
                    <a:pt x="231" y="29"/>
                  </a:lnTo>
                  <a:lnTo>
                    <a:pt x="241" y="19"/>
                  </a:lnTo>
                  <a:lnTo>
                    <a:pt x="255" y="15"/>
                  </a:lnTo>
                  <a:lnTo>
                    <a:pt x="248" y="12"/>
                  </a:lnTo>
                  <a:lnTo>
                    <a:pt x="246" y="10"/>
                  </a:lnTo>
                  <a:lnTo>
                    <a:pt x="251" y="5"/>
                  </a:lnTo>
                  <a:lnTo>
                    <a:pt x="258" y="1"/>
                  </a:lnTo>
                  <a:lnTo>
                    <a:pt x="262" y="7"/>
                  </a:lnTo>
                  <a:lnTo>
                    <a:pt x="269" y="10"/>
                  </a:lnTo>
                  <a:lnTo>
                    <a:pt x="274" y="7"/>
                  </a:lnTo>
                  <a:lnTo>
                    <a:pt x="284" y="3"/>
                  </a:lnTo>
                  <a:lnTo>
                    <a:pt x="291" y="0"/>
                  </a:lnTo>
                  <a:lnTo>
                    <a:pt x="294" y="3"/>
                  </a:lnTo>
                  <a:lnTo>
                    <a:pt x="289" y="10"/>
                  </a:lnTo>
                  <a:lnTo>
                    <a:pt x="284" y="20"/>
                  </a:lnTo>
                  <a:lnTo>
                    <a:pt x="294" y="13"/>
                  </a:lnTo>
                  <a:lnTo>
                    <a:pt x="306" y="5"/>
                  </a:lnTo>
                  <a:lnTo>
                    <a:pt x="306" y="8"/>
                  </a:lnTo>
                  <a:lnTo>
                    <a:pt x="308" y="13"/>
                  </a:lnTo>
                  <a:lnTo>
                    <a:pt x="318" y="5"/>
                  </a:lnTo>
                  <a:lnTo>
                    <a:pt x="329" y="0"/>
                  </a:lnTo>
                  <a:lnTo>
                    <a:pt x="329" y="7"/>
                  </a:lnTo>
                  <a:lnTo>
                    <a:pt x="334" y="12"/>
                  </a:lnTo>
                  <a:lnTo>
                    <a:pt x="336" y="5"/>
                  </a:lnTo>
                  <a:lnTo>
                    <a:pt x="341" y="3"/>
                  </a:lnTo>
                  <a:lnTo>
                    <a:pt x="349" y="7"/>
                  </a:lnTo>
                  <a:lnTo>
                    <a:pt x="358" y="12"/>
                  </a:lnTo>
                  <a:lnTo>
                    <a:pt x="349" y="20"/>
                  </a:lnTo>
                  <a:lnTo>
                    <a:pt x="337" y="24"/>
                  </a:lnTo>
                  <a:lnTo>
                    <a:pt x="344" y="27"/>
                  </a:lnTo>
                  <a:lnTo>
                    <a:pt x="348" y="31"/>
                  </a:lnTo>
                  <a:lnTo>
                    <a:pt x="355" y="32"/>
                  </a:lnTo>
                  <a:lnTo>
                    <a:pt x="363" y="34"/>
                  </a:lnTo>
                  <a:lnTo>
                    <a:pt x="355" y="38"/>
                  </a:lnTo>
                  <a:lnTo>
                    <a:pt x="348" y="44"/>
                  </a:lnTo>
                  <a:lnTo>
                    <a:pt x="339" y="50"/>
                  </a:lnTo>
                  <a:lnTo>
                    <a:pt x="337" y="60"/>
                  </a:lnTo>
                  <a:lnTo>
                    <a:pt x="339" y="63"/>
                  </a:lnTo>
                  <a:lnTo>
                    <a:pt x="346" y="68"/>
                  </a:lnTo>
                  <a:lnTo>
                    <a:pt x="353" y="72"/>
                  </a:lnTo>
                  <a:lnTo>
                    <a:pt x="356" y="80"/>
                  </a:lnTo>
                  <a:lnTo>
                    <a:pt x="351" y="89"/>
                  </a:lnTo>
                  <a:lnTo>
                    <a:pt x="348" y="101"/>
                  </a:lnTo>
                  <a:lnTo>
                    <a:pt x="351" y="113"/>
                  </a:lnTo>
                  <a:lnTo>
                    <a:pt x="356" y="125"/>
                  </a:lnTo>
                  <a:lnTo>
                    <a:pt x="353" y="132"/>
                  </a:lnTo>
                  <a:lnTo>
                    <a:pt x="351" y="141"/>
                  </a:lnTo>
                  <a:lnTo>
                    <a:pt x="353" y="146"/>
                  </a:lnTo>
                  <a:lnTo>
                    <a:pt x="358" y="153"/>
                  </a:lnTo>
                  <a:lnTo>
                    <a:pt x="363" y="160"/>
                  </a:lnTo>
                  <a:lnTo>
                    <a:pt x="367" y="166"/>
                  </a:lnTo>
                  <a:lnTo>
                    <a:pt x="363" y="170"/>
                  </a:lnTo>
                  <a:lnTo>
                    <a:pt x="361" y="173"/>
                  </a:lnTo>
                  <a:lnTo>
                    <a:pt x="370" y="182"/>
                  </a:lnTo>
                  <a:lnTo>
                    <a:pt x="377" y="194"/>
                  </a:lnTo>
                  <a:lnTo>
                    <a:pt x="370" y="206"/>
                  </a:lnTo>
                  <a:lnTo>
                    <a:pt x="358" y="220"/>
                  </a:lnTo>
                  <a:lnTo>
                    <a:pt x="342" y="232"/>
                  </a:lnTo>
                  <a:lnTo>
                    <a:pt x="332" y="244"/>
                  </a:lnTo>
                  <a:lnTo>
                    <a:pt x="324" y="249"/>
                  </a:lnTo>
                  <a:lnTo>
                    <a:pt x="313" y="252"/>
                  </a:lnTo>
                  <a:lnTo>
                    <a:pt x="301" y="252"/>
                  </a:lnTo>
                  <a:lnTo>
                    <a:pt x="294" y="254"/>
                  </a:lnTo>
                  <a:lnTo>
                    <a:pt x="277" y="259"/>
                  </a:lnTo>
                  <a:lnTo>
                    <a:pt x="263" y="263"/>
                  </a:lnTo>
                  <a:lnTo>
                    <a:pt x="255" y="261"/>
                  </a:lnTo>
                  <a:lnTo>
                    <a:pt x="251" y="256"/>
                  </a:lnTo>
                  <a:lnTo>
                    <a:pt x="236" y="251"/>
                  </a:lnTo>
                  <a:lnTo>
                    <a:pt x="231" y="237"/>
                  </a:lnTo>
                  <a:lnTo>
                    <a:pt x="232" y="230"/>
                  </a:lnTo>
                  <a:lnTo>
                    <a:pt x="238" y="227"/>
                  </a:lnTo>
                  <a:lnTo>
                    <a:pt x="229" y="218"/>
                  </a:lnTo>
                  <a:lnTo>
                    <a:pt x="227" y="208"/>
                  </a:lnTo>
                  <a:lnTo>
                    <a:pt x="227" y="203"/>
                  </a:lnTo>
                  <a:lnTo>
                    <a:pt x="227" y="197"/>
                  </a:lnTo>
                  <a:lnTo>
                    <a:pt x="241" y="192"/>
                  </a:lnTo>
                  <a:lnTo>
                    <a:pt x="253" y="182"/>
                  </a:lnTo>
                  <a:lnTo>
                    <a:pt x="263" y="168"/>
                  </a:lnTo>
                  <a:lnTo>
                    <a:pt x="274" y="161"/>
                  </a:lnTo>
                  <a:lnTo>
                    <a:pt x="286" y="154"/>
                  </a:lnTo>
                  <a:lnTo>
                    <a:pt x="293" y="146"/>
                  </a:lnTo>
                  <a:lnTo>
                    <a:pt x="289" y="137"/>
                  </a:lnTo>
                  <a:lnTo>
                    <a:pt x="282" y="134"/>
                  </a:lnTo>
                  <a:lnTo>
                    <a:pt x="272" y="132"/>
                  </a:lnTo>
                  <a:lnTo>
                    <a:pt x="263" y="132"/>
                  </a:lnTo>
                  <a:lnTo>
                    <a:pt x="250" y="132"/>
                  </a:lnTo>
                  <a:lnTo>
                    <a:pt x="241" y="136"/>
                  </a:lnTo>
                  <a:lnTo>
                    <a:pt x="234" y="141"/>
                  </a:lnTo>
                  <a:lnTo>
                    <a:pt x="232" y="151"/>
                  </a:lnTo>
                  <a:lnTo>
                    <a:pt x="232" y="158"/>
                  </a:lnTo>
                  <a:lnTo>
                    <a:pt x="232" y="163"/>
                  </a:lnTo>
                  <a:lnTo>
                    <a:pt x="227" y="170"/>
                  </a:lnTo>
                  <a:lnTo>
                    <a:pt x="219" y="179"/>
                  </a:lnTo>
                  <a:lnTo>
                    <a:pt x="207" y="184"/>
                  </a:lnTo>
                  <a:lnTo>
                    <a:pt x="198" y="191"/>
                  </a:lnTo>
                  <a:lnTo>
                    <a:pt x="184" y="196"/>
                  </a:lnTo>
                  <a:lnTo>
                    <a:pt x="176" y="208"/>
                  </a:lnTo>
                  <a:lnTo>
                    <a:pt x="174" y="218"/>
                  </a:lnTo>
                  <a:lnTo>
                    <a:pt x="169" y="228"/>
                  </a:lnTo>
                  <a:lnTo>
                    <a:pt x="169" y="237"/>
                  </a:lnTo>
                  <a:lnTo>
                    <a:pt x="172" y="242"/>
                  </a:lnTo>
                  <a:lnTo>
                    <a:pt x="174" y="247"/>
                  </a:lnTo>
                  <a:lnTo>
                    <a:pt x="179" y="249"/>
                  </a:lnTo>
                  <a:lnTo>
                    <a:pt x="188" y="254"/>
                  </a:lnTo>
                  <a:lnTo>
                    <a:pt x="193" y="259"/>
                  </a:lnTo>
                  <a:lnTo>
                    <a:pt x="196" y="266"/>
                  </a:lnTo>
                  <a:lnTo>
                    <a:pt x="193" y="271"/>
                  </a:lnTo>
                  <a:lnTo>
                    <a:pt x="188" y="278"/>
                  </a:lnTo>
                  <a:lnTo>
                    <a:pt x="179" y="283"/>
                  </a:lnTo>
                  <a:lnTo>
                    <a:pt x="176" y="287"/>
                  </a:lnTo>
                  <a:lnTo>
                    <a:pt x="169" y="289"/>
                  </a:lnTo>
                  <a:lnTo>
                    <a:pt x="164" y="295"/>
                  </a:lnTo>
                  <a:lnTo>
                    <a:pt x="162" y="304"/>
                  </a:lnTo>
                  <a:lnTo>
                    <a:pt x="162" y="313"/>
                  </a:lnTo>
                  <a:lnTo>
                    <a:pt x="164" y="320"/>
                  </a:lnTo>
                  <a:lnTo>
                    <a:pt x="169" y="321"/>
                  </a:lnTo>
                  <a:lnTo>
                    <a:pt x="164" y="328"/>
                  </a:lnTo>
                  <a:lnTo>
                    <a:pt x="160" y="335"/>
                  </a:lnTo>
                  <a:lnTo>
                    <a:pt x="155" y="338"/>
                  </a:lnTo>
                  <a:lnTo>
                    <a:pt x="153" y="345"/>
                  </a:lnTo>
                  <a:lnTo>
                    <a:pt x="145" y="345"/>
                  </a:lnTo>
                  <a:lnTo>
                    <a:pt x="140" y="345"/>
                  </a:lnTo>
                  <a:lnTo>
                    <a:pt x="133" y="347"/>
                  </a:lnTo>
                  <a:lnTo>
                    <a:pt x="129" y="354"/>
                  </a:lnTo>
                  <a:lnTo>
                    <a:pt x="122" y="359"/>
                  </a:lnTo>
                  <a:lnTo>
                    <a:pt x="115" y="362"/>
                  </a:lnTo>
                  <a:lnTo>
                    <a:pt x="112" y="357"/>
                  </a:lnTo>
                  <a:lnTo>
                    <a:pt x="109" y="350"/>
                  </a:lnTo>
                  <a:lnTo>
                    <a:pt x="105" y="342"/>
                  </a:lnTo>
                  <a:lnTo>
                    <a:pt x="105" y="338"/>
                  </a:lnTo>
                  <a:lnTo>
                    <a:pt x="105" y="335"/>
                  </a:lnTo>
                  <a:lnTo>
                    <a:pt x="105" y="333"/>
                  </a:lnTo>
                  <a:lnTo>
                    <a:pt x="97" y="320"/>
                  </a:lnTo>
                  <a:lnTo>
                    <a:pt x="95" y="306"/>
                  </a:lnTo>
                  <a:lnTo>
                    <a:pt x="88" y="297"/>
                  </a:lnTo>
                  <a:lnTo>
                    <a:pt x="85" y="287"/>
                  </a:lnTo>
                  <a:lnTo>
                    <a:pt x="86" y="282"/>
                  </a:lnTo>
                  <a:lnTo>
                    <a:pt x="88" y="278"/>
                  </a:lnTo>
                  <a:lnTo>
                    <a:pt x="88" y="2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8" name="Freeform 257"/>
            <p:cNvSpPr>
              <a:spLocks/>
            </p:cNvSpPr>
            <p:nvPr/>
          </p:nvSpPr>
          <p:spPr bwMode="auto">
            <a:xfrm>
              <a:off x="4763294" y="1717675"/>
              <a:ext cx="3906838" cy="1449387"/>
            </a:xfrm>
            <a:custGeom>
              <a:avLst/>
              <a:gdLst/>
              <a:ahLst/>
              <a:cxnLst>
                <a:cxn ang="0">
                  <a:pos x="1720" y="708"/>
                </a:cxn>
                <a:cxn ang="0">
                  <a:pos x="1734" y="571"/>
                </a:cxn>
                <a:cxn ang="0">
                  <a:pos x="1744" y="488"/>
                </a:cxn>
                <a:cxn ang="0">
                  <a:pos x="1906" y="464"/>
                </a:cxn>
                <a:cxn ang="0">
                  <a:pos x="2002" y="416"/>
                </a:cxn>
                <a:cxn ang="0">
                  <a:pos x="2086" y="409"/>
                </a:cxn>
                <a:cxn ang="0">
                  <a:pos x="1976" y="507"/>
                </a:cxn>
                <a:cxn ang="0">
                  <a:pos x="2011" y="584"/>
                </a:cxn>
                <a:cxn ang="0">
                  <a:pos x="2091" y="452"/>
                </a:cxn>
                <a:cxn ang="0">
                  <a:pos x="2257" y="399"/>
                </a:cxn>
                <a:cxn ang="0">
                  <a:pos x="2324" y="328"/>
                </a:cxn>
                <a:cxn ang="0">
                  <a:pos x="2425" y="333"/>
                </a:cxn>
                <a:cxn ang="0">
                  <a:pos x="2355" y="261"/>
                </a:cxn>
                <a:cxn ang="0">
                  <a:pos x="2177" y="234"/>
                </a:cxn>
                <a:cxn ang="0">
                  <a:pos x="1978" y="184"/>
                </a:cxn>
                <a:cxn ang="0">
                  <a:pos x="1835" y="143"/>
                </a:cxn>
                <a:cxn ang="0">
                  <a:pos x="1696" y="179"/>
                </a:cxn>
                <a:cxn ang="0">
                  <a:pos x="1582" y="173"/>
                </a:cxn>
                <a:cxn ang="0">
                  <a:pos x="1436" y="130"/>
                </a:cxn>
                <a:cxn ang="0">
                  <a:pos x="1266" y="122"/>
                </a:cxn>
                <a:cxn ang="0">
                  <a:pos x="1233" y="2"/>
                </a:cxn>
                <a:cxn ang="0">
                  <a:pos x="1106" y="48"/>
                </a:cxn>
                <a:cxn ang="0">
                  <a:pos x="958" y="106"/>
                </a:cxn>
                <a:cxn ang="0">
                  <a:pos x="863" y="156"/>
                </a:cxn>
                <a:cxn ang="0">
                  <a:pos x="790" y="148"/>
                </a:cxn>
                <a:cxn ang="0">
                  <a:pos x="769" y="251"/>
                </a:cxn>
                <a:cxn ang="0">
                  <a:pos x="731" y="137"/>
                </a:cxn>
                <a:cxn ang="0">
                  <a:pos x="704" y="256"/>
                </a:cxn>
                <a:cxn ang="0">
                  <a:pos x="585" y="247"/>
                </a:cxn>
                <a:cxn ang="0">
                  <a:pos x="470" y="247"/>
                </a:cxn>
                <a:cxn ang="0">
                  <a:pos x="363" y="247"/>
                </a:cxn>
                <a:cxn ang="0">
                  <a:pos x="294" y="335"/>
                </a:cxn>
                <a:cxn ang="0">
                  <a:pos x="237" y="311"/>
                </a:cxn>
                <a:cxn ang="0">
                  <a:pos x="225" y="244"/>
                </a:cxn>
                <a:cxn ang="0">
                  <a:pos x="136" y="259"/>
                </a:cxn>
                <a:cxn ang="0">
                  <a:pos x="153" y="361"/>
                </a:cxn>
                <a:cxn ang="0">
                  <a:pos x="107" y="464"/>
                </a:cxn>
                <a:cxn ang="0">
                  <a:pos x="41" y="500"/>
                </a:cxn>
                <a:cxn ang="0">
                  <a:pos x="45" y="567"/>
                </a:cxn>
                <a:cxn ang="0">
                  <a:pos x="43" y="688"/>
                </a:cxn>
                <a:cxn ang="0">
                  <a:pos x="124" y="734"/>
                </a:cxn>
                <a:cxn ang="0">
                  <a:pos x="212" y="755"/>
                </a:cxn>
                <a:cxn ang="0">
                  <a:pos x="253" y="713"/>
                </a:cxn>
                <a:cxn ang="0">
                  <a:pos x="270" y="765"/>
                </a:cxn>
                <a:cxn ang="0">
                  <a:pos x="353" y="829"/>
                </a:cxn>
                <a:cxn ang="0">
                  <a:pos x="415" y="851"/>
                </a:cxn>
                <a:cxn ang="0">
                  <a:pos x="403" y="727"/>
                </a:cxn>
                <a:cxn ang="0">
                  <a:pos x="492" y="729"/>
                </a:cxn>
                <a:cxn ang="0">
                  <a:pos x="473" y="811"/>
                </a:cxn>
                <a:cxn ang="0">
                  <a:pos x="494" y="880"/>
                </a:cxn>
                <a:cxn ang="0">
                  <a:pos x="599" y="889"/>
                </a:cxn>
                <a:cxn ang="0">
                  <a:pos x="666" y="875"/>
                </a:cxn>
                <a:cxn ang="0">
                  <a:pos x="747" y="872"/>
                </a:cxn>
                <a:cxn ang="0">
                  <a:pos x="798" y="825"/>
                </a:cxn>
                <a:cxn ang="0">
                  <a:pos x="932" y="710"/>
                </a:cxn>
                <a:cxn ang="0">
                  <a:pos x="1030" y="648"/>
                </a:cxn>
                <a:cxn ang="0">
                  <a:pos x="1152" y="612"/>
                </a:cxn>
                <a:cxn ang="0">
                  <a:pos x="1268" y="653"/>
                </a:cxn>
                <a:cxn ang="0">
                  <a:pos x="1422" y="653"/>
                </a:cxn>
                <a:cxn ang="0">
                  <a:pos x="1546" y="629"/>
                </a:cxn>
                <a:cxn ang="0">
                  <a:pos x="1649" y="682"/>
                </a:cxn>
                <a:cxn ang="0">
                  <a:pos x="1610" y="780"/>
                </a:cxn>
              </a:cxnLst>
              <a:rect l="0" t="0" r="r" b="b"/>
              <a:pathLst>
                <a:path w="2461" h="913">
                  <a:moveTo>
                    <a:pt x="1608" y="786"/>
                  </a:moveTo>
                  <a:lnTo>
                    <a:pt x="1612" y="786"/>
                  </a:lnTo>
                  <a:lnTo>
                    <a:pt x="1620" y="787"/>
                  </a:lnTo>
                  <a:lnTo>
                    <a:pt x="1631" y="789"/>
                  </a:lnTo>
                  <a:lnTo>
                    <a:pt x="1644" y="791"/>
                  </a:lnTo>
                  <a:lnTo>
                    <a:pt x="1653" y="787"/>
                  </a:lnTo>
                  <a:lnTo>
                    <a:pt x="1663" y="780"/>
                  </a:lnTo>
                  <a:lnTo>
                    <a:pt x="1674" y="768"/>
                  </a:lnTo>
                  <a:lnTo>
                    <a:pt x="1684" y="756"/>
                  </a:lnTo>
                  <a:lnTo>
                    <a:pt x="1692" y="743"/>
                  </a:lnTo>
                  <a:lnTo>
                    <a:pt x="1703" y="729"/>
                  </a:lnTo>
                  <a:lnTo>
                    <a:pt x="1711" y="717"/>
                  </a:lnTo>
                  <a:lnTo>
                    <a:pt x="1720" y="708"/>
                  </a:lnTo>
                  <a:lnTo>
                    <a:pt x="1725" y="700"/>
                  </a:lnTo>
                  <a:lnTo>
                    <a:pt x="1734" y="691"/>
                  </a:lnTo>
                  <a:lnTo>
                    <a:pt x="1737" y="681"/>
                  </a:lnTo>
                  <a:lnTo>
                    <a:pt x="1742" y="670"/>
                  </a:lnTo>
                  <a:lnTo>
                    <a:pt x="1742" y="660"/>
                  </a:lnTo>
                  <a:lnTo>
                    <a:pt x="1742" y="652"/>
                  </a:lnTo>
                  <a:lnTo>
                    <a:pt x="1742" y="641"/>
                  </a:lnTo>
                  <a:lnTo>
                    <a:pt x="1748" y="633"/>
                  </a:lnTo>
                  <a:lnTo>
                    <a:pt x="1753" y="621"/>
                  </a:lnTo>
                  <a:lnTo>
                    <a:pt x="1758" y="605"/>
                  </a:lnTo>
                  <a:lnTo>
                    <a:pt x="1753" y="591"/>
                  </a:lnTo>
                  <a:lnTo>
                    <a:pt x="1744" y="579"/>
                  </a:lnTo>
                  <a:lnTo>
                    <a:pt x="1734" y="571"/>
                  </a:lnTo>
                  <a:lnTo>
                    <a:pt x="1725" y="572"/>
                  </a:lnTo>
                  <a:lnTo>
                    <a:pt x="1713" y="578"/>
                  </a:lnTo>
                  <a:lnTo>
                    <a:pt x="1705" y="578"/>
                  </a:lnTo>
                  <a:lnTo>
                    <a:pt x="1694" y="576"/>
                  </a:lnTo>
                  <a:lnTo>
                    <a:pt x="1689" y="574"/>
                  </a:lnTo>
                  <a:lnTo>
                    <a:pt x="1680" y="562"/>
                  </a:lnTo>
                  <a:lnTo>
                    <a:pt x="1679" y="557"/>
                  </a:lnTo>
                  <a:lnTo>
                    <a:pt x="1682" y="545"/>
                  </a:lnTo>
                  <a:lnTo>
                    <a:pt x="1692" y="535"/>
                  </a:lnTo>
                  <a:lnTo>
                    <a:pt x="1705" y="524"/>
                  </a:lnTo>
                  <a:lnTo>
                    <a:pt x="1717" y="516"/>
                  </a:lnTo>
                  <a:lnTo>
                    <a:pt x="1729" y="502"/>
                  </a:lnTo>
                  <a:lnTo>
                    <a:pt x="1744" y="488"/>
                  </a:lnTo>
                  <a:lnTo>
                    <a:pt x="1760" y="474"/>
                  </a:lnTo>
                  <a:lnTo>
                    <a:pt x="1775" y="468"/>
                  </a:lnTo>
                  <a:lnTo>
                    <a:pt x="1784" y="464"/>
                  </a:lnTo>
                  <a:lnTo>
                    <a:pt x="1796" y="464"/>
                  </a:lnTo>
                  <a:lnTo>
                    <a:pt x="1809" y="461"/>
                  </a:lnTo>
                  <a:lnTo>
                    <a:pt x="1825" y="461"/>
                  </a:lnTo>
                  <a:lnTo>
                    <a:pt x="1837" y="459"/>
                  </a:lnTo>
                  <a:lnTo>
                    <a:pt x="1851" y="457"/>
                  </a:lnTo>
                  <a:lnTo>
                    <a:pt x="1861" y="457"/>
                  </a:lnTo>
                  <a:lnTo>
                    <a:pt x="1871" y="457"/>
                  </a:lnTo>
                  <a:lnTo>
                    <a:pt x="1885" y="457"/>
                  </a:lnTo>
                  <a:lnTo>
                    <a:pt x="1895" y="462"/>
                  </a:lnTo>
                  <a:lnTo>
                    <a:pt x="1906" y="464"/>
                  </a:lnTo>
                  <a:lnTo>
                    <a:pt x="1916" y="468"/>
                  </a:lnTo>
                  <a:lnTo>
                    <a:pt x="1920" y="468"/>
                  </a:lnTo>
                  <a:lnTo>
                    <a:pt x="1925" y="468"/>
                  </a:lnTo>
                  <a:lnTo>
                    <a:pt x="1932" y="468"/>
                  </a:lnTo>
                  <a:lnTo>
                    <a:pt x="1944" y="468"/>
                  </a:lnTo>
                  <a:lnTo>
                    <a:pt x="1945" y="454"/>
                  </a:lnTo>
                  <a:lnTo>
                    <a:pt x="1949" y="445"/>
                  </a:lnTo>
                  <a:lnTo>
                    <a:pt x="1954" y="435"/>
                  </a:lnTo>
                  <a:lnTo>
                    <a:pt x="1961" y="428"/>
                  </a:lnTo>
                  <a:lnTo>
                    <a:pt x="1968" y="421"/>
                  </a:lnTo>
                  <a:lnTo>
                    <a:pt x="1978" y="418"/>
                  </a:lnTo>
                  <a:lnTo>
                    <a:pt x="1988" y="416"/>
                  </a:lnTo>
                  <a:lnTo>
                    <a:pt x="2002" y="416"/>
                  </a:lnTo>
                  <a:lnTo>
                    <a:pt x="2007" y="414"/>
                  </a:lnTo>
                  <a:lnTo>
                    <a:pt x="2012" y="414"/>
                  </a:lnTo>
                  <a:lnTo>
                    <a:pt x="2019" y="414"/>
                  </a:lnTo>
                  <a:lnTo>
                    <a:pt x="2031" y="416"/>
                  </a:lnTo>
                  <a:lnTo>
                    <a:pt x="2024" y="423"/>
                  </a:lnTo>
                  <a:lnTo>
                    <a:pt x="2028" y="433"/>
                  </a:lnTo>
                  <a:lnTo>
                    <a:pt x="2031" y="433"/>
                  </a:lnTo>
                  <a:lnTo>
                    <a:pt x="2042" y="428"/>
                  </a:lnTo>
                  <a:lnTo>
                    <a:pt x="2055" y="416"/>
                  </a:lnTo>
                  <a:lnTo>
                    <a:pt x="2074" y="397"/>
                  </a:lnTo>
                  <a:lnTo>
                    <a:pt x="2081" y="397"/>
                  </a:lnTo>
                  <a:lnTo>
                    <a:pt x="2088" y="404"/>
                  </a:lnTo>
                  <a:lnTo>
                    <a:pt x="2086" y="409"/>
                  </a:lnTo>
                  <a:lnTo>
                    <a:pt x="2085" y="416"/>
                  </a:lnTo>
                  <a:lnTo>
                    <a:pt x="2078" y="423"/>
                  </a:lnTo>
                  <a:lnTo>
                    <a:pt x="2067" y="433"/>
                  </a:lnTo>
                  <a:lnTo>
                    <a:pt x="2057" y="437"/>
                  </a:lnTo>
                  <a:lnTo>
                    <a:pt x="2047" y="438"/>
                  </a:lnTo>
                  <a:lnTo>
                    <a:pt x="2038" y="442"/>
                  </a:lnTo>
                  <a:lnTo>
                    <a:pt x="2031" y="450"/>
                  </a:lnTo>
                  <a:lnTo>
                    <a:pt x="2023" y="461"/>
                  </a:lnTo>
                  <a:lnTo>
                    <a:pt x="2016" y="474"/>
                  </a:lnTo>
                  <a:lnTo>
                    <a:pt x="2005" y="483"/>
                  </a:lnTo>
                  <a:lnTo>
                    <a:pt x="1997" y="493"/>
                  </a:lnTo>
                  <a:lnTo>
                    <a:pt x="1985" y="498"/>
                  </a:lnTo>
                  <a:lnTo>
                    <a:pt x="1976" y="507"/>
                  </a:lnTo>
                  <a:lnTo>
                    <a:pt x="1968" y="517"/>
                  </a:lnTo>
                  <a:lnTo>
                    <a:pt x="1966" y="535"/>
                  </a:lnTo>
                  <a:lnTo>
                    <a:pt x="1966" y="541"/>
                  </a:lnTo>
                  <a:lnTo>
                    <a:pt x="1966" y="553"/>
                  </a:lnTo>
                  <a:lnTo>
                    <a:pt x="1968" y="567"/>
                  </a:lnTo>
                  <a:lnTo>
                    <a:pt x="1971" y="583"/>
                  </a:lnTo>
                  <a:lnTo>
                    <a:pt x="1973" y="595"/>
                  </a:lnTo>
                  <a:lnTo>
                    <a:pt x="1976" y="609"/>
                  </a:lnTo>
                  <a:lnTo>
                    <a:pt x="1981" y="617"/>
                  </a:lnTo>
                  <a:lnTo>
                    <a:pt x="1987" y="626"/>
                  </a:lnTo>
                  <a:lnTo>
                    <a:pt x="1993" y="610"/>
                  </a:lnTo>
                  <a:lnTo>
                    <a:pt x="2000" y="596"/>
                  </a:lnTo>
                  <a:lnTo>
                    <a:pt x="2011" y="584"/>
                  </a:lnTo>
                  <a:lnTo>
                    <a:pt x="2024" y="578"/>
                  </a:lnTo>
                  <a:lnTo>
                    <a:pt x="2026" y="567"/>
                  </a:lnTo>
                  <a:lnTo>
                    <a:pt x="2033" y="562"/>
                  </a:lnTo>
                  <a:lnTo>
                    <a:pt x="2040" y="555"/>
                  </a:lnTo>
                  <a:lnTo>
                    <a:pt x="2045" y="550"/>
                  </a:lnTo>
                  <a:lnTo>
                    <a:pt x="2047" y="538"/>
                  </a:lnTo>
                  <a:lnTo>
                    <a:pt x="2054" y="531"/>
                  </a:lnTo>
                  <a:lnTo>
                    <a:pt x="2059" y="524"/>
                  </a:lnTo>
                  <a:lnTo>
                    <a:pt x="2062" y="519"/>
                  </a:lnTo>
                  <a:lnTo>
                    <a:pt x="2059" y="509"/>
                  </a:lnTo>
                  <a:lnTo>
                    <a:pt x="2062" y="497"/>
                  </a:lnTo>
                  <a:lnTo>
                    <a:pt x="2076" y="469"/>
                  </a:lnTo>
                  <a:lnTo>
                    <a:pt x="2091" y="452"/>
                  </a:lnTo>
                  <a:lnTo>
                    <a:pt x="2105" y="443"/>
                  </a:lnTo>
                  <a:lnTo>
                    <a:pt x="2119" y="442"/>
                  </a:lnTo>
                  <a:lnTo>
                    <a:pt x="2129" y="443"/>
                  </a:lnTo>
                  <a:lnTo>
                    <a:pt x="2140" y="449"/>
                  </a:lnTo>
                  <a:lnTo>
                    <a:pt x="2148" y="452"/>
                  </a:lnTo>
                  <a:lnTo>
                    <a:pt x="2157" y="455"/>
                  </a:lnTo>
                  <a:lnTo>
                    <a:pt x="2172" y="452"/>
                  </a:lnTo>
                  <a:lnTo>
                    <a:pt x="2188" y="445"/>
                  </a:lnTo>
                  <a:lnTo>
                    <a:pt x="2202" y="435"/>
                  </a:lnTo>
                  <a:lnTo>
                    <a:pt x="2217" y="426"/>
                  </a:lnTo>
                  <a:lnTo>
                    <a:pt x="2229" y="414"/>
                  </a:lnTo>
                  <a:lnTo>
                    <a:pt x="2243" y="406"/>
                  </a:lnTo>
                  <a:lnTo>
                    <a:pt x="2257" y="399"/>
                  </a:lnTo>
                  <a:lnTo>
                    <a:pt x="2272" y="397"/>
                  </a:lnTo>
                  <a:lnTo>
                    <a:pt x="2293" y="394"/>
                  </a:lnTo>
                  <a:lnTo>
                    <a:pt x="2305" y="390"/>
                  </a:lnTo>
                  <a:lnTo>
                    <a:pt x="2308" y="385"/>
                  </a:lnTo>
                  <a:lnTo>
                    <a:pt x="2308" y="380"/>
                  </a:lnTo>
                  <a:lnTo>
                    <a:pt x="2301" y="373"/>
                  </a:lnTo>
                  <a:lnTo>
                    <a:pt x="2294" y="366"/>
                  </a:lnTo>
                  <a:lnTo>
                    <a:pt x="2289" y="361"/>
                  </a:lnTo>
                  <a:lnTo>
                    <a:pt x="2288" y="359"/>
                  </a:lnTo>
                  <a:lnTo>
                    <a:pt x="2291" y="345"/>
                  </a:lnTo>
                  <a:lnTo>
                    <a:pt x="2303" y="339"/>
                  </a:lnTo>
                  <a:lnTo>
                    <a:pt x="2313" y="333"/>
                  </a:lnTo>
                  <a:lnTo>
                    <a:pt x="2324" y="328"/>
                  </a:lnTo>
                  <a:lnTo>
                    <a:pt x="2324" y="316"/>
                  </a:lnTo>
                  <a:lnTo>
                    <a:pt x="2331" y="311"/>
                  </a:lnTo>
                  <a:lnTo>
                    <a:pt x="2341" y="311"/>
                  </a:lnTo>
                  <a:lnTo>
                    <a:pt x="2353" y="316"/>
                  </a:lnTo>
                  <a:lnTo>
                    <a:pt x="2363" y="323"/>
                  </a:lnTo>
                  <a:lnTo>
                    <a:pt x="2374" y="332"/>
                  </a:lnTo>
                  <a:lnTo>
                    <a:pt x="2382" y="339"/>
                  </a:lnTo>
                  <a:lnTo>
                    <a:pt x="2392" y="345"/>
                  </a:lnTo>
                  <a:lnTo>
                    <a:pt x="2403" y="351"/>
                  </a:lnTo>
                  <a:lnTo>
                    <a:pt x="2413" y="354"/>
                  </a:lnTo>
                  <a:lnTo>
                    <a:pt x="2417" y="351"/>
                  </a:lnTo>
                  <a:lnTo>
                    <a:pt x="2422" y="344"/>
                  </a:lnTo>
                  <a:lnTo>
                    <a:pt x="2425" y="333"/>
                  </a:lnTo>
                  <a:lnTo>
                    <a:pt x="2430" y="328"/>
                  </a:lnTo>
                  <a:lnTo>
                    <a:pt x="2435" y="321"/>
                  </a:lnTo>
                  <a:lnTo>
                    <a:pt x="2442" y="320"/>
                  </a:lnTo>
                  <a:lnTo>
                    <a:pt x="2451" y="316"/>
                  </a:lnTo>
                  <a:lnTo>
                    <a:pt x="2461" y="314"/>
                  </a:lnTo>
                  <a:lnTo>
                    <a:pt x="2451" y="304"/>
                  </a:lnTo>
                  <a:lnTo>
                    <a:pt x="2439" y="297"/>
                  </a:lnTo>
                  <a:lnTo>
                    <a:pt x="2425" y="289"/>
                  </a:lnTo>
                  <a:lnTo>
                    <a:pt x="2411" y="284"/>
                  </a:lnTo>
                  <a:lnTo>
                    <a:pt x="2394" y="277"/>
                  </a:lnTo>
                  <a:lnTo>
                    <a:pt x="2380" y="271"/>
                  </a:lnTo>
                  <a:lnTo>
                    <a:pt x="2365" y="266"/>
                  </a:lnTo>
                  <a:lnTo>
                    <a:pt x="2355" y="261"/>
                  </a:lnTo>
                  <a:lnTo>
                    <a:pt x="2337" y="251"/>
                  </a:lnTo>
                  <a:lnTo>
                    <a:pt x="2320" y="242"/>
                  </a:lnTo>
                  <a:lnTo>
                    <a:pt x="2301" y="234"/>
                  </a:lnTo>
                  <a:lnTo>
                    <a:pt x="2284" y="227"/>
                  </a:lnTo>
                  <a:lnTo>
                    <a:pt x="2263" y="220"/>
                  </a:lnTo>
                  <a:lnTo>
                    <a:pt x="2243" y="216"/>
                  </a:lnTo>
                  <a:lnTo>
                    <a:pt x="2222" y="213"/>
                  </a:lnTo>
                  <a:lnTo>
                    <a:pt x="2202" y="213"/>
                  </a:lnTo>
                  <a:lnTo>
                    <a:pt x="2190" y="213"/>
                  </a:lnTo>
                  <a:lnTo>
                    <a:pt x="2181" y="215"/>
                  </a:lnTo>
                  <a:lnTo>
                    <a:pt x="2176" y="216"/>
                  </a:lnTo>
                  <a:lnTo>
                    <a:pt x="2176" y="222"/>
                  </a:lnTo>
                  <a:lnTo>
                    <a:pt x="2177" y="234"/>
                  </a:lnTo>
                  <a:lnTo>
                    <a:pt x="2177" y="241"/>
                  </a:lnTo>
                  <a:lnTo>
                    <a:pt x="2172" y="242"/>
                  </a:lnTo>
                  <a:lnTo>
                    <a:pt x="2169" y="239"/>
                  </a:lnTo>
                  <a:lnTo>
                    <a:pt x="2153" y="227"/>
                  </a:lnTo>
                  <a:lnTo>
                    <a:pt x="2143" y="222"/>
                  </a:lnTo>
                  <a:lnTo>
                    <a:pt x="2026" y="220"/>
                  </a:lnTo>
                  <a:lnTo>
                    <a:pt x="2023" y="210"/>
                  </a:lnTo>
                  <a:lnTo>
                    <a:pt x="2019" y="203"/>
                  </a:lnTo>
                  <a:lnTo>
                    <a:pt x="2012" y="196"/>
                  </a:lnTo>
                  <a:lnTo>
                    <a:pt x="2007" y="191"/>
                  </a:lnTo>
                  <a:lnTo>
                    <a:pt x="1999" y="186"/>
                  </a:lnTo>
                  <a:lnTo>
                    <a:pt x="1990" y="184"/>
                  </a:lnTo>
                  <a:lnTo>
                    <a:pt x="1978" y="184"/>
                  </a:lnTo>
                  <a:lnTo>
                    <a:pt x="1968" y="184"/>
                  </a:lnTo>
                  <a:lnTo>
                    <a:pt x="1952" y="184"/>
                  </a:lnTo>
                  <a:lnTo>
                    <a:pt x="1937" y="186"/>
                  </a:lnTo>
                  <a:lnTo>
                    <a:pt x="1921" y="186"/>
                  </a:lnTo>
                  <a:lnTo>
                    <a:pt x="1911" y="182"/>
                  </a:lnTo>
                  <a:lnTo>
                    <a:pt x="1904" y="173"/>
                  </a:lnTo>
                  <a:lnTo>
                    <a:pt x="1899" y="167"/>
                  </a:lnTo>
                  <a:lnTo>
                    <a:pt x="1892" y="160"/>
                  </a:lnTo>
                  <a:lnTo>
                    <a:pt x="1885" y="156"/>
                  </a:lnTo>
                  <a:lnTo>
                    <a:pt x="1871" y="151"/>
                  </a:lnTo>
                  <a:lnTo>
                    <a:pt x="1859" y="148"/>
                  </a:lnTo>
                  <a:lnTo>
                    <a:pt x="1847" y="144"/>
                  </a:lnTo>
                  <a:lnTo>
                    <a:pt x="1835" y="143"/>
                  </a:lnTo>
                  <a:lnTo>
                    <a:pt x="1821" y="141"/>
                  </a:lnTo>
                  <a:lnTo>
                    <a:pt x="1808" y="139"/>
                  </a:lnTo>
                  <a:lnTo>
                    <a:pt x="1794" y="139"/>
                  </a:lnTo>
                  <a:lnTo>
                    <a:pt x="1780" y="139"/>
                  </a:lnTo>
                  <a:lnTo>
                    <a:pt x="1765" y="139"/>
                  </a:lnTo>
                  <a:lnTo>
                    <a:pt x="1756" y="143"/>
                  </a:lnTo>
                  <a:lnTo>
                    <a:pt x="1748" y="146"/>
                  </a:lnTo>
                  <a:lnTo>
                    <a:pt x="1742" y="151"/>
                  </a:lnTo>
                  <a:lnTo>
                    <a:pt x="1734" y="163"/>
                  </a:lnTo>
                  <a:lnTo>
                    <a:pt x="1732" y="179"/>
                  </a:lnTo>
                  <a:lnTo>
                    <a:pt x="1717" y="179"/>
                  </a:lnTo>
                  <a:lnTo>
                    <a:pt x="1706" y="179"/>
                  </a:lnTo>
                  <a:lnTo>
                    <a:pt x="1696" y="179"/>
                  </a:lnTo>
                  <a:lnTo>
                    <a:pt x="1687" y="179"/>
                  </a:lnTo>
                  <a:lnTo>
                    <a:pt x="1668" y="179"/>
                  </a:lnTo>
                  <a:lnTo>
                    <a:pt x="1651" y="179"/>
                  </a:lnTo>
                  <a:lnTo>
                    <a:pt x="1641" y="175"/>
                  </a:lnTo>
                  <a:lnTo>
                    <a:pt x="1636" y="172"/>
                  </a:lnTo>
                  <a:lnTo>
                    <a:pt x="1627" y="168"/>
                  </a:lnTo>
                  <a:lnTo>
                    <a:pt x="1619" y="167"/>
                  </a:lnTo>
                  <a:lnTo>
                    <a:pt x="1615" y="172"/>
                  </a:lnTo>
                  <a:lnTo>
                    <a:pt x="1613" y="180"/>
                  </a:lnTo>
                  <a:lnTo>
                    <a:pt x="1610" y="186"/>
                  </a:lnTo>
                  <a:lnTo>
                    <a:pt x="1606" y="189"/>
                  </a:lnTo>
                  <a:lnTo>
                    <a:pt x="1591" y="184"/>
                  </a:lnTo>
                  <a:lnTo>
                    <a:pt x="1582" y="173"/>
                  </a:lnTo>
                  <a:lnTo>
                    <a:pt x="1576" y="160"/>
                  </a:lnTo>
                  <a:lnTo>
                    <a:pt x="1576" y="149"/>
                  </a:lnTo>
                  <a:lnTo>
                    <a:pt x="1579" y="143"/>
                  </a:lnTo>
                  <a:lnTo>
                    <a:pt x="1582" y="132"/>
                  </a:lnTo>
                  <a:lnTo>
                    <a:pt x="1576" y="125"/>
                  </a:lnTo>
                  <a:lnTo>
                    <a:pt x="1565" y="118"/>
                  </a:lnTo>
                  <a:lnTo>
                    <a:pt x="1543" y="113"/>
                  </a:lnTo>
                  <a:lnTo>
                    <a:pt x="1512" y="112"/>
                  </a:lnTo>
                  <a:lnTo>
                    <a:pt x="1502" y="110"/>
                  </a:lnTo>
                  <a:lnTo>
                    <a:pt x="1496" y="113"/>
                  </a:lnTo>
                  <a:lnTo>
                    <a:pt x="1491" y="118"/>
                  </a:lnTo>
                  <a:lnTo>
                    <a:pt x="1491" y="130"/>
                  </a:lnTo>
                  <a:lnTo>
                    <a:pt x="1436" y="130"/>
                  </a:lnTo>
                  <a:lnTo>
                    <a:pt x="1426" y="127"/>
                  </a:lnTo>
                  <a:lnTo>
                    <a:pt x="1410" y="125"/>
                  </a:lnTo>
                  <a:lnTo>
                    <a:pt x="1391" y="122"/>
                  </a:lnTo>
                  <a:lnTo>
                    <a:pt x="1374" y="118"/>
                  </a:lnTo>
                  <a:lnTo>
                    <a:pt x="1355" y="113"/>
                  </a:lnTo>
                  <a:lnTo>
                    <a:pt x="1338" y="108"/>
                  </a:lnTo>
                  <a:lnTo>
                    <a:pt x="1326" y="103"/>
                  </a:lnTo>
                  <a:lnTo>
                    <a:pt x="1319" y="98"/>
                  </a:lnTo>
                  <a:lnTo>
                    <a:pt x="1297" y="113"/>
                  </a:lnTo>
                  <a:lnTo>
                    <a:pt x="1283" y="124"/>
                  </a:lnTo>
                  <a:lnTo>
                    <a:pt x="1273" y="127"/>
                  </a:lnTo>
                  <a:lnTo>
                    <a:pt x="1268" y="129"/>
                  </a:lnTo>
                  <a:lnTo>
                    <a:pt x="1266" y="122"/>
                  </a:lnTo>
                  <a:lnTo>
                    <a:pt x="1268" y="118"/>
                  </a:lnTo>
                  <a:lnTo>
                    <a:pt x="1278" y="108"/>
                  </a:lnTo>
                  <a:lnTo>
                    <a:pt x="1299" y="100"/>
                  </a:lnTo>
                  <a:lnTo>
                    <a:pt x="1321" y="88"/>
                  </a:lnTo>
                  <a:lnTo>
                    <a:pt x="1343" y="75"/>
                  </a:lnTo>
                  <a:lnTo>
                    <a:pt x="1355" y="62"/>
                  </a:lnTo>
                  <a:lnTo>
                    <a:pt x="1359" y="50"/>
                  </a:lnTo>
                  <a:lnTo>
                    <a:pt x="1345" y="38"/>
                  </a:lnTo>
                  <a:lnTo>
                    <a:pt x="1312" y="27"/>
                  </a:lnTo>
                  <a:lnTo>
                    <a:pt x="1257" y="27"/>
                  </a:lnTo>
                  <a:lnTo>
                    <a:pt x="1252" y="17"/>
                  </a:lnTo>
                  <a:lnTo>
                    <a:pt x="1245" y="8"/>
                  </a:lnTo>
                  <a:lnTo>
                    <a:pt x="1233" y="2"/>
                  </a:lnTo>
                  <a:lnTo>
                    <a:pt x="1219" y="0"/>
                  </a:lnTo>
                  <a:lnTo>
                    <a:pt x="1209" y="0"/>
                  </a:lnTo>
                  <a:lnTo>
                    <a:pt x="1201" y="2"/>
                  </a:lnTo>
                  <a:lnTo>
                    <a:pt x="1194" y="5"/>
                  </a:lnTo>
                  <a:lnTo>
                    <a:pt x="1189" y="10"/>
                  </a:lnTo>
                  <a:lnTo>
                    <a:pt x="1178" y="19"/>
                  </a:lnTo>
                  <a:lnTo>
                    <a:pt x="1170" y="29"/>
                  </a:lnTo>
                  <a:lnTo>
                    <a:pt x="1163" y="31"/>
                  </a:lnTo>
                  <a:lnTo>
                    <a:pt x="1152" y="36"/>
                  </a:lnTo>
                  <a:lnTo>
                    <a:pt x="1140" y="41"/>
                  </a:lnTo>
                  <a:lnTo>
                    <a:pt x="1128" y="46"/>
                  </a:lnTo>
                  <a:lnTo>
                    <a:pt x="1115" y="46"/>
                  </a:lnTo>
                  <a:lnTo>
                    <a:pt x="1106" y="48"/>
                  </a:lnTo>
                  <a:lnTo>
                    <a:pt x="1099" y="45"/>
                  </a:lnTo>
                  <a:lnTo>
                    <a:pt x="1099" y="39"/>
                  </a:lnTo>
                  <a:lnTo>
                    <a:pt x="1089" y="39"/>
                  </a:lnTo>
                  <a:lnTo>
                    <a:pt x="1077" y="43"/>
                  </a:lnTo>
                  <a:lnTo>
                    <a:pt x="1060" y="45"/>
                  </a:lnTo>
                  <a:lnTo>
                    <a:pt x="1044" y="50"/>
                  </a:lnTo>
                  <a:lnTo>
                    <a:pt x="1023" y="55"/>
                  </a:lnTo>
                  <a:lnTo>
                    <a:pt x="1006" y="62"/>
                  </a:lnTo>
                  <a:lnTo>
                    <a:pt x="987" y="70"/>
                  </a:lnTo>
                  <a:lnTo>
                    <a:pt x="974" y="82"/>
                  </a:lnTo>
                  <a:lnTo>
                    <a:pt x="968" y="89"/>
                  </a:lnTo>
                  <a:lnTo>
                    <a:pt x="963" y="100"/>
                  </a:lnTo>
                  <a:lnTo>
                    <a:pt x="958" y="106"/>
                  </a:lnTo>
                  <a:lnTo>
                    <a:pt x="953" y="112"/>
                  </a:lnTo>
                  <a:lnTo>
                    <a:pt x="943" y="110"/>
                  </a:lnTo>
                  <a:lnTo>
                    <a:pt x="932" y="110"/>
                  </a:lnTo>
                  <a:lnTo>
                    <a:pt x="919" y="110"/>
                  </a:lnTo>
                  <a:lnTo>
                    <a:pt x="905" y="112"/>
                  </a:lnTo>
                  <a:lnTo>
                    <a:pt x="891" y="112"/>
                  </a:lnTo>
                  <a:lnTo>
                    <a:pt x="881" y="117"/>
                  </a:lnTo>
                  <a:lnTo>
                    <a:pt x="874" y="122"/>
                  </a:lnTo>
                  <a:lnTo>
                    <a:pt x="872" y="134"/>
                  </a:lnTo>
                  <a:lnTo>
                    <a:pt x="874" y="143"/>
                  </a:lnTo>
                  <a:lnTo>
                    <a:pt x="881" y="155"/>
                  </a:lnTo>
                  <a:lnTo>
                    <a:pt x="872" y="156"/>
                  </a:lnTo>
                  <a:lnTo>
                    <a:pt x="863" y="156"/>
                  </a:lnTo>
                  <a:lnTo>
                    <a:pt x="857" y="155"/>
                  </a:lnTo>
                  <a:lnTo>
                    <a:pt x="850" y="155"/>
                  </a:lnTo>
                  <a:lnTo>
                    <a:pt x="839" y="155"/>
                  </a:lnTo>
                  <a:lnTo>
                    <a:pt x="829" y="155"/>
                  </a:lnTo>
                  <a:lnTo>
                    <a:pt x="817" y="163"/>
                  </a:lnTo>
                  <a:lnTo>
                    <a:pt x="810" y="168"/>
                  </a:lnTo>
                  <a:lnTo>
                    <a:pt x="805" y="168"/>
                  </a:lnTo>
                  <a:lnTo>
                    <a:pt x="803" y="165"/>
                  </a:lnTo>
                  <a:lnTo>
                    <a:pt x="798" y="156"/>
                  </a:lnTo>
                  <a:lnTo>
                    <a:pt x="798" y="149"/>
                  </a:lnTo>
                  <a:lnTo>
                    <a:pt x="796" y="143"/>
                  </a:lnTo>
                  <a:lnTo>
                    <a:pt x="795" y="139"/>
                  </a:lnTo>
                  <a:lnTo>
                    <a:pt x="790" y="148"/>
                  </a:lnTo>
                  <a:lnTo>
                    <a:pt x="784" y="156"/>
                  </a:lnTo>
                  <a:lnTo>
                    <a:pt x="776" y="161"/>
                  </a:lnTo>
                  <a:lnTo>
                    <a:pt x="769" y="168"/>
                  </a:lnTo>
                  <a:lnTo>
                    <a:pt x="772" y="179"/>
                  </a:lnTo>
                  <a:lnTo>
                    <a:pt x="781" y="191"/>
                  </a:lnTo>
                  <a:lnTo>
                    <a:pt x="783" y="201"/>
                  </a:lnTo>
                  <a:lnTo>
                    <a:pt x="779" y="215"/>
                  </a:lnTo>
                  <a:lnTo>
                    <a:pt x="776" y="227"/>
                  </a:lnTo>
                  <a:lnTo>
                    <a:pt x="783" y="244"/>
                  </a:lnTo>
                  <a:lnTo>
                    <a:pt x="786" y="258"/>
                  </a:lnTo>
                  <a:lnTo>
                    <a:pt x="783" y="265"/>
                  </a:lnTo>
                  <a:lnTo>
                    <a:pt x="774" y="259"/>
                  </a:lnTo>
                  <a:lnTo>
                    <a:pt x="769" y="251"/>
                  </a:lnTo>
                  <a:lnTo>
                    <a:pt x="764" y="237"/>
                  </a:lnTo>
                  <a:lnTo>
                    <a:pt x="760" y="223"/>
                  </a:lnTo>
                  <a:lnTo>
                    <a:pt x="757" y="206"/>
                  </a:lnTo>
                  <a:lnTo>
                    <a:pt x="755" y="192"/>
                  </a:lnTo>
                  <a:lnTo>
                    <a:pt x="755" y="179"/>
                  </a:lnTo>
                  <a:lnTo>
                    <a:pt x="755" y="172"/>
                  </a:lnTo>
                  <a:lnTo>
                    <a:pt x="759" y="160"/>
                  </a:lnTo>
                  <a:lnTo>
                    <a:pt x="764" y="151"/>
                  </a:lnTo>
                  <a:lnTo>
                    <a:pt x="762" y="146"/>
                  </a:lnTo>
                  <a:lnTo>
                    <a:pt x="760" y="144"/>
                  </a:lnTo>
                  <a:lnTo>
                    <a:pt x="753" y="141"/>
                  </a:lnTo>
                  <a:lnTo>
                    <a:pt x="741" y="139"/>
                  </a:lnTo>
                  <a:lnTo>
                    <a:pt x="731" y="137"/>
                  </a:lnTo>
                  <a:lnTo>
                    <a:pt x="721" y="141"/>
                  </a:lnTo>
                  <a:lnTo>
                    <a:pt x="710" y="146"/>
                  </a:lnTo>
                  <a:lnTo>
                    <a:pt x="700" y="155"/>
                  </a:lnTo>
                  <a:lnTo>
                    <a:pt x="690" y="161"/>
                  </a:lnTo>
                  <a:lnTo>
                    <a:pt x="683" y="172"/>
                  </a:lnTo>
                  <a:lnTo>
                    <a:pt x="678" y="180"/>
                  </a:lnTo>
                  <a:lnTo>
                    <a:pt x="678" y="189"/>
                  </a:lnTo>
                  <a:lnTo>
                    <a:pt x="678" y="204"/>
                  </a:lnTo>
                  <a:lnTo>
                    <a:pt x="683" y="218"/>
                  </a:lnTo>
                  <a:lnTo>
                    <a:pt x="690" y="229"/>
                  </a:lnTo>
                  <a:lnTo>
                    <a:pt x="700" y="241"/>
                  </a:lnTo>
                  <a:lnTo>
                    <a:pt x="705" y="251"/>
                  </a:lnTo>
                  <a:lnTo>
                    <a:pt x="704" y="256"/>
                  </a:lnTo>
                  <a:lnTo>
                    <a:pt x="697" y="256"/>
                  </a:lnTo>
                  <a:lnTo>
                    <a:pt x="686" y="253"/>
                  </a:lnTo>
                  <a:lnTo>
                    <a:pt x="673" y="246"/>
                  </a:lnTo>
                  <a:lnTo>
                    <a:pt x="659" y="239"/>
                  </a:lnTo>
                  <a:lnTo>
                    <a:pt x="643" y="232"/>
                  </a:lnTo>
                  <a:lnTo>
                    <a:pt x="635" y="229"/>
                  </a:lnTo>
                  <a:lnTo>
                    <a:pt x="612" y="222"/>
                  </a:lnTo>
                  <a:lnTo>
                    <a:pt x="597" y="222"/>
                  </a:lnTo>
                  <a:lnTo>
                    <a:pt x="588" y="220"/>
                  </a:lnTo>
                  <a:lnTo>
                    <a:pt x="585" y="225"/>
                  </a:lnTo>
                  <a:lnTo>
                    <a:pt x="585" y="230"/>
                  </a:lnTo>
                  <a:lnTo>
                    <a:pt x="588" y="237"/>
                  </a:lnTo>
                  <a:lnTo>
                    <a:pt x="585" y="247"/>
                  </a:lnTo>
                  <a:lnTo>
                    <a:pt x="583" y="254"/>
                  </a:lnTo>
                  <a:lnTo>
                    <a:pt x="580" y="254"/>
                  </a:lnTo>
                  <a:lnTo>
                    <a:pt x="576" y="256"/>
                  </a:lnTo>
                  <a:lnTo>
                    <a:pt x="568" y="249"/>
                  </a:lnTo>
                  <a:lnTo>
                    <a:pt x="561" y="246"/>
                  </a:lnTo>
                  <a:lnTo>
                    <a:pt x="545" y="247"/>
                  </a:lnTo>
                  <a:lnTo>
                    <a:pt x="528" y="254"/>
                  </a:lnTo>
                  <a:lnTo>
                    <a:pt x="518" y="256"/>
                  </a:lnTo>
                  <a:lnTo>
                    <a:pt x="507" y="258"/>
                  </a:lnTo>
                  <a:lnTo>
                    <a:pt x="497" y="256"/>
                  </a:lnTo>
                  <a:lnTo>
                    <a:pt x="490" y="256"/>
                  </a:lnTo>
                  <a:lnTo>
                    <a:pt x="482" y="247"/>
                  </a:lnTo>
                  <a:lnTo>
                    <a:pt x="470" y="247"/>
                  </a:lnTo>
                  <a:lnTo>
                    <a:pt x="454" y="253"/>
                  </a:lnTo>
                  <a:lnTo>
                    <a:pt x="439" y="263"/>
                  </a:lnTo>
                  <a:lnTo>
                    <a:pt x="420" y="273"/>
                  </a:lnTo>
                  <a:lnTo>
                    <a:pt x="406" y="284"/>
                  </a:lnTo>
                  <a:lnTo>
                    <a:pt x="392" y="290"/>
                  </a:lnTo>
                  <a:lnTo>
                    <a:pt x="384" y="294"/>
                  </a:lnTo>
                  <a:lnTo>
                    <a:pt x="373" y="290"/>
                  </a:lnTo>
                  <a:lnTo>
                    <a:pt x="370" y="284"/>
                  </a:lnTo>
                  <a:lnTo>
                    <a:pt x="370" y="273"/>
                  </a:lnTo>
                  <a:lnTo>
                    <a:pt x="372" y="265"/>
                  </a:lnTo>
                  <a:lnTo>
                    <a:pt x="370" y="254"/>
                  </a:lnTo>
                  <a:lnTo>
                    <a:pt x="368" y="251"/>
                  </a:lnTo>
                  <a:lnTo>
                    <a:pt x="363" y="247"/>
                  </a:lnTo>
                  <a:lnTo>
                    <a:pt x="358" y="253"/>
                  </a:lnTo>
                  <a:lnTo>
                    <a:pt x="351" y="263"/>
                  </a:lnTo>
                  <a:lnTo>
                    <a:pt x="344" y="285"/>
                  </a:lnTo>
                  <a:lnTo>
                    <a:pt x="347" y="290"/>
                  </a:lnTo>
                  <a:lnTo>
                    <a:pt x="353" y="301"/>
                  </a:lnTo>
                  <a:lnTo>
                    <a:pt x="347" y="308"/>
                  </a:lnTo>
                  <a:lnTo>
                    <a:pt x="337" y="311"/>
                  </a:lnTo>
                  <a:lnTo>
                    <a:pt x="323" y="308"/>
                  </a:lnTo>
                  <a:lnTo>
                    <a:pt x="311" y="311"/>
                  </a:lnTo>
                  <a:lnTo>
                    <a:pt x="306" y="313"/>
                  </a:lnTo>
                  <a:lnTo>
                    <a:pt x="303" y="320"/>
                  </a:lnTo>
                  <a:lnTo>
                    <a:pt x="298" y="327"/>
                  </a:lnTo>
                  <a:lnTo>
                    <a:pt x="294" y="335"/>
                  </a:lnTo>
                  <a:lnTo>
                    <a:pt x="287" y="340"/>
                  </a:lnTo>
                  <a:lnTo>
                    <a:pt x="277" y="344"/>
                  </a:lnTo>
                  <a:lnTo>
                    <a:pt x="263" y="344"/>
                  </a:lnTo>
                  <a:lnTo>
                    <a:pt x="246" y="339"/>
                  </a:lnTo>
                  <a:lnTo>
                    <a:pt x="246" y="359"/>
                  </a:lnTo>
                  <a:lnTo>
                    <a:pt x="234" y="356"/>
                  </a:lnTo>
                  <a:lnTo>
                    <a:pt x="227" y="352"/>
                  </a:lnTo>
                  <a:lnTo>
                    <a:pt x="222" y="345"/>
                  </a:lnTo>
                  <a:lnTo>
                    <a:pt x="220" y="340"/>
                  </a:lnTo>
                  <a:lnTo>
                    <a:pt x="215" y="323"/>
                  </a:lnTo>
                  <a:lnTo>
                    <a:pt x="210" y="311"/>
                  </a:lnTo>
                  <a:lnTo>
                    <a:pt x="224" y="311"/>
                  </a:lnTo>
                  <a:lnTo>
                    <a:pt x="237" y="311"/>
                  </a:lnTo>
                  <a:lnTo>
                    <a:pt x="249" y="311"/>
                  </a:lnTo>
                  <a:lnTo>
                    <a:pt x="265" y="316"/>
                  </a:lnTo>
                  <a:lnTo>
                    <a:pt x="275" y="316"/>
                  </a:lnTo>
                  <a:lnTo>
                    <a:pt x="289" y="313"/>
                  </a:lnTo>
                  <a:lnTo>
                    <a:pt x="299" y="308"/>
                  </a:lnTo>
                  <a:lnTo>
                    <a:pt x="308" y="301"/>
                  </a:lnTo>
                  <a:lnTo>
                    <a:pt x="308" y="290"/>
                  </a:lnTo>
                  <a:lnTo>
                    <a:pt x="303" y="282"/>
                  </a:lnTo>
                  <a:lnTo>
                    <a:pt x="287" y="271"/>
                  </a:lnTo>
                  <a:lnTo>
                    <a:pt x="263" y="261"/>
                  </a:lnTo>
                  <a:lnTo>
                    <a:pt x="251" y="256"/>
                  </a:lnTo>
                  <a:lnTo>
                    <a:pt x="239" y="251"/>
                  </a:lnTo>
                  <a:lnTo>
                    <a:pt x="225" y="244"/>
                  </a:lnTo>
                  <a:lnTo>
                    <a:pt x="212" y="239"/>
                  </a:lnTo>
                  <a:lnTo>
                    <a:pt x="196" y="234"/>
                  </a:lnTo>
                  <a:lnTo>
                    <a:pt x="184" y="229"/>
                  </a:lnTo>
                  <a:lnTo>
                    <a:pt x="174" y="225"/>
                  </a:lnTo>
                  <a:lnTo>
                    <a:pt x="167" y="225"/>
                  </a:lnTo>
                  <a:lnTo>
                    <a:pt x="163" y="223"/>
                  </a:lnTo>
                  <a:lnTo>
                    <a:pt x="153" y="225"/>
                  </a:lnTo>
                  <a:lnTo>
                    <a:pt x="145" y="229"/>
                  </a:lnTo>
                  <a:lnTo>
                    <a:pt x="138" y="235"/>
                  </a:lnTo>
                  <a:lnTo>
                    <a:pt x="129" y="241"/>
                  </a:lnTo>
                  <a:lnTo>
                    <a:pt x="127" y="251"/>
                  </a:lnTo>
                  <a:lnTo>
                    <a:pt x="129" y="254"/>
                  </a:lnTo>
                  <a:lnTo>
                    <a:pt x="136" y="259"/>
                  </a:lnTo>
                  <a:lnTo>
                    <a:pt x="143" y="263"/>
                  </a:lnTo>
                  <a:lnTo>
                    <a:pt x="146" y="271"/>
                  </a:lnTo>
                  <a:lnTo>
                    <a:pt x="141" y="280"/>
                  </a:lnTo>
                  <a:lnTo>
                    <a:pt x="138" y="292"/>
                  </a:lnTo>
                  <a:lnTo>
                    <a:pt x="141" y="304"/>
                  </a:lnTo>
                  <a:lnTo>
                    <a:pt x="146" y="316"/>
                  </a:lnTo>
                  <a:lnTo>
                    <a:pt x="143" y="323"/>
                  </a:lnTo>
                  <a:lnTo>
                    <a:pt x="141" y="332"/>
                  </a:lnTo>
                  <a:lnTo>
                    <a:pt x="143" y="337"/>
                  </a:lnTo>
                  <a:lnTo>
                    <a:pt x="148" y="344"/>
                  </a:lnTo>
                  <a:lnTo>
                    <a:pt x="153" y="351"/>
                  </a:lnTo>
                  <a:lnTo>
                    <a:pt x="157" y="357"/>
                  </a:lnTo>
                  <a:lnTo>
                    <a:pt x="153" y="361"/>
                  </a:lnTo>
                  <a:lnTo>
                    <a:pt x="151" y="364"/>
                  </a:lnTo>
                  <a:lnTo>
                    <a:pt x="160" y="373"/>
                  </a:lnTo>
                  <a:lnTo>
                    <a:pt x="167" y="385"/>
                  </a:lnTo>
                  <a:lnTo>
                    <a:pt x="160" y="397"/>
                  </a:lnTo>
                  <a:lnTo>
                    <a:pt x="148" y="411"/>
                  </a:lnTo>
                  <a:lnTo>
                    <a:pt x="132" y="423"/>
                  </a:lnTo>
                  <a:lnTo>
                    <a:pt x="122" y="435"/>
                  </a:lnTo>
                  <a:lnTo>
                    <a:pt x="127" y="442"/>
                  </a:lnTo>
                  <a:lnTo>
                    <a:pt x="134" y="454"/>
                  </a:lnTo>
                  <a:lnTo>
                    <a:pt x="127" y="455"/>
                  </a:lnTo>
                  <a:lnTo>
                    <a:pt x="120" y="459"/>
                  </a:lnTo>
                  <a:lnTo>
                    <a:pt x="112" y="462"/>
                  </a:lnTo>
                  <a:lnTo>
                    <a:pt x="107" y="464"/>
                  </a:lnTo>
                  <a:lnTo>
                    <a:pt x="95" y="462"/>
                  </a:lnTo>
                  <a:lnTo>
                    <a:pt x="81" y="461"/>
                  </a:lnTo>
                  <a:lnTo>
                    <a:pt x="69" y="461"/>
                  </a:lnTo>
                  <a:lnTo>
                    <a:pt x="59" y="466"/>
                  </a:lnTo>
                  <a:lnTo>
                    <a:pt x="50" y="471"/>
                  </a:lnTo>
                  <a:lnTo>
                    <a:pt x="52" y="478"/>
                  </a:lnTo>
                  <a:lnTo>
                    <a:pt x="64" y="493"/>
                  </a:lnTo>
                  <a:lnTo>
                    <a:pt x="65" y="504"/>
                  </a:lnTo>
                  <a:lnTo>
                    <a:pt x="62" y="509"/>
                  </a:lnTo>
                  <a:lnTo>
                    <a:pt x="59" y="512"/>
                  </a:lnTo>
                  <a:lnTo>
                    <a:pt x="52" y="509"/>
                  </a:lnTo>
                  <a:lnTo>
                    <a:pt x="46" y="505"/>
                  </a:lnTo>
                  <a:lnTo>
                    <a:pt x="41" y="500"/>
                  </a:lnTo>
                  <a:lnTo>
                    <a:pt x="38" y="498"/>
                  </a:lnTo>
                  <a:lnTo>
                    <a:pt x="29" y="502"/>
                  </a:lnTo>
                  <a:lnTo>
                    <a:pt x="24" y="511"/>
                  </a:lnTo>
                  <a:lnTo>
                    <a:pt x="17" y="523"/>
                  </a:lnTo>
                  <a:lnTo>
                    <a:pt x="17" y="535"/>
                  </a:lnTo>
                  <a:lnTo>
                    <a:pt x="14" y="545"/>
                  </a:lnTo>
                  <a:lnTo>
                    <a:pt x="9" y="552"/>
                  </a:lnTo>
                  <a:lnTo>
                    <a:pt x="2" y="557"/>
                  </a:lnTo>
                  <a:lnTo>
                    <a:pt x="0" y="569"/>
                  </a:lnTo>
                  <a:lnTo>
                    <a:pt x="9" y="567"/>
                  </a:lnTo>
                  <a:lnTo>
                    <a:pt x="19" y="567"/>
                  </a:lnTo>
                  <a:lnTo>
                    <a:pt x="31" y="567"/>
                  </a:lnTo>
                  <a:lnTo>
                    <a:pt x="45" y="567"/>
                  </a:lnTo>
                  <a:lnTo>
                    <a:pt x="50" y="569"/>
                  </a:lnTo>
                  <a:lnTo>
                    <a:pt x="55" y="578"/>
                  </a:lnTo>
                  <a:lnTo>
                    <a:pt x="59" y="586"/>
                  </a:lnTo>
                  <a:lnTo>
                    <a:pt x="60" y="596"/>
                  </a:lnTo>
                  <a:lnTo>
                    <a:pt x="57" y="605"/>
                  </a:lnTo>
                  <a:lnTo>
                    <a:pt x="53" y="614"/>
                  </a:lnTo>
                  <a:lnTo>
                    <a:pt x="57" y="627"/>
                  </a:lnTo>
                  <a:lnTo>
                    <a:pt x="62" y="641"/>
                  </a:lnTo>
                  <a:lnTo>
                    <a:pt x="57" y="646"/>
                  </a:lnTo>
                  <a:lnTo>
                    <a:pt x="52" y="652"/>
                  </a:lnTo>
                  <a:lnTo>
                    <a:pt x="45" y="664"/>
                  </a:lnTo>
                  <a:lnTo>
                    <a:pt x="43" y="681"/>
                  </a:lnTo>
                  <a:lnTo>
                    <a:pt x="43" y="688"/>
                  </a:lnTo>
                  <a:lnTo>
                    <a:pt x="48" y="691"/>
                  </a:lnTo>
                  <a:lnTo>
                    <a:pt x="55" y="691"/>
                  </a:lnTo>
                  <a:lnTo>
                    <a:pt x="65" y="693"/>
                  </a:lnTo>
                  <a:lnTo>
                    <a:pt x="74" y="691"/>
                  </a:lnTo>
                  <a:lnTo>
                    <a:pt x="84" y="689"/>
                  </a:lnTo>
                  <a:lnTo>
                    <a:pt x="91" y="686"/>
                  </a:lnTo>
                  <a:lnTo>
                    <a:pt x="102" y="686"/>
                  </a:lnTo>
                  <a:lnTo>
                    <a:pt x="108" y="689"/>
                  </a:lnTo>
                  <a:lnTo>
                    <a:pt x="112" y="698"/>
                  </a:lnTo>
                  <a:lnTo>
                    <a:pt x="115" y="707"/>
                  </a:lnTo>
                  <a:lnTo>
                    <a:pt x="124" y="712"/>
                  </a:lnTo>
                  <a:lnTo>
                    <a:pt x="124" y="732"/>
                  </a:lnTo>
                  <a:lnTo>
                    <a:pt x="124" y="734"/>
                  </a:lnTo>
                  <a:lnTo>
                    <a:pt x="127" y="736"/>
                  </a:lnTo>
                  <a:lnTo>
                    <a:pt x="129" y="739"/>
                  </a:lnTo>
                  <a:lnTo>
                    <a:pt x="134" y="737"/>
                  </a:lnTo>
                  <a:lnTo>
                    <a:pt x="141" y="736"/>
                  </a:lnTo>
                  <a:lnTo>
                    <a:pt x="146" y="731"/>
                  </a:lnTo>
                  <a:lnTo>
                    <a:pt x="153" y="727"/>
                  </a:lnTo>
                  <a:lnTo>
                    <a:pt x="157" y="722"/>
                  </a:lnTo>
                  <a:lnTo>
                    <a:pt x="165" y="720"/>
                  </a:lnTo>
                  <a:lnTo>
                    <a:pt x="172" y="725"/>
                  </a:lnTo>
                  <a:lnTo>
                    <a:pt x="184" y="739"/>
                  </a:lnTo>
                  <a:lnTo>
                    <a:pt x="196" y="751"/>
                  </a:lnTo>
                  <a:lnTo>
                    <a:pt x="205" y="758"/>
                  </a:lnTo>
                  <a:lnTo>
                    <a:pt x="212" y="755"/>
                  </a:lnTo>
                  <a:lnTo>
                    <a:pt x="222" y="751"/>
                  </a:lnTo>
                  <a:lnTo>
                    <a:pt x="232" y="746"/>
                  </a:lnTo>
                  <a:lnTo>
                    <a:pt x="239" y="743"/>
                  </a:lnTo>
                  <a:lnTo>
                    <a:pt x="236" y="741"/>
                  </a:lnTo>
                  <a:lnTo>
                    <a:pt x="232" y="741"/>
                  </a:lnTo>
                  <a:lnTo>
                    <a:pt x="227" y="741"/>
                  </a:lnTo>
                  <a:lnTo>
                    <a:pt x="225" y="741"/>
                  </a:lnTo>
                  <a:lnTo>
                    <a:pt x="220" y="739"/>
                  </a:lnTo>
                  <a:lnTo>
                    <a:pt x="217" y="732"/>
                  </a:lnTo>
                  <a:lnTo>
                    <a:pt x="222" y="727"/>
                  </a:lnTo>
                  <a:lnTo>
                    <a:pt x="237" y="720"/>
                  </a:lnTo>
                  <a:lnTo>
                    <a:pt x="244" y="717"/>
                  </a:lnTo>
                  <a:lnTo>
                    <a:pt x="253" y="713"/>
                  </a:lnTo>
                  <a:lnTo>
                    <a:pt x="261" y="710"/>
                  </a:lnTo>
                  <a:lnTo>
                    <a:pt x="268" y="710"/>
                  </a:lnTo>
                  <a:lnTo>
                    <a:pt x="263" y="713"/>
                  </a:lnTo>
                  <a:lnTo>
                    <a:pt x="258" y="719"/>
                  </a:lnTo>
                  <a:lnTo>
                    <a:pt x="260" y="722"/>
                  </a:lnTo>
                  <a:lnTo>
                    <a:pt x="261" y="729"/>
                  </a:lnTo>
                  <a:lnTo>
                    <a:pt x="260" y="732"/>
                  </a:lnTo>
                  <a:lnTo>
                    <a:pt x="258" y="736"/>
                  </a:lnTo>
                  <a:lnTo>
                    <a:pt x="251" y="739"/>
                  </a:lnTo>
                  <a:lnTo>
                    <a:pt x="244" y="743"/>
                  </a:lnTo>
                  <a:lnTo>
                    <a:pt x="248" y="751"/>
                  </a:lnTo>
                  <a:lnTo>
                    <a:pt x="258" y="760"/>
                  </a:lnTo>
                  <a:lnTo>
                    <a:pt x="270" y="765"/>
                  </a:lnTo>
                  <a:lnTo>
                    <a:pt x="284" y="772"/>
                  </a:lnTo>
                  <a:lnTo>
                    <a:pt x="294" y="777"/>
                  </a:lnTo>
                  <a:lnTo>
                    <a:pt x="304" y="784"/>
                  </a:lnTo>
                  <a:lnTo>
                    <a:pt x="311" y="793"/>
                  </a:lnTo>
                  <a:lnTo>
                    <a:pt x="315" y="808"/>
                  </a:lnTo>
                  <a:lnTo>
                    <a:pt x="317" y="808"/>
                  </a:lnTo>
                  <a:lnTo>
                    <a:pt x="322" y="805"/>
                  </a:lnTo>
                  <a:lnTo>
                    <a:pt x="327" y="805"/>
                  </a:lnTo>
                  <a:lnTo>
                    <a:pt x="335" y="805"/>
                  </a:lnTo>
                  <a:lnTo>
                    <a:pt x="341" y="810"/>
                  </a:lnTo>
                  <a:lnTo>
                    <a:pt x="344" y="817"/>
                  </a:lnTo>
                  <a:lnTo>
                    <a:pt x="347" y="825"/>
                  </a:lnTo>
                  <a:lnTo>
                    <a:pt x="353" y="829"/>
                  </a:lnTo>
                  <a:lnTo>
                    <a:pt x="360" y="834"/>
                  </a:lnTo>
                  <a:lnTo>
                    <a:pt x="365" y="837"/>
                  </a:lnTo>
                  <a:lnTo>
                    <a:pt x="370" y="844"/>
                  </a:lnTo>
                  <a:lnTo>
                    <a:pt x="375" y="849"/>
                  </a:lnTo>
                  <a:lnTo>
                    <a:pt x="385" y="853"/>
                  </a:lnTo>
                  <a:lnTo>
                    <a:pt x="394" y="846"/>
                  </a:lnTo>
                  <a:lnTo>
                    <a:pt x="403" y="841"/>
                  </a:lnTo>
                  <a:lnTo>
                    <a:pt x="406" y="839"/>
                  </a:lnTo>
                  <a:lnTo>
                    <a:pt x="411" y="839"/>
                  </a:lnTo>
                  <a:lnTo>
                    <a:pt x="411" y="842"/>
                  </a:lnTo>
                  <a:lnTo>
                    <a:pt x="415" y="848"/>
                  </a:lnTo>
                  <a:lnTo>
                    <a:pt x="413" y="849"/>
                  </a:lnTo>
                  <a:lnTo>
                    <a:pt x="415" y="851"/>
                  </a:lnTo>
                  <a:lnTo>
                    <a:pt x="421" y="853"/>
                  </a:lnTo>
                  <a:lnTo>
                    <a:pt x="427" y="837"/>
                  </a:lnTo>
                  <a:lnTo>
                    <a:pt x="435" y="827"/>
                  </a:lnTo>
                  <a:lnTo>
                    <a:pt x="423" y="817"/>
                  </a:lnTo>
                  <a:lnTo>
                    <a:pt x="413" y="803"/>
                  </a:lnTo>
                  <a:lnTo>
                    <a:pt x="404" y="786"/>
                  </a:lnTo>
                  <a:lnTo>
                    <a:pt x="401" y="772"/>
                  </a:lnTo>
                  <a:lnTo>
                    <a:pt x="394" y="762"/>
                  </a:lnTo>
                  <a:lnTo>
                    <a:pt x="389" y="753"/>
                  </a:lnTo>
                  <a:lnTo>
                    <a:pt x="389" y="746"/>
                  </a:lnTo>
                  <a:lnTo>
                    <a:pt x="394" y="739"/>
                  </a:lnTo>
                  <a:lnTo>
                    <a:pt x="397" y="731"/>
                  </a:lnTo>
                  <a:lnTo>
                    <a:pt x="403" y="727"/>
                  </a:lnTo>
                  <a:lnTo>
                    <a:pt x="404" y="725"/>
                  </a:lnTo>
                  <a:lnTo>
                    <a:pt x="411" y="724"/>
                  </a:lnTo>
                  <a:lnTo>
                    <a:pt x="416" y="720"/>
                  </a:lnTo>
                  <a:lnTo>
                    <a:pt x="421" y="720"/>
                  </a:lnTo>
                  <a:lnTo>
                    <a:pt x="428" y="715"/>
                  </a:lnTo>
                  <a:lnTo>
                    <a:pt x="437" y="713"/>
                  </a:lnTo>
                  <a:lnTo>
                    <a:pt x="447" y="712"/>
                  </a:lnTo>
                  <a:lnTo>
                    <a:pt x="459" y="712"/>
                  </a:lnTo>
                  <a:lnTo>
                    <a:pt x="468" y="712"/>
                  </a:lnTo>
                  <a:lnTo>
                    <a:pt x="475" y="713"/>
                  </a:lnTo>
                  <a:lnTo>
                    <a:pt x="480" y="715"/>
                  </a:lnTo>
                  <a:lnTo>
                    <a:pt x="485" y="720"/>
                  </a:lnTo>
                  <a:lnTo>
                    <a:pt x="492" y="729"/>
                  </a:lnTo>
                  <a:lnTo>
                    <a:pt x="501" y="739"/>
                  </a:lnTo>
                  <a:lnTo>
                    <a:pt x="487" y="743"/>
                  </a:lnTo>
                  <a:lnTo>
                    <a:pt x="475" y="741"/>
                  </a:lnTo>
                  <a:lnTo>
                    <a:pt x="463" y="741"/>
                  </a:lnTo>
                  <a:lnTo>
                    <a:pt x="451" y="746"/>
                  </a:lnTo>
                  <a:lnTo>
                    <a:pt x="442" y="750"/>
                  </a:lnTo>
                  <a:lnTo>
                    <a:pt x="439" y="753"/>
                  </a:lnTo>
                  <a:lnTo>
                    <a:pt x="442" y="762"/>
                  </a:lnTo>
                  <a:lnTo>
                    <a:pt x="451" y="768"/>
                  </a:lnTo>
                  <a:lnTo>
                    <a:pt x="456" y="779"/>
                  </a:lnTo>
                  <a:lnTo>
                    <a:pt x="464" y="789"/>
                  </a:lnTo>
                  <a:lnTo>
                    <a:pt x="470" y="798"/>
                  </a:lnTo>
                  <a:lnTo>
                    <a:pt x="473" y="811"/>
                  </a:lnTo>
                  <a:lnTo>
                    <a:pt x="482" y="806"/>
                  </a:lnTo>
                  <a:lnTo>
                    <a:pt x="490" y="805"/>
                  </a:lnTo>
                  <a:lnTo>
                    <a:pt x="494" y="813"/>
                  </a:lnTo>
                  <a:lnTo>
                    <a:pt x="499" y="823"/>
                  </a:lnTo>
                  <a:lnTo>
                    <a:pt x="485" y="823"/>
                  </a:lnTo>
                  <a:lnTo>
                    <a:pt x="476" y="827"/>
                  </a:lnTo>
                  <a:lnTo>
                    <a:pt x="475" y="835"/>
                  </a:lnTo>
                  <a:lnTo>
                    <a:pt x="487" y="842"/>
                  </a:lnTo>
                  <a:lnTo>
                    <a:pt x="492" y="858"/>
                  </a:lnTo>
                  <a:lnTo>
                    <a:pt x="490" y="863"/>
                  </a:lnTo>
                  <a:lnTo>
                    <a:pt x="489" y="868"/>
                  </a:lnTo>
                  <a:lnTo>
                    <a:pt x="490" y="875"/>
                  </a:lnTo>
                  <a:lnTo>
                    <a:pt x="494" y="880"/>
                  </a:lnTo>
                  <a:lnTo>
                    <a:pt x="495" y="875"/>
                  </a:lnTo>
                  <a:lnTo>
                    <a:pt x="504" y="873"/>
                  </a:lnTo>
                  <a:lnTo>
                    <a:pt x="509" y="870"/>
                  </a:lnTo>
                  <a:lnTo>
                    <a:pt x="514" y="866"/>
                  </a:lnTo>
                  <a:lnTo>
                    <a:pt x="525" y="863"/>
                  </a:lnTo>
                  <a:lnTo>
                    <a:pt x="537" y="860"/>
                  </a:lnTo>
                  <a:lnTo>
                    <a:pt x="550" y="865"/>
                  </a:lnTo>
                  <a:lnTo>
                    <a:pt x="566" y="872"/>
                  </a:lnTo>
                  <a:lnTo>
                    <a:pt x="573" y="875"/>
                  </a:lnTo>
                  <a:lnTo>
                    <a:pt x="580" y="878"/>
                  </a:lnTo>
                  <a:lnTo>
                    <a:pt x="585" y="882"/>
                  </a:lnTo>
                  <a:lnTo>
                    <a:pt x="597" y="885"/>
                  </a:lnTo>
                  <a:lnTo>
                    <a:pt x="599" y="889"/>
                  </a:lnTo>
                  <a:lnTo>
                    <a:pt x="600" y="892"/>
                  </a:lnTo>
                  <a:lnTo>
                    <a:pt x="600" y="901"/>
                  </a:lnTo>
                  <a:lnTo>
                    <a:pt x="602" y="911"/>
                  </a:lnTo>
                  <a:lnTo>
                    <a:pt x="609" y="909"/>
                  </a:lnTo>
                  <a:lnTo>
                    <a:pt x="618" y="913"/>
                  </a:lnTo>
                  <a:lnTo>
                    <a:pt x="624" y="909"/>
                  </a:lnTo>
                  <a:lnTo>
                    <a:pt x="630" y="904"/>
                  </a:lnTo>
                  <a:lnTo>
                    <a:pt x="636" y="901"/>
                  </a:lnTo>
                  <a:lnTo>
                    <a:pt x="643" y="897"/>
                  </a:lnTo>
                  <a:lnTo>
                    <a:pt x="647" y="889"/>
                  </a:lnTo>
                  <a:lnTo>
                    <a:pt x="652" y="882"/>
                  </a:lnTo>
                  <a:lnTo>
                    <a:pt x="657" y="877"/>
                  </a:lnTo>
                  <a:lnTo>
                    <a:pt x="666" y="875"/>
                  </a:lnTo>
                  <a:lnTo>
                    <a:pt x="669" y="875"/>
                  </a:lnTo>
                  <a:lnTo>
                    <a:pt x="674" y="877"/>
                  </a:lnTo>
                  <a:lnTo>
                    <a:pt x="681" y="880"/>
                  </a:lnTo>
                  <a:lnTo>
                    <a:pt x="690" y="878"/>
                  </a:lnTo>
                  <a:lnTo>
                    <a:pt x="695" y="880"/>
                  </a:lnTo>
                  <a:lnTo>
                    <a:pt x="700" y="884"/>
                  </a:lnTo>
                  <a:lnTo>
                    <a:pt x="712" y="880"/>
                  </a:lnTo>
                  <a:lnTo>
                    <a:pt x="722" y="872"/>
                  </a:lnTo>
                  <a:lnTo>
                    <a:pt x="724" y="872"/>
                  </a:lnTo>
                  <a:lnTo>
                    <a:pt x="729" y="865"/>
                  </a:lnTo>
                  <a:lnTo>
                    <a:pt x="741" y="860"/>
                  </a:lnTo>
                  <a:lnTo>
                    <a:pt x="745" y="863"/>
                  </a:lnTo>
                  <a:lnTo>
                    <a:pt x="747" y="872"/>
                  </a:lnTo>
                  <a:lnTo>
                    <a:pt x="747" y="880"/>
                  </a:lnTo>
                  <a:lnTo>
                    <a:pt x="753" y="885"/>
                  </a:lnTo>
                  <a:lnTo>
                    <a:pt x="765" y="880"/>
                  </a:lnTo>
                  <a:lnTo>
                    <a:pt x="779" y="877"/>
                  </a:lnTo>
                  <a:lnTo>
                    <a:pt x="788" y="877"/>
                  </a:lnTo>
                  <a:lnTo>
                    <a:pt x="796" y="878"/>
                  </a:lnTo>
                  <a:lnTo>
                    <a:pt x="796" y="877"/>
                  </a:lnTo>
                  <a:lnTo>
                    <a:pt x="791" y="863"/>
                  </a:lnTo>
                  <a:lnTo>
                    <a:pt x="779" y="858"/>
                  </a:lnTo>
                  <a:lnTo>
                    <a:pt x="781" y="848"/>
                  </a:lnTo>
                  <a:lnTo>
                    <a:pt x="786" y="837"/>
                  </a:lnTo>
                  <a:lnTo>
                    <a:pt x="791" y="829"/>
                  </a:lnTo>
                  <a:lnTo>
                    <a:pt x="798" y="825"/>
                  </a:lnTo>
                  <a:lnTo>
                    <a:pt x="814" y="823"/>
                  </a:lnTo>
                  <a:lnTo>
                    <a:pt x="829" y="820"/>
                  </a:lnTo>
                  <a:lnTo>
                    <a:pt x="843" y="813"/>
                  </a:lnTo>
                  <a:lnTo>
                    <a:pt x="855" y="805"/>
                  </a:lnTo>
                  <a:lnTo>
                    <a:pt x="863" y="793"/>
                  </a:lnTo>
                  <a:lnTo>
                    <a:pt x="870" y="779"/>
                  </a:lnTo>
                  <a:lnTo>
                    <a:pt x="874" y="763"/>
                  </a:lnTo>
                  <a:lnTo>
                    <a:pt x="877" y="744"/>
                  </a:lnTo>
                  <a:lnTo>
                    <a:pt x="891" y="737"/>
                  </a:lnTo>
                  <a:lnTo>
                    <a:pt x="901" y="725"/>
                  </a:lnTo>
                  <a:lnTo>
                    <a:pt x="910" y="713"/>
                  </a:lnTo>
                  <a:lnTo>
                    <a:pt x="920" y="712"/>
                  </a:lnTo>
                  <a:lnTo>
                    <a:pt x="932" y="710"/>
                  </a:lnTo>
                  <a:lnTo>
                    <a:pt x="941" y="708"/>
                  </a:lnTo>
                  <a:lnTo>
                    <a:pt x="944" y="703"/>
                  </a:lnTo>
                  <a:lnTo>
                    <a:pt x="949" y="700"/>
                  </a:lnTo>
                  <a:lnTo>
                    <a:pt x="949" y="688"/>
                  </a:lnTo>
                  <a:lnTo>
                    <a:pt x="953" y="681"/>
                  </a:lnTo>
                  <a:lnTo>
                    <a:pt x="960" y="674"/>
                  </a:lnTo>
                  <a:lnTo>
                    <a:pt x="968" y="669"/>
                  </a:lnTo>
                  <a:lnTo>
                    <a:pt x="979" y="665"/>
                  </a:lnTo>
                  <a:lnTo>
                    <a:pt x="989" y="664"/>
                  </a:lnTo>
                  <a:lnTo>
                    <a:pt x="999" y="658"/>
                  </a:lnTo>
                  <a:lnTo>
                    <a:pt x="1010" y="655"/>
                  </a:lnTo>
                  <a:lnTo>
                    <a:pt x="1020" y="652"/>
                  </a:lnTo>
                  <a:lnTo>
                    <a:pt x="1030" y="648"/>
                  </a:lnTo>
                  <a:lnTo>
                    <a:pt x="1037" y="641"/>
                  </a:lnTo>
                  <a:lnTo>
                    <a:pt x="1049" y="636"/>
                  </a:lnTo>
                  <a:lnTo>
                    <a:pt x="1060" y="638"/>
                  </a:lnTo>
                  <a:lnTo>
                    <a:pt x="1075" y="643"/>
                  </a:lnTo>
                  <a:lnTo>
                    <a:pt x="1089" y="648"/>
                  </a:lnTo>
                  <a:lnTo>
                    <a:pt x="1106" y="652"/>
                  </a:lnTo>
                  <a:lnTo>
                    <a:pt x="1113" y="648"/>
                  </a:lnTo>
                  <a:lnTo>
                    <a:pt x="1120" y="645"/>
                  </a:lnTo>
                  <a:lnTo>
                    <a:pt x="1123" y="638"/>
                  </a:lnTo>
                  <a:lnTo>
                    <a:pt x="1128" y="631"/>
                  </a:lnTo>
                  <a:lnTo>
                    <a:pt x="1133" y="617"/>
                  </a:lnTo>
                  <a:lnTo>
                    <a:pt x="1144" y="612"/>
                  </a:lnTo>
                  <a:lnTo>
                    <a:pt x="1152" y="612"/>
                  </a:lnTo>
                  <a:lnTo>
                    <a:pt x="1168" y="615"/>
                  </a:lnTo>
                  <a:lnTo>
                    <a:pt x="1180" y="619"/>
                  </a:lnTo>
                  <a:lnTo>
                    <a:pt x="1187" y="626"/>
                  </a:lnTo>
                  <a:lnTo>
                    <a:pt x="1190" y="634"/>
                  </a:lnTo>
                  <a:lnTo>
                    <a:pt x="1195" y="639"/>
                  </a:lnTo>
                  <a:lnTo>
                    <a:pt x="1202" y="643"/>
                  </a:lnTo>
                  <a:lnTo>
                    <a:pt x="1209" y="645"/>
                  </a:lnTo>
                  <a:lnTo>
                    <a:pt x="1221" y="643"/>
                  </a:lnTo>
                  <a:lnTo>
                    <a:pt x="1233" y="641"/>
                  </a:lnTo>
                  <a:lnTo>
                    <a:pt x="1242" y="641"/>
                  </a:lnTo>
                  <a:lnTo>
                    <a:pt x="1252" y="645"/>
                  </a:lnTo>
                  <a:lnTo>
                    <a:pt x="1259" y="648"/>
                  </a:lnTo>
                  <a:lnTo>
                    <a:pt x="1268" y="653"/>
                  </a:lnTo>
                  <a:lnTo>
                    <a:pt x="1275" y="657"/>
                  </a:lnTo>
                  <a:lnTo>
                    <a:pt x="1283" y="660"/>
                  </a:lnTo>
                  <a:lnTo>
                    <a:pt x="1293" y="664"/>
                  </a:lnTo>
                  <a:lnTo>
                    <a:pt x="1305" y="665"/>
                  </a:lnTo>
                  <a:lnTo>
                    <a:pt x="1316" y="664"/>
                  </a:lnTo>
                  <a:lnTo>
                    <a:pt x="1328" y="660"/>
                  </a:lnTo>
                  <a:lnTo>
                    <a:pt x="1340" y="657"/>
                  </a:lnTo>
                  <a:lnTo>
                    <a:pt x="1354" y="653"/>
                  </a:lnTo>
                  <a:lnTo>
                    <a:pt x="1366" y="648"/>
                  </a:lnTo>
                  <a:lnTo>
                    <a:pt x="1379" y="648"/>
                  </a:lnTo>
                  <a:lnTo>
                    <a:pt x="1393" y="648"/>
                  </a:lnTo>
                  <a:lnTo>
                    <a:pt x="1409" y="653"/>
                  </a:lnTo>
                  <a:lnTo>
                    <a:pt x="1422" y="653"/>
                  </a:lnTo>
                  <a:lnTo>
                    <a:pt x="1433" y="650"/>
                  </a:lnTo>
                  <a:lnTo>
                    <a:pt x="1440" y="639"/>
                  </a:lnTo>
                  <a:lnTo>
                    <a:pt x="1447" y="627"/>
                  </a:lnTo>
                  <a:lnTo>
                    <a:pt x="1452" y="612"/>
                  </a:lnTo>
                  <a:lnTo>
                    <a:pt x="1460" y="600"/>
                  </a:lnTo>
                  <a:lnTo>
                    <a:pt x="1474" y="591"/>
                  </a:lnTo>
                  <a:lnTo>
                    <a:pt x="1496" y="588"/>
                  </a:lnTo>
                  <a:lnTo>
                    <a:pt x="1510" y="588"/>
                  </a:lnTo>
                  <a:lnTo>
                    <a:pt x="1520" y="593"/>
                  </a:lnTo>
                  <a:lnTo>
                    <a:pt x="1529" y="598"/>
                  </a:lnTo>
                  <a:lnTo>
                    <a:pt x="1536" y="609"/>
                  </a:lnTo>
                  <a:lnTo>
                    <a:pt x="1541" y="617"/>
                  </a:lnTo>
                  <a:lnTo>
                    <a:pt x="1546" y="629"/>
                  </a:lnTo>
                  <a:lnTo>
                    <a:pt x="1551" y="639"/>
                  </a:lnTo>
                  <a:lnTo>
                    <a:pt x="1558" y="652"/>
                  </a:lnTo>
                  <a:lnTo>
                    <a:pt x="1563" y="657"/>
                  </a:lnTo>
                  <a:lnTo>
                    <a:pt x="1576" y="660"/>
                  </a:lnTo>
                  <a:lnTo>
                    <a:pt x="1586" y="664"/>
                  </a:lnTo>
                  <a:lnTo>
                    <a:pt x="1596" y="670"/>
                  </a:lnTo>
                  <a:lnTo>
                    <a:pt x="1600" y="676"/>
                  </a:lnTo>
                  <a:lnTo>
                    <a:pt x="1606" y="686"/>
                  </a:lnTo>
                  <a:lnTo>
                    <a:pt x="1612" y="693"/>
                  </a:lnTo>
                  <a:lnTo>
                    <a:pt x="1624" y="696"/>
                  </a:lnTo>
                  <a:lnTo>
                    <a:pt x="1632" y="693"/>
                  </a:lnTo>
                  <a:lnTo>
                    <a:pt x="1641" y="688"/>
                  </a:lnTo>
                  <a:lnTo>
                    <a:pt x="1649" y="682"/>
                  </a:lnTo>
                  <a:lnTo>
                    <a:pt x="1665" y="681"/>
                  </a:lnTo>
                  <a:lnTo>
                    <a:pt x="1665" y="694"/>
                  </a:lnTo>
                  <a:lnTo>
                    <a:pt x="1656" y="703"/>
                  </a:lnTo>
                  <a:lnTo>
                    <a:pt x="1649" y="717"/>
                  </a:lnTo>
                  <a:lnTo>
                    <a:pt x="1643" y="731"/>
                  </a:lnTo>
                  <a:lnTo>
                    <a:pt x="1636" y="739"/>
                  </a:lnTo>
                  <a:lnTo>
                    <a:pt x="1625" y="743"/>
                  </a:lnTo>
                  <a:lnTo>
                    <a:pt x="1615" y="746"/>
                  </a:lnTo>
                  <a:lnTo>
                    <a:pt x="1608" y="748"/>
                  </a:lnTo>
                  <a:lnTo>
                    <a:pt x="1610" y="753"/>
                  </a:lnTo>
                  <a:lnTo>
                    <a:pt x="1615" y="762"/>
                  </a:lnTo>
                  <a:lnTo>
                    <a:pt x="1615" y="772"/>
                  </a:lnTo>
                  <a:lnTo>
                    <a:pt x="1610" y="780"/>
                  </a:lnTo>
                  <a:lnTo>
                    <a:pt x="1608" y="78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89" name="Freeform 258"/>
            <p:cNvSpPr>
              <a:spLocks/>
            </p:cNvSpPr>
            <p:nvPr/>
          </p:nvSpPr>
          <p:spPr bwMode="auto">
            <a:xfrm>
              <a:off x="5999957" y="2651125"/>
              <a:ext cx="1406525" cy="887412"/>
            </a:xfrm>
            <a:custGeom>
              <a:avLst/>
              <a:gdLst/>
              <a:ahLst/>
              <a:cxnLst>
                <a:cxn ang="0">
                  <a:pos x="659" y="330"/>
                </a:cxn>
                <a:cxn ang="0">
                  <a:pos x="707" y="294"/>
                </a:cxn>
                <a:cxn ang="0">
                  <a:pos x="669" y="294"/>
                </a:cxn>
                <a:cxn ang="0">
                  <a:pos x="635" y="270"/>
                </a:cxn>
                <a:cxn ang="0">
                  <a:pos x="680" y="239"/>
                </a:cxn>
                <a:cxn ang="0">
                  <a:pos x="686" y="263"/>
                </a:cxn>
                <a:cxn ang="0">
                  <a:pos x="745" y="254"/>
                </a:cxn>
                <a:cxn ang="0">
                  <a:pos x="745" y="284"/>
                </a:cxn>
                <a:cxn ang="0">
                  <a:pos x="757" y="299"/>
                </a:cxn>
                <a:cxn ang="0">
                  <a:pos x="762" y="320"/>
                </a:cxn>
                <a:cxn ang="0">
                  <a:pos x="767" y="339"/>
                </a:cxn>
                <a:cxn ang="0">
                  <a:pos x="793" y="328"/>
                </a:cxn>
                <a:cxn ang="0">
                  <a:pos x="784" y="266"/>
                </a:cxn>
                <a:cxn ang="0">
                  <a:pos x="807" y="229"/>
                </a:cxn>
                <a:cxn ang="0">
                  <a:pos x="836" y="184"/>
                </a:cxn>
                <a:cxn ang="0">
                  <a:pos x="857" y="151"/>
                </a:cxn>
                <a:cxn ang="0">
                  <a:pos x="870" y="94"/>
                </a:cxn>
                <a:cxn ang="0">
                  <a:pos x="821" y="88"/>
                </a:cxn>
                <a:cxn ang="0">
                  <a:pos x="772" y="51"/>
                </a:cxn>
                <a:cxn ang="0">
                  <a:pos x="731" y="0"/>
                </a:cxn>
                <a:cxn ang="0">
                  <a:pos x="661" y="51"/>
                </a:cxn>
                <a:cxn ang="0">
                  <a:pos x="587" y="60"/>
                </a:cxn>
                <a:cxn ang="0">
                  <a:pos x="514" y="76"/>
                </a:cxn>
                <a:cxn ang="0">
                  <a:pos x="463" y="53"/>
                </a:cxn>
                <a:cxn ang="0">
                  <a:pos x="411" y="46"/>
                </a:cxn>
                <a:cxn ang="0">
                  <a:pos x="354" y="29"/>
                </a:cxn>
                <a:cxn ang="0">
                  <a:pos x="310" y="60"/>
                </a:cxn>
                <a:cxn ang="0">
                  <a:pos x="241" y="64"/>
                </a:cxn>
                <a:cxn ang="0">
                  <a:pos x="181" y="86"/>
                </a:cxn>
                <a:cxn ang="0">
                  <a:pos x="153" y="122"/>
                </a:cxn>
                <a:cxn ang="0">
                  <a:pos x="95" y="175"/>
                </a:cxn>
                <a:cxn ang="0">
                  <a:pos x="35" y="235"/>
                </a:cxn>
                <a:cxn ang="0">
                  <a:pos x="12" y="275"/>
                </a:cxn>
                <a:cxn ang="0">
                  <a:pos x="35" y="311"/>
                </a:cxn>
                <a:cxn ang="0">
                  <a:pos x="95" y="327"/>
                </a:cxn>
                <a:cxn ang="0">
                  <a:pos x="84" y="364"/>
                </a:cxn>
                <a:cxn ang="0">
                  <a:pos x="78" y="392"/>
                </a:cxn>
                <a:cxn ang="0">
                  <a:pos x="134" y="414"/>
                </a:cxn>
                <a:cxn ang="0">
                  <a:pos x="169" y="437"/>
                </a:cxn>
                <a:cxn ang="0">
                  <a:pos x="217" y="442"/>
                </a:cxn>
                <a:cxn ang="0">
                  <a:pos x="272" y="440"/>
                </a:cxn>
                <a:cxn ang="0">
                  <a:pos x="306" y="419"/>
                </a:cxn>
                <a:cxn ang="0">
                  <a:pos x="341" y="431"/>
                </a:cxn>
                <a:cxn ang="0">
                  <a:pos x="351" y="485"/>
                </a:cxn>
                <a:cxn ang="0">
                  <a:pos x="365" y="504"/>
                </a:cxn>
                <a:cxn ang="0">
                  <a:pos x="392" y="536"/>
                </a:cxn>
                <a:cxn ang="0">
                  <a:pos x="406" y="538"/>
                </a:cxn>
                <a:cxn ang="0">
                  <a:pos x="446" y="517"/>
                </a:cxn>
                <a:cxn ang="0">
                  <a:pos x="508" y="542"/>
                </a:cxn>
                <a:cxn ang="0">
                  <a:pos x="539" y="542"/>
                </a:cxn>
                <a:cxn ang="0">
                  <a:pos x="585" y="524"/>
                </a:cxn>
                <a:cxn ang="0">
                  <a:pos x="638" y="500"/>
                </a:cxn>
                <a:cxn ang="0">
                  <a:pos x="666" y="457"/>
                </a:cxn>
                <a:cxn ang="0">
                  <a:pos x="692" y="416"/>
                </a:cxn>
                <a:cxn ang="0">
                  <a:pos x="676" y="358"/>
                </a:cxn>
              </a:cxnLst>
              <a:rect l="0" t="0" r="r" b="b"/>
              <a:pathLst>
                <a:path w="886" h="559">
                  <a:moveTo>
                    <a:pt x="674" y="352"/>
                  </a:moveTo>
                  <a:lnTo>
                    <a:pt x="673" y="352"/>
                  </a:lnTo>
                  <a:lnTo>
                    <a:pt x="673" y="347"/>
                  </a:lnTo>
                  <a:lnTo>
                    <a:pt x="673" y="342"/>
                  </a:lnTo>
                  <a:lnTo>
                    <a:pt x="664" y="339"/>
                  </a:lnTo>
                  <a:lnTo>
                    <a:pt x="659" y="330"/>
                  </a:lnTo>
                  <a:lnTo>
                    <a:pt x="662" y="323"/>
                  </a:lnTo>
                  <a:lnTo>
                    <a:pt x="669" y="318"/>
                  </a:lnTo>
                  <a:lnTo>
                    <a:pt x="674" y="309"/>
                  </a:lnTo>
                  <a:lnTo>
                    <a:pt x="685" y="304"/>
                  </a:lnTo>
                  <a:lnTo>
                    <a:pt x="697" y="299"/>
                  </a:lnTo>
                  <a:lnTo>
                    <a:pt x="707" y="294"/>
                  </a:lnTo>
                  <a:lnTo>
                    <a:pt x="697" y="290"/>
                  </a:lnTo>
                  <a:lnTo>
                    <a:pt x="688" y="289"/>
                  </a:lnTo>
                  <a:lnTo>
                    <a:pt x="681" y="285"/>
                  </a:lnTo>
                  <a:lnTo>
                    <a:pt x="676" y="284"/>
                  </a:lnTo>
                  <a:lnTo>
                    <a:pt x="673" y="289"/>
                  </a:lnTo>
                  <a:lnTo>
                    <a:pt x="669" y="294"/>
                  </a:lnTo>
                  <a:lnTo>
                    <a:pt x="662" y="294"/>
                  </a:lnTo>
                  <a:lnTo>
                    <a:pt x="655" y="292"/>
                  </a:lnTo>
                  <a:lnTo>
                    <a:pt x="650" y="285"/>
                  </a:lnTo>
                  <a:lnTo>
                    <a:pt x="647" y="278"/>
                  </a:lnTo>
                  <a:lnTo>
                    <a:pt x="638" y="275"/>
                  </a:lnTo>
                  <a:lnTo>
                    <a:pt x="635" y="270"/>
                  </a:lnTo>
                  <a:lnTo>
                    <a:pt x="637" y="263"/>
                  </a:lnTo>
                  <a:lnTo>
                    <a:pt x="643" y="261"/>
                  </a:lnTo>
                  <a:lnTo>
                    <a:pt x="650" y="260"/>
                  </a:lnTo>
                  <a:lnTo>
                    <a:pt x="657" y="258"/>
                  </a:lnTo>
                  <a:lnTo>
                    <a:pt x="668" y="249"/>
                  </a:lnTo>
                  <a:lnTo>
                    <a:pt x="680" y="239"/>
                  </a:lnTo>
                  <a:lnTo>
                    <a:pt x="680" y="235"/>
                  </a:lnTo>
                  <a:lnTo>
                    <a:pt x="686" y="234"/>
                  </a:lnTo>
                  <a:lnTo>
                    <a:pt x="693" y="235"/>
                  </a:lnTo>
                  <a:lnTo>
                    <a:pt x="697" y="242"/>
                  </a:lnTo>
                  <a:lnTo>
                    <a:pt x="692" y="253"/>
                  </a:lnTo>
                  <a:lnTo>
                    <a:pt x="686" y="263"/>
                  </a:lnTo>
                  <a:lnTo>
                    <a:pt x="697" y="260"/>
                  </a:lnTo>
                  <a:lnTo>
                    <a:pt x="707" y="254"/>
                  </a:lnTo>
                  <a:lnTo>
                    <a:pt x="717" y="249"/>
                  </a:lnTo>
                  <a:lnTo>
                    <a:pt x="729" y="247"/>
                  </a:lnTo>
                  <a:lnTo>
                    <a:pt x="736" y="251"/>
                  </a:lnTo>
                  <a:lnTo>
                    <a:pt x="745" y="254"/>
                  </a:lnTo>
                  <a:lnTo>
                    <a:pt x="743" y="260"/>
                  </a:lnTo>
                  <a:lnTo>
                    <a:pt x="745" y="265"/>
                  </a:lnTo>
                  <a:lnTo>
                    <a:pt x="741" y="270"/>
                  </a:lnTo>
                  <a:lnTo>
                    <a:pt x="740" y="275"/>
                  </a:lnTo>
                  <a:lnTo>
                    <a:pt x="740" y="280"/>
                  </a:lnTo>
                  <a:lnTo>
                    <a:pt x="745" y="284"/>
                  </a:lnTo>
                  <a:lnTo>
                    <a:pt x="747" y="282"/>
                  </a:lnTo>
                  <a:lnTo>
                    <a:pt x="752" y="282"/>
                  </a:lnTo>
                  <a:lnTo>
                    <a:pt x="760" y="284"/>
                  </a:lnTo>
                  <a:lnTo>
                    <a:pt x="766" y="292"/>
                  </a:lnTo>
                  <a:lnTo>
                    <a:pt x="762" y="296"/>
                  </a:lnTo>
                  <a:lnTo>
                    <a:pt x="757" y="299"/>
                  </a:lnTo>
                  <a:lnTo>
                    <a:pt x="757" y="304"/>
                  </a:lnTo>
                  <a:lnTo>
                    <a:pt x="759" y="304"/>
                  </a:lnTo>
                  <a:lnTo>
                    <a:pt x="762" y="308"/>
                  </a:lnTo>
                  <a:lnTo>
                    <a:pt x="764" y="311"/>
                  </a:lnTo>
                  <a:lnTo>
                    <a:pt x="766" y="316"/>
                  </a:lnTo>
                  <a:lnTo>
                    <a:pt x="762" y="320"/>
                  </a:lnTo>
                  <a:lnTo>
                    <a:pt x="760" y="327"/>
                  </a:lnTo>
                  <a:lnTo>
                    <a:pt x="760" y="330"/>
                  </a:lnTo>
                  <a:lnTo>
                    <a:pt x="764" y="332"/>
                  </a:lnTo>
                  <a:lnTo>
                    <a:pt x="760" y="335"/>
                  </a:lnTo>
                  <a:lnTo>
                    <a:pt x="760" y="339"/>
                  </a:lnTo>
                  <a:lnTo>
                    <a:pt x="767" y="339"/>
                  </a:lnTo>
                  <a:lnTo>
                    <a:pt x="771" y="335"/>
                  </a:lnTo>
                  <a:lnTo>
                    <a:pt x="778" y="335"/>
                  </a:lnTo>
                  <a:lnTo>
                    <a:pt x="779" y="330"/>
                  </a:lnTo>
                  <a:lnTo>
                    <a:pt x="784" y="330"/>
                  </a:lnTo>
                  <a:lnTo>
                    <a:pt x="788" y="328"/>
                  </a:lnTo>
                  <a:lnTo>
                    <a:pt x="793" y="328"/>
                  </a:lnTo>
                  <a:lnTo>
                    <a:pt x="800" y="321"/>
                  </a:lnTo>
                  <a:lnTo>
                    <a:pt x="803" y="309"/>
                  </a:lnTo>
                  <a:lnTo>
                    <a:pt x="802" y="294"/>
                  </a:lnTo>
                  <a:lnTo>
                    <a:pt x="798" y="284"/>
                  </a:lnTo>
                  <a:lnTo>
                    <a:pt x="791" y="273"/>
                  </a:lnTo>
                  <a:lnTo>
                    <a:pt x="784" y="266"/>
                  </a:lnTo>
                  <a:lnTo>
                    <a:pt x="778" y="258"/>
                  </a:lnTo>
                  <a:lnTo>
                    <a:pt x="776" y="249"/>
                  </a:lnTo>
                  <a:lnTo>
                    <a:pt x="784" y="246"/>
                  </a:lnTo>
                  <a:lnTo>
                    <a:pt x="791" y="241"/>
                  </a:lnTo>
                  <a:lnTo>
                    <a:pt x="798" y="234"/>
                  </a:lnTo>
                  <a:lnTo>
                    <a:pt x="807" y="229"/>
                  </a:lnTo>
                  <a:lnTo>
                    <a:pt x="810" y="218"/>
                  </a:lnTo>
                  <a:lnTo>
                    <a:pt x="815" y="210"/>
                  </a:lnTo>
                  <a:lnTo>
                    <a:pt x="821" y="203"/>
                  </a:lnTo>
                  <a:lnTo>
                    <a:pt x="829" y="198"/>
                  </a:lnTo>
                  <a:lnTo>
                    <a:pt x="831" y="192"/>
                  </a:lnTo>
                  <a:lnTo>
                    <a:pt x="836" y="184"/>
                  </a:lnTo>
                  <a:lnTo>
                    <a:pt x="836" y="174"/>
                  </a:lnTo>
                  <a:lnTo>
                    <a:pt x="831" y="165"/>
                  </a:lnTo>
                  <a:lnTo>
                    <a:pt x="829" y="160"/>
                  </a:lnTo>
                  <a:lnTo>
                    <a:pt x="836" y="158"/>
                  </a:lnTo>
                  <a:lnTo>
                    <a:pt x="846" y="155"/>
                  </a:lnTo>
                  <a:lnTo>
                    <a:pt x="857" y="151"/>
                  </a:lnTo>
                  <a:lnTo>
                    <a:pt x="864" y="143"/>
                  </a:lnTo>
                  <a:lnTo>
                    <a:pt x="870" y="129"/>
                  </a:lnTo>
                  <a:lnTo>
                    <a:pt x="877" y="115"/>
                  </a:lnTo>
                  <a:lnTo>
                    <a:pt x="886" y="106"/>
                  </a:lnTo>
                  <a:lnTo>
                    <a:pt x="886" y="93"/>
                  </a:lnTo>
                  <a:lnTo>
                    <a:pt x="870" y="94"/>
                  </a:lnTo>
                  <a:lnTo>
                    <a:pt x="862" y="100"/>
                  </a:lnTo>
                  <a:lnTo>
                    <a:pt x="853" y="105"/>
                  </a:lnTo>
                  <a:lnTo>
                    <a:pt x="845" y="108"/>
                  </a:lnTo>
                  <a:lnTo>
                    <a:pt x="833" y="105"/>
                  </a:lnTo>
                  <a:lnTo>
                    <a:pt x="827" y="98"/>
                  </a:lnTo>
                  <a:lnTo>
                    <a:pt x="821" y="88"/>
                  </a:lnTo>
                  <a:lnTo>
                    <a:pt x="817" y="82"/>
                  </a:lnTo>
                  <a:lnTo>
                    <a:pt x="807" y="76"/>
                  </a:lnTo>
                  <a:lnTo>
                    <a:pt x="797" y="72"/>
                  </a:lnTo>
                  <a:lnTo>
                    <a:pt x="784" y="69"/>
                  </a:lnTo>
                  <a:lnTo>
                    <a:pt x="779" y="64"/>
                  </a:lnTo>
                  <a:lnTo>
                    <a:pt x="772" y="51"/>
                  </a:lnTo>
                  <a:lnTo>
                    <a:pt x="767" y="41"/>
                  </a:lnTo>
                  <a:lnTo>
                    <a:pt x="762" y="29"/>
                  </a:lnTo>
                  <a:lnTo>
                    <a:pt x="757" y="21"/>
                  </a:lnTo>
                  <a:lnTo>
                    <a:pt x="750" y="10"/>
                  </a:lnTo>
                  <a:lnTo>
                    <a:pt x="741" y="5"/>
                  </a:lnTo>
                  <a:lnTo>
                    <a:pt x="731" y="0"/>
                  </a:lnTo>
                  <a:lnTo>
                    <a:pt x="717" y="0"/>
                  </a:lnTo>
                  <a:lnTo>
                    <a:pt x="695" y="3"/>
                  </a:lnTo>
                  <a:lnTo>
                    <a:pt x="681" y="12"/>
                  </a:lnTo>
                  <a:lnTo>
                    <a:pt x="673" y="24"/>
                  </a:lnTo>
                  <a:lnTo>
                    <a:pt x="668" y="39"/>
                  </a:lnTo>
                  <a:lnTo>
                    <a:pt x="661" y="51"/>
                  </a:lnTo>
                  <a:lnTo>
                    <a:pt x="654" y="62"/>
                  </a:lnTo>
                  <a:lnTo>
                    <a:pt x="643" y="65"/>
                  </a:lnTo>
                  <a:lnTo>
                    <a:pt x="630" y="65"/>
                  </a:lnTo>
                  <a:lnTo>
                    <a:pt x="614" y="60"/>
                  </a:lnTo>
                  <a:lnTo>
                    <a:pt x="600" y="60"/>
                  </a:lnTo>
                  <a:lnTo>
                    <a:pt x="587" y="60"/>
                  </a:lnTo>
                  <a:lnTo>
                    <a:pt x="575" y="65"/>
                  </a:lnTo>
                  <a:lnTo>
                    <a:pt x="561" y="69"/>
                  </a:lnTo>
                  <a:lnTo>
                    <a:pt x="549" y="72"/>
                  </a:lnTo>
                  <a:lnTo>
                    <a:pt x="537" y="76"/>
                  </a:lnTo>
                  <a:lnTo>
                    <a:pt x="526" y="77"/>
                  </a:lnTo>
                  <a:lnTo>
                    <a:pt x="514" y="76"/>
                  </a:lnTo>
                  <a:lnTo>
                    <a:pt x="504" y="72"/>
                  </a:lnTo>
                  <a:lnTo>
                    <a:pt x="496" y="69"/>
                  </a:lnTo>
                  <a:lnTo>
                    <a:pt x="489" y="65"/>
                  </a:lnTo>
                  <a:lnTo>
                    <a:pt x="480" y="60"/>
                  </a:lnTo>
                  <a:lnTo>
                    <a:pt x="473" y="57"/>
                  </a:lnTo>
                  <a:lnTo>
                    <a:pt x="463" y="53"/>
                  </a:lnTo>
                  <a:lnTo>
                    <a:pt x="454" y="53"/>
                  </a:lnTo>
                  <a:lnTo>
                    <a:pt x="442" y="55"/>
                  </a:lnTo>
                  <a:lnTo>
                    <a:pt x="430" y="57"/>
                  </a:lnTo>
                  <a:lnTo>
                    <a:pt x="423" y="55"/>
                  </a:lnTo>
                  <a:lnTo>
                    <a:pt x="416" y="51"/>
                  </a:lnTo>
                  <a:lnTo>
                    <a:pt x="411" y="46"/>
                  </a:lnTo>
                  <a:lnTo>
                    <a:pt x="408" y="38"/>
                  </a:lnTo>
                  <a:lnTo>
                    <a:pt x="401" y="31"/>
                  </a:lnTo>
                  <a:lnTo>
                    <a:pt x="389" y="27"/>
                  </a:lnTo>
                  <a:lnTo>
                    <a:pt x="373" y="24"/>
                  </a:lnTo>
                  <a:lnTo>
                    <a:pt x="365" y="24"/>
                  </a:lnTo>
                  <a:lnTo>
                    <a:pt x="354" y="29"/>
                  </a:lnTo>
                  <a:lnTo>
                    <a:pt x="349" y="43"/>
                  </a:lnTo>
                  <a:lnTo>
                    <a:pt x="344" y="50"/>
                  </a:lnTo>
                  <a:lnTo>
                    <a:pt x="341" y="57"/>
                  </a:lnTo>
                  <a:lnTo>
                    <a:pt x="334" y="60"/>
                  </a:lnTo>
                  <a:lnTo>
                    <a:pt x="327" y="64"/>
                  </a:lnTo>
                  <a:lnTo>
                    <a:pt x="310" y="60"/>
                  </a:lnTo>
                  <a:lnTo>
                    <a:pt x="296" y="55"/>
                  </a:lnTo>
                  <a:lnTo>
                    <a:pt x="281" y="50"/>
                  </a:lnTo>
                  <a:lnTo>
                    <a:pt x="270" y="48"/>
                  </a:lnTo>
                  <a:lnTo>
                    <a:pt x="258" y="53"/>
                  </a:lnTo>
                  <a:lnTo>
                    <a:pt x="251" y="60"/>
                  </a:lnTo>
                  <a:lnTo>
                    <a:pt x="241" y="64"/>
                  </a:lnTo>
                  <a:lnTo>
                    <a:pt x="231" y="67"/>
                  </a:lnTo>
                  <a:lnTo>
                    <a:pt x="220" y="70"/>
                  </a:lnTo>
                  <a:lnTo>
                    <a:pt x="210" y="76"/>
                  </a:lnTo>
                  <a:lnTo>
                    <a:pt x="200" y="77"/>
                  </a:lnTo>
                  <a:lnTo>
                    <a:pt x="189" y="81"/>
                  </a:lnTo>
                  <a:lnTo>
                    <a:pt x="181" y="86"/>
                  </a:lnTo>
                  <a:lnTo>
                    <a:pt x="174" y="93"/>
                  </a:lnTo>
                  <a:lnTo>
                    <a:pt x="170" y="100"/>
                  </a:lnTo>
                  <a:lnTo>
                    <a:pt x="170" y="112"/>
                  </a:lnTo>
                  <a:lnTo>
                    <a:pt x="165" y="115"/>
                  </a:lnTo>
                  <a:lnTo>
                    <a:pt x="162" y="120"/>
                  </a:lnTo>
                  <a:lnTo>
                    <a:pt x="153" y="122"/>
                  </a:lnTo>
                  <a:lnTo>
                    <a:pt x="141" y="124"/>
                  </a:lnTo>
                  <a:lnTo>
                    <a:pt x="131" y="125"/>
                  </a:lnTo>
                  <a:lnTo>
                    <a:pt x="122" y="137"/>
                  </a:lnTo>
                  <a:lnTo>
                    <a:pt x="112" y="149"/>
                  </a:lnTo>
                  <a:lnTo>
                    <a:pt x="98" y="156"/>
                  </a:lnTo>
                  <a:lnTo>
                    <a:pt x="95" y="175"/>
                  </a:lnTo>
                  <a:lnTo>
                    <a:pt x="91" y="191"/>
                  </a:lnTo>
                  <a:lnTo>
                    <a:pt x="84" y="205"/>
                  </a:lnTo>
                  <a:lnTo>
                    <a:pt x="76" y="217"/>
                  </a:lnTo>
                  <a:lnTo>
                    <a:pt x="64" y="225"/>
                  </a:lnTo>
                  <a:lnTo>
                    <a:pt x="50" y="232"/>
                  </a:lnTo>
                  <a:lnTo>
                    <a:pt x="35" y="235"/>
                  </a:lnTo>
                  <a:lnTo>
                    <a:pt x="19" y="237"/>
                  </a:lnTo>
                  <a:lnTo>
                    <a:pt x="12" y="241"/>
                  </a:lnTo>
                  <a:lnTo>
                    <a:pt x="7" y="249"/>
                  </a:lnTo>
                  <a:lnTo>
                    <a:pt x="2" y="260"/>
                  </a:lnTo>
                  <a:lnTo>
                    <a:pt x="0" y="270"/>
                  </a:lnTo>
                  <a:lnTo>
                    <a:pt x="12" y="275"/>
                  </a:lnTo>
                  <a:lnTo>
                    <a:pt x="17" y="289"/>
                  </a:lnTo>
                  <a:lnTo>
                    <a:pt x="17" y="290"/>
                  </a:lnTo>
                  <a:lnTo>
                    <a:pt x="19" y="297"/>
                  </a:lnTo>
                  <a:lnTo>
                    <a:pt x="29" y="299"/>
                  </a:lnTo>
                  <a:lnTo>
                    <a:pt x="33" y="304"/>
                  </a:lnTo>
                  <a:lnTo>
                    <a:pt x="35" y="311"/>
                  </a:lnTo>
                  <a:lnTo>
                    <a:pt x="45" y="316"/>
                  </a:lnTo>
                  <a:lnTo>
                    <a:pt x="59" y="321"/>
                  </a:lnTo>
                  <a:lnTo>
                    <a:pt x="69" y="316"/>
                  </a:lnTo>
                  <a:lnTo>
                    <a:pt x="79" y="313"/>
                  </a:lnTo>
                  <a:lnTo>
                    <a:pt x="88" y="316"/>
                  </a:lnTo>
                  <a:lnTo>
                    <a:pt x="95" y="327"/>
                  </a:lnTo>
                  <a:lnTo>
                    <a:pt x="91" y="333"/>
                  </a:lnTo>
                  <a:lnTo>
                    <a:pt x="84" y="339"/>
                  </a:lnTo>
                  <a:lnTo>
                    <a:pt x="78" y="342"/>
                  </a:lnTo>
                  <a:lnTo>
                    <a:pt x="76" y="351"/>
                  </a:lnTo>
                  <a:lnTo>
                    <a:pt x="79" y="358"/>
                  </a:lnTo>
                  <a:lnTo>
                    <a:pt x="84" y="364"/>
                  </a:lnTo>
                  <a:lnTo>
                    <a:pt x="79" y="368"/>
                  </a:lnTo>
                  <a:lnTo>
                    <a:pt x="72" y="370"/>
                  </a:lnTo>
                  <a:lnTo>
                    <a:pt x="72" y="375"/>
                  </a:lnTo>
                  <a:lnTo>
                    <a:pt x="74" y="382"/>
                  </a:lnTo>
                  <a:lnTo>
                    <a:pt x="76" y="390"/>
                  </a:lnTo>
                  <a:lnTo>
                    <a:pt x="78" y="392"/>
                  </a:lnTo>
                  <a:lnTo>
                    <a:pt x="83" y="394"/>
                  </a:lnTo>
                  <a:lnTo>
                    <a:pt x="93" y="399"/>
                  </a:lnTo>
                  <a:lnTo>
                    <a:pt x="105" y="406"/>
                  </a:lnTo>
                  <a:lnTo>
                    <a:pt x="117" y="406"/>
                  </a:lnTo>
                  <a:lnTo>
                    <a:pt x="127" y="411"/>
                  </a:lnTo>
                  <a:lnTo>
                    <a:pt x="134" y="414"/>
                  </a:lnTo>
                  <a:lnTo>
                    <a:pt x="146" y="418"/>
                  </a:lnTo>
                  <a:lnTo>
                    <a:pt x="148" y="421"/>
                  </a:lnTo>
                  <a:lnTo>
                    <a:pt x="152" y="428"/>
                  </a:lnTo>
                  <a:lnTo>
                    <a:pt x="155" y="428"/>
                  </a:lnTo>
                  <a:lnTo>
                    <a:pt x="160" y="428"/>
                  </a:lnTo>
                  <a:lnTo>
                    <a:pt x="169" y="437"/>
                  </a:lnTo>
                  <a:lnTo>
                    <a:pt x="184" y="442"/>
                  </a:lnTo>
                  <a:lnTo>
                    <a:pt x="195" y="442"/>
                  </a:lnTo>
                  <a:lnTo>
                    <a:pt x="205" y="442"/>
                  </a:lnTo>
                  <a:lnTo>
                    <a:pt x="210" y="440"/>
                  </a:lnTo>
                  <a:lnTo>
                    <a:pt x="215" y="438"/>
                  </a:lnTo>
                  <a:lnTo>
                    <a:pt x="217" y="442"/>
                  </a:lnTo>
                  <a:lnTo>
                    <a:pt x="219" y="450"/>
                  </a:lnTo>
                  <a:lnTo>
                    <a:pt x="227" y="442"/>
                  </a:lnTo>
                  <a:lnTo>
                    <a:pt x="241" y="437"/>
                  </a:lnTo>
                  <a:lnTo>
                    <a:pt x="255" y="440"/>
                  </a:lnTo>
                  <a:lnTo>
                    <a:pt x="267" y="444"/>
                  </a:lnTo>
                  <a:lnTo>
                    <a:pt x="272" y="440"/>
                  </a:lnTo>
                  <a:lnTo>
                    <a:pt x="281" y="435"/>
                  </a:lnTo>
                  <a:lnTo>
                    <a:pt x="287" y="430"/>
                  </a:lnTo>
                  <a:lnTo>
                    <a:pt x="294" y="428"/>
                  </a:lnTo>
                  <a:lnTo>
                    <a:pt x="296" y="423"/>
                  </a:lnTo>
                  <a:lnTo>
                    <a:pt x="299" y="421"/>
                  </a:lnTo>
                  <a:lnTo>
                    <a:pt x="306" y="419"/>
                  </a:lnTo>
                  <a:lnTo>
                    <a:pt x="317" y="421"/>
                  </a:lnTo>
                  <a:lnTo>
                    <a:pt x="320" y="416"/>
                  </a:lnTo>
                  <a:lnTo>
                    <a:pt x="324" y="416"/>
                  </a:lnTo>
                  <a:lnTo>
                    <a:pt x="327" y="423"/>
                  </a:lnTo>
                  <a:lnTo>
                    <a:pt x="334" y="430"/>
                  </a:lnTo>
                  <a:lnTo>
                    <a:pt x="341" y="431"/>
                  </a:lnTo>
                  <a:lnTo>
                    <a:pt x="351" y="437"/>
                  </a:lnTo>
                  <a:lnTo>
                    <a:pt x="358" y="447"/>
                  </a:lnTo>
                  <a:lnTo>
                    <a:pt x="363" y="459"/>
                  </a:lnTo>
                  <a:lnTo>
                    <a:pt x="360" y="471"/>
                  </a:lnTo>
                  <a:lnTo>
                    <a:pt x="356" y="478"/>
                  </a:lnTo>
                  <a:lnTo>
                    <a:pt x="351" y="485"/>
                  </a:lnTo>
                  <a:lnTo>
                    <a:pt x="349" y="499"/>
                  </a:lnTo>
                  <a:lnTo>
                    <a:pt x="349" y="500"/>
                  </a:lnTo>
                  <a:lnTo>
                    <a:pt x="351" y="504"/>
                  </a:lnTo>
                  <a:lnTo>
                    <a:pt x="356" y="502"/>
                  </a:lnTo>
                  <a:lnTo>
                    <a:pt x="363" y="502"/>
                  </a:lnTo>
                  <a:lnTo>
                    <a:pt x="365" y="504"/>
                  </a:lnTo>
                  <a:lnTo>
                    <a:pt x="367" y="509"/>
                  </a:lnTo>
                  <a:lnTo>
                    <a:pt x="368" y="512"/>
                  </a:lnTo>
                  <a:lnTo>
                    <a:pt x="373" y="516"/>
                  </a:lnTo>
                  <a:lnTo>
                    <a:pt x="377" y="529"/>
                  </a:lnTo>
                  <a:lnTo>
                    <a:pt x="389" y="538"/>
                  </a:lnTo>
                  <a:lnTo>
                    <a:pt x="392" y="536"/>
                  </a:lnTo>
                  <a:lnTo>
                    <a:pt x="397" y="536"/>
                  </a:lnTo>
                  <a:lnTo>
                    <a:pt x="401" y="536"/>
                  </a:lnTo>
                  <a:lnTo>
                    <a:pt x="401" y="540"/>
                  </a:lnTo>
                  <a:lnTo>
                    <a:pt x="404" y="542"/>
                  </a:lnTo>
                  <a:lnTo>
                    <a:pt x="404" y="540"/>
                  </a:lnTo>
                  <a:lnTo>
                    <a:pt x="406" y="538"/>
                  </a:lnTo>
                  <a:lnTo>
                    <a:pt x="406" y="531"/>
                  </a:lnTo>
                  <a:lnTo>
                    <a:pt x="406" y="524"/>
                  </a:lnTo>
                  <a:lnTo>
                    <a:pt x="411" y="523"/>
                  </a:lnTo>
                  <a:lnTo>
                    <a:pt x="420" y="521"/>
                  </a:lnTo>
                  <a:lnTo>
                    <a:pt x="435" y="521"/>
                  </a:lnTo>
                  <a:lnTo>
                    <a:pt x="446" y="517"/>
                  </a:lnTo>
                  <a:lnTo>
                    <a:pt x="456" y="514"/>
                  </a:lnTo>
                  <a:lnTo>
                    <a:pt x="466" y="517"/>
                  </a:lnTo>
                  <a:lnTo>
                    <a:pt x="478" y="521"/>
                  </a:lnTo>
                  <a:lnTo>
                    <a:pt x="483" y="533"/>
                  </a:lnTo>
                  <a:lnTo>
                    <a:pt x="496" y="540"/>
                  </a:lnTo>
                  <a:lnTo>
                    <a:pt x="508" y="542"/>
                  </a:lnTo>
                  <a:lnTo>
                    <a:pt x="520" y="545"/>
                  </a:lnTo>
                  <a:lnTo>
                    <a:pt x="518" y="552"/>
                  </a:lnTo>
                  <a:lnTo>
                    <a:pt x="523" y="559"/>
                  </a:lnTo>
                  <a:lnTo>
                    <a:pt x="526" y="554"/>
                  </a:lnTo>
                  <a:lnTo>
                    <a:pt x="530" y="547"/>
                  </a:lnTo>
                  <a:lnTo>
                    <a:pt x="539" y="542"/>
                  </a:lnTo>
                  <a:lnTo>
                    <a:pt x="547" y="540"/>
                  </a:lnTo>
                  <a:lnTo>
                    <a:pt x="561" y="536"/>
                  </a:lnTo>
                  <a:lnTo>
                    <a:pt x="573" y="531"/>
                  </a:lnTo>
                  <a:lnTo>
                    <a:pt x="575" y="526"/>
                  </a:lnTo>
                  <a:lnTo>
                    <a:pt x="578" y="523"/>
                  </a:lnTo>
                  <a:lnTo>
                    <a:pt x="585" y="524"/>
                  </a:lnTo>
                  <a:lnTo>
                    <a:pt x="592" y="526"/>
                  </a:lnTo>
                  <a:lnTo>
                    <a:pt x="604" y="523"/>
                  </a:lnTo>
                  <a:lnTo>
                    <a:pt x="616" y="517"/>
                  </a:lnTo>
                  <a:lnTo>
                    <a:pt x="623" y="509"/>
                  </a:lnTo>
                  <a:lnTo>
                    <a:pt x="635" y="504"/>
                  </a:lnTo>
                  <a:lnTo>
                    <a:pt x="638" y="500"/>
                  </a:lnTo>
                  <a:lnTo>
                    <a:pt x="642" y="495"/>
                  </a:lnTo>
                  <a:lnTo>
                    <a:pt x="647" y="492"/>
                  </a:lnTo>
                  <a:lnTo>
                    <a:pt x="654" y="483"/>
                  </a:lnTo>
                  <a:lnTo>
                    <a:pt x="657" y="474"/>
                  </a:lnTo>
                  <a:lnTo>
                    <a:pt x="662" y="466"/>
                  </a:lnTo>
                  <a:lnTo>
                    <a:pt x="666" y="457"/>
                  </a:lnTo>
                  <a:lnTo>
                    <a:pt x="673" y="450"/>
                  </a:lnTo>
                  <a:lnTo>
                    <a:pt x="680" y="442"/>
                  </a:lnTo>
                  <a:lnTo>
                    <a:pt x="686" y="438"/>
                  </a:lnTo>
                  <a:lnTo>
                    <a:pt x="686" y="430"/>
                  </a:lnTo>
                  <a:lnTo>
                    <a:pt x="690" y="425"/>
                  </a:lnTo>
                  <a:lnTo>
                    <a:pt x="692" y="416"/>
                  </a:lnTo>
                  <a:lnTo>
                    <a:pt x="695" y="407"/>
                  </a:lnTo>
                  <a:lnTo>
                    <a:pt x="693" y="392"/>
                  </a:lnTo>
                  <a:lnTo>
                    <a:pt x="690" y="382"/>
                  </a:lnTo>
                  <a:lnTo>
                    <a:pt x="685" y="373"/>
                  </a:lnTo>
                  <a:lnTo>
                    <a:pt x="680" y="364"/>
                  </a:lnTo>
                  <a:lnTo>
                    <a:pt x="676" y="358"/>
                  </a:lnTo>
                  <a:lnTo>
                    <a:pt x="674" y="352"/>
                  </a:lnTo>
                  <a:lnTo>
                    <a:pt x="674" y="3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0" name="Freeform 259"/>
            <p:cNvSpPr>
              <a:spLocks/>
            </p:cNvSpPr>
            <p:nvPr/>
          </p:nvSpPr>
          <p:spPr bwMode="auto">
            <a:xfrm>
              <a:off x="8405019" y="1987550"/>
              <a:ext cx="82550" cy="34925"/>
            </a:xfrm>
            <a:custGeom>
              <a:avLst/>
              <a:gdLst/>
              <a:ahLst/>
              <a:cxnLst>
                <a:cxn ang="0">
                  <a:pos x="6" y="22"/>
                </a:cxn>
                <a:cxn ang="0">
                  <a:pos x="0" y="19"/>
                </a:cxn>
                <a:cxn ang="0">
                  <a:pos x="0" y="17"/>
                </a:cxn>
                <a:cxn ang="0">
                  <a:pos x="2" y="10"/>
                </a:cxn>
                <a:cxn ang="0">
                  <a:pos x="9" y="5"/>
                </a:cxn>
                <a:cxn ang="0">
                  <a:pos x="16" y="0"/>
                </a:cxn>
                <a:cxn ang="0">
                  <a:pos x="25" y="0"/>
                </a:cxn>
                <a:cxn ang="0">
                  <a:pos x="31" y="0"/>
                </a:cxn>
                <a:cxn ang="0">
                  <a:pos x="40" y="3"/>
                </a:cxn>
                <a:cxn ang="0">
                  <a:pos x="49" y="7"/>
                </a:cxn>
                <a:cxn ang="0">
                  <a:pos x="52" y="12"/>
                </a:cxn>
                <a:cxn ang="0">
                  <a:pos x="45" y="16"/>
                </a:cxn>
                <a:cxn ang="0">
                  <a:pos x="30" y="19"/>
                </a:cxn>
                <a:cxn ang="0">
                  <a:pos x="14" y="21"/>
                </a:cxn>
                <a:cxn ang="0">
                  <a:pos x="6" y="22"/>
                </a:cxn>
              </a:cxnLst>
              <a:rect l="0" t="0" r="r" b="b"/>
              <a:pathLst>
                <a:path w="52" h="22">
                  <a:moveTo>
                    <a:pt x="6" y="22"/>
                  </a:moveTo>
                  <a:lnTo>
                    <a:pt x="0" y="19"/>
                  </a:lnTo>
                  <a:lnTo>
                    <a:pt x="0" y="17"/>
                  </a:lnTo>
                  <a:lnTo>
                    <a:pt x="2" y="10"/>
                  </a:lnTo>
                  <a:lnTo>
                    <a:pt x="9" y="5"/>
                  </a:lnTo>
                  <a:lnTo>
                    <a:pt x="16" y="0"/>
                  </a:lnTo>
                  <a:lnTo>
                    <a:pt x="25" y="0"/>
                  </a:lnTo>
                  <a:lnTo>
                    <a:pt x="31" y="0"/>
                  </a:lnTo>
                  <a:lnTo>
                    <a:pt x="40" y="3"/>
                  </a:lnTo>
                  <a:lnTo>
                    <a:pt x="49" y="7"/>
                  </a:lnTo>
                  <a:lnTo>
                    <a:pt x="52" y="12"/>
                  </a:lnTo>
                  <a:lnTo>
                    <a:pt x="45" y="16"/>
                  </a:lnTo>
                  <a:lnTo>
                    <a:pt x="30" y="19"/>
                  </a:lnTo>
                  <a:lnTo>
                    <a:pt x="14" y="21"/>
                  </a:lnTo>
                  <a:lnTo>
                    <a:pt x="6" y="2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1" name="Freeform 260"/>
            <p:cNvSpPr>
              <a:spLocks/>
            </p:cNvSpPr>
            <p:nvPr/>
          </p:nvSpPr>
          <p:spPr bwMode="auto">
            <a:xfrm>
              <a:off x="8162132" y="2055813"/>
              <a:ext cx="33338" cy="15875"/>
            </a:xfrm>
            <a:custGeom>
              <a:avLst/>
              <a:gdLst/>
              <a:ahLst/>
              <a:cxnLst>
                <a:cxn ang="0">
                  <a:pos x="16" y="10"/>
                </a:cxn>
                <a:cxn ang="0">
                  <a:pos x="18" y="7"/>
                </a:cxn>
                <a:cxn ang="0">
                  <a:pos x="21" y="5"/>
                </a:cxn>
                <a:cxn ang="0">
                  <a:pos x="19" y="2"/>
                </a:cxn>
                <a:cxn ang="0">
                  <a:pos x="18" y="0"/>
                </a:cxn>
                <a:cxn ang="0">
                  <a:pos x="0" y="0"/>
                </a:cxn>
                <a:cxn ang="0">
                  <a:pos x="6" y="7"/>
                </a:cxn>
                <a:cxn ang="0">
                  <a:pos x="16" y="10"/>
                </a:cxn>
              </a:cxnLst>
              <a:rect l="0" t="0" r="r" b="b"/>
              <a:pathLst>
                <a:path w="21" h="10">
                  <a:moveTo>
                    <a:pt x="16" y="10"/>
                  </a:moveTo>
                  <a:lnTo>
                    <a:pt x="18" y="7"/>
                  </a:lnTo>
                  <a:lnTo>
                    <a:pt x="21" y="5"/>
                  </a:lnTo>
                  <a:lnTo>
                    <a:pt x="19" y="2"/>
                  </a:lnTo>
                  <a:lnTo>
                    <a:pt x="18" y="0"/>
                  </a:lnTo>
                  <a:lnTo>
                    <a:pt x="0" y="0"/>
                  </a:lnTo>
                  <a:lnTo>
                    <a:pt x="6" y="7"/>
                  </a:lnTo>
                  <a:lnTo>
                    <a:pt x="16"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2" name="Freeform 261"/>
            <p:cNvSpPr>
              <a:spLocks/>
            </p:cNvSpPr>
            <p:nvPr/>
          </p:nvSpPr>
          <p:spPr bwMode="auto">
            <a:xfrm>
              <a:off x="7411244" y="1798638"/>
              <a:ext cx="17463" cy="19050"/>
            </a:xfrm>
            <a:custGeom>
              <a:avLst/>
              <a:gdLst/>
              <a:ahLst/>
              <a:cxnLst>
                <a:cxn ang="0">
                  <a:pos x="11" y="6"/>
                </a:cxn>
                <a:cxn ang="0">
                  <a:pos x="6" y="0"/>
                </a:cxn>
                <a:cxn ang="0">
                  <a:pos x="2" y="2"/>
                </a:cxn>
                <a:cxn ang="0">
                  <a:pos x="0" y="7"/>
                </a:cxn>
                <a:cxn ang="0">
                  <a:pos x="0" y="11"/>
                </a:cxn>
                <a:cxn ang="0">
                  <a:pos x="6" y="12"/>
                </a:cxn>
                <a:cxn ang="0">
                  <a:pos x="7" y="9"/>
                </a:cxn>
                <a:cxn ang="0">
                  <a:pos x="11" y="4"/>
                </a:cxn>
                <a:cxn ang="0">
                  <a:pos x="9" y="4"/>
                </a:cxn>
                <a:cxn ang="0">
                  <a:pos x="11" y="6"/>
                </a:cxn>
              </a:cxnLst>
              <a:rect l="0" t="0" r="r" b="b"/>
              <a:pathLst>
                <a:path w="11" h="12">
                  <a:moveTo>
                    <a:pt x="11" y="6"/>
                  </a:moveTo>
                  <a:lnTo>
                    <a:pt x="6" y="0"/>
                  </a:lnTo>
                  <a:lnTo>
                    <a:pt x="2" y="2"/>
                  </a:lnTo>
                  <a:lnTo>
                    <a:pt x="0" y="7"/>
                  </a:lnTo>
                  <a:lnTo>
                    <a:pt x="0" y="11"/>
                  </a:lnTo>
                  <a:lnTo>
                    <a:pt x="6" y="12"/>
                  </a:lnTo>
                  <a:lnTo>
                    <a:pt x="7" y="9"/>
                  </a:lnTo>
                  <a:lnTo>
                    <a:pt x="11" y="4"/>
                  </a:lnTo>
                  <a:lnTo>
                    <a:pt x="9" y="4"/>
                  </a:lnTo>
                  <a:lnTo>
                    <a:pt x="11"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3" name="Freeform 262"/>
            <p:cNvSpPr>
              <a:spLocks/>
            </p:cNvSpPr>
            <p:nvPr/>
          </p:nvSpPr>
          <p:spPr bwMode="auto">
            <a:xfrm>
              <a:off x="6871494" y="1857375"/>
              <a:ext cx="34925" cy="20637"/>
            </a:xfrm>
            <a:custGeom>
              <a:avLst/>
              <a:gdLst/>
              <a:ahLst/>
              <a:cxnLst>
                <a:cxn ang="0">
                  <a:pos x="22" y="10"/>
                </a:cxn>
                <a:cxn ang="0">
                  <a:pos x="17" y="12"/>
                </a:cxn>
                <a:cxn ang="0">
                  <a:pos x="12" y="13"/>
                </a:cxn>
                <a:cxn ang="0">
                  <a:pos x="3" y="12"/>
                </a:cxn>
                <a:cxn ang="0">
                  <a:pos x="0" y="8"/>
                </a:cxn>
                <a:cxn ang="0">
                  <a:pos x="3" y="1"/>
                </a:cxn>
                <a:cxn ang="0">
                  <a:pos x="12" y="0"/>
                </a:cxn>
                <a:cxn ang="0">
                  <a:pos x="19" y="1"/>
                </a:cxn>
                <a:cxn ang="0">
                  <a:pos x="22" y="8"/>
                </a:cxn>
                <a:cxn ang="0">
                  <a:pos x="20" y="10"/>
                </a:cxn>
                <a:cxn ang="0">
                  <a:pos x="19" y="13"/>
                </a:cxn>
                <a:cxn ang="0">
                  <a:pos x="22" y="10"/>
                </a:cxn>
              </a:cxnLst>
              <a:rect l="0" t="0" r="r" b="b"/>
              <a:pathLst>
                <a:path w="22" h="13">
                  <a:moveTo>
                    <a:pt x="22" y="10"/>
                  </a:moveTo>
                  <a:lnTo>
                    <a:pt x="17" y="12"/>
                  </a:lnTo>
                  <a:lnTo>
                    <a:pt x="12" y="13"/>
                  </a:lnTo>
                  <a:lnTo>
                    <a:pt x="3" y="12"/>
                  </a:lnTo>
                  <a:lnTo>
                    <a:pt x="0" y="8"/>
                  </a:lnTo>
                  <a:lnTo>
                    <a:pt x="3" y="1"/>
                  </a:lnTo>
                  <a:lnTo>
                    <a:pt x="12" y="0"/>
                  </a:lnTo>
                  <a:lnTo>
                    <a:pt x="19" y="1"/>
                  </a:lnTo>
                  <a:lnTo>
                    <a:pt x="22" y="8"/>
                  </a:lnTo>
                  <a:lnTo>
                    <a:pt x="20" y="10"/>
                  </a:lnTo>
                  <a:lnTo>
                    <a:pt x="19" y="13"/>
                  </a:lnTo>
                  <a:lnTo>
                    <a:pt x="22"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4" name="Freeform 263"/>
            <p:cNvSpPr>
              <a:spLocks/>
            </p:cNvSpPr>
            <p:nvPr/>
          </p:nvSpPr>
          <p:spPr bwMode="auto">
            <a:xfrm>
              <a:off x="6587332" y="1624013"/>
              <a:ext cx="139700" cy="76200"/>
            </a:xfrm>
            <a:custGeom>
              <a:avLst/>
              <a:gdLst/>
              <a:ahLst/>
              <a:cxnLst>
                <a:cxn ang="0">
                  <a:pos x="7" y="48"/>
                </a:cxn>
                <a:cxn ang="0">
                  <a:pos x="0" y="47"/>
                </a:cxn>
                <a:cxn ang="0">
                  <a:pos x="0" y="42"/>
                </a:cxn>
                <a:cxn ang="0">
                  <a:pos x="3" y="33"/>
                </a:cxn>
                <a:cxn ang="0">
                  <a:pos x="9" y="31"/>
                </a:cxn>
                <a:cxn ang="0">
                  <a:pos x="15" y="21"/>
                </a:cxn>
                <a:cxn ang="0">
                  <a:pos x="24" y="11"/>
                </a:cxn>
                <a:cxn ang="0">
                  <a:pos x="33" y="2"/>
                </a:cxn>
                <a:cxn ang="0">
                  <a:pos x="46" y="0"/>
                </a:cxn>
                <a:cxn ang="0">
                  <a:pos x="48" y="0"/>
                </a:cxn>
                <a:cxn ang="0">
                  <a:pos x="52" y="0"/>
                </a:cxn>
                <a:cxn ang="0">
                  <a:pos x="52" y="6"/>
                </a:cxn>
                <a:cxn ang="0">
                  <a:pos x="52" y="11"/>
                </a:cxn>
                <a:cxn ang="0">
                  <a:pos x="55" y="7"/>
                </a:cxn>
                <a:cxn ang="0">
                  <a:pos x="60" y="6"/>
                </a:cxn>
                <a:cxn ang="0">
                  <a:pos x="67" y="7"/>
                </a:cxn>
                <a:cxn ang="0">
                  <a:pos x="76" y="12"/>
                </a:cxn>
                <a:cxn ang="0">
                  <a:pos x="84" y="19"/>
                </a:cxn>
                <a:cxn ang="0">
                  <a:pos x="88" y="26"/>
                </a:cxn>
                <a:cxn ang="0">
                  <a:pos x="83" y="31"/>
                </a:cxn>
                <a:cxn ang="0">
                  <a:pos x="72" y="36"/>
                </a:cxn>
                <a:cxn ang="0">
                  <a:pos x="60" y="36"/>
                </a:cxn>
                <a:cxn ang="0">
                  <a:pos x="52" y="38"/>
                </a:cxn>
                <a:cxn ang="0">
                  <a:pos x="46" y="38"/>
                </a:cxn>
                <a:cxn ang="0">
                  <a:pos x="41" y="40"/>
                </a:cxn>
                <a:cxn ang="0">
                  <a:pos x="36" y="40"/>
                </a:cxn>
                <a:cxn ang="0">
                  <a:pos x="34" y="42"/>
                </a:cxn>
                <a:cxn ang="0">
                  <a:pos x="7" y="48"/>
                </a:cxn>
              </a:cxnLst>
              <a:rect l="0" t="0" r="r" b="b"/>
              <a:pathLst>
                <a:path w="88" h="48">
                  <a:moveTo>
                    <a:pt x="7" y="48"/>
                  </a:moveTo>
                  <a:lnTo>
                    <a:pt x="0" y="47"/>
                  </a:lnTo>
                  <a:lnTo>
                    <a:pt x="0" y="42"/>
                  </a:lnTo>
                  <a:lnTo>
                    <a:pt x="3" y="33"/>
                  </a:lnTo>
                  <a:lnTo>
                    <a:pt x="9" y="31"/>
                  </a:lnTo>
                  <a:lnTo>
                    <a:pt x="15" y="21"/>
                  </a:lnTo>
                  <a:lnTo>
                    <a:pt x="24" y="11"/>
                  </a:lnTo>
                  <a:lnTo>
                    <a:pt x="33" y="2"/>
                  </a:lnTo>
                  <a:lnTo>
                    <a:pt x="46" y="0"/>
                  </a:lnTo>
                  <a:lnTo>
                    <a:pt x="48" y="0"/>
                  </a:lnTo>
                  <a:lnTo>
                    <a:pt x="52" y="0"/>
                  </a:lnTo>
                  <a:lnTo>
                    <a:pt x="52" y="6"/>
                  </a:lnTo>
                  <a:lnTo>
                    <a:pt x="52" y="11"/>
                  </a:lnTo>
                  <a:lnTo>
                    <a:pt x="55" y="7"/>
                  </a:lnTo>
                  <a:lnTo>
                    <a:pt x="60" y="6"/>
                  </a:lnTo>
                  <a:lnTo>
                    <a:pt x="67" y="7"/>
                  </a:lnTo>
                  <a:lnTo>
                    <a:pt x="76" y="12"/>
                  </a:lnTo>
                  <a:lnTo>
                    <a:pt x="84" y="19"/>
                  </a:lnTo>
                  <a:lnTo>
                    <a:pt x="88" y="26"/>
                  </a:lnTo>
                  <a:lnTo>
                    <a:pt x="83" y="31"/>
                  </a:lnTo>
                  <a:lnTo>
                    <a:pt x="72" y="36"/>
                  </a:lnTo>
                  <a:lnTo>
                    <a:pt x="60" y="36"/>
                  </a:lnTo>
                  <a:lnTo>
                    <a:pt x="52" y="38"/>
                  </a:lnTo>
                  <a:lnTo>
                    <a:pt x="46" y="38"/>
                  </a:lnTo>
                  <a:lnTo>
                    <a:pt x="41" y="40"/>
                  </a:lnTo>
                  <a:lnTo>
                    <a:pt x="36" y="40"/>
                  </a:lnTo>
                  <a:lnTo>
                    <a:pt x="34" y="42"/>
                  </a:lnTo>
                  <a:lnTo>
                    <a:pt x="7" y="4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5" name="Freeform 264"/>
            <p:cNvSpPr>
              <a:spLocks/>
            </p:cNvSpPr>
            <p:nvPr/>
          </p:nvSpPr>
          <p:spPr bwMode="auto">
            <a:xfrm>
              <a:off x="6393657" y="1585913"/>
              <a:ext cx="52388" cy="26987"/>
            </a:xfrm>
            <a:custGeom>
              <a:avLst/>
              <a:gdLst/>
              <a:ahLst/>
              <a:cxnLst>
                <a:cxn ang="0">
                  <a:pos x="14" y="0"/>
                </a:cxn>
                <a:cxn ang="0">
                  <a:pos x="15" y="0"/>
                </a:cxn>
                <a:cxn ang="0">
                  <a:pos x="22" y="4"/>
                </a:cxn>
                <a:cxn ang="0">
                  <a:pos x="27" y="5"/>
                </a:cxn>
                <a:cxn ang="0">
                  <a:pos x="33" y="7"/>
                </a:cxn>
                <a:cxn ang="0">
                  <a:pos x="29" y="11"/>
                </a:cxn>
                <a:cxn ang="0">
                  <a:pos x="22" y="14"/>
                </a:cxn>
                <a:cxn ang="0">
                  <a:pos x="14" y="16"/>
                </a:cxn>
                <a:cxn ang="0">
                  <a:pos x="10" y="17"/>
                </a:cxn>
                <a:cxn ang="0">
                  <a:pos x="3" y="12"/>
                </a:cxn>
                <a:cxn ang="0">
                  <a:pos x="0" y="5"/>
                </a:cxn>
                <a:cxn ang="0">
                  <a:pos x="5" y="0"/>
                </a:cxn>
                <a:cxn ang="0">
                  <a:pos x="14" y="0"/>
                </a:cxn>
              </a:cxnLst>
              <a:rect l="0" t="0" r="r" b="b"/>
              <a:pathLst>
                <a:path w="33" h="17">
                  <a:moveTo>
                    <a:pt x="14" y="0"/>
                  </a:moveTo>
                  <a:lnTo>
                    <a:pt x="15" y="0"/>
                  </a:lnTo>
                  <a:lnTo>
                    <a:pt x="22" y="4"/>
                  </a:lnTo>
                  <a:lnTo>
                    <a:pt x="27" y="5"/>
                  </a:lnTo>
                  <a:lnTo>
                    <a:pt x="33" y="7"/>
                  </a:lnTo>
                  <a:lnTo>
                    <a:pt x="29" y="11"/>
                  </a:lnTo>
                  <a:lnTo>
                    <a:pt x="22" y="14"/>
                  </a:lnTo>
                  <a:lnTo>
                    <a:pt x="14" y="16"/>
                  </a:lnTo>
                  <a:lnTo>
                    <a:pt x="10" y="17"/>
                  </a:lnTo>
                  <a:lnTo>
                    <a:pt x="3" y="12"/>
                  </a:lnTo>
                  <a:lnTo>
                    <a:pt x="0" y="5"/>
                  </a:lnTo>
                  <a:lnTo>
                    <a:pt x="5"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6" name="Freeform 265"/>
            <p:cNvSpPr>
              <a:spLocks/>
            </p:cNvSpPr>
            <p:nvPr/>
          </p:nvSpPr>
          <p:spPr bwMode="auto">
            <a:xfrm>
              <a:off x="6409532" y="1525588"/>
              <a:ext cx="192088" cy="134937"/>
            </a:xfrm>
            <a:custGeom>
              <a:avLst/>
              <a:gdLst/>
              <a:ahLst/>
              <a:cxnLst>
                <a:cxn ang="0">
                  <a:pos x="115" y="78"/>
                </a:cxn>
                <a:cxn ang="0">
                  <a:pos x="110" y="81"/>
                </a:cxn>
                <a:cxn ang="0">
                  <a:pos x="105" y="85"/>
                </a:cxn>
                <a:cxn ang="0">
                  <a:pos x="88" y="81"/>
                </a:cxn>
                <a:cxn ang="0">
                  <a:pos x="74" y="80"/>
                </a:cxn>
                <a:cxn ang="0">
                  <a:pos x="60" y="76"/>
                </a:cxn>
                <a:cxn ang="0">
                  <a:pos x="48" y="76"/>
                </a:cxn>
                <a:cxn ang="0">
                  <a:pos x="41" y="73"/>
                </a:cxn>
                <a:cxn ang="0">
                  <a:pos x="35" y="68"/>
                </a:cxn>
                <a:cxn ang="0">
                  <a:pos x="26" y="61"/>
                </a:cxn>
                <a:cxn ang="0">
                  <a:pos x="21" y="57"/>
                </a:cxn>
                <a:cxn ang="0">
                  <a:pos x="31" y="52"/>
                </a:cxn>
                <a:cxn ang="0">
                  <a:pos x="40" y="49"/>
                </a:cxn>
                <a:cxn ang="0">
                  <a:pos x="47" y="45"/>
                </a:cxn>
                <a:cxn ang="0">
                  <a:pos x="59" y="42"/>
                </a:cxn>
                <a:cxn ang="0">
                  <a:pos x="52" y="40"/>
                </a:cxn>
                <a:cxn ang="0">
                  <a:pos x="47" y="40"/>
                </a:cxn>
                <a:cxn ang="0">
                  <a:pos x="40" y="40"/>
                </a:cxn>
                <a:cxn ang="0">
                  <a:pos x="38" y="40"/>
                </a:cxn>
                <a:cxn ang="0">
                  <a:pos x="26" y="38"/>
                </a:cxn>
                <a:cxn ang="0">
                  <a:pos x="17" y="37"/>
                </a:cxn>
                <a:cxn ang="0">
                  <a:pos x="9" y="33"/>
                </a:cxn>
                <a:cxn ang="0">
                  <a:pos x="0" y="30"/>
                </a:cxn>
                <a:cxn ang="0">
                  <a:pos x="12" y="21"/>
                </a:cxn>
                <a:cxn ang="0">
                  <a:pos x="26" y="12"/>
                </a:cxn>
                <a:cxn ang="0">
                  <a:pos x="36" y="4"/>
                </a:cxn>
                <a:cxn ang="0">
                  <a:pos x="53" y="0"/>
                </a:cxn>
                <a:cxn ang="0">
                  <a:pos x="62" y="2"/>
                </a:cxn>
                <a:cxn ang="0">
                  <a:pos x="71" y="7"/>
                </a:cxn>
                <a:cxn ang="0">
                  <a:pos x="78" y="12"/>
                </a:cxn>
                <a:cxn ang="0">
                  <a:pos x="84" y="19"/>
                </a:cxn>
                <a:cxn ang="0">
                  <a:pos x="79" y="19"/>
                </a:cxn>
                <a:cxn ang="0">
                  <a:pos x="78" y="19"/>
                </a:cxn>
                <a:cxn ang="0">
                  <a:pos x="78" y="26"/>
                </a:cxn>
                <a:cxn ang="0">
                  <a:pos x="78" y="30"/>
                </a:cxn>
                <a:cxn ang="0">
                  <a:pos x="74" y="35"/>
                </a:cxn>
                <a:cxn ang="0">
                  <a:pos x="69" y="40"/>
                </a:cxn>
                <a:cxn ang="0">
                  <a:pos x="74" y="38"/>
                </a:cxn>
                <a:cxn ang="0">
                  <a:pos x="79" y="40"/>
                </a:cxn>
                <a:cxn ang="0">
                  <a:pos x="86" y="42"/>
                </a:cxn>
                <a:cxn ang="0">
                  <a:pos x="95" y="45"/>
                </a:cxn>
                <a:cxn ang="0">
                  <a:pos x="100" y="45"/>
                </a:cxn>
                <a:cxn ang="0">
                  <a:pos x="105" y="45"/>
                </a:cxn>
                <a:cxn ang="0">
                  <a:pos x="114" y="47"/>
                </a:cxn>
                <a:cxn ang="0">
                  <a:pos x="121" y="54"/>
                </a:cxn>
                <a:cxn ang="0">
                  <a:pos x="115" y="59"/>
                </a:cxn>
                <a:cxn ang="0">
                  <a:pos x="117" y="64"/>
                </a:cxn>
                <a:cxn ang="0">
                  <a:pos x="112" y="68"/>
                </a:cxn>
                <a:cxn ang="0">
                  <a:pos x="107" y="71"/>
                </a:cxn>
                <a:cxn ang="0">
                  <a:pos x="112" y="73"/>
                </a:cxn>
                <a:cxn ang="0">
                  <a:pos x="115" y="78"/>
                </a:cxn>
              </a:cxnLst>
              <a:rect l="0" t="0" r="r" b="b"/>
              <a:pathLst>
                <a:path w="121" h="85">
                  <a:moveTo>
                    <a:pt x="115" y="78"/>
                  </a:moveTo>
                  <a:lnTo>
                    <a:pt x="110" y="81"/>
                  </a:lnTo>
                  <a:lnTo>
                    <a:pt x="105" y="85"/>
                  </a:lnTo>
                  <a:lnTo>
                    <a:pt x="88" y="81"/>
                  </a:lnTo>
                  <a:lnTo>
                    <a:pt x="74" y="80"/>
                  </a:lnTo>
                  <a:lnTo>
                    <a:pt x="60" y="76"/>
                  </a:lnTo>
                  <a:lnTo>
                    <a:pt x="48" y="76"/>
                  </a:lnTo>
                  <a:lnTo>
                    <a:pt x="41" y="73"/>
                  </a:lnTo>
                  <a:lnTo>
                    <a:pt x="35" y="68"/>
                  </a:lnTo>
                  <a:lnTo>
                    <a:pt x="26" y="61"/>
                  </a:lnTo>
                  <a:lnTo>
                    <a:pt x="21" y="57"/>
                  </a:lnTo>
                  <a:lnTo>
                    <a:pt x="31" y="52"/>
                  </a:lnTo>
                  <a:lnTo>
                    <a:pt x="40" y="49"/>
                  </a:lnTo>
                  <a:lnTo>
                    <a:pt x="47" y="45"/>
                  </a:lnTo>
                  <a:lnTo>
                    <a:pt x="59" y="42"/>
                  </a:lnTo>
                  <a:lnTo>
                    <a:pt x="52" y="40"/>
                  </a:lnTo>
                  <a:lnTo>
                    <a:pt x="47" y="40"/>
                  </a:lnTo>
                  <a:lnTo>
                    <a:pt x="40" y="40"/>
                  </a:lnTo>
                  <a:lnTo>
                    <a:pt x="38" y="40"/>
                  </a:lnTo>
                  <a:lnTo>
                    <a:pt x="26" y="38"/>
                  </a:lnTo>
                  <a:lnTo>
                    <a:pt x="17" y="37"/>
                  </a:lnTo>
                  <a:lnTo>
                    <a:pt x="9" y="33"/>
                  </a:lnTo>
                  <a:lnTo>
                    <a:pt x="0" y="30"/>
                  </a:lnTo>
                  <a:lnTo>
                    <a:pt x="12" y="21"/>
                  </a:lnTo>
                  <a:lnTo>
                    <a:pt x="26" y="12"/>
                  </a:lnTo>
                  <a:lnTo>
                    <a:pt x="36" y="4"/>
                  </a:lnTo>
                  <a:lnTo>
                    <a:pt x="53" y="0"/>
                  </a:lnTo>
                  <a:lnTo>
                    <a:pt x="62" y="2"/>
                  </a:lnTo>
                  <a:lnTo>
                    <a:pt x="71" y="7"/>
                  </a:lnTo>
                  <a:lnTo>
                    <a:pt x="78" y="12"/>
                  </a:lnTo>
                  <a:lnTo>
                    <a:pt x="84" y="19"/>
                  </a:lnTo>
                  <a:lnTo>
                    <a:pt x="79" y="19"/>
                  </a:lnTo>
                  <a:lnTo>
                    <a:pt x="78" y="19"/>
                  </a:lnTo>
                  <a:lnTo>
                    <a:pt x="78" y="26"/>
                  </a:lnTo>
                  <a:lnTo>
                    <a:pt x="78" y="30"/>
                  </a:lnTo>
                  <a:lnTo>
                    <a:pt x="74" y="35"/>
                  </a:lnTo>
                  <a:lnTo>
                    <a:pt x="69" y="40"/>
                  </a:lnTo>
                  <a:lnTo>
                    <a:pt x="74" y="38"/>
                  </a:lnTo>
                  <a:lnTo>
                    <a:pt x="79" y="40"/>
                  </a:lnTo>
                  <a:lnTo>
                    <a:pt x="86" y="42"/>
                  </a:lnTo>
                  <a:lnTo>
                    <a:pt x="95" y="45"/>
                  </a:lnTo>
                  <a:lnTo>
                    <a:pt x="100" y="45"/>
                  </a:lnTo>
                  <a:lnTo>
                    <a:pt x="105" y="45"/>
                  </a:lnTo>
                  <a:lnTo>
                    <a:pt x="114" y="47"/>
                  </a:lnTo>
                  <a:lnTo>
                    <a:pt x="121" y="54"/>
                  </a:lnTo>
                  <a:lnTo>
                    <a:pt x="115" y="59"/>
                  </a:lnTo>
                  <a:lnTo>
                    <a:pt x="117" y="64"/>
                  </a:lnTo>
                  <a:lnTo>
                    <a:pt x="112" y="68"/>
                  </a:lnTo>
                  <a:lnTo>
                    <a:pt x="107" y="71"/>
                  </a:lnTo>
                  <a:lnTo>
                    <a:pt x="112" y="73"/>
                  </a:lnTo>
                  <a:lnTo>
                    <a:pt x="11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7" name="Freeform 266"/>
            <p:cNvSpPr>
              <a:spLocks/>
            </p:cNvSpPr>
            <p:nvPr/>
          </p:nvSpPr>
          <p:spPr bwMode="auto">
            <a:xfrm>
              <a:off x="6493669" y="1739900"/>
              <a:ext cx="22225" cy="15875"/>
            </a:xfrm>
            <a:custGeom>
              <a:avLst/>
              <a:gdLst/>
              <a:ahLst/>
              <a:cxnLst>
                <a:cxn ang="0">
                  <a:pos x="0" y="5"/>
                </a:cxn>
                <a:cxn ang="0">
                  <a:pos x="4" y="1"/>
                </a:cxn>
                <a:cxn ang="0">
                  <a:pos x="7" y="0"/>
                </a:cxn>
                <a:cxn ang="0">
                  <a:pos x="14" y="0"/>
                </a:cxn>
                <a:cxn ang="0">
                  <a:pos x="11" y="6"/>
                </a:cxn>
                <a:cxn ang="0">
                  <a:pos x="4" y="10"/>
                </a:cxn>
                <a:cxn ang="0">
                  <a:pos x="0" y="6"/>
                </a:cxn>
                <a:cxn ang="0">
                  <a:pos x="0" y="5"/>
                </a:cxn>
              </a:cxnLst>
              <a:rect l="0" t="0" r="r" b="b"/>
              <a:pathLst>
                <a:path w="14" h="10">
                  <a:moveTo>
                    <a:pt x="0" y="5"/>
                  </a:moveTo>
                  <a:lnTo>
                    <a:pt x="4" y="1"/>
                  </a:lnTo>
                  <a:lnTo>
                    <a:pt x="7" y="0"/>
                  </a:lnTo>
                  <a:lnTo>
                    <a:pt x="14" y="0"/>
                  </a:lnTo>
                  <a:lnTo>
                    <a:pt x="11" y="6"/>
                  </a:lnTo>
                  <a:lnTo>
                    <a:pt x="4" y="10"/>
                  </a:lnTo>
                  <a:lnTo>
                    <a:pt x="0" y="6"/>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8" name="Freeform 267"/>
            <p:cNvSpPr>
              <a:spLocks/>
            </p:cNvSpPr>
            <p:nvPr/>
          </p:nvSpPr>
          <p:spPr bwMode="auto">
            <a:xfrm>
              <a:off x="6371432" y="1528763"/>
              <a:ext cx="33338" cy="6350"/>
            </a:xfrm>
            <a:custGeom>
              <a:avLst/>
              <a:gdLst/>
              <a:ahLst/>
              <a:cxnLst>
                <a:cxn ang="0">
                  <a:pos x="21" y="4"/>
                </a:cxn>
                <a:cxn ang="0">
                  <a:pos x="9" y="4"/>
                </a:cxn>
                <a:cxn ang="0">
                  <a:pos x="0" y="0"/>
                </a:cxn>
                <a:cxn ang="0">
                  <a:pos x="19" y="0"/>
                </a:cxn>
                <a:cxn ang="0">
                  <a:pos x="21" y="4"/>
                </a:cxn>
              </a:cxnLst>
              <a:rect l="0" t="0" r="r" b="b"/>
              <a:pathLst>
                <a:path w="21" h="4">
                  <a:moveTo>
                    <a:pt x="21" y="4"/>
                  </a:moveTo>
                  <a:lnTo>
                    <a:pt x="9" y="4"/>
                  </a:lnTo>
                  <a:lnTo>
                    <a:pt x="0" y="0"/>
                  </a:lnTo>
                  <a:lnTo>
                    <a:pt x="19" y="0"/>
                  </a:lnTo>
                  <a:lnTo>
                    <a:pt x="21"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199" name="Freeform 268"/>
            <p:cNvSpPr>
              <a:spLocks/>
            </p:cNvSpPr>
            <p:nvPr/>
          </p:nvSpPr>
          <p:spPr bwMode="auto">
            <a:xfrm>
              <a:off x="6754019" y="1684338"/>
              <a:ext cx="23813" cy="11112"/>
            </a:xfrm>
            <a:custGeom>
              <a:avLst/>
              <a:gdLst/>
              <a:ahLst/>
              <a:cxnLst>
                <a:cxn ang="0">
                  <a:pos x="15" y="0"/>
                </a:cxn>
                <a:cxn ang="0">
                  <a:pos x="14" y="4"/>
                </a:cxn>
                <a:cxn ang="0">
                  <a:pos x="8" y="7"/>
                </a:cxn>
                <a:cxn ang="0">
                  <a:pos x="2" y="4"/>
                </a:cxn>
                <a:cxn ang="0">
                  <a:pos x="0" y="2"/>
                </a:cxn>
                <a:cxn ang="0">
                  <a:pos x="10" y="0"/>
                </a:cxn>
                <a:cxn ang="0">
                  <a:pos x="15" y="0"/>
                </a:cxn>
              </a:cxnLst>
              <a:rect l="0" t="0" r="r" b="b"/>
              <a:pathLst>
                <a:path w="15" h="7">
                  <a:moveTo>
                    <a:pt x="15" y="0"/>
                  </a:moveTo>
                  <a:lnTo>
                    <a:pt x="14" y="4"/>
                  </a:lnTo>
                  <a:lnTo>
                    <a:pt x="8" y="7"/>
                  </a:lnTo>
                  <a:lnTo>
                    <a:pt x="2" y="4"/>
                  </a:lnTo>
                  <a:lnTo>
                    <a:pt x="0" y="2"/>
                  </a:lnTo>
                  <a:lnTo>
                    <a:pt x="10" y="0"/>
                  </a:lnTo>
                  <a:lnTo>
                    <a:pt x="15"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0" name="Freeform 269"/>
            <p:cNvSpPr>
              <a:spLocks/>
            </p:cNvSpPr>
            <p:nvPr/>
          </p:nvSpPr>
          <p:spPr bwMode="auto">
            <a:xfrm>
              <a:off x="5320507" y="1547813"/>
              <a:ext cx="163513" cy="49212"/>
            </a:xfrm>
            <a:custGeom>
              <a:avLst/>
              <a:gdLst/>
              <a:ahLst/>
              <a:cxnLst>
                <a:cxn ang="0">
                  <a:pos x="88" y="16"/>
                </a:cxn>
                <a:cxn ang="0">
                  <a:pos x="76" y="17"/>
                </a:cxn>
                <a:cxn ang="0">
                  <a:pos x="67" y="21"/>
                </a:cxn>
                <a:cxn ang="0">
                  <a:pos x="60" y="26"/>
                </a:cxn>
                <a:cxn ang="0">
                  <a:pos x="57" y="31"/>
                </a:cxn>
                <a:cxn ang="0">
                  <a:pos x="52" y="28"/>
                </a:cxn>
                <a:cxn ang="0">
                  <a:pos x="52" y="26"/>
                </a:cxn>
                <a:cxn ang="0">
                  <a:pos x="52" y="26"/>
                </a:cxn>
                <a:cxn ang="0">
                  <a:pos x="41" y="24"/>
                </a:cxn>
                <a:cxn ang="0">
                  <a:pos x="38" y="21"/>
                </a:cxn>
                <a:cxn ang="0">
                  <a:pos x="41" y="17"/>
                </a:cxn>
                <a:cxn ang="0">
                  <a:pos x="48" y="16"/>
                </a:cxn>
                <a:cxn ang="0">
                  <a:pos x="41" y="16"/>
                </a:cxn>
                <a:cxn ang="0">
                  <a:pos x="38" y="16"/>
                </a:cxn>
                <a:cxn ang="0">
                  <a:pos x="41" y="12"/>
                </a:cxn>
                <a:cxn ang="0">
                  <a:pos x="46" y="11"/>
                </a:cxn>
                <a:cxn ang="0">
                  <a:pos x="39" y="7"/>
                </a:cxn>
                <a:cxn ang="0">
                  <a:pos x="34" y="5"/>
                </a:cxn>
                <a:cxn ang="0">
                  <a:pos x="22" y="9"/>
                </a:cxn>
                <a:cxn ang="0">
                  <a:pos x="12" y="12"/>
                </a:cxn>
                <a:cxn ang="0">
                  <a:pos x="5" y="11"/>
                </a:cxn>
                <a:cxn ang="0">
                  <a:pos x="0" y="11"/>
                </a:cxn>
                <a:cxn ang="0">
                  <a:pos x="5" y="4"/>
                </a:cxn>
                <a:cxn ang="0">
                  <a:pos x="17" y="2"/>
                </a:cxn>
                <a:cxn ang="0">
                  <a:pos x="29" y="0"/>
                </a:cxn>
                <a:cxn ang="0">
                  <a:pos x="39" y="0"/>
                </a:cxn>
                <a:cxn ang="0">
                  <a:pos x="55" y="4"/>
                </a:cxn>
                <a:cxn ang="0">
                  <a:pos x="69" y="7"/>
                </a:cxn>
                <a:cxn ang="0">
                  <a:pos x="77" y="4"/>
                </a:cxn>
                <a:cxn ang="0">
                  <a:pos x="88" y="0"/>
                </a:cxn>
                <a:cxn ang="0">
                  <a:pos x="96" y="2"/>
                </a:cxn>
                <a:cxn ang="0">
                  <a:pos x="103" y="5"/>
                </a:cxn>
                <a:cxn ang="0">
                  <a:pos x="96" y="12"/>
                </a:cxn>
                <a:cxn ang="0">
                  <a:pos x="89" y="16"/>
                </a:cxn>
                <a:cxn ang="0">
                  <a:pos x="86" y="16"/>
                </a:cxn>
                <a:cxn ang="0">
                  <a:pos x="84" y="16"/>
                </a:cxn>
                <a:cxn ang="0">
                  <a:pos x="84" y="21"/>
                </a:cxn>
                <a:cxn ang="0">
                  <a:pos x="88" y="16"/>
                </a:cxn>
              </a:cxnLst>
              <a:rect l="0" t="0" r="r" b="b"/>
              <a:pathLst>
                <a:path w="103" h="31">
                  <a:moveTo>
                    <a:pt x="88" y="16"/>
                  </a:moveTo>
                  <a:lnTo>
                    <a:pt x="76" y="17"/>
                  </a:lnTo>
                  <a:lnTo>
                    <a:pt x="67" y="21"/>
                  </a:lnTo>
                  <a:lnTo>
                    <a:pt x="60" y="26"/>
                  </a:lnTo>
                  <a:lnTo>
                    <a:pt x="57" y="31"/>
                  </a:lnTo>
                  <a:lnTo>
                    <a:pt x="52" y="28"/>
                  </a:lnTo>
                  <a:lnTo>
                    <a:pt x="52" y="26"/>
                  </a:lnTo>
                  <a:lnTo>
                    <a:pt x="52" y="26"/>
                  </a:lnTo>
                  <a:lnTo>
                    <a:pt x="41" y="24"/>
                  </a:lnTo>
                  <a:lnTo>
                    <a:pt x="38" y="21"/>
                  </a:lnTo>
                  <a:lnTo>
                    <a:pt x="41" y="17"/>
                  </a:lnTo>
                  <a:lnTo>
                    <a:pt x="48" y="16"/>
                  </a:lnTo>
                  <a:lnTo>
                    <a:pt x="41" y="16"/>
                  </a:lnTo>
                  <a:lnTo>
                    <a:pt x="38" y="16"/>
                  </a:lnTo>
                  <a:lnTo>
                    <a:pt x="41" y="12"/>
                  </a:lnTo>
                  <a:lnTo>
                    <a:pt x="46" y="11"/>
                  </a:lnTo>
                  <a:lnTo>
                    <a:pt x="39" y="7"/>
                  </a:lnTo>
                  <a:lnTo>
                    <a:pt x="34" y="5"/>
                  </a:lnTo>
                  <a:lnTo>
                    <a:pt x="22" y="9"/>
                  </a:lnTo>
                  <a:lnTo>
                    <a:pt x="12" y="12"/>
                  </a:lnTo>
                  <a:lnTo>
                    <a:pt x="5" y="11"/>
                  </a:lnTo>
                  <a:lnTo>
                    <a:pt x="0" y="11"/>
                  </a:lnTo>
                  <a:lnTo>
                    <a:pt x="5" y="4"/>
                  </a:lnTo>
                  <a:lnTo>
                    <a:pt x="17" y="2"/>
                  </a:lnTo>
                  <a:lnTo>
                    <a:pt x="29" y="0"/>
                  </a:lnTo>
                  <a:lnTo>
                    <a:pt x="39" y="0"/>
                  </a:lnTo>
                  <a:lnTo>
                    <a:pt x="55" y="4"/>
                  </a:lnTo>
                  <a:lnTo>
                    <a:pt x="69" y="7"/>
                  </a:lnTo>
                  <a:lnTo>
                    <a:pt x="77" y="4"/>
                  </a:lnTo>
                  <a:lnTo>
                    <a:pt x="88" y="0"/>
                  </a:lnTo>
                  <a:lnTo>
                    <a:pt x="96" y="2"/>
                  </a:lnTo>
                  <a:lnTo>
                    <a:pt x="103" y="5"/>
                  </a:lnTo>
                  <a:lnTo>
                    <a:pt x="96" y="12"/>
                  </a:lnTo>
                  <a:lnTo>
                    <a:pt x="89" y="16"/>
                  </a:lnTo>
                  <a:lnTo>
                    <a:pt x="86" y="16"/>
                  </a:lnTo>
                  <a:lnTo>
                    <a:pt x="84" y="16"/>
                  </a:lnTo>
                  <a:lnTo>
                    <a:pt x="84" y="21"/>
                  </a:lnTo>
                  <a:lnTo>
                    <a:pt x="88"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1" name="Freeform 270"/>
            <p:cNvSpPr>
              <a:spLocks/>
            </p:cNvSpPr>
            <p:nvPr/>
          </p:nvSpPr>
          <p:spPr bwMode="auto">
            <a:xfrm>
              <a:off x="5744369" y="1517650"/>
              <a:ext cx="57150" cy="36512"/>
            </a:xfrm>
            <a:custGeom>
              <a:avLst/>
              <a:gdLst/>
              <a:ahLst/>
              <a:cxnLst>
                <a:cxn ang="0">
                  <a:pos x="8" y="23"/>
                </a:cxn>
                <a:cxn ang="0">
                  <a:pos x="1" y="19"/>
                </a:cxn>
                <a:cxn ang="0">
                  <a:pos x="0" y="14"/>
                </a:cxn>
                <a:cxn ang="0">
                  <a:pos x="1" y="9"/>
                </a:cxn>
                <a:cxn ang="0">
                  <a:pos x="10" y="4"/>
                </a:cxn>
                <a:cxn ang="0">
                  <a:pos x="18" y="0"/>
                </a:cxn>
                <a:cxn ang="0">
                  <a:pos x="29" y="0"/>
                </a:cxn>
                <a:cxn ang="0">
                  <a:pos x="36" y="16"/>
                </a:cxn>
                <a:cxn ang="0">
                  <a:pos x="29" y="17"/>
                </a:cxn>
                <a:cxn ang="0">
                  <a:pos x="22" y="19"/>
                </a:cxn>
                <a:cxn ang="0">
                  <a:pos x="12" y="21"/>
                </a:cxn>
                <a:cxn ang="0">
                  <a:pos x="8" y="23"/>
                </a:cxn>
              </a:cxnLst>
              <a:rect l="0" t="0" r="r" b="b"/>
              <a:pathLst>
                <a:path w="36" h="23">
                  <a:moveTo>
                    <a:pt x="8" y="23"/>
                  </a:moveTo>
                  <a:lnTo>
                    <a:pt x="1" y="19"/>
                  </a:lnTo>
                  <a:lnTo>
                    <a:pt x="0" y="14"/>
                  </a:lnTo>
                  <a:lnTo>
                    <a:pt x="1" y="9"/>
                  </a:lnTo>
                  <a:lnTo>
                    <a:pt x="10" y="4"/>
                  </a:lnTo>
                  <a:lnTo>
                    <a:pt x="18" y="0"/>
                  </a:lnTo>
                  <a:lnTo>
                    <a:pt x="29" y="0"/>
                  </a:lnTo>
                  <a:lnTo>
                    <a:pt x="36" y="16"/>
                  </a:lnTo>
                  <a:lnTo>
                    <a:pt x="29" y="17"/>
                  </a:lnTo>
                  <a:lnTo>
                    <a:pt x="22" y="19"/>
                  </a:lnTo>
                  <a:lnTo>
                    <a:pt x="12" y="21"/>
                  </a:lnTo>
                  <a:lnTo>
                    <a:pt x="8"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2" name="Freeform 271"/>
            <p:cNvSpPr>
              <a:spLocks/>
            </p:cNvSpPr>
            <p:nvPr/>
          </p:nvSpPr>
          <p:spPr bwMode="auto">
            <a:xfrm>
              <a:off x="5669757" y="1539875"/>
              <a:ext cx="60325" cy="34925"/>
            </a:xfrm>
            <a:custGeom>
              <a:avLst/>
              <a:gdLst/>
              <a:ahLst/>
              <a:cxnLst>
                <a:cxn ang="0">
                  <a:pos x="38" y="5"/>
                </a:cxn>
                <a:cxn ang="0">
                  <a:pos x="38" y="9"/>
                </a:cxn>
                <a:cxn ang="0">
                  <a:pos x="38" y="12"/>
                </a:cxn>
                <a:cxn ang="0">
                  <a:pos x="31" y="16"/>
                </a:cxn>
                <a:cxn ang="0">
                  <a:pos x="26" y="16"/>
                </a:cxn>
                <a:cxn ang="0">
                  <a:pos x="28" y="21"/>
                </a:cxn>
                <a:cxn ang="0">
                  <a:pos x="21" y="21"/>
                </a:cxn>
                <a:cxn ang="0">
                  <a:pos x="12" y="22"/>
                </a:cxn>
                <a:cxn ang="0">
                  <a:pos x="4" y="21"/>
                </a:cxn>
                <a:cxn ang="0">
                  <a:pos x="0" y="21"/>
                </a:cxn>
                <a:cxn ang="0">
                  <a:pos x="2" y="10"/>
                </a:cxn>
                <a:cxn ang="0">
                  <a:pos x="10" y="7"/>
                </a:cxn>
                <a:cxn ang="0">
                  <a:pos x="9" y="2"/>
                </a:cxn>
                <a:cxn ang="0">
                  <a:pos x="10" y="0"/>
                </a:cxn>
                <a:cxn ang="0">
                  <a:pos x="26" y="0"/>
                </a:cxn>
                <a:cxn ang="0">
                  <a:pos x="24" y="3"/>
                </a:cxn>
                <a:cxn ang="0">
                  <a:pos x="22" y="5"/>
                </a:cxn>
                <a:cxn ang="0">
                  <a:pos x="28" y="5"/>
                </a:cxn>
                <a:cxn ang="0">
                  <a:pos x="38" y="5"/>
                </a:cxn>
              </a:cxnLst>
              <a:rect l="0" t="0" r="r" b="b"/>
              <a:pathLst>
                <a:path w="38" h="22">
                  <a:moveTo>
                    <a:pt x="38" y="5"/>
                  </a:moveTo>
                  <a:lnTo>
                    <a:pt x="38" y="9"/>
                  </a:lnTo>
                  <a:lnTo>
                    <a:pt x="38" y="12"/>
                  </a:lnTo>
                  <a:lnTo>
                    <a:pt x="31" y="16"/>
                  </a:lnTo>
                  <a:lnTo>
                    <a:pt x="26" y="16"/>
                  </a:lnTo>
                  <a:lnTo>
                    <a:pt x="28" y="21"/>
                  </a:lnTo>
                  <a:lnTo>
                    <a:pt x="21" y="21"/>
                  </a:lnTo>
                  <a:lnTo>
                    <a:pt x="12" y="22"/>
                  </a:lnTo>
                  <a:lnTo>
                    <a:pt x="4" y="21"/>
                  </a:lnTo>
                  <a:lnTo>
                    <a:pt x="0" y="21"/>
                  </a:lnTo>
                  <a:lnTo>
                    <a:pt x="2" y="10"/>
                  </a:lnTo>
                  <a:lnTo>
                    <a:pt x="10" y="7"/>
                  </a:lnTo>
                  <a:lnTo>
                    <a:pt x="9" y="2"/>
                  </a:lnTo>
                  <a:lnTo>
                    <a:pt x="10" y="0"/>
                  </a:lnTo>
                  <a:lnTo>
                    <a:pt x="26" y="0"/>
                  </a:lnTo>
                  <a:lnTo>
                    <a:pt x="24" y="3"/>
                  </a:lnTo>
                  <a:lnTo>
                    <a:pt x="22" y="5"/>
                  </a:lnTo>
                  <a:lnTo>
                    <a:pt x="28" y="5"/>
                  </a:lnTo>
                  <a:lnTo>
                    <a:pt x="38"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3" name="Freeform 272"/>
            <p:cNvSpPr>
              <a:spLocks/>
            </p:cNvSpPr>
            <p:nvPr/>
          </p:nvSpPr>
          <p:spPr bwMode="auto">
            <a:xfrm>
              <a:off x="5587207" y="1573213"/>
              <a:ext cx="63500" cy="20637"/>
            </a:xfrm>
            <a:custGeom>
              <a:avLst/>
              <a:gdLst/>
              <a:ahLst/>
              <a:cxnLst>
                <a:cxn ang="0">
                  <a:pos x="23" y="13"/>
                </a:cxn>
                <a:cxn ang="0">
                  <a:pos x="18" y="10"/>
                </a:cxn>
                <a:cxn ang="0">
                  <a:pos x="14" y="8"/>
                </a:cxn>
                <a:cxn ang="0">
                  <a:pos x="11" y="12"/>
                </a:cxn>
                <a:cxn ang="0">
                  <a:pos x="6" y="13"/>
                </a:cxn>
                <a:cxn ang="0">
                  <a:pos x="2" y="12"/>
                </a:cxn>
                <a:cxn ang="0">
                  <a:pos x="0" y="10"/>
                </a:cxn>
                <a:cxn ang="0">
                  <a:pos x="2" y="3"/>
                </a:cxn>
                <a:cxn ang="0">
                  <a:pos x="11" y="1"/>
                </a:cxn>
                <a:cxn ang="0">
                  <a:pos x="18" y="0"/>
                </a:cxn>
                <a:cxn ang="0">
                  <a:pos x="26" y="0"/>
                </a:cxn>
                <a:cxn ang="0">
                  <a:pos x="35" y="0"/>
                </a:cxn>
                <a:cxn ang="0">
                  <a:pos x="40" y="5"/>
                </a:cxn>
                <a:cxn ang="0">
                  <a:pos x="30" y="8"/>
                </a:cxn>
                <a:cxn ang="0">
                  <a:pos x="23" y="13"/>
                </a:cxn>
              </a:cxnLst>
              <a:rect l="0" t="0" r="r" b="b"/>
              <a:pathLst>
                <a:path w="40" h="13">
                  <a:moveTo>
                    <a:pt x="23" y="13"/>
                  </a:moveTo>
                  <a:lnTo>
                    <a:pt x="18" y="10"/>
                  </a:lnTo>
                  <a:lnTo>
                    <a:pt x="14" y="8"/>
                  </a:lnTo>
                  <a:lnTo>
                    <a:pt x="11" y="12"/>
                  </a:lnTo>
                  <a:lnTo>
                    <a:pt x="6" y="13"/>
                  </a:lnTo>
                  <a:lnTo>
                    <a:pt x="2" y="12"/>
                  </a:lnTo>
                  <a:lnTo>
                    <a:pt x="0" y="10"/>
                  </a:lnTo>
                  <a:lnTo>
                    <a:pt x="2" y="3"/>
                  </a:lnTo>
                  <a:lnTo>
                    <a:pt x="11" y="1"/>
                  </a:lnTo>
                  <a:lnTo>
                    <a:pt x="18" y="0"/>
                  </a:lnTo>
                  <a:lnTo>
                    <a:pt x="26" y="0"/>
                  </a:lnTo>
                  <a:lnTo>
                    <a:pt x="35" y="0"/>
                  </a:lnTo>
                  <a:lnTo>
                    <a:pt x="40" y="5"/>
                  </a:lnTo>
                  <a:lnTo>
                    <a:pt x="30" y="8"/>
                  </a:lnTo>
                  <a:lnTo>
                    <a:pt x="23"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4" name="Freeform 273"/>
            <p:cNvSpPr>
              <a:spLocks/>
            </p:cNvSpPr>
            <p:nvPr/>
          </p:nvSpPr>
          <p:spPr bwMode="auto">
            <a:xfrm>
              <a:off x="5552282" y="1498600"/>
              <a:ext cx="95250" cy="66675"/>
            </a:xfrm>
            <a:custGeom>
              <a:avLst/>
              <a:gdLst/>
              <a:ahLst/>
              <a:cxnLst>
                <a:cxn ang="0">
                  <a:pos x="45" y="36"/>
                </a:cxn>
                <a:cxn ang="0">
                  <a:pos x="35" y="38"/>
                </a:cxn>
                <a:cxn ang="0">
                  <a:pos x="26" y="42"/>
                </a:cxn>
                <a:cxn ang="0">
                  <a:pos x="19" y="38"/>
                </a:cxn>
                <a:cxn ang="0">
                  <a:pos x="12" y="36"/>
                </a:cxn>
                <a:cxn ang="0">
                  <a:pos x="4" y="33"/>
                </a:cxn>
                <a:cxn ang="0">
                  <a:pos x="0" y="33"/>
                </a:cxn>
                <a:cxn ang="0">
                  <a:pos x="4" y="29"/>
                </a:cxn>
                <a:cxn ang="0">
                  <a:pos x="7" y="26"/>
                </a:cxn>
                <a:cxn ang="0">
                  <a:pos x="28" y="26"/>
                </a:cxn>
                <a:cxn ang="0">
                  <a:pos x="22" y="23"/>
                </a:cxn>
                <a:cxn ang="0">
                  <a:pos x="19" y="26"/>
                </a:cxn>
                <a:cxn ang="0">
                  <a:pos x="19" y="19"/>
                </a:cxn>
                <a:cxn ang="0">
                  <a:pos x="26" y="16"/>
                </a:cxn>
                <a:cxn ang="0">
                  <a:pos x="35" y="14"/>
                </a:cxn>
                <a:cxn ang="0">
                  <a:pos x="40" y="9"/>
                </a:cxn>
                <a:cxn ang="0">
                  <a:pos x="50" y="9"/>
                </a:cxn>
                <a:cxn ang="0">
                  <a:pos x="52" y="2"/>
                </a:cxn>
                <a:cxn ang="0">
                  <a:pos x="59" y="0"/>
                </a:cxn>
                <a:cxn ang="0">
                  <a:pos x="59" y="2"/>
                </a:cxn>
                <a:cxn ang="0">
                  <a:pos x="60" y="7"/>
                </a:cxn>
                <a:cxn ang="0">
                  <a:pos x="57" y="9"/>
                </a:cxn>
                <a:cxn ang="0">
                  <a:pos x="55" y="12"/>
                </a:cxn>
                <a:cxn ang="0">
                  <a:pos x="41" y="19"/>
                </a:cxn>
                <a:cxn ang="0">
                  <a:pos x="33" y="26"/>
                </a:cxn>
                <a:cxn ang="0">
                  <a:pos x="40" y="26"/>
                </a:cxn>
                <a:cxn ang="0">
                  <a:pos x="47" y="28"/>
                </a:cxn>
                <a:cxn ang="0">
                  <a:pos x="53" y="29"/>
                </a:cxn>
                <a:cxn ang="0">
                  <a:pos x="60" y="35"/>
                </a:cxn>
                <a:cxn ang="0">
                  <a:pos x="53" y="35"/>
                </a:cxn>
                <a:cxn ang="0">
                  <a:pos x="45" y="36"/>
                </a:cxn>
              </a:cxnLst>
              <a:rect l="0" t="0" r="r" b="b"/>
              <a:pathLst>
                <a:path w="60" h="42">
                  <a:moveTo>
                    <a:pt x="45" y="36"/>
                  </a:moveTo>
                  <a:lnTo>
                    <a:pt x="35" y="38"/>
                  </a:lnTo>
                  <a:lnTo>
                    <a:pt x="26" y="42"/>
                  </a:lnTo>
                  <a:lnTo>
                    <a:pt x="19" y="38"/>
                  </a:lnTo>
                  <a:lnTo>
                    <a:pt x="12" y="36"/>
                  </a:lnTo>
                  <a:lnTo>
                    <a:pt x="4" y="33"/>
                  </a:lnTo>
                  <a:lnTo>
                    <a:pt x="0" y="33"/>
                  </a:lnTo>
                  <a:lnTo>
                    <a:pt x="4" y="29"/>
                  </a:lnTo>
                  <a:lnTo>
                    <a:pt x="7" y="26"/>
                  </a:lnTo>
                  <a:lnTo>
                    <a:pt x="28" y="26"/>
                  </a:lnTo>
                  <a:lnTo>
                    <a:pt x="22" y="23"/>
                  </a:lnTo>
                  <a:lnTo>
                    <a:pt x="19" y="26"/>
                  </a:lnTo>
                  <a:lnTo>
                    <a:pt x="19" y="19"/>
                  </a:lnTo>
                  <a:lnTo>
                    <a:pt x="26" y="16"/>
                  </a:lnTo>
                  <a:lnTo>
                    <a:pt x="35" y="14"/>
                  </a:lnTo>
                  <a:lnTo>
                    <a:pt x="40" y="9"/>
                  </a:lnTo>
                  <a:lnTo>
                    <a:pt x="50" y="9"/>
                  </a:lnTo>
                  <a:lnTo>
                    <a:pt x="52" y="2"/>
                  </a:lnTo>
                  <a:lnTo>
                    <a:pt x="59" y="0"/>
                  </a:lnTo>
                  <a:lnTo>
                    <a:pt x="59" y="2"/>
                  </a:lnTo>
                  <a:lnTo>
                    <a:pt x="60" y="7"/>
                  </a:lnTo>
                  <a:lnTo>
                    <a:pt x="57" y="9"/>
                  </a:lnTo>
                  <a:lnTo>
                    <a:pt x="55" y="12"/>
                  </a:lnTo>
                  <a:lnTo>
                    <a:pt x="41" y="19"/>
                  </a:lnTo>
                  <a:lnTo>
                    <a:pt x="33" y="26"/>
                  </a:lnTo>
                  <a:lnTo>
                    <a:pt x="40" y="26"/>
                  </a:lnTo>
                  <a:lnTo>
                    <a:pt x="47" y="28"/>
                  </a:lnTo>
                  <a:lnTo>
                    <a:pt x="53" y="29"/>
                  </a:lnTo>
                  <a:lnTo>
                    <a:pt x="60" y="35"/>
                  </a:lnTo>
                  <a:lnTo>
                    <a:pt x="53" y="35"/>
                  </a:lnTo>
                  <a:lnTo>
                    <a:pt x="45"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5" name="Freeform 274"/>
            <p:cNvSpPr>
              <a:spLocks/>
            </p:cNvSpPr>
            <p:nvPr/>
          </p:nvSpPr>
          <p:spPr bwMode="auto">
            <a:xfrm>
              <a:off x="4553744" y="1597025"/>
              <a:ext cx="322263" cy="174625"/>
            </a:xfrm>
            <a:custGeom>
              <a:avLst/>
              <a:gdLst/>
              <a:ahLst/>
              <a:cxnLst>
                <a:cxn ang="0">
                  <a:pos x="168" y="84"/>
                </a:cxn>
                <a:cxn ang="0">
                  <a:pos x="158" y="81"/>
                </a:cxn>
                <a:cxn ang="0">
                  <a:pos x="151" y="72"/>
                </a:cxn>
                <a:cxn ang="0">
                  <a:pos x="148" y="59"/>
                </a:cxn>
                <a:cxn ang="0">
                  <a:pos x="148" y="52"/>
                </a:cxn>
                <a:cxn ang="0">
                  <a:pos x="142" y="47"/>
                </a:cxn>
                <a:cxn ang="0">
                  <a:pos x="127" y="47"/>
                </a:cxn>
                <a:cxn ang="0">
                  <a:pos x="115" y="67"/>
                </a:cxn>
                <a:cxn ang="0">
                  <a:pos x="108" y="81"/>
                </a:cxn>
                <a:cxn ang="0">
                  <a:pos x="98" y="88"/>
                </a:cxn>
                <a:cxn ang="0">
                  <a:pos x="92" y="103"/>
                </a:cxn>
                <a:cxn ang="0">
                  <a:pos x="75" y="103"/>
                </a:cxn>
                <a:cxn ang="0">
                  <a:pos x="53" y="90"/>
                </a:cxn>
                <a:cxn ang="0">
                  <a:pos x="62" y="78"/>
                </a:cxn>
                <a:cxn ang="0">
                  <a:pos x="75" y="76"/>
                </a:cxn>
                <a:cxn ang="0">
                  <a:pos x="80" y="72"/>
                </a:cxn>
                <a:cxn ang="0">
                  <a:pos x="65" y="72"/>
                </a:cxn>
                <a:cxn ang="0">
                  <a:pos x="55" y="72"/>
                </a:cxn>
                <a:cxn ang="0">
                  <a:pos x="44" y="72"/>
                </a:cxn>
                <a:cxn ang="0">
                  <a:pos x="48" y="62"/>
                </a:cxn>
                <a:cxn ang="0">
                  <a:pos x="62" y="57"/>
                </a:cxn>
                <a:cxn ang="0">
                  <a:pos x="77" y="52"/>
                </a:cxn>
                <a:cxn ang="0">
                  <a:pos x="74" y="48"/>
                </a:cxn>
                <a:cxn ang="0">
                  <a:pos x="65" y="45"/>
                </a:cxn>
                <a:cxn ang="0">
                  <a:pos x="60" y="43"/>
                </a:cxn>
                <a:cxn ang="0">
                  <a:pos x="51" y="50"/>
                </a:cxn>
                <a:cxn ang="0">
                  <a:pos x="32" y="55"/>
                </a:cxn>
                <a:cxn ang="0">
                  <a:pos x="29" y="48"/>
                </a:cxn>
                <a:cxn ang="0">
                  <a:pos x="19" y="40"/>
                </a:cxn>
                <a:cxn ang="0">
                  <a:pos x="13" y="29"/>
                </a:cxn>
                <a:cxn ang="0">
                  <a:pos x="0" y="17"/>
                </a:cxn>
                <a:cxn ang="0">
                  <a:pos x="17" y="5"/>
                </a:cxn>
                <a:cxn ang="0">
                  <a:pos x="43" y="7"/>
                </a:cxn>
                <a:cxn ang="0">
                  <a:pos x="37" y="14"/>
                </a:cxn>
                <a:cxn ang="0">
                  <a:pos x="51" y="23"/>
                </a:cxn>
                <a:cxn ang="0">
                  <a:pos x="48" y="16"/>
                </a:cxn>
                <a:cxn ang="0">
                  <a:pos x="56" y="7"/>
                </a:cxn>
                <a:cxn ang="0">
                  <a:pos x="67" y="16"/>
                </a:cxn>
                <a:cxn ang="0">
                  <a:pos x="79" y="29"/>
                </a:cxn>
                <a:cxn ang="0">
                  <a:pos x="72" y="7"/>
                </a:cxn>
                <a:cxn ang="0">
                  <a:pos x="82" y="0"/>
                </a:cxn>
                <a:cxn ang="0">
                  <a:pos x="94" y="2"/>
                </a:cxn>
                <a:cxn ang="0">
                  <a:pos x="103" y="9"/>
                </a:cxn>
                <a:cxn ang="0">
                  <a:pos x="101" y="19"/>
                </a:cxn>
                <a:cxn ang="0">
                  <a:pos x="110" y="12"/>
                </a:cxn>
                <a:cxn ang="0">
                  <a:pos x="117" y="24"/>
                </a:cxn>
                <a:cxn ang="0">
                  <a:pos x="122" y="26"/>
                </a:cxn>
                <a:cxn ang="0">
                  <a:pos x="142" y="33"/>
                </a:cxn>
                <a:cxn ang="0">
                  <a:pos x="163" y="47"/>
                </a:cxn>
                <a:cxn ang="0">
                  <a:pos x="158" y="48"/>
                </a:cxn>
                <a:cxn ang="0">
                  <a:pos x="166" y="48"/>
                </a:cxn>
                <a:cxn ang="0">
                  <a:pos x="166" y="55"/>
                </a:cxn>
                <a:cxn ang="0">
                  <a:pos x="182" y="55"/>
                </a:cxn>
                <a:cxn ang="0">
                  <a:pos x="189" y="67"/>
                </a:cxn>
                <a:cxn ang="0">
                  <a:pos x="203" y="72"/>
                </a:cxn>
                <a:cxn ang="0">
                  <a:pos x="185" y="81"/>
                </a:cxn>
                <a:cxn ang="0">
                  <a:pos x="170" y="91"/>
                </a:cxn>
              </a:cxnLst>
              <a:rect l="0" t="0" r="r" b="b"/>
              <a:pathLst>
                <a:path w="203" h="110">
                  <a:moveTo>
                    <a:pt x="170" y="91"/>
                  </a:moveTo>
                  <a:lnTo>
                    <a:pt x="168" y="84"/>
                  </a:lnTo>
                  <a:lnTo>
                    <a:pt x="170" y="81"/>
                  </a:lnTo>
                  <a:lnTo>
                    <a:pt x="158" y="81"/>
                  </a:lnTo>
                  <a:lnTo>
                    <a:pt x="148" y="81"/>
                  </a:lnTo>
                  <a:lnTo>
                    <a:pt x="151" y="72"/>
                  </a:lnTo>
                  <a:lnTo>
                    <a:pt x="154" y="65"/>
                  </a:lnTo>
                  <a:lnTo>
                    <a:pt x="148" y="59"/>
                  </a:lnTo>
                  <a:lnTo>
                    <a:pt x="144" y="52"/>
                  </a:lnTo>
                  <a:lnTo>
                    <a:pt x="148" y="52"/>
                  </a:lnTo>
                  <a:lnTo>
                    <a:pt x="151" y="52"/>
                  </a:lnTo>
                  <a:lnTo>
                    <a:pt x="142" y="47"/>
                  </a:lnTo>
                  <a:lnTo>
                    <a:pt x="139" y="43"/>
                  </a:lnTo>
                  <a:lnTo>
                    <a:pt x="127" y="47"/>
                  </a:lnTo>
                  <a:lnTo>
                    <a:pt x="120" y="55"/>
                  </a:lnTo>
                  <a:lnTo>
                    <a:pt x="115" y="67"/>
                  </a:lnTo>
                  <a:lnTo>
                    <a:pt x="111" y="79"/>
                  </a:lnTo>
                  <a:lnTo>
                    <a:pt x="108" y="81"/>
                  </a:lnTo>
                  <a:lnTo>
                    <a:pt x="105" y="83"/>
                  </a:lnTo>
                  <a:lnTo>
                    <a:pt x="98" y="88"/>
                  </a:lnTo>
                  <a:lnTo>
                    <a:pt x="96" y="96"/>
                  </a:lnTo>
                  <a:lnTo>
                    <a:pt x="92" y="103"/>
                  </a:lnTo>
                  <a:lnTo>
                    <a:pt x="89" y="110"/>
                  </a:lnTo>
                  <a:lnTo>
                    <a:pt x="75" y="103"/>
                  </a:lnTo>
                  <a:lnTo>
                    <a:pt x="63" y="98"/>
                  </a:lnTo>
                  <a:lnTo>
                    <a:pt x="53" y="90"/>
                  </a:lnTo>
                  <a:lnTo>
                    <a:pt x="49" y="79"/>
                  </a:lnTo>
                  <a:lnTo>
                    <a:pt x="62" y="78"/>
                  </a:lnTo>
                  <a:lnTo>
                    <a:pt x="68" y="79"/>
                  </a:lnTo>
                  <a:lnTo>
                    <a:pt x="75" y="76"/>
                  </a:lnTo>
                  <a:lnTo>
                    <a:pt x="86" y="76"/>
                  </a:lnTo>
                  <a:lnTo>
                    <a:pt x="80" y="72"/>
                  </a:lnTo>
                  <a:lnTo>
                    <a:pt x="74" y="72"/>
                  </a:lnTo>
                  <a:lnTo>
                    <a:pt x="65" y="72"/>
                  </a:lnTo>
                  <a:lnTo>
                    <a:pt x="62" y="72"/>
                  </a:lnTo>
                  <a:lnTo>
                    <a:pt x="55" y="72"/>
                  </a:lnTo>
                  <a:lnTo>
                    <a:pt x="49" y="74"/>
                  </a:lnTo>
                  <a:lnTo>
                    <a:pt x="44" y="72"/>
                  </a:lnTo>
                  <a:lnTo>
                    <a:pt x="43" y="65"/>
                  </a:lnTo>
                  <a:lnTo>
                    <a:pt x="48" y="62"/>
                  </a:lnTo>
                  <a:lnTo>
                    <a:pt x="58" y="60"/>
                  </a:lnTo>
                  <a:lnTo>
                    <a:pt x="62" y="57"/>
                  </a:lnTo>
                  <a:lnTo>
                    <a:pt x="70" y="55"/>
                  </a:lnTo>
                  <a:lnTo>
                    <a:pt x="77" y="52"/>
                  </a:lnTo>
                  <a:lnTo>
                    <a:pt x="84" y="48"/>
                  </a:lnTo>
                  <a:lnTo>
                    <a:pt x="74" y="48"/>
                  </a:lnTo>
                  <a:lnTo>
                    <a:pt x="70" y="48"/>
                  </a:lnTo>
                  <a:lnTo>
                    <a:pt x="65" y="45"/>
                  </a:lnTo>
                  <a:lnTo>
                    <a:pt x="62" y="43"/>
                  </a:lnTo>
                  <a:lnTo>
                    <a:pt x="60" y="43"/>
                  </a:lnTo>
                  <a:lnTo>
                    <a:pt x="58" y="43"/>
                  </a:lnTo>
                  <a:lnTo>
                    <a:pt x="51" y="50"/>
                  </a:lnTo>
                  <a:lnTo>
                    <a:pt x="43" y="57"/>
                  </a:lnTo>
                  <a:lnTo>
                    <a:pt x="32" y="55"/>
                  </a:lnTo>
                  <a:lnTo>
                    <a:pt x="27" y="50"/>
                  </a:lnTo>
                  <a:lnTo>
                    <a:pt x="29" y="48"/>
                  </a:lnTo>
                  <a:lnTo>
                    <a:pt x="31" y="48"/>
                  </a:lnTo>
                  <a:lnTo>
                    <a:pt x="19" y="40"/>
                  </a:lnTo>
                  <a:lnTo>
                    <a:pt x="17" y="31"/>
                  </a:lnTo>
                  <a:lnTo>
                    <a:pt x="13" y="29"/>
                  </a:lnTo>
                  <a:lnTo>
                    <a:pt x="7" y="24"/>
                  </a:lnTo>
                  <a:lnTo>
                    <a:pt x="0" y="17"/>
                  </a:lnTo>
                  <a:lnTo>
                    <a:pt x="7" y="10"/>
                  </a:lnTo>
                  <a:lnTo>
                    <a:pt x="17" y="5"/>
                  </a:lnTo>
                  <a:lnTo>
                    <a:pt x="27" y="5"/>
                  </a:lnTo>
                  <a:lnTo>
                    <a:pt x="43" y="7"/>
                  </a:lnTo>
                  <a:lnTo>
                    <a:pt x="39" y="10"/>
                  </a:lnTo>
                  <a:lnTo>
                    <a:pt x="37" y="14"/>
                  </a:lnTo>
                  <a:lnTo>
                    <a:pt x="44" y="17"/>
                  </a:lnTo>
                  <a:lnTo>
                    <a:pt x="51" y="23"/>
                  </a:lnTo>
                  <a:lnTo>
                    <a:pt x="48" y="19"/>
                  </a:lnTo>
                  <a:lnTo>
                    <a:pt x="48" y="16"/>
                  </a:lnTo>
                  <a:lnTo>
                    <a:pt x="49" y="9"/>
                  </a:lnTo>
                  <a:lnTo>
                    <a:pt x="56" y="7"/>
                  </a:lnTo>
                  <a:lnTo>
                    <a:pt x="63" y="9"/>
                  </a:lnTo>
                  <a:lnTo>
                    <a:pt x="67" y="16"/>
                  </a:lnTo>
                  <a:lnTo>
                    <a:pt x="70" y="23"/>
                  </a:lnTo>
                  <a:lnTo>
                    <a:pt x="79" y="29"/>
                  </a:lnTo>
                  <a:lnTo>
                    <a:pt x="74" y="17"/>
                  </a:lnTo>
                  <a:lnTo>
                    <a:pt x="72" y="7"/>
                  </a:lnTo>
                  <a:lnTo>
                    <a:pt x="74" y="0"/>
                  </a:lnTo>
                  <a:lnTo>
                    <a:pt x="82" y="0"/>
                  </a:lnTo>
                  <a:lnTo>
                    <a:pt x="87" y="0"/>
                  </a:lnTo>
                  <a:lnTo>
                    <a:pt x="94" y="2"/>
                  </a:lnTo>
                  <a:lnTo>
                    <a:pt x="99" y="4"/>
                  </a:lnTo>
                  <a:lnTo>
                    <a:pt x="103" y="9"/>
                  </a:lnTo>
                  <a:lnTo>
                    <a:pt x="101" y="14"/>
                  </a:lnTo>
                  <a:lnTo>
                    <a:pt x="101" y="19"/>
                  </a:lnTo>
                  <a:lnTo>
                    <a:pt x="105" y="14"/>
                  </a:lnTo>
                  <a:lnTo>
                    <a:pt x="110" y="12"/>
                  </a:lnTo>
                  <a:lnTo>
                    <a:pt x="117" y="16"/>
                  </a:lnTo>
                  <a:lnTo>
                    <a:pt x="117" y="24"/>
                  </a:lnTo>
                  <a:lnTo>
                    <a:pt x="118" y="24"/>
                  </a:lnTo>
                  <a:lnTo>
                    <a:pt x="122" y="26"/>
                  </a:lnTo>
                  <a:lnTo>
                    <a:pt x="129" y="28"/>
                  </a:lnTo>
                  <a:lnTo>
                    <a:pt x="142" y="33"/>
                  </a:lnTo>
                  <a:lnTo>
                    <a:pt x="154" y="40"/>
                  </a:lnTo>
                  <a:lnTo>
                    <a:pt x="163" y="47"/>
                  </a:lnTo>
                  <a:lnTo>
                    <a:pt x="160" y="47"/>
                  </a:lnTo>
                  <a:lnTo>
                    <a:pt x="158" y="48"/>
                  </a:lnTo>
                  <a:lnTo>
                    <a:pt x="161" y="48"/>
                  </a:lnTo>
                  <a:lnTo>
                    <a:pt x="166" y="48"/>
                  </a:lnTo>
                  <a:lnTo>
                    <a:pt x="166" y="52"/>
                  </a:lnTo>
                  <a:lnTo>
                    <a:pt x="166" y="55"/>
                  </a:lnTo>
                  <a:lnTo>
                    <a:pt x="173" y="55"/>
                  </a:lnTo>
                  <a:lnTo>
                    <a:pt x="182" y="55"/>
                  </a:lnTo>
                  <a:lnTo>
                    <a:pt x="184" y="62"/>
                  </a:lnTo>
                  <a:lnTo>
                    <a:pt x="189" y="67"/>
                  </a:lnTo>
                  <a:lnTo>
                    <a:pt x="196" y="69"/>
                  </a:lnTo>
                  <a:lnTo>
                    <a:pt x="203" y="72"/>
                  </a:lnTo>
                  <a:lnTo>
                    <a:pt x="192" y="76"/>
                  </a:lnTo>
                  <a:lnTo>
                    <a:pt x="185" y="81"/>
                  </a:lnTo>
                  <a:lnTo>
                    <a:pt x="177" y="86"/>
                  </a:lnTo>
                  <a:lnTo>
                    <a:pt x="170"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6" name="Freeform 275"/>
            <p:cNvSpPr>
              <a:spLocks/>
            </p:cNvSpPr>
            <p:nvPr/>
          </p:nvSpPr>
          <p:spPr bwMode="auto">
            <a:xfrm>
              <a:off x="4722019" y="1570038"/>
              <a:ext cx="207963" cy="73025"/>
            </a:xfrm>
            <a:custGeom>
              <a:avLst/>
              <a:gdLst/>
              <a:ahLst/>
              <a:cxnLst>
                <a:cxn ang="0">
                  <a:pos x="131" y="21"/>
                </a:cxn>
                <a:cxn ang="0">
                  <a:pos x="119" y="27"/>
                </a:cxn>
                <a:cxn ang="0">
                  <a:pos x="105" y="36"/>
                </a:cxn>
                <a:cxn ang="0">
                  <a:pos x="90" y="43"/>
                </a:cxn>
                <a:cxn ang="0">
                  <a:pos x="79" y="46"/>
                </a:cxn>
                <a:cxn ang="0">
                  <a:pos x="67" y="43"/>
                </a:cxn>
                <a:cxn ang="0">
                  <a:pos x="62" y="38"/>
                </a:cxn>
                <a:cxn ang="0">
                  <a:pos x="33" y="38"/>
                </a:cxn>
                <a:cxn ang="0">
                  <a:pos x="26" y="34"/>
                </a:cxn>
                <a:cxn ang="0">
                  <a:pos x="26" y="29"/>
                </a:cxn>
                <a:cxn ang="0">
                  <a:pos x="31" y="29"/>
                </a:cxn>
                <a:cxn ang="0">
                  <a:pos x="36" y="29"/>
                </a:cxn>
                <a:cxn ang="0">
                  <a:pos x="42" y="27"/>
                </a:cxn>
                <a:cxn ang="0">
                  <a:pos x="48" y="26"/>
                </a:cxn>
                <a:cxn ang="0">
                  <a:pos x="43" y="24"/>
                </a:cxn>
                <a:cxn ang="0">
                  <a:pos x="36" y="24"/>
                </a:cxn>
                <a:cxn ang="0">
                  <a:pos x="28" y="24"/>
                </a:cxn>
                <a:cxn ang="0">
                  <a:pos x="24" y="24"/>
                </a:cxn>
                <a:cxn ang="0">
                  <a:pos x="11" y="26"/>
                </a:cxn>
                <a:cxn ang="0">
                  <a:pos x="7" y="19"/>
                </a:cxn>
                <a:cxn ang="0">
                  <a:pos x="2" y="14"/>
                </a:cxn>
                <a:cxn ang="0">
                  <a:pos x="0" y="7"/>
                </a:cxn>
                <a:cxn ang="0">
                  <a:pos x="7" y="7"/>
                </a:cxn>
                <a:cxn ang="0">
                  <a:pos x="12" y="9"/>
                </a:cxn>
                <a:cxn ang="0">
                  <a:pos x="17" y="9"/>
                </a:cxn>
                <a:cxn ang="0">
                  <a:pos x="17" y="7"/>
                </a:cxn>
                <a:cxn ang="0">
                  <a:pos x="26" y="7"/>
                </a:cxn>
                <a:cxn ang="0">
                  <a:pos x="23" y="2"/>
                </a:cxn>
                <a:cxn ang="0">
                  <a:pos x="38" y="2"/>
                </a:cxn>
                <a:cxn ang="0">
                  <a:pos x="40" y="3"/>
                </a:cxn>
                <a:cxn ang="0">
                  <a:pos x="47" y="7"/>
                </a:cxn>
                <a:cxn ang="0">
                  <a:pos x="52" y="9"/>
                </a:cxn>
                <a:cxn ang="0">
                  <a:pos x="57" y="12"/>
                </a:cxn>
                <a:cxn ang="0">
                  <a:pos x="64" y="5"/>
                </a:cxn>
                <a:cxn ang="0">
                  <a:pos x="71" y="0"/>
                </a:cxn>
                <a:cxn ang="0">
                  <a:pos x="76" y="0"/>
                </a:cxn>
                <a:cxn ang="0">
                  <a:pos x="76" y="7"/>
                </a:cxn>
                <a:cxn ang="0">
                  <a:pos x="76" y="12"/>
                </a:cxn>
                <a:cxn ang="0">
                  <a:pos x="83" y="9"/>
                </a:cxn>
                <a:cxn ang="0">
                  <a:pos x="91" y="7"/>
                </a:cxn>
                <a:cxn ang="0">
                  <a:pos x="102" y="7"/>
                </a:cxn>
                <a:cxn ang="0">
                  <a:pos x="109" y="7"/>
                </a:cxn>
                <a:cxn ang="0">
                  <a:pos x="122" y="10"/>
                </a:cxn>
                <a:cxn ang="0">
                  <a:pos x="131" y="21"/>
                </a:cxn>
              </a:cxnLst>
              <a:rect l="0" t="0" r="r" b="b"/>
              <a:pathLst>
                <a:path w="131" h="46">
                  <a:moveTo>
                    <a:pt x="131" y="21"/>
                  </a:moveTo>
                  <a:lnTo>
                    <a:pt x="119" y="27"/>
                  </a:lnTo>
                  <a:lnTo>
                    <a:pt x="105" y="36"/>
                  </a:lnTo>
                  <a:lnTo>
                    <a:pt x="90" y="43"/>
                  </a:lnTo>
                  <a:lnTo>
                    <a:pt x="79" y="46"/>
                  </a:lnTo>
                  <a:lnTo>
                    <a:pt x="67" y="43"/>
                  </a:lnTo>
                  <a:lnTo>
                    <a:pt x="62" y="38"/>
                  </a:lnTo>
                  <a:lnTo>
                    <a:pt x="33" y="38"/>
                  </a:lnTo>
                  <a:lnTo>
                    <a:pt x="26" y="34"/>
                  </a:lnTo>
                  <a:lnTo>
                    <a:pt x="26" y="29"/>
                  </a:lnTo>
                  <a:lnTo>
                    <a:pt x="31" y="29"/>
                  </a:lnTo>
                  <a:lnTo>
                    <a:pt x="36" y="29"/>
                  </a:lnTo>
                  <a:lnTo>
                    <a:pt x="42" y="27"/>
                  </a:lnTo>
                  <a:lnTo>
                    <a:pt x="48" y="26"/>
                  </a:lnTo>
                  <a:lnTo>
                    <a:pt x="43" y="24"/>
                  </a:lnTo>
                  <a:lnTo>
                    <a:pt x="36" y="24"/>
                  </a:lnTo>
                  <a:lnTo>
                    <a:pt x="28" y="24"/>
                  </a:lnTo>
                  <a:lnTo>
                    <a:pt x="24" y="24"/>
                  </a:lnTo>
                  <a:lnTo>
                    <a:pt x="11" y="26"/>
                  </a:lnTo>
                  <a:lnTo>
                    <a:pt x="7" y="19"/>
                  </a:lnTo>
                  <a:lnTo>
                    <a:pt x="2" y="14"/>
                  </a:lnTo>
                  <a:lnTo>
                    <a:pt x="0" y="7"/>
                  </a:lnTo>
                  <a:lnTo>
                    <a:pt x="7" y="7"/>
                  </a:lnTo>
                  <a:lnTo>
                    <a:pt x="12" y="9"/>
                  </a:lnTo>
                  <a:lnTo>
                    <a:pt x="17" y="9"/>
                  </a:lnTo>
                  <a:lnTo>
                    <a:pt x="17" y="7"/>
                  </a:lnTo>
                  <a:lnTo>
                    <a:pt x="26" y="7"/>
                  </a:lnTo>
                  <a:lnTo>
                    <a:pt x="23" y="2"/>
                  </a:lnTo>
                  <a:lnTo>
                    <a:pt x="38" y="2"/>
                  </a:lnTo>
                  <a:lnTo>
                    <a:pt x="40" y="3"/>
                  </a:lnTo>
                  <a:lnTo>
                    <a:pt x="47" y="7"/>
                  </a:lnTo>
                  <a:lnTo>
                    <a:pt x="52" y="9"/>
                  </a:lnTo>
                  <a:lnTo>
                    <a:pt x="57" y="12"/>
                  </a:lnTo>
                  <a:lnTo>
                    <a:pt x="64" y="5"/>
                  </a:lnTo>
                  <a:lnTo>
                    <a:pt x="71" y="0"/>
                  </a:lnTo>
                  <a:lnTo>
                    <a:pt x="76" y="0"/>
                  </a:lnTo>
                  <a:lnTo>
                    <a:pt x="76" y="7"/>
                  </a:lnTo>
                  <a:lnTo>
                    <a:pt x="76" y="12"/>
                  </a:lnTo>
                  <a:lnTo>
                    <a:pt x="83" y="9"/>
                  </a:lnTo>
                  <a:lnTo>
                    <a:pt x="91" y="7"/>
                  </a:lnTo>
                  <a:lnTo>
                    <a:pt x="102" y="7"/>
                  </a:lnTo>
                  <a:lnTo>
                    <a:pt x="109" y="7"/>
                  </a:lnTo>
                  <a:lnTo>
                    <a:pt x="122" y="10"/>
                  </a:lnTo>
                  <a:lnTo>
                    <a:pt x="131"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7" name="Freeform 276"/>
            <p:cNvSpPr>
              <a:spLocks/>
            </p:cNvSpPr>
            <p:nvPr/>
          </p:nvSpPr>
          <p:spPr bwMode="auto">
            <a:xfrm>
              <a:off x="4547394" y="1654175"/>
              <a:ext cx="33338" cy="33337"/>
            </a:xfrm>
            <a:custGeom>
              <a:avLst/>
              <a:gdLst/>
              <a:ahLst/>
              <a:cxnLst>
                <a:cxn ang="0">
                  <a:pos x="4" y="0"/>
                </a:cxn>
                <a:cxn ang="0">
                  <a:pos x="12" y="9"/>
                </a:cxn>
                <a:cxn ang="0">
                  <a:pos x="21" y="21"/>
                </a:cxn>
                <a:cxn ang="0">
                  <a:pos x="12" y="16"/>
                </a:cxn>
                <a:cxn ang="0">
                  <a:pos x="5" y="11"/>
                </a:cxn>
                <a:cxn ang="0">
                  <a:pos x="0" y="4"/>
                </a:cxn>
                <a:cxn ang="0">
                  <a:pos x="5" y="0"/>
                </a:cxn>
                <a:cxn ang="0">
                  <a:pos x="5" y="2"/>
                </a:cxn>
                <a:cxn ang="0">
                  <a:pos x="4" y="0"/>
                </a:cxn>
              </a:cxnLst>
              <a:rect l="0" t="0" r="r" b="b"/>
              <a:pathLst>
                <a:path w="21" h="21">
                  <a:moveTo>
                    <a:pt x="4" y="0"/>
                  </a:moveTo>
                  <a:lnTo>
                    <a:pt x="12" y="9"/>
                  </a:lnTo>
                  <a:lnTo>
                    <a:pt x="21" y="21"/>
                  </a:lnTo>
                  <a:lnTo>
                    <a:pt x="12" y="16"/>
                  </a:lnTo>
                  <a:lnTo>
                    <a:pt x="5" y="11"/>
                  </a:lnTo>
                  <a:lnTo>
                    <a:pt x="0" y="4"/>
                  </a:lnTo>
                  <a:lnTo>
                    <a:pt x="5" y="0"/>
                  </a:lnTo>
                  <a:lnTo>
                    <a:pt x="5" y="2"/>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8" name="Freeform 277"/>
            <p:cNvSpPr>
              <a:spLocks/>
            </p:cNvSpPr>
            <p:nvPr/>
          </p:nvSpPr>
          <p:spPr bwMode="auto">
            <a:xfrm>
              <a:off x="4087019" y="2598738"/>
              <a:ext cx="100013" cy="120650"/>
            </a:xfrm>
            <a:custGeom>
              <a:avLst/>
              <a:gdLst/>
              <a:ahLst/>
              <a:cxnLst>
                <a:cxn ang="0">
                  <a:pos x="10" y="23"/>
                </a:cxn>
                <a:cxn ang="0">
                  <a:pos x="17" y="19"/>
                </a:cxn>
                <a:cxn ang="0">
                  <a:pos x="25" y="16"/>
                </a:cxn>
                <a:cxn ang="0">
                  <a:pos x="22" y="12"/>
                </a:cxn>
                <a:cxn ang="0">
                  <a:pos x="22" y="9"/>
                </a:cxn>
                <a:cxn ang="0">
                  <a:pos x="27" y="2"/>
                </a:cxn>
                <a:cxn ang="0">
                  <a:pos x="37" y="0"/>
                </a:cxn>
                <a:cxn ang="0">
                  <a:pos x="41" y="0"/>
                </a:cxn>
                <a:cxn ang="0">
                  <a:pos x="46" y="0"/>
                </a:cxn>
                <a:cxn ang="0">
                  <a:pos x="58" y="7"/>
                </a:cxn>
                <a:cxn ang="0">
                  <a:pos x="63" y="21"/>
                </a:cxn>
                <a:cxn ang="0">
                  <a:pos x="58" y="24"/>
                </a:cxn>
                <a:cxn ang="0">
                  <a:pos x="53" y="28"/>
                </a:cxn>
                <a:cxn ang="0">
                  <a:pos x="53" y="31"/>
                </a:cxn>
                <a:cxn ang="0">
                  <a:pos x="53" y="36"/>
                </a:cxn>
                <a:cxn ang="0">
                  <a:pos x="53" y="41"/>
                </a:cxn>
                <a:cxn ang="0">
                  <a:pos x="53" y="45"/>
                </a:cxn>
                <a:cxn ang="0">
                  <a:pos x="53" y="52"/>
                </a:cxn>
                <a:cxn ang="0">
                  <a:pos x="53" y="60"/>
                </a:cxn>
                <a:cxn ang="0">
                  <a:pos x="46" y="60"/>
                </a:cxn>
                <a:cxn ang="0">
                  <a:pos x="39" y="62"/>
                </a:cxn>
                <a:cxn ang="0">
                  <a:pos x="29" y="66"/>
                </a:cxn>
                <a:cxn ang="0">
                  <a:pos x="22" y="74"/>
                </a:cxn>
                <a:cxn ang="0">
                  <a:pos x="17" y="74"/>
                </a:cxn>
                <a:cxn ang="0">
                  <a:pos x="12" y="76"/>
                </a:cxn>
                <a:cxn ang="0">
                  <a:pos x="3" y="72"/>
                </a:cxn>
                <a:cxn ang="0">
                  <a:pos x="0" y="64"/>
                </a:cxn>
                <a:cxn ang="0">
                  <a:pos x="5" y="50"/>
                </a:cxn>
                <a:cxn ang="0">
                  <a:pos x="13" y="38"/>
                </a:cxn>
                <a:cxn ang="0">
                  <a:pos x="6" y="33"/>
                </a:cxn>
                <a:cxn ang="0">
                  <a:pos x="5" y="28"/>
                </a:cxn>
                <a:cxn ang="0">
                  <a:pos x="6" y="23"/>
                </a:cxn>
                <a:cxn ang="0">
                  <a:pos x="10" y="23"/>
                </a:cxn>
              </a:cxnLst>
              <a:rect l="0" t="0" r="r" b="b"/>
              <a:pathLst>
                <a:path w="63" h="76">
                  <a:moveTo>
                    <a:pt x="10" y="23"/>
                  </a:moveTo>
                  <a:lnTo>
                    <a:pt x="17" y="19"/>
                  </a:lnTo>
                  <a:lnTo>
                    <a:pt x="25" y="16"/>
                  </a:lnTo>
                  <a:lnTo>
                    <a:pt x="22" y="12"/>
                  </a:lnTo>
                  <a:lnTo>
                    <a:pt x="22" y="9"/>
                  </a:lnTo>
                  <a:lnTo>
                    <a:pt x="27" y="2"/>
                  </a:lnTo>
                  <a:lnTo>
                    <a:pt x="37" y="0"/>
                  </a:lnTo>
                  <a:lnTo>
                    <a:pt x="41" y="0"/>
                  </a:lnTo>
                  <a:lnTo>
                    <a:pt x="46" y="0"/>
                  </a:lnTo>
                  <a:lnTo>
                    <a:pt x="58" y="7"/>
                  </a:lnTo>
                  <a:lnTo>
                    <a:pt x="63" y="21"/>
                  </a:lnTo>
                  <a:lnTo>
                    <a:pt x="58" y="24"/>
                  </a:lnTo>
                  <a:lnTo>
                    <a:pt x="53" y="28"/>
                  </a:lnTo>
                  <a:lnTo>
                    <a:pt x="53" y="31"/>
                  </a:lnTo>
                  <a:lnTo>
                    <a:pt x="53" y="36"/>
                  </a:lnTo>
                  <a:lnTo>
                    <a:pt x="53" y="41"/>
                  </a:lnTo>
                  <a:lnTo>
                    <a:pt x="53" y="45"/>
                  </a:lnTo>
                  <a:lnTo>
                    <a:pt x="53" y="52"/>
                  </a:lnTo>
                  <a:lnTo>
                    <a:pt x="53" y="60"/>
                  </a:lnTo>
                  <a:lnTo>
                    <a:pt x="46" y="60"/>
                  </a:lnTo>
                  <a:lnTo>
                    <a:pt x="39" y="62"/>
                  </a:lnTo>
                  <a:lnTo>
                    <a:pt x="29" y="66"/>
                  </a:lnTo>
                  <a:lnTo>
                    <a:pt x="22" y="74"/>
                  </a:lnTo>
                  <a:lnTo>
                    <a:pt x="17" y="74"/>
                  </a:lnTo>
                  <a:lnTo>
                    <a:pt x="12" y="76"/>
                  </a:lnTo>
                  <a:lnTo>
                    <a:pt x="3" y="72"/>
                  </a:lnTo>
                  <a:lnTo>
                    <a:pt x="0" y="64"/>
                  </a:lnTo>
                  <a:lnTo>
                    <a:pt x="5" y="50"/>
                  </a:lnTo>
                  <a:lnTo>
                    <a:pt x="13" y="38"/>
                  </a:lnTo>
                  <a:lnTo>
                    <a:pt x="6" y="33"/>
                  </a:lnTo>
                  <a:lnTo>
                    <a:pt x="5" y="28"/>
                  </a:lnTo>
                  <a:lnTo>
                    <a:pt x="6" y="23"/>
                  </a:lnTo>
                  <a:lnTo>
                    <a:pt x="10" y="2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09" name="Freeform 278"/>
            <p:cNvSpPr>
              <a:spLocks/>
            </p:cNvSpPr>
            <p:nvPr/>
          </p:nvSpPr>
          <p:spPr bwMode="auto">
            <a:xfrm>
              <a:off x="4155282" y="2495550"/>
              <a:ext cx="19050" cy="19050"/>
            </a:xfrm>
            <a:custGeom>
              <a:avLst/>
              <a:gdLst/>
              <a:ahLst/>
              <a:cxnLst>
                <a:cxn ang="0">
                  <a:pos x="1" y="12"/>
                </a:cxn>
                <a:cxn ang="0">
                  <a:pos x="0" y="8"/>
                </a:cxn>
                <a:cxn ang="0">
                  <a:pos x="0" y="7"/>
                </a:cxn>
                <a:cxn ang="0">
                  <a:pos x="3" y="2"/>
                </a:cxn>
                <a:cxn ang="0">
                  <a:pos x="12" y="0"/>
                </a:cxn>
                <a:cxn ang="0">
                  <a:pos x="8" y="8"/>
                </a:cxn>
                <a:cxn ang="0">
                  <a:pos x="1" y="12"/>
                </a:cxn>
              </a:cxnLst>
              <a:rect l="0" t="0" r="r" b="b"/>
              <a:pathLst>
                <a:path w="12" h="12">
                  <a:moveTo>
                    <a:pt x="1" y="12"/>
                  </a:moveTo>
                  <a:lnTo>
                    <a:pt x="0" y="8"/>
                  </a:lnTo>
                  <a:lnTo>
                    <a:pt x="0" y="7"/>
                  </a:lnTo>
                  <a:lnTo>
                    <a:pt x="3" y="2"/>
                  </a:lnTo>
                  <a:lnTo>
                    <a:pt x="12" y="0"/>
                  </a:lnTo>
                  <a:lnTo>
                    <a:pt x="8" y="8"/>
                  </a:lnTo>
                  <a:lnTo>
                    <a:pt x="1"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0" name="Freeform 279"/>
            <p:cNvSpPr>
              <a:spLocks/>
            </p:cNvSpPr>
            <p:nvPr/>
          </p:nvSpPr>
          <p:spPr bwMode="auto">
            <a:xfrm>
              <a:off x="4164807" y="2487613"/>
              <a:ext cx="192088" cy="274637"/>
            </a:xfrm>
            <a:custGeom>
              <a:avLst/>
              <a:gdLst/>
              <a:ahLst/>
              <a:cxnLst>
                <a:cxn ang="0">
                  <a:pos x="105" y="115"/>
                </a:cxn>
                <a:cxn ang="0">
                  <a:pos x="117" y="118"/>
                </a:cxn>
                <a:cxn ang="0">
                  <a:pos x="114" y="136"/>
                </a:cxn>
                <a:cxn ang="0">
                  <a:pos x="109" y="146"/>
                </a:cxn>
                <a:cxn ang="0">
                  <a:pos x="114" y="151"/>
                </a:cxn>
                <a:cxn ang="0">
                  <a:pos x="100" y="160"/>
                </a:cxn>
                <a:cxn ang="0">
                  <a:pos x="80" y="160"/>
                </a:cxn>
                <a:cxn ang="0">
                  <a:pos x="66" y="161"/>
                </a:cxn>
                <a:cxn ang="0">
                  <a:pos x="54" y="163"/>
                </a:cxn>
                <a:cxn ang="0">
                  <a:pos x="45" y="161"/>
                </a:cxn>
                <a:cxn ang="0">
                  <a:pos x="37" y="170"/>
                </a:cxn>
                <a:cxn ang="0">
                  <a:pos x="24" y="170"/>
                </a:cxn>
                <a:cxn ang="0">
                  <a:pos x="19" y="173"/>
                </a:cxn>
                <a:cxn ang="0">
                  <a:pos x="21" y="165"/>
                </a:cxn>
                <a:cxn ang="0">
                  <a:pos x="31" y="153"/>
                </a:cxn>
                <a:cxn ang="0">
                  <a:pos x="47" y="149"/>
                </a:cxn>
                <a:cxn ang="0">
                  <a:pos x="52" y="142"/>
                </a:cxn>
                <a:cxn ang="0">
                  <a:pos x="47" y="144"/>
                </a:cxn>
                <a:cxn ang="0">
                  <a:pos x="35" y="142"/>
                </a:cxn>
                <a:cxn ang="0">
                  <a:pos x="26" y="141"/>
                </a:cxn>
                <a:cxn ang="0">
                  <a:pos x="21" y="141"/>
                </a:cxn>
                <a:cxn ang="0">
                  <a:pos x="28" y="132"/>
                </a:cxn>
                <a:cxn ang="0">
                  <a:pos x="37" y="125"/>
                </a:cxn>
                <a:cxn ang="0">
                  <a:pos x="31" y="110"/>
                </a:cxn>
                <a:cxn ang="0">
                  <a:pos x="55" y="101"/>
                </a:cxn>
                <a:cxn ang="0">
                  <a:pos x="45" y="91"/>
                </a:cxn>
                <a:cxn ang="0">
                  <a:pos x="43" y="82"/>
                </a:cxn>
                <a:cxn ang="0">
                  <a:pos x="43" y="79"/>
                </a:cxn>
                <a:cxn ang="0">
                  <a:pos x="35" y="81"/>
                </a:cxn>
                <a:cxn ang="0">
                  <a:pos x="23" y="81"/>
                </a:cxn>
                <a:cxn ang="0">
                  <a:pos x="23" y="72"/>
                </a:cxn>
                <a:cxn ang="0">
                  <a:pos x="24" y="62"/>
                </a:cxn>
                <a:cxn ang="0">
                  <a:pos x="21" y="56"/>
                </a:cxn>
                <a:cxn ang="0">
                  <a:pos x="16" y="60"/>
                </a:cxn>
                <a:cxn ang="0">
                  <a:pos x="14" y="63"/>
                </a:cxn>
                <a:cxn ang="0">
                  <a:pos x="14" y="55"/>
                </a:cxn>
                <a:cxn ang="0">
                  <a:pos x="16" y="51"/>
                </a:cxn>
                <a:cxn ang="0">
                  <a:pos x="11" y="44"/>
                </a:cxn>
                <a:cxn ang="0">
                  <a:pos x="11" y="38"/>
                </a:cxn>
                <a:cxn ang="0">
                  <a:pos x="12" y="32"/>
                </a:cxn>
                <a:cxn ang="0">
                  <a:pos x="0" y="22"/>
                </a:cxn>
                <a:cxn ang="0">
                  <a:pos x="9" y="26"/>
                </a:cxn>
                <a:cxn ang="0">
                  <a:pos x="12" y="26"/>
                </a:cxn>
                <a:cxn ang="0">
                  <a:pos x="11" y="22"/>
                </a:cxn>
                <a:cxn ang="0">
                  <a:pos x="12" y="15"/>
                </a:cxn>
                <a:cxn ang="0">
                  <a:pos x="19" y="8"/>
                </a:cxn>
                <a:cxn ang="0">
                  <a:pos x="23" y="1"/>
                </a:cxn>
                <a:cxn ang="0">
                  <a:pos x="37" y="0"/>
                </a:cxn>
                <a:cxn ang="0">
                  <a:pos x="45" y="1"/>
                </a:cxn>
                <a:cxn ang="0">
                  <a:pos x="42" y="10"/>
                </a:cxn>
                <a:cxn ang="0">
                  <a:pos x="37" y="19"/>
                </a:cxn>
                <a:cxn ang="0">
                  <a:pos x="67" y="20"/>
                </a:cxn>
                <a:cxn ang="0">
                  <a:pos x="61" y="38"/>
                </a:cxn>
                <a:cxn ang="0">
                  <a:pos x="54" y="51"/>
                </a:cxn>
                <a:cxn ang="0">
                  <a:pos x="50" y="56"/>
                </a:cxn>
                <a:cxn ang="0">
                  <a:pos x="61" y="56"/>
                </a:cxn>
                <a:cxn ang="0">
                  <a:pos x="76" y="79"/>
                </a:cxn>
                <a:cxn ang="0">
                  <a:pos x="88" y="87"/>
                </a:cxn>
                <a:cxn ang="0">
                  <a:pos x="97" y="101"/>
                </a:cxn>
                <a:cxn ang="0">
                  <a:pos x="102" y="113"/>
                </a:cxn>
                <a:cxn ang="0">
                  <a:pos x="100" y="117"/>
                </a:cxn>
                <a:cxn ang="0">
                  <a:pos x="102" y="117"/>
                </a:cxn>
                <a:cxn ang="0">
                  <a:pos x="104" y="118"/>
                </a:cxn>
              </a:cxnLst>
              <a:rect l="0" t="0" r="r" b="b"/>
              <a:pathLst>
                <a:path w="121" h="173">
                  <a:moveTo>
                    <a:pt x="104" y="118"/>
                  </a:moveTo>
                  <a:lnTo>
                    <a:pt x="105" y="115"/>
                  </a:lnTo>
                  <a:lnTo>
                    <a:pt x="110" y="117"/>
                  </a:lnTo>
                  <a:lnTo>
                    <a:pt x="117" y="118"/>
                  </a:lnTo>
                  <a:lnTo>
                    <a:pt x="121" y="125"/>
                  </a:lnTo>
                  <a:lnTo>
                    <a:pt x="114" y="136"/>
                  </a:lnTo>
                  <a:lnTo>
                    <a:pt x="104" y="146"/>
                  </a:lnTo>
                  <a:lnTo>
                    <a:pt x="109" y="146"/>
                  </a:lnTo>
                  <a:lnTo>
                    <a:pt x="114" y="148"/>
                  </a:lnTo>
                  <a:lnTo>
                    <a:pt x="114" y="151"/>
                  </a:lnTo>
                  <a:lnTo>
                    <a:pt x="107" y="156"/>
                  </a:lnTo>
                  <a:lnTo>
                    <a:pt x="100" y="160"/>
                  </a:lnTo>
                  <a:lnTo>
                    <a:pt x="88" y="160"/>
                  </a:lnTo>
                  <a:lnTo>
                    <a:pt x="80" y="160"/>
                  </a:lnTo>
                  <a:lnTo>
                    <a:pt x="73" y="160"/>
                  </a:lnTo>
                  <a:lnTo>
                    <a:pt x="66" y="161"/>
                  </a:lnTo>
                  <a:lnTo>
                    <a:pt x="59" y="161"/>
                  </a:lnTo>
                  <a:lnTo>
                    <a:pt x="54" y="163"/>
                  </a:lnTo>
                  <a:lnTo>
                    <a:pt x="49" y="161"/>
                  </a:lnTo>
                  <a:lnTo>
                    <a:pt x="45" y="161"/>
                  </a:lnTo>
                  <a:lnTo>
                    <a:pt x="38" y="163"/>
                  </a:lnTo>
                  <a:lnTo>
                    <a:pt x="37" y="170"/>
                  </a:lnTo>
                  <a:lnTo>
                    <a:pt x="30" y="170"/>
                  </a:lnTo>
                  <a:lnTo>
                    <a:pt x="24" y="170"/>
                  </a:lnTo>
                  <a:lnTo>
                    <a:pt x="23" y="173"/>
                  </a:lnTo>
                  <a:lnTo>
                    <a:pt x="19" y="173"/>
                  </a:lnTo>
                  <a:lnTo>
                    <a:pt x="19" y="170"/>
                  </a:lnTo>
                  <a:lnTo>
                    <a:pt x="21" y="165"/>
                  </a:lnTo>
                  <a:lnTo>
                    <a:pt x="26" y="160"/>
                  </a:lnTo>
                  <a:lnTo>
                    <a:pt x="31" y="153"/>
                  </a:lnTo>
                  <a:lnTo>
                    <a:pt x="37" y="151"/>
                  </a:lnTo>
                  <a:lnTo>
                    <a:pt x="47" y="149"/>
                  </a:lnTo>
                  <a:lnTo>
                    <a:pt x="54" y="144"/>
                  </a:lnTo>
                  <a:lnTo>
                    <a:pt x="52" y="142"/>
                  </a:lnTo>
                  <a:lnTo>
                    <a:pt x="52" y="141"/>
                  </a:lnTo>
                  <a:lnTo>
                    <a:pt x="47" y="144"/>
                  </a:lnTo>
                  <a:lnTo>
                    <a:pt x="43" y="146"/>
                  </a:lnTo>
                  <a:lnTo>
                    <a:pt x="35" y="142"/>
                  </a:lnTo>
                  <a:lnTo>
                    <a:pt x="30" y="141"/>
                  </a:lnTo>
                  <a:lnTo>
                    <a:pt x="26" y="141"/>
                  </a:lnTo>
                  <a:lnTo>
                    <a:pt x="24" y="142"/>
                  </a:lnTo>
                  <a:lnTo>
                    <a:pt x="21" y="141"/>
                  </a:lnTo>
                  <a:lnTo>
                    <a:pt x="23" y="134"/>
                  </a:lnTo>
                  <a:lnTo>
                    <a:pt x="28" y="132"/>
                  </a:lnTo>
                  <a:lnTo>
                    <a:pt x="33" y="129"/>
                  </a:lnTo>
                  <a:lnTo>
                    <a:pt x="37" y="125"/>
                  </a:lnTo>
                  <a:lnTo>
                    <a:pt x="33" y="117"/>
                  </a:lnTo>
                  <a:lnTo>
                    <a:pt x="31" y="110"/>
                  </a:lnTo>
                  <a:lnTo>
                    <a:pt x="45" y="106"/>
                  </a:lnTo>
                  <a:lnTo>
                    <a:pt x="55" y="101"/>
                  </a:lnTo>
                  <a:lnTo>
                    <a:pt x="55" y="93"/>
                  </a:lnTo>
                  <a:lnTo>
                    <a:pt x="45" y="91"/>
                  </a:lnTo>
                  <a:lnTo>
                    <a:pt x="42" y="87"/>
                  </a:lnTo>
                  <a:lnTo>
                    <a:pt x="43" y="82"/>
                  </a:lnTo>
                  <a:lnTo>
                    <a:pt x="47" y="81"/>
                  </a:lnTo>
                  <a:lnTo>
                    <a:pt x="43" y="79"/>
                  </a:lnTo>
                  <a:lnTo>
                    <a:pt x="42" y="79"/>
                  </a:lnTo>
                  <a:lnTo>
                    <a:pt x="35" y="81"/>
                  </a:lnTo>
                  <a:lnTo>
                    <a:pt x="30" y="82"/>
                  </a:lnTo>
                  <a:lnTo>
                    <a:pt x="23" y="81"/>
                  </a:lnTo>
                  <a:lnTo>
                    <a:pt x="21" y="79"/>
                  </a:lnTo>
                  <a:lnTo>
                    <a:pt x="23" y="72"/>
                  </a:lnTo>
                  <a:lnTo>
                    <a:pt x="26" y="67"/>
                  </a:lnTo>
                  <a:lnTo>
                    <a:pt x="24" y="62"/>
                  </a:lnTo>
                  <a:lnTo>
                    <a:pt x="26" y="58"/>
                  </a:lnTo>
                  <a:lnTo>
                    <a:pt x="21" y="56"/>
                  </a:lnTo>
                  <a:lnTo>
                    <a:pt x="18" y="55"/>
                  </a:lnTo>
                  <a:lnTo>
                    <a:pt x="16" y="60"/>
                  </a:lnTo>
                  <a:lnTo>
                    <a:pt x="18" y="63"/>
                  </a:lnTo>
                  <a:lnTo>
                    <a:pt x="14" y="63"/>
                  </a:lnTo>
                  <a:lnTo>
                    <a:pt x="14" y="56"/>
                  </a:lnTo>
                  <a:lnTo>
                    <a:pt x="14" y="55"/>
                  </a:lnTo>
                  <a:lnTo>
                    <a:pt x="14" y="51"/>
                  </a:lnTo>
                  <a:lnTo>
                    <a:pt x="16" y="51"/>
                  </a:lnTo>
                  <a:lnTo>
                    <a:pt x="16" y="46"/>
                  </a:lnTo>
                  <a:lnTo>
                    <a:pt x="11" y="44"/>
                  </a:lnTo>
                  <a:lnTo>
                    <a:pt x="9" y="43"/>
                  </a:lnTo>
                  <a:lnTo>
                    <a:pt x="11" y="38"/>
                  </a:lnTo>
                  <a:lnTo>
                    <a:pt x="12" y="36"/>
                  </a:lnTo>
                  <a:lnTo>
                    <a:pt x="12" y="32"/>
                  </a:lnTo>
                  <a:lnTo>
                    <a:pt x="2" y="29"/>
                  </a:lnTo>
                  <a:lnTo>
                    <a:pt x="0" y="22"/>
                  </a:lnTo>
                  <a:lnTo>
                    <a:pt x="9" y="22"/>
                  </a:lnTo>
                  <a:lnTo>
                    <a:pt x="9" y="26"/>
                  </a:lnTo>
                  <a:lnTo>
                    <a:pt x="12" y="27"/>
                  </a:lnTo>
                  <a:lnTo>
                    <a:pt x="12" y="26"/>
                  </a:lnTo>
                  <a:lnTo>
                    <a:pt x="14" y="24"/>
                  </a:lnTo>
                  <a:lnTo>
                    <a:pt x="11" y="22"/>
                  </a:lnTo>
                  <a:lnTo>
                    <a:pt x="11" y="20"/>
                  </a:lnTo>
                  <a:lnTo>
                    <a:pt x="12" y="15"/>
                  </a:lnTo>
                  <a:lnTo>
                    <a:pt x="19" y="15"/>
                  </a:lnTo>
                  <a:lnTo>
                    <a:pt x="19" y="8"/>
                  </a:lnTo>
                  <a:lnTo>
                    <a:pt x="21" y="7"/>
                  </a:lnTo>
                  <a:lnTo>
                    <a:pt x="23" y="1"/>
                  </a:lnTo>
                  <a:lnTo>
                    <a:pt x="30" y="0"/>
                  </a:lnTo>
                  <a:lnTo>
                    <a:pt x="37" y="0"/>
                  </a:lnTo>
                  <a:lnTo>
                    <a:pt x="43" y="0"/>
                  </a:lnTo>
                  <a:lnTo>
                    <a:pt x="45" y="1"/>
                  </a:lnTo>
                  <a:lnTo>
                    <a:pt x="49" y="3"/>
                  </a:lnTo>
                  <a:lnTo>
                    <a:pt x="42" y="10"/>
                  </a:lnTo>
                  <a:lnTo>
                    <a:pt x="37" y="17"/>
                  </a:lnTo>
                  <a:lnTo>
                    <a:pt x="37" y="19"/>
                  </a:lnTo>
                  <a:lnTo>
                    <a:pt x="38" y="20"/>
                  </a:lnTo>
                  <a:lnTo>
                    <a:pt x="67" y="20"/>
                  </a:lnTo>
                  <a:lnTo>
                    <a:pt x="64" y="29"/>
                  </a:lnTo>
                  <a:lnTo>
                    <a:pt x="61" y="38"/>
                  </a:lnTo>
                  <a:lnTo>
                    <a:pt x="55" y="43"/>
                  </a:lnTo>
                  <a:lnTo>
                    <a:pt x="54" y="51"/>
                  </a:lnTo>
                  <a:lnTo>
                    <a:pt x="50" y="53"/>
                  </a:lnTo>
                  <a:lnTo>
                    <a:pt x="50" y="56"/>
                  </a:lnTo>
                  <a:lnTo>
                    <a:pt x="55" y="56"/>
                  </a:lnTo>
                  <a:lnTo>
                    <a:pt x="61" y="56"/>
                  </a:lnTo>
                  <a:lnTo>
                    <a:pt x="69" y="65"/>
                  </a:lnTo>
                  <a:lnTo>
                    <a:pt x="76" y="79"/>
                  </a:lnTo>
                  <a:lnTo>
                    <a:pt x="81" y="82"/>
                  </a:lnTo>
                  <a:lnTo>
                    <a:pt x="88" y="87"/>
                  </a:lnTo>
                  <a:lnTo>
                    <a:pt x="93" y="93"/>
                  </a:lnTo>
                  <a:lnTo>
                    <a:pt x="97" y="101"/>
                  </a:lnTo>
                  <a:lnTo>
                    <a:pt x="98" y="106"/>
                  </a:lnTo>
                  <a:lnTo>
                    <a:pt x="102" y="113"/>
                  </a:lnTo>
                  <a:lnTo>
                    <a:pt x="100" y="113"/>
                  </a:lnTo>
                  <a:lnTo>
                    <a:pt x="100" y="117"/>
                  </a:lnTo>
                  <a:lnTo>
                    <a:pt x="100" y="120"/>
                  </a:lnTo>
                  <a:lnTo>
                    <a:pt x="102" y="117"/>
                  </a:lnTo>
                  <a:lnTo>
                    <a:pt x="105" y="117"/>
                  </a:lnTo>
                  <a:lnTo>
                    <a:pt x="104"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1" name="Freeform 280"/>
            <p:cNvSpPr>
              <a:spLocks/>
            </p:cNvSpPr>
            <p:nvPr/>
          </p:nvSpPr>
          <p:spPr bwMode="auto">
            <a:xfrm>
              <a:off x="4206082" y="2628900"/>
              <a:ext cx="7938" cy="11112"/>
            </a:xfrm>
            <a:custGeom>
              <a:avLst/>
              <a:gdLst/>
              <a:ahLst/>
              <a:cxnLst>
                <a:cxn ang="0">
                  <a:pos x="4" y="0"/>
                </a:cxn>
                <a:cxn ang="0">
                  <a:pos x="0" y="2"/>
                </a:cxn>
                <a:cxn ang="0">
                  <a:pos x="0" y="7"/>
                </a:cxn>
                <a:cxn ang="0">
                  <a:pos x="2" y="7"/>
                </a:cxn>
                <a:cxn ang="0">
                  <a:pos x="5" y="7"/>
                </a:cxn>
                <a:cxn ang="0">
                  <a:pos x="5" y="2"/>
                </a:cxn>
                <a:cxn ang="0">
                  <a:pos x="5" y="0"/>
                </a:cxn>
                <a:cxn ang="0">
                  <a:pos x="4" y="0"/>
                </a:cxn>
              </a:cxnLst>
              <a:rect l="0" t="0" r="r" b="b"/>
              <a:pathLst>
                <a:path w="5" h="7">
                  <a:moveTo>
                    <a:pt x="4" y="0"/>
                  </a:moveTo>
                  <a:lnTo>
                    <a:pt x="0" y="2"/>
                  </a:lnTo>
                  <a:lnTo>
                    <a:pt x="0" y="7"/>
                  </a:lnTo>
                  <a:lnTo>
                    <a:pt x="2" y="7"/>
                  </a:lnTo>
                  <a:lnTo>
                    <a:pt x="5" y="7"/>
                  </a:lnTo>
                  <a:lnTo>
                    <a:pt x="5" y="2"/>
                  </a:lnTo>
                  <a:lnTo>
                    <a:pt x="5"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3" name="Freeform 282"/>
            <p:cNvSpPr>
              <a:spLocks/>
            </p:cNvSpPr>
            <p:nvPr/>
          </p:nvSpPr>
          <p:spPr bwMode="auto">
            <a:xfrm>
              <a:off x="2374107" y="3482975"/>
              <a:ext cx="238125" cy="82550"/>
            </a:xfrm>
            <a:custGeom>
              <a:avLst/>
              <a:gdLst/>
              <a:ahLst/>
              <a:cxnLst>
                <a:cxn ang="0">
                  <a:pos x="150" y="47"/>
                </a:cxn>
                <a:cxn ang="0">
                  <a:pos x="141" y="50"/>
                </a:cxn>
                <a:cxn ang="0">
                  <a:pos x="131" y="52"/>
                </a:cxn>
                <a:cxn ang="0">
                  <a:pos x="115" y="50"/>
                </a:cxn>
                <a:cxn ang="0">
                  <a:pos x="102" y="48"/>
                </a:cxn>
                <a:cxn ang="0">
                  <a:pos x="102" y="47"/>
                </a:cxn>
                <a:cxn ang="0">
                  <a:pos x="105" y="45"/>
                </a:cxn>
                <a:cxn ang="0">
                  <a:pos x="107" y="42"/>
                </a:cxn>
                <a:cxn ang="0">
                  <a:pos x="95" y="36"/>
                </a:cxn>
                <a:cxn ang="0">
                  <a:pos x="90" y="31"/>
                </a:cxn>
                <a:cxn ang="0">
                  <a:pos x="86" y="28"/>
                </a:cxn>
                <a:cxn ang="0">
                  <a:pos x="84" y="26"/>
                </a:cxn>
                <a:cxn ang="0">
                  <a:pos x="79" y="24"/>
                </a:cxn>
                <a:cxn ang="0">
                  <a:pos x="74" y="26"/>
                </a:cxn>
                <a:cxn ang="0">
                  <a:pos x="64" y="21"/>
                </a:cxn>
                <a:cxn ang="0">
                  <a:pos x="55" y="18"/>
                </a:cxn>
                <a:cxn ang="0">
                  <a:pos x="41" y="18"/>
                </a:cxn>
                <a:cxn ang="0">
                  <a:pos x="38" y="14"/>
                </a:cxn>
                <a:cxn ang="0">
                  <a:pos x="40" y="12"/>
                </a:cxn>
                <a:cxn ang="0">
                  <a:pos x="36" y="11"/>
                </a:cxn>
                <a:cxn ang="0">
                  <a:pos x="33" y="11"/>
                </a:cxn>
                <a:cxn ang="0">
                  <a:pos x="16" y="14"/>
                </a:cxn>
                <a:cxn ang="0">
                  <a:pos x="5" y="23"/>
                </a:cxn>
                <a:cxn ang="0">
                  <a:pos x="0" y="23"/>
                </a:cxn>
                <a:cxn ang="0">
                  <a:pos x="5" y="12"/>
                </a:cxn>
                <a:cxn ang="0">
                  <a:pos x="16" y="5"/>
                </a:cxn>
                <a:cxn ang="0">
                  <a:pos x="26" y="0"/>
                </a:cxn>
                <a:cxn ang="0">
                  <a:pos x="41" y="0"/>
                </a:cxn>
                <a:cxn ang="0">
                  <a:pos x="55" y="2"/>
                </a:cxn>
                <a:cxn ang="0">
                  <a:pos x="67" y="7"/>
                </a:cxn>
                <a:cxn ang="0">
                  <a:pos x="79" y="11"/>
                </a:cxn>
                <a:cxn ang="0">
                  <a:pos x="91" y="14"/>
                </a:cxn>
                <a:cxn ang="0">
                  <a:pos x="95" y="16"/>
                </a:cxn>
                <a:cxn ang="0">
                  <a:pos x="100" y="19"/>
                </a:cxn>
                <a:cxn ang="0">
                  <a:pos x="112" y="28"/>
                </a:cxn>
                <a:cxn ang="0">
                  <a:pos x="131" y="33"/>
                </a:cxn>
                <a:cxn ang="0">
                  <a:pos x="131" y="36"/>
                </a:cxn>
                <a:cxn ang="0">
                  <a:pos x="139" y="36"/>
                </a:cxn>
                <a:cxn ang="0">
                  <a:pos x="145" y="42"/>
                </a:cxn>
                <a:cxn ang="0">
                  <a:pos x="150" y="47"/>
                </a:cxn>
              </a:cxnLst>
              <a:rect l="0" t="0" r="r" b="b"/>
              <a:pathLst>
                <a:path w="150" h="52">
                  <a:moveTo>
                    <a:pt x="150" y="47"/>
                  </a:moveTo>
                  <a:lnTo>
                    <a:pt x="141" y="50"/>
                  </a:lnTo>
                  <a:lnTo>
                    <a:pt x="131" y="52"/>
                  </a:lnTo>
                  <a:lnTo>
                    <a:pt x="115" y="50"/>
                  </a:lnTo>
                  <a:lnTo>
                    <a:pt x="102" y="48"/>
                  </a:lnTo>
                  <a:lnTo>
                    <a:pt x="102" y="47"/>
                  </a:lnTo>
                  <a:lnTo>
                    <a:pt x="105" y="45"/>
                  </a:lnTo>
                  <a:lnTo>
                    <a:pt x="107" y="42"/>
                  </a:lnTo>
                  <a:lnTo>
                    <a:pt x="95" y="36"/>
                  </a:lnTo>
                  <a:lnTo>
                    <a:pt x="90" y="31"/>
                  </a:lnTo>
                  <a:lnTo>
                    <a:pt x="86" y="28"/>
                  </a:lnTo>
                  <a:lnTo>
                    <a:pt x="84" y="26"/>
                  </a:lnTo>
                  <a:lnTo>
                    <a:pt x="79" y="24"/>
                  </a:lnTo>
                  <a:lnTo>
                    <a:pt x="74" y="26"/>
                  </a:lnTo>
                  <a:lnTo>
                    <a:pt x="64" y="21"/>
                  </a:lnTo>
                  <a:lnTo>
                    <a:pt x="55" y="18"/>
                  </a:lnTo>
                  <a:lnTo>
                    <a:pt x="41" y="18"/>
                  </a:lnTo>
                  <a:lnTo>
                    <a:pt x="38" y="14"/>
                  </a:lnTo>
                  <a:lnTo>
                    <a:pt x="40" y="12"/>
                  </a:lnTo>
                  <a:lnTo>
                    <a:pt x="36" y="11"/>
                  </a:lnTo>
                  <a:lnTo>
                    <a:pt x="33" y="11"/>
                  </a:lnTo>
                  <a:lnTo>
                    <a:pt x="16" y="14"/>
                  </a:lnTo>
                  <a:lnTo>
                    <a:pt x="5" y="23"/>
                  </a:lnTo>
                  <a:lnTo>
                    <a:pt x="0" y="23"/>
                  </a:lnTo>
                  <a:lnTo>
                    <a:pt x="5" y="12"/>
                  </a:lnTo>
                  <a:lnTo>
                    <a:pt x="16" y="5"/>
                  </a:lnTo>
                  <a:lnTo>
                    <a:pt x="26" y="0"/>
                  </a:lnTo>
                  <a:lnTo>
                    <a:pt x="41" y="0"/>
                  </a:lnTo>
                  <a:lnTo>
                    <a:pt x="55" y="2"/>
                  </a:lnTo>
                  <a:lnTo>
                    <a:pt x="67" y="7"/>
                  </a:lnTo>
                  <a:lnTo>
                    <a:pt x="79" y="11"/>
                  </a:lnTo>
                  <a:lnTo>
                    <a:pt x="91" y="14"/>
                  </a:lnTo>
                  <a:lnTo>
                    <a:pt x="95" y="16"/>
                  </a:lnTo>
                  <a:lnTo>
                    <a:pt x="100" y="19"/>
                  </a:lnTo>
                  <a:lnTo>
                    <a:pt x="112" y="28"/>
                  </a:lnTo>
                  <a:lnTo>
                    <a:pt x="131" y="33"/>
                  </a:lnTo>
                  <a:lnTo>
                    <a:pt x="131" y="36"/>
                  </a:lnTo>
                  <a:lnTo>
                    <a:pt x="139" y="36"/>
                  </a:lnTo>
                  <a:lnTo>
                    <a:pt x="145" y="42"/>
                  </a:lnTo>
                  <a:lnTo>
                    <a:pt x="150" y="4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4" name="Freeform 283"/>
            <p:cNvSpPr>
              <a:spLocks/>
            </p:cNvSpPr>
            <p:nvPr/>
          </p:nvSpPr>
          <p:spPr bwMode="auto">
            <a:xfrm>
              <a:off x="2407444" y="3516313"/>
              <a:ext cx="11113" cy="11112"/>
            </a:xfrm>
            <a:custGeom>
              <a:avLst/>
              <a:gdLst/>
              <a:ahLst/>
              <a:cxnLst>
                <a:cxn ang="0">
                  <a:pos x="7" y="0"/>
                </a:cxn>
                <a:cxn ang="0">
                  <a:pos x="7" y="3"/>
                </a:cxn>
                <a:cxn ang="0">
                  <a:pos x="7" y="7"/>
                </a:cxn>
                <a:cxn ang="0">
                  <a:pos x="3" y="7"/>
                </a:cxn>
                <a:cxn ang="0">
                  <a:pos x="0" y="7"/>
                </a:cxn>
                <a:cxn ang="0">
                  <a:pos x="1" y="3"/>
                </a:cxn>
                <a:cxn ang="0">
                  <a:pos x="5" y="3"/>
                </a:cxn>
                <a:cxn ang="0">
                  <a:pos x="5" y="0"/>
                </a:cxn>
                <a:cxn ang="0">
                  <a:pos x="5" y="0"/>
                </a:cxn>
                <a:cxn ang="0">
                  <a:pos x="7" y="0"/>
                </a:cxn>
              </a:cxnLst>
              <a:rect l="0" t="0" r="r" b="b"/>
              <a:pathLst>
                <a:path w="7" h="7">
                  <a:moveTo>
                    <a:pt x="7" y="0"/>
                  </a:moveTo>
                  <a:lnTo>
                    <a:pt x="7" y="3"/>
                  </a:lnTo>
                  <a:lnTo>
                    <a:pt x="7" y="7"/>
                  </a:lnTo>
                  <a:lnTo>
                    <a:pt x="3" y="7"/>
                  </a:lnTo>
                  <a:lnTo>
                    <a:pt x="0" y="7"/>
                  </a:lnTo>
                  <a:lnTo>
                    <a:pt x="1" y="3"/>
                  </a:lnTo>
                  <a:lnTo>
                    <a:pt x="5" y="3"/>
                  </a:lnTo>
                  <a:lnTo>
                    <a:pt x="5" y="0"/>
                  </a:lnTo>
                  <a:lnTo>
                    <a:pt x="5" y="0"/>
                  </a:lnTo>
                  <a:lnTo>
                    <a:pt x="7"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5" name="Freeform 284"/>
            <p:cNvSpPr>
              <a:spLocks/>
            </p:cNvSpPr>
            <p:nvPr/>
          </p:nvSpPr>
          <p:spPr bwMode="auto">
            <a:xfrm>
              <a:off x="2526507" y="3595688"/>
              <a:ext cx="39688" cy="19050"/>
            </a:xfrm>
            <a:custGeom>
              <a:avLst/>
              <a:gdLst/>
              <a:ahLst/>
              <a:cxnLst>
                <a:cxn ang="0">
                  <a:pos x="21" y="3"/>
                </a:cxn>
                <a:cxn ang="0">
                  <a:pos x="23" y="5"/>
                </a:cxn>
                <a:cxn ang="0">
                  <a:pos x="25" y="8"/>
                </a:cxn>
                <a:cxn ang="0">
                  <a:pos x="16" y="10"/>
                </a:cxn>
                <a:cxn ang="0">
                  <a:pos x="9" y="12"/>
                </a:cxn>
                <a:cxn ang="0">
                  <a:pos x="2" y="8"/>
                </a:cxn>
                <a:cxn ang="0">
                  <a:pos x="0" y="3"/>
                </a:cxn>
                <a:cxn ang="0">
                  <a:pos x="2" y="0"/>
                </a:cxn>
                <a:cxn ang="0">
                  <a:pos x="6" y="0"/>
                </a:cxn>
                <a:cxn ang="0">
                  <a:pos x="14" y="2"/>
                </a:cxn>
                <a:cxn ang="0">
                  <a:pos x="21" y="5"/>
                </a:cxn>
                <a:cxn ang="0">
                  <a:pos x="21" y="3"/>
                </a:cxn>
              </a:cxnLst>
              <a:rect l="0" t="0" r="r" b="b"/>
              <a:pathLst>
                <a:path w="25" h="12">
                  <a:moveTo>
                    <a:pt x="21" y="3"/>
                  </a:moveTo>
                  <a:lnTo>
                    <a:pt x="23" y="5"/>
                  </a:lnTo>
                  <a:lnTo>
                    <a:pt x="25" y="8"/>
                  </a:lnTo>
                  <a:lnTo>
                    <a:pt x="16" y="10"/>
                  </a:lnTo>
                  <a:lnTo>
                    <a:pt x="9" y="12"/>
                  </a:lnTo>
                  <a:lnTo>
                    <a:pt x="2" y="8"/>
                  </a:lnTo>
                  <a:lnTo>
                    <a:pt x="0" y="3"/>
                  </a:lnTo>
                  <a:lnTo>
                    <a:pt x="2" y="0"/>
                  </a:lnTo>
                  <a:lnTo>
                    <a:pt x="6" y="0"/>
                  </a:lnTo>
                  <a:lnTo>
                    <a:pt x="14" y="2"/>
                  </a:lnTo>
                  <a:lnTo>
                    <a:pt x="21" y="5"/>
                  </a:lnTo>
                  <a:lnTo>
                    <a:pt x="21"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6" name="Freeform 285"/>
            <p:cNvSpPr>
              <a:spLocks/>
            </p:cNvSpPr>
            <p:nvPr/>
          </p:nvSpPr>
          <p:spPr bwMode="auto">
            <a:xfrm>
              <a:off x="2780507" y="3595688"/>
              <a:ext cx="33338" cy="12700"/>
            </a:xfrm>
            <a:custGeom>
              <a:avLst/>
              <a:gdLst/>
              <a:ahLst/>
              <a:cxnLst>
                <a:cxn ang="0">
                  <a:pos x="21" y="5"/>
                </a:cxn>
                <a:cxn ang="0">
                  <a:pos x="16" y="7"/>
                </a:cxn>
                <a:cxn ang="0">
                  <a:pos x="12" y="8"/>
                </a:cxn>
                <a:cxn ang="0">
                  <a:pos x="4" y="7"/>
                </a:cxn>
                <a:cxn ang="0">
                  <a:pos x="0" y="3"/>
                </a:cxn>
                <a:cxn ang="0">
                  <a:pos x="2" y="0"/>
                </a:cxn>
                <a:cxn ang="0">
                  <a:pos x="6" y="0"/>
                </a:cxn>
                <a:cxn ang="0">
                  <a:pos x="12" y="0"/>
                </a:cxn>
                <a:cxn ang="0">
                  <a:pos x="21" y="5"/>
                </a:cxn>
              </a:cxnLst>
              <a:rect l="0" t="0" r="r" b="b"/>
              <a:pathLst>
                <a:path w="21" h="8">
                  <a:moveTo>
                    <a:pt x="21" y="5"/>
                  </a:moveTo>
                  <a:lnTo>
                    <a:pt x="16" y="7"/>
                  </a:lnTo>
                  <a:lnTo>
                    <a:pt x="12" y="8"/>
                  </a:lnTo>
                  <a:lnTo>
                    <a:pt x="4" y="7"/>
                  </a:lnTo>
                  <a:lnTo>
                    <a:pt x="0" y="3"/>
                  </a:lnTo>
                  <a:lnTo>
                    <a:pt x="2" y="0"/>
                  </a:lnTo>
                  <a:lnTo>
                    <a:pt x="6" y="0"/>
                  </a:lnTo>
                  <a:lnTo>
                    <a:pt x="12" y="0"/>
                  </a:lnTo>
                  <a:lnTo>
                    <a:pt x="21"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7" name="Freeform 286"/>
            <p:cNvSpPr>
              <a:spLocks/>
            </p:cNvSpPr>
            <p:nvPr/>
          </p:nvSpPr>
          <p:spPr bwMode="auto">
            <a:xfrm>
              <a:off x="2613819" y="3559175"/>
              <a:ext cx="136525" cy="55562"/>
            </a:xfrm>
            <a:custGeom>
              <a:avLst/>
              <a:gdLst/>
              <a:ahLst/>
              <a:cxnLst>
                <a:cxn ang="0">
                  <a:pos x="73" y="14"/>
                </a:cxn>
                <a:cxn ang="0">
                  <a:pos x="80" y="18"/>
                </a:cxn>
                <a:cxn ang="0">
                  <a:pos x="86" y="25"/>
                </a:cxn>
                <a:cxn ang="0">
                  <a:pos x="68" y="25"/>
                </a:cxn>
                <a:cxn ang="0">
                  <a:pos x="62" y="28"/>
                </a:cxn>
                <a:cxn ang="0">
                  <a:pos x="59" y="30"/>
                </a:cxn>
                <a:cxn ang="0">
                  <a:pos x="56" y="28"/>
                </a:cxn>
                <a:cxn ang="0">
                  <a:pos x="54" y="26"/>
                </a:cxn>
                <a:cxn ang="0">
                  <a:pos x="47" y="30"/>
                </a:cxn>
                <a:cxn ang="0">
                  <a:pos x="42" y="35"/>
                </a:cxn>
                <a:cxn ang="0">
                  <a:pos x="38" y="31"/>
                </a:cxn>
                <a:cxn ang="0">
                  <a:pos x="37" y="30"/>
                </a:cxn>
                <a:cxn ang="0">
                  <a:pos x="25" y="26"/>
                </a:cxn>
                <a:cxn ang="0">
                  <a:pos x="13" y="28"/>
                </a:cxn>
                <a:cxn ang="0">
                  <a:pos x="9" y="28"/>
                </a:cxn>
                <a:cxn ang="0">
                  <a:pos x="7" y="28"/>
                </a:cxn>
                <a:cxn ang="0">
                  <a:pos x="7" y="30"/>
                </a:cxn>
                <a:cxn ang="0">
                  <a:pos x="7" y="31"/>
                </a:cxn>
                <a:cxn ang="0">
                  <a:pos x="2" y="28"/>
                </a:cxn>
                <a:cxn ang="0">
                  <a:pos x="0" y="23"/>
                </a:cxn>
                <a:cxn ang="0">
                  <a:pos x="2" y="21"/>
                </a:cxn>
                <a:cxn ang="0">
                  <a:pos x="4" y="21"/>
                </a:cxn>
                <a:cxn ang="0">
                  <a:pos x="16" y="21"/>
                </a:cxn>
                <a:cxn ang="0">
                  <a:pos x="26" y="21"/>
                </a:cxn>
                <a:cxn ang="0">
                  <a:pos x="23" y="16"/>
                </a:cxn>
                <a:cxn ang="0">
                  <a:pos x="23" y="11"/>
                </a:cxn>
                <a:cxn ang="0">
                  <a:pos x="18" y="7"/>
                </a:cxn>
                <a:cxn ang="0">
                  <a:pos x="16" y="4"/>
                </a:cxn>
                <a:cxn ang="0">
                  <a:pos x="18" y="2"/>
                </a:cxn>
                <a:cxn ang="0">
                  <a:pos x="19" y="0"/>
                </a:cxn>
                <a:cxn ang="0">
                  <a:pos x="25" y="2"/>
                </a:cxn>
                <a:cxn ang="0">
                  <a:pos x="31" y="4"/>
                </a:cxn>
                <a:cxn ang="0">
                  <a:pos x="38" y="2"/>
                </a:cxn>
                <a:cxn ang="0">
                  <a:pos x="47" y="2"/>
                </a:cxn>
                <a:cxn ang="0">
                  <a:pos x="57" y="2"/>
                </a:cxn>
                <a:cxn ang="0">
                  <a:pos x="64" y="6"/>
                </a:cxn>
                <a:cxn ang="0">
                  <a:pos x="69" y="11"/>
                </a:cxn>
                <a:cxn ang="0">
                  <a:pos x="76" y="16"/>
                </a:cxn>
                <a:cxn ang="0">
                  <a:pos x="73" y="14"/>
                </a:cxn>
              </a:cxnLst>
              <a:rect l="0" t="0" r="r" b="b"/>
              <a:pathLst>
                <a:path w="86" h="35">
                  <a:moveTo>
                    <a:pt x="73" y="14"/>
                  </a:moveTo>
                  <a:lnTo>
                    <a:pt x="80" y="18"/>
                  </a:lnTo>
                  <a:lnTo>
                    <a:pt x="86" y="25"/>
                  </a:lnTo>
                  <a:lnTo>
                    <a:pt x="68" y="25"/>
                  </a:lnTo>
                  <a:lnTo>
                    <a:pt x="62" y="28"/>
                  </a:lnTo>
                  <a:lnTo>
                    <a:pt x="59" y="30"/>
                  </a:lnTo>
                  <a:lnTo>
                    <a:pt x="56" y="28"/>
                  </a:lnTo>
                  <a:lnTo>
                    <a:pt x="54" y="26"/>
                  </a:lnTo>
                  <a:lnTo>
                    <a:pt x="47" y="30"/>
                  </a:lnTo>
                  <a:lnTo>
                    <a:pt x="42" y="35"/>
                  </a:lnTo>
                  <a:lnTo>
                    <a:pt x="38" y="31"/>
                  </a:lnTo>
                  <a:lnTo>
                    <a:pt x="37" y="30"/>
                  </a:lnTo>
                  <a:lnTo>
                    <a:pt x="25" y="26"/>
                  </a:lnTo>
                  <a:lnTo>
                    <a:pt x="13" y="28"/>
                  </a:lnTo>
                  <a:lnTo>
                    <a:pt x="9" y="28"/>
                  </a:lnTo>
                  <a:lnTo>
                    <a:pt x="7" y="28"/>
                  </a:lnTo>
                  <a:lnTo>
                    <a:pt x="7" y="30"/>
                  </a:lnTo>
                  <a:lnTo>
                    <a:pt x="7" y="31"/>
                  </a:lnTo>
                  <a:lnTo>
                    <a:pt x="2" y="28"/>
                  </a:lnTo>
                  <a:lnTo>
                    <a:pt x="0" y="23"/>
                  </a:lnTo>
                  <a:lnTo>
                    <a:pt x="2" y="21"/>
                  </a:lnTo>
                  <a:lnTo>
                    <a:pt x="4" y="21"/>
                  </a:lnTo>
                  <a:lnTo>
                    <a:pt x="16" y="21"/>
                  </a:lnTo>
                  <a:lnTo>
                    <a:pt x="26" y="21"/>
                  </a:lnTo>
                  <a:lnTo>
                    <a:pt x="23" y="16"/>
                  </a:lnTo>
                  <a:lnTo>
                    <a:pt x="23" y="11"/>
                  </a:lnTo>
                  <a:lnTo>
                    <a:pt x="18" y="7"/>
                  </a:lnTo>
                  <a:lnTo>
                    <a:pt x="16" y="4"/>
                  </a:lnTo>
                  <a:lnTo>
                    <a:pt x="18" y="2"/>
                  </a:lnTo>
                  <a:lnTo>
                    <a:pt x="19" y="0"/>
                  </a:lnTo>
                  <a:lnTo>
                    <a:pt x="25" y="2"/>
                  </a:lnTo>
                  <a:lnTo>
                    <a:pt x="31" y="4"/>
                  </a:lnTo>
                  <a:lnTo>
                    <a:pt x="38" y="2"/>
                  </a:lnTo>
                  <a:lnTo>
                    <a:pt x="47" y="2"/>
                  </a:lnTo>
                  <a:lnTo>
                    <a:pt x="57" y="2"/>
                  </a:lnTo>
                  <a:lnTo>
                    <a:pt x="64" y="6"/>
                  </a:lnTo>
                  <a:lnTo>
                    <a:pt x="69" y="11"/>
                  </a:lnTo>
                  <a:lnTo>
                    <a:pt x="76" y="16"/>
                  </a:lnTo>
                  <a:lnTo>
                    <a:pt x="73"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8" name="Freeform 287"/>
            <p:cNvSpPr>
              <a:spLocks/>
            </p:cNvSpPr>
            <p:nvPr/>
          </p:nvSpPr>
          <p:spPr bwMode="auto">
            <a:xfrm>
              <a:off x="2907507" y="3781425"/>
              <a:ext cx="15875" cy="15875"/>
            </a:xfrm>
            <a:custGeom>
              <a:avLst/>
              <a:gdLst/>
              <a:ahLst/>
              <a:cxnLst>
                <a:cxn ang="0">
                  <a:pos x="10" y="3"/>
                </a:cxn>
                <a:cxn ang="0">
                  <a:pos x="10" y="0"/>
                </a:cxn>
                <a:cxn ang="0">
                  <a:pos x="6" y="0"/>
                </a:cxn>
                <a:cxn ang="0">
                  <a:pos x="5" y="0"/>
                </a:cxn>
                <a:cxn ang="0">
                  <a:pos x="0" y="1"/>
                </a:cxn>
                <a:cxn ang="0">
                  <a:pos x="0" y="10"/>
                </a:cxn>
                <a:cxn ang="0">
                  <a:pos x="3" y="10"/>
                </a:cxn>
                <a:cxn ang="0">
                  <a:pos x="6" y="7"/>
                </a:cxn>
                <a:cxn ang="0">
                  <a:pos x="10" y="3"/>
                </a:cxn>
              </a:cxnLst>
              <a:rect l="0" t="0" r="r" b="b"/>
              <a:pathLst>
                <a:path w="10" h="10">
                  <a:moveTo>
                    <a:pt x="10" y="3"/>
                  </a:moveTo>
                  <a:lnTo>
                    <a:pt x="10" y="0"/>
                  </a:lnTo>
                  <a:lnTo>
                    <a:pt x="6" y="0"/>
                  </a:lnTo>
                  <a:lnTo>
                    <a:pt x="5" y="0"/>
                  </a:lnTo>
                  <a:lnTo>
                    <a:pt x="0" y="1"/>
                  </a:lnTo>
                  <a:lnTo>
                    <a:pt x="0" y="10"/>
                  </a:lnTo>
                  <a:lnTo>
                    <a:pt x="3" y="10"/>
                  </a:lnTo>
                  <a:lnTo>
                    <a:pt x="6" y="7"/>
                  </a:lnTo>
                  <a:lnTo>
                    <a:pt x="10"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19" name="Freeform 288"/>
            <p:cNvSpPr>
              <a:spLocks/>
            </p:cNvSpPr>
            <p:nvPr/>
          </p:nvSpPr>
          <p:spPr bwMode="auto">
            <a:xfrm>
              <a:off x="3155157" y="4024313"/>
              <a:ext cx="53975" cy="41275"/>
            </a:xfrm>
            <a:custGeom>
              <a:avLst/>
              <a:gdLst/>
              <a:ahLst/>
              <a:cxnLst>
                <a:cxn ang="0">
                  <a:pos x="14" y="0"/>
                </a:cxn>
                <a:cxn ang="0">
                  <a:pos x="17" y="2"/>
                </a:cxn>
                <a:cxn ang="0">
                  <a:pos x="24" y="5"/>
                </a:cxn>
                <a:cxn ang="0">
                  <a:pos x="26" y="7"/>
                </a:cxn>
                <a:cxn ang="0">
                  <a:pos x="31" y="5"/>
                </a:cxn>
                <a:cxn ang="0">
                  <a:pos x="33" y="7"/>
                </a:cxn>
                <a:cxn ang="0">
                  <a:pos x="34" y="10"/>
                </a:cxn>
                <a:cxn ang="0">
                  <a:pos x="29" y="19"/>
                </a:cxn>
                <a:cxn ang="0">
                  <a:pos x="21" y="26"/>
                </a:cxn>
                <a:cxn ang="0">
                  <a:pos x="14" y="22"/>
                </a:cxn>
                <a:cxn ang="0">
                  <a:pos x="7" y="20"/>
                </a:cxn>
                <a:cxn ang="0">
                  <a:pos x="2" y="15"/>
                </a:cxn>
                <a:cxn ang="0">
                  <a:pos x="0" y="12"/>
                </a:cxn>
                <a:cxn ang="0">
                  <a:pos x="2" y="3"/>
                </a:cxn>
                <a:cxn ang="0">
                  <a:pos x="10" y="0"/>
                </a:cxn>
                <a:cxn ang="0">
                  <a:pos x="12" y="0"/>
                </a:cxn>
                <a:cxn ang="0">
                  <a:pos x="14" y="0"/>
                </a:cxn>
              </a:cxnLst>
              <a:rect l="0" t="0" r="r" b="b"/>
              <a:pathLst>
                <a:path w="34" h="26">
                  <a:moveTo>
                    <a:pt x="14" y="0"/>
                  </a:moveTo>
                  <a:lnTo>
                    <a:pt x="17" y="2"/>
                  </a:lnTo>
                  <a:lnTo>
                    <a:pt x="24" y="5"/>
                  </a:lnTo>
                  <a:lnTo>
                    <a:pt x="26" y="7"/>
                  </a:lnTo>
                  <a:lnTo>
                    <a:pt x="31" y="5"/>
                  </a:lnTo>
                  <a:lnTo>
                    <a:pt x="33" y="7"/>
                  </a:lnTo>
                  <a:lnTo>
                    <a:pt x="34" y="10"/>
                  </a:lnTo>
                  <a:lnTo>
                    <a:pt x="29" y="19"/>
                  </a:lnTo>
                  <a:lnTo>
                    <a:pt x="21" y="26"/>
                  </a:lnTo>
                  <a:lnTo>
                    <a:pt x="14" y="22"/>
                  </a:lnTo>
                  <a:lnTo>
                    <a:pt x="7" y="20"/>
                  </a:lnTo>
                  <a:lnTo>
                    <a:pt x="2" y="15"/>
                  </a:lnTo>
                  <a:lnTo>
                    <a:pt x="0" y="12"/>
                  </a:lnTo>
                  <a:lnTo>
                    <a:pt x="2" y="3"/>
                  </a:lnTo>
                  <a:lnTo>
                    <a:pt x="10" y="0"/>
                  </a:lnTo>
                  <a:lnTo>
                    <a:pt x="12" y="0"/>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0" name="Freeform 289"/>
            <p:cNvSpPr>
              <a:spLocks/>
            </p:cNvSpPr>
            <p:nvPr/>
          </p:nvSpPr>
          <p:spPr bwMode="auto">
            <a:xfrm>
              <a:off x="2961482" y="5340350"/>
              <a:ext cx="38100" cy="23812"/>
            </a:xfrm>
            <a:custGeom>
              <a:avLst/>
              <a:gdLst/>
              <a:ahLst/>
              <a:cxnLst>
                <a:cxn ang="0">
                  <a:pos x="5" y="3"/>
                </a:cxn>
                <a:cxn ang="0">
                  <a:pos x="8" y="1"/>
                </a:cxn>
                <a:cxn ang="0">
                  <a:pos x="14" y="0"/>
                </a:cxn>
                <a:cxn ang="0">
                  <a:pos x="19" y="0"/>
                </a:cxn>
                <a:cxn ang="0">
                  <a:pos x="24" y="0"/>
                </a:cxn>
                <a:cxn ang="0">
                  <a:pos x="24" y="1"/>
                </a:cxn>
                <a:cxn ang="0">
                  <a:pos x="24" y="3"/>
                </a:cxn>
                <a:cxn ang="0">
                  <a:pos x="19" y="8"/>
                </a:cxn>
                <a:cxn ang="0">
                  <a:pos x="10" y="10"/>
                </a:cxn>
                <a:cxn ang="0">
                  <a:pos x="7" y="13"/>
                </a:cxn>
                <a:cxn ang="0">
                  <a:pos x="3" y="15"/>
                </a:cxn>
                <a:cxn ang="0">
                  <a:pos x="2" y="15"/>
                </a:cxn>
                <a:cxn ang="0">
                  <a:pos x="0" y="15"/>
                </a:cxn>
                <a:cxn ang="0">
                  <a:pos x="0" y="10"/>
                </a:cxn>
                <a:cxn ang="0">
                  <a:pos x="2" y="6"/>
                </a:cxn>
                <a:cxn ang="0">
                  <a:pos x="5" y="3"/>
                </a:cxn>
              </a:cxnLst>
              <a:rect l="0" t="0" r="r" b="b"/>
              <a:pathLst>
                <a:path w="24" h="15">
                  <a:moveTo>
                    <a:pt x="5" y="3"/>
                  </a:moveTo>
                  <a:lnTo>
                    <a:pt x="8" y="1"/>
                  </a:lnTo>
                  <a:lnTo>
                    <a:pt x="14" y="0"/>
                  </a:lnTo>
                  <a:lnTo>
                    <a:pt x="19" y="0"/>
                  </a:lnTo>
                  <a:lnTo>
                    <a:pt x="24" y="0"/>
                  </a:lnTo>
                  <a:lnTo>
                    <a:pt x="24" y="1"/>
                  </a:lnTo>
                  <a:lnTo>
                    <a:pt x="24" y="3"/>
                  </a:lnTo>
                  <a:lnTo>
                    <a:pt x="19" y="8"/>
                  </a:lnTo>
                  <a:lnTo>
                    <a:pt x="10" y="10"/>
                  </a:lnTo>
                  <a:lnTo>
                    <a:pt x="7" y="13"/>
                  </a:lnTo>
                  <a:lnTo>
                    <a:pt x="3" y="15"/>
                  </a:lnTo>
                  <a:lnTo>
                    <a:pt x="2" y="15"/>
                  </a:lnTo>
                  <a:lnTo>
                    <a:pt x="0" y="15"/>
                  </a:lnTo>
                  <a:lnTo>
                    <a:pt x="0" y="10"/>
                  </a:lnTo>
                  <a:lnTo>
                    <a:pt x="2" y="6"/>
                  </a:lnTo>
                  <a:lnTo>
                    <a:pt x="5" y="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1" name="Freeform 290"/>
            <p:cNvSpPr>
              <a:spLocks/>
            </p:cNvSpPr>
            <p:nvPr/>
          </p:nvSpPr>
          <p:spPr bwMode="auto">
            <a:xfrm>
              <a:off x="2934494" y="5334000"/>
              <a:ext cx="31750" cy="26987"/>
            </a:xfrm>
            <a:custGeom>
              <a:avLst/>
              <a:gdLst/>
              <a:ahLst/>
              <a:cxnLst>
                <a:cxn ang="0">
                  <a:pos x="7" y="5"/>
                </a:cxn>
                <a:cxn ang="0">
                  <a:pos x="3" y="2"/>
                </a:cxn>
                <a:cxn ang="0">
                  <a:pos x="3" y="0"/>
                </a:cxn>
                <a:cxn ang="0">
                  <a:pos x="12" y="0"/>
                </a:cxn>
                <a:cxn ang="0">
                  <a:pos x="20" y="0"/>
                </a:cxn>
                <a:cxn ang="0">
                  <a:pos x="20" y="2"/>
                </a:cxn>
                <a:cxn ang="0">
                  <a:pos x="20" y="5"/>
                </a:cxn>
                <a:cxn ang="0">
                  <a:pos x="10" y="10"/>
                </a:cxn>
                <a:cxn ang="0">
                  <a:pos x="1" y="17"/>
                </a:cxn>
                <a:cxn ang="0">
                  <a:pos x="0" y="16"/>
                </a:cxn>
                <a:cxn ang="0">
                  <a:pos x="3" y="10"/>
                </a:cxn>
                <a:cxn ang="0">
                  <a:pos x="7" y="5"/>
                </a:cxn>
              </a:cxnLst>
              <a:rect l="0" t="0" r="r" b="b"/>
              <a:pathLst>
                <a:path w="20" h="17">
                  <a:moveTo>
                    <a:pt x="7" y="5"/>
                  </a:moveTo>
                  <a:lnTo>
                    <a:pt x="3" y="2"/>
                  </a:lnTo>
                  <a:lnTo>
                    <a:pt x="3" y="0"/>
                  </a:lnTo>
                  <a:lnTo>
                    <a:pt x="12" y="0"/>
                  </a:lnTo>
                  <a:lnTo>
                    <a:pt x="20" y="0"/>
                  </a:lnTo>
                  <a:lnTo>
                    <a:pt x="20" y="2"/>
                  </a:lnTo>
                  <a:lnTo>
                    <a:pt x="20" y="5"/>
                  </a:lnTo>
                  <a:lnTo>
                    <a:pt x="10" y="10"/>
                  </a:lnTo>
                  <a:lnTo>
                    <a:pt x="1" y="17"/>
                  </a:lnTo>
                  <a:lnTo>
                    <a:pt x="0" y="16"/>
                  </a:lnTo>
                  <a:lnTo>
                    <a:pt x="3"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2" name="Freeform 291"/>
            <p:cNvSpPr>
              <a:spLocks/>
            </p:cNvSpPr>
            <p:nvPr/>
          </p:nvSpPr>
          <p:spPr bwMode="auto">
            <a:xfrm>
              <a:off x="2620169" y="5057775"/>
              <a:ext cx="19050" cy="47625"/>
            </a:xfrm>
            <a:custGeom>
              <a:avLst/>
              <a:gdLst/>
              <a:ahLst/>
              <a:cxnLst>
                <a:cxn ang="0">
                  <a:pos x="0" y="16"/>
                </a:cxn>
                <a:cxn ang="0">
                  <a:pos x="0" y="13"/>
                </a:cxn>
                <a:cxn ang="0">
                  <a:pos x="2" y="7"/>
                </a:cxn>
                <a:cxn ang="0">
                  <a:pos x="2" y="2"/>
                </a:cxn>
                <a:cxn ang="0">
                  <a:pos x="5" y="0"/>
                </a:cxn>
                <a:cxn ang="0">
                  <a:pos x="10" y="2"/>
                </a:cxn>
                <a:cxn ang="0">
                  <a:pos x="12" y="9"/>
                </a:cxn>
                <a:cxn ang="0">
                  <a:pos x="10" y="13"/>
                </a:cxn>
                <a:cxn ang="0">
                  <a:pos x="10" y="14"/>
                </a:cxn>
                <a:cxn ang="0">
                  <a:pos x="10" y="30"/>
                </a:cxn>
                <a:cxn ang="0">
                  <a:pos x="5" y="30"/>
                </a:cxn>
                <a:cxn ang="0">
                  <a:pos x="0" y="26"/>
                </a:cxn>
                <a:cxn ang="0">
                  <a:pos x="0" y="23"/>
                </a:cxn>
                <a:cxn ang="0">
                  <a:pos x="0" y="18"/>
                </a:cxn>
                <a:cxn ang="0">
                  <a:pos x="0" y="16"/>
                </a:cxn>
              </a:cxnLst>
              <a:rect l="0" t="0" r="r" b="b"/>
              <a:pathLst>
                <a:path w="12" h="30">
                  <a:moveTo>
                    <a:pt x="0" y="16"/>
                  </a:moveTo>
                  <a:lnTo>
                    <a:pt x="0" y="13"/>
                  </a:lnTo>
                  <a:lnTo>
                    <a:pt x="2" y="7"/>
                  </a:lnTo>
                  <a:lnTo>
                    <a:pt x="2" y="2"/>
                  </a:lnTo>
                  <a:lnTo>
                    <a:pt x="5" y="0"/>
                  </a:lnTo>
                  <a:lnTo>
                    <a:pt x="10" y="2"/>
                  </a:lnTo>
                  <a:lnTo>
                    <a:pt x="12" y="9"/>
                  </a:lnTo>
                  <a:lnTo>
                    <a:pt x="10" y="13"/>
                  </a:lnTo>
                  <a:lnTo>
                    <a:pt x="10" y="14"/>
                  </a:lnTo>
                  <a:lnTo>
                    <a:pt x="10" y="30"/>
                  </a:lnTo>
                  <a:lnTo>
                    <a:pt x="5" y="30"/>
                  </a:lnTo>
                  <a:lnTo>
                    <a:pt x="0" y="26"/>
                  </a:lnTo>
                  <a:lnTo>
                    <a:pt x="0" y="23"/>
                  </a:lnTo>
                  <a:lnTo>
                    <a:pt x="0" y="18"/>
                  </a:lnTo>
                  <a:lnTo>
                    <a:pt x="0"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3" name="Freeform 292"/>
            <p:cNvSpPr>
              <a:spLocks/>
            </p:cNvSpPr>
            <p:nvPr/>
          </p:nvSpPr>
          <p:spPr bwMode="auto">
            <a:xfrm>
              <a:off x="2453482" y="3743325"/>
              <a:ext cx="1069975" cy="1722437"/>
            </a:xfrm>
            <a:custGeom>
              <a:avLst/>
              <a:gdLst/>
              <a:ahLst/>
              <a:cxnLst>
                <a:cxn ang="0">
                  <a:pos x="52" y="79"/>
                </a:cxn>
                <a:cxn ang="0">
                  <a:pos x="65" y="55"/>
                </a:cxn>
                <a:cxn ang="0">
                  <a:pos x="86" y="22"/>
                </a:cxn>
                <a:cxn ang="0">
                  <a:pos x="143" y="0"/>
                </a:cxn>
                <a:cxn ang="0">
                  <a:pos x="139" y="41"/>
                </a:cxn>
                <a:cxn ang="0">
                  <a:pos x="158" y="13"/>
                </a:cxn>
                <a:cxn ang="0">
                  <a:pos x="191" y="22"/>
                </a:cxn>
                <a:cxn ang="0">
                  <a:pos x="234" y="32"/>
                </a:cxn>
                <a:cxn ang="0">
                  <a:pos x="272" y="24"/>
                </a:cxn>
                <a:cxn ang="0">
                  <a:pos x="313" y="56"/>
                </a:cxn>
                <a:cxn ang="0">
                  <a:pos x="344" y="87"/>
                </a:cxn>
                <a:cxn ang="0">
                  <a:pos x="409" y="101"/>
                </a:cxn>
                <a:cxn ang="0">
                  <a:pos x="442" y="134"/>
                </a:cxn>
                <a:cxn ang="0">
                  <a:pos x="437" y="177"/>
                </a:cxn>
                <a:cxn ang="0">
                  <a:pos x="463" y="208"/>
                </a:cxn>
                <a:cxn ang="0">
                  <a:pos x="507" y="192"/>
                </a:cxn>
                <a:cxn ang="0">
                  <a:pos x="538" y="218"/>
                </a:cxn>
                <a:cxn ang="0">
                  <a:pos x="616" y="227"/>
                </a:cxn>
                <a:cxn ang="0">
                  <a:pos x="671" y="261"/>
                </a:cxn>
                <a:cxn ang="0">
                  <a:pos x="642" y="345"/>
                </a:cxn>
                <a:cxn ang="0">
                  <a:pos x="614" y="395"/>
                </a:cxn>
                <a:cxn ang="0">
                  <a:pos x="604" y="447"/>
                </a:cxn>
                <a:cxn ang="0">
                  <a:pos x="571" y="510"/>
                </a:cxn>
                <a:cxn ang="0">
                  <a:pos x="509" y="533"/>
                </a:cxn>
                <a:cxn ang="0">
                  <a:pos x="475" y="602"/>
                </a:cxn>
                <a:cxn ang="0">
                  <a:pos x="433" y="655"/>
                </a:cxn>
                <a:cxn ang="0">
                  <a:pos x="368" y="706"/>
                </a:cxn>
                <a:cxn ang="0">
                  <a:pos x="342" y="710"/>
                </a:cxn>
                <a:cxn ang="0">
                  <a:pos x="349" y="758"/>
                </a:cxn>
                <a:cxn ang="0">
                  <a:pos x="282" y="777"/>
                </a:cxn>
                <a:cxn ang="0">
                  <a:pos x="277" y="811"/>
                </a:cxn>
                <a:cxn ang="0">
                  <a:pos x="237" y="822"/>
                </a:cxn>
                <a:cxn ang="0">
                  <a:pos x="260" y="839"/>
                </a:cxn>
                <a:cxn ang="0">
                  <a:pos x="237" y="861"/>
                </a:cxn>
                <a:cxn ang="0">
                  <a:pos x="217" y="918"/>
                </a:cxn>
                <a:cxn ang="0">
                  <a:pos x="205" y="961"/>
                </a:cxn>
                <a:cxn ang="0">
                  <a:pos x="186" y="1014"/>
                </a:cxn>
                <a:cxn ang="0">
                  <a:pos x="229" y="1068"/>
                </a:cxn>
                <a:cxn ang="0">
                  <a:pos x="201" y="1083"/>
                </a:cxn>
                <a:cxn ang="0">
                  <a:pos x="169" y="1071"/>
                </a:cxn>
                <a:cxn ang="0">
                  <a:pos x="132" y="1050"/>
                </a:cxn>
                <a:cxn ang="0">
                  <a:pos x="107" y="1026"/>
                </a:cxn>
                <a:cxn ang="0">
                  <a:pos x="105" y="1000"/>
                </a:cxn>
                <a:cxn ang="0">
                  <a:pos x="91" y="954"/>
                </a:cxn>
                <a:cxn ang="0">
                  <a:pos x="96" y="904"/>
                </a:cxn>
                <a:cxn ang="0">
                  <a:pos x="127" y="823"/>
                </a:cxn>
                <a:cxn ang="0">
                  <a:pos x="115" y="789"/>
                </a:cxn>
                <a:cxn ang="0">
                  <a:pos x="115" y="767"/>
                </a:cxn>
                <a:cxn ang="0">
                  <a:pos x="138" y="715"/>
                </a:cxn>
                <a:cxn ang="0">
                  <a:pos x="151" y="595"/>
                </a:cxn>
                <a:cxn ang="0">
                  <a:pos x="162" y="538"/>
                </a:cxn>
                <a:cxn ang="0">
                  <a:pos x="165" y="498"/>
                </a:cxn>
                <a:cxn ang="0">
                  <a:pos x="129" y="428"/>
                </a:cxn>
                <a:cxn ang="0">
                  <a:pos x="74" y="393"/>
                </a:cxn>
                <a:cxn ang="0">
                  <a:pos x="40" y="311"/>
                </a:cxn>
                <a:cxn ang="0">
                  <a:pos x="14" y="277"/>
                </a:cxn>
                <a:cxn ang="0">
                  <a:pos x="17" y="216"/>
                </a:cxn>
                <a:cxn ang="0">
                  <a:pos x="17" y="170"/>
                </a:cxn>
                <a:cxn ang="0">
                  <a:pos x="55" y="132"/>
                </a:cxn>
              </a:cxnLst>
              <a:rect l="0" t="0" r="r" b="b"/>
              <a:pathLst>
                <a:path w="674" h="1085">
                  <a:moveTo>
                    <a:pt x="57" y="118"/>
                  </a:moveTo>
                  <a:lnTo>
                    <a:pt x="57" y="115"/>
                  </a:lnTo>
                  <a:lnTo>
                    <a:pt x="55" y="108"/>
                  </a:lnTo>
                  <a:lnTo>
                    <a:pt x="53" y="103"/>
                  </a:lnTo>
                  <a:lnTo>
                    <a:pt x="55" y="96"/>
                  </a:lnTo>
                  <a:lnTo>
                    <a:pt x="57" y="91"/>
                  </a:lnTo>
                  <a:lnTo>
                    <a:pt x="52" y="79"/>
                  </a:lnTo>
                  <a:lnTo>
                    <a:pt x="48" y="72"/>
                  </a:lnTo>
                  <a:lnTo>
                    <a:pt x="53" y="63"/>
                  </a:lnTo>
                  <a:lnTo>
                    <a:pt x="60" y="58"/>
                  </a:lnTo>
                  <a:lnTo>
                    <a:pt x="62" y="58"/>
                  </a:lnTo>
                  <a:lnTo>
                    <a:pt x="65" y="58"/>
                  </a:lnTo>
                  <a:lnTo>
                    <a:pt x="65" y="56"/>
                  </a:lnTo>
                  <a:lnTo>
                    <a:pt x="65" y="55"/>
                  </a:lnTo>
                  <a:lnTo>
                    <a:pt x="67" y="53"/>
                  </a:lnTo>
                  <a:lnTo>
                    <a:pt x="69" y="53"/>
                  </a:lnTo>
                  <a:lnTo>
                    <a:pt x="71" y="46"/>
                  </a:lnTo>
                  <a:lnTo>
                    <a:pt x="77" y="43"/>
                  </a:lnTo>
                  <a:lnTo>
                    <a:pt x="79" y="36"/>
                  </a:lnTo>
                  <a:lnTo>
                    <a:pt x="83" y="31"/>
                  </a:lnTo>
                  <a:lnTo>
                    <a:pt x="86" y="22"/>
                  </a:lnTo>
                  <a:lnTo>
                    <a:pt x="96" y="19"/>
                  </a:lnTo>
                  <a:lnTo>
                    <a:pt x="103" y="15"/>
                  </a:lnTo>
                  <a:lnTo>
                    <a:pt x="112" y="13"/>
                  </a:lnTo>
                  <a:lnTo>
                    <a:pt x="119" y="10"/>
                  </a:lnTo>
                  <a:lnTo>
                    <a:pt x="129" y="8"/>
                  </a:lnTo>
                  <a:lnTo>
                    <a:pt x="136" y="3"/>
                  </a:lnTo>
                  <a:lnTo>
                    <a:pt x="143" y="0"/>
                  </a:lnTo>
                  <a:lnTo>
                    <a:pt x="146" y="1"/>
                  </a:lnTo>
                  <a:lnTo>
                    <a:pt x="148" y="5"/>
                  </a:lnTo>
                  <a:lnTo>
                    <a:pt x="144" y="10"/>
                  </a:lnTo>
                  <a:lnTo>
                    <a:pt x="143" y="12"/>
                  </a:lnTo>
                  <a:lnTo>
                    <a:pt x="139" y="22"/>
                  </a:lnTo>
                  <a:lnTo>
                    <a:pt x="138" y="32"/>
                  </a:lnTo>
                  <a:lnTo>
                    <a:pt x="139" y="41"/>
                  </a:lnTo>
                  <a:lnTo>
                    <a:pt x="146" y="48"/>
                  </a:lnTo>
                  <a:lnTo>
                    <a:pt x="148" y="43"/>
                  </a:lnTo>
                  <a:lnTo>
                    <a:pt x="151" y="39"/>
                  </a:lnTo>
                  <a:lnTo>
                    <a:pt x="148" y="31"/>
                  </a:lnTo>
                  <a:lnTo>
                    <a:pt x="144" y="24"/>
                  </a:lnTo>
                  <a:lnTo>
                    <a:pt x="148" y="15"/>
                  </a:lnTo>
                  <a:lnTo>
                    <a:pt x="158" y="13"/>
                  </a:lnTo>
                  <a:lnTo>
                    <a:pt x="170" y="13"/>
                  </a:lnTo>
                  <a:lnTo>
                    <a:pt x="163" y="8"/>
                  </a:lnTo>
                  <a:lnTo>
                    <a:pt x="160" y="5"/>
                  </a:lnTo>
                  <a:lnTo>
                    <a:pt x="170" y="5"/>
                  </a:lnTo>
                  <a:lnTo>
                    <a:pt x="177" y="13"/>
                  </a:lnTo>
                  <a:lnTo>
                    <a:pt x="191" y="17"/>
                  </a:lnTo>
                  <a:lnTo>
                    <a:pt x="191" y="22"/>
                  </a:lnTo>
                  <a:lnTo>
                    <a:pt x="196" y="25"/>
                  </a:lnTo>
                  <a:lnTo>
                    <a:pt x="203" y="25"/>
                  </a:lnTo>
                  <a:lnTo>
                    <a:pt x="212" y="25"/>
                  </a:lnTo>
                  <a:lnTo>
                    <a:pt x="218" y="25"/>
                  </a:lnTo>
                  <a:lnTo>
                    <a:pt x="224" y="25"/>
                  </a:lnTo>
                  <a:lnTo>
                    <a:pt x="227" y="31"/>
                  </a:lnTo>
                  <a:lnTo>
                    <a:pt x="234" y="32"/>
                  </a:lnTo>
                  <a:lnTo>
                    <a:pt x="244" y="29"/>
                  </a:lnTo>
                  <a:lnTo>
                    <a:pt x="249" y="25"/>
                  </a:lnTo>
                  <a:lnTo>
                    <a:pt x="256" y="24"/>
                  </a:lnTo>
                  <a:lnTo>
                    <a:pt x="263" y="22"/>
                  </a:lnTo>
                  <a:lnTo>
                    <a:pt x="272" y="22"/>
                  </a:lnTo>
                  <a:lnTo>
                    <a:pt x="277" y="24"/>
                  </a:lnTo>
                  <a:lnTo>
                    <a:pt x="272" y="24"/>
                  </a:lnTo>
                  <a:lnTo>
                    <a:pt x="268" y="25"/>
                  </a:lnTo>
                  <a:lnTo>
                    <a:pt x="268" y="29"/>
                  </a:lnTo>
                  <a:lnTo>
                    <a:pt x="279" y="36"/>
                  </a:lnTo>
                  <a:lnTo>
                    <a:pt x="291" y="39"/>
                  </a:lnTo>
                  <a:lnTo>
                    <a:pt x="296" y="46"/>
                  </a:lnTo>
                  <a:lnTo>
                    <a:pt x="298" y="56"/>
                  </a:lnTo>
                  <a:lnTo>
                    <a:pt x="313" y="56"/>
                  </a:lnTo>
                  <a:lnTo>
                    <a:pt x="318" y="60"/>
                  </a:lnTo>
                  <a:lnTo>
                    <a:pt x="323" y="63"/>
                  </a:lnTo>
                  <a:lnTo>
                    <a:pt x="327" y="68"/>
                  </a:lnTo>
                  <a:lnTo>
                    <a:pt x="332" y="77"/>
                  </a:lnTo>
                  <a:lnTo>
                    <a:pt x="335" y="79"/>
                  </a:lnTo>
                  <a:lnTo>
                    <a:pt x="341" y="81"/>
                  </a:lnTo>
                  <a:lnTo>
                    <a:pt x="344" y="87"/>
                  </a:lnTo>
                  <a:lnTo>
                    <a:pt x="354" y="91"/>
                  </a:lnTo>
                  <a:lnTo>
                    <a:pt x="366" y="93"/>
                  </a:lnTo>
                  <a:lnTo>
                    <a:pt x="378" y="94"/>
                  </a:lnTo>
                  <a:lnTo>
                    <a:pt x="392" y="94"/>
                  </a:lnTo>
                  <a:lnTo>
                    <a:pt x="399" y="98"/>
                  </a:lnTo>
                  <a:lnTo>
                    <a:pt x="409" y="101"/>
                  </a:lnTo>
                  <a:lnTo>
                    <a:pt x="409" y="101"/>
                  </a:lnTo>
                  <a:lnTo>
                    <a:pt x="411" y="101"/>
                  </a:lnTo>
                  <a:lnTo>
                    <a:pt x="416" y="103"/>
                  </a:lnTo>
                  <a:lnTo>
                    <a:pt x="425" y="110"/>
                  </a:lnTo>
                  <a:lnTo>
                    <a:pt x="430" y="115"/>
                  </a:lnTo>
                  <a:lnTo>
                    <a:pt x="439" y="120"/>
                  </a:lnTo>
                  <a:lnTo>
                    <a:pt x="439" y="125"/>
                  </a:lnTo>
                  <a:lnTo>
                    <a:pt x="442" y="134"/>
                  </a:lnTo>
                  <a:lnTo>
                    <a:pt x="445" y="141"/>
                  </a:lnTo>
                  <a:lnTo>
                    <a:pt x="449" y="149"/>
                  </a:lnTo>
                  <a:lnTo>
                    <a:pt x="452" y="153"/>
                  </a:lnTo>
                  <a:lnTo>
                    <a:pt x="457" y="158"/>
                  </a:lnTo>
                  <a:lnTo>
                    <a:pt x="449" y="163"/>
                  </a:lnTo>
                  <a:lnTo>
                    <a:pt x="442" y="170"/>
                  </a:lnTo>
                  <a:lnTo>
                    <a:pt x="437" y="177"/>
                  </a:lnTo>
                  <a:lnTo>
                    <a:pt x="435" y="189"/>
                  </a:lnTo>
                  <a:lnTo>
                    <a:pt x="437" y="192"/>
                  </a:lnTo>
                  <a:lnTo>
                    <a:pt x="442" y="194"/>
                  </a:lnTo>
                  <a:lnTo>
                    <a:pt x="447" y="199"/>
                  </a:lnTo>
                  <a:lnTo>
                    <a:pt x="451" y="206"/>
                  </a:lnTo>
                  <a:lnTo>
                    <a:pt x="463" y="206"/>
                  </a:lnTo>
                  <a:lnTo>
                    <a:pt x="463" y="208"/>
                  </a:lnTo>
                  <a:lnTo>
                    <a:pt x="464" y="211"/>
                  </a:lnTo>
                  <a:lnTo>
                    <a:pt x="468" y="208"/>
                  </a:lnTo>
                  <a:lnTo>
                    <a:pt x="471" y="206"/>
                  </a:lnTo>
                  <a:lnTo>
                    <a:pt x="478" y="192"/>
                  </a:lnTo>
                  <a:lnTo>
                    <a:pt x="490" y="187"/>
                  </a:lnTo>
                  <a:lnTo>
                    <a:pt x="497" y="187"/>
                  </a:lnTo>
                  <a:lnTo>
                    <a:pt x="507" y="192"/>
                  </a:lnTo>
                  <a:lnTo>
                    <a:pt x="516" y="196"/>
                  </a:lnTo>
                  <a:lnTo>
                    <a:pt x="525" y="201"/>
                  </a:lnTo>
                  <a:lnTo>
                    <a:pt x="530" y="203"/>
                  </a:lnTo>
                  <a:lnTo>
                    <a:pt x="533" y="206"/>
                  </a:lnTo>
                  <a:lnTo>
                    <a:pt x="533" y="211"/>
                  </a:lnTo>
                  <a:lnTo>
                    <a:pt x="535" y="218"/>
                  </a:lnTo>
                  <a:lnTo>
                    <a:pt x="538" y="218"/>
                  </a:lnTo>
                  <a:lnTo>
                    <a:pt x="543" y="215"/>
                  </a:lnTo>
                  <a:lnTo>
                    <a:pt x="549" y="213"/>
                  </a:lnTo>
                  <a:lnTo>
                    <a:pt x="561" y="216"/>
                  </a:lnTo>
                  <a:lnTo>
                    <a:pt x="573" y="222"/>
                  </a:lnTo>
                  <a:lnTo>
                    <a:pt x="592" y="218"/>
                  </a:lnTo>
                  <a:lnTo>
                    <a:pt x="604" y="222"/>
                  </a:lnTo>
                  <a:lnTo>
                    <a:pt x="616" y="227"/>
                  </a:lnTo>
                  <a:lnTo>
                    <a:pt x="619" y="232"/>
                  </a:lnTo>
                  <a:lnTo>
                    <a:pt x="626" y="240"/>
                  </a:lnTo>
                  <a:lnTo>
                    <a:pt x="635" y="246"/>
                  </a:lnTo>
                  <a:lnTo>
                    <a:pt x="643" y="251"/>
                  </a:lnTo>
                  <a:lnTo>
                    <a:pt x="652" y="251"/>
                  </a:lnTo>
                  <a:lnTo>
                    <a:pt x="662" y="252"/>
                  </a:lnTo>
                  <a:lnTo>
                    <a:pt x="671" y="261"/>
                  </a:lnTo>
                  <a:lnTo>
                    <a:pt x="674" y="277"/>
                  </a:lnTo>
                  <a:lnTo>
                    <a:pt x="672" y="289"/>
                  </a:lnTo>
                  <a:lnTo>
                    <a:pt x="671" y="299"/>
                  </a:lnTo>
                  <a:lnTo>
                    <a:pt x="666" y="307"/>
                  </a:lnTo>
                  <a:lnTo>
                    <a:pt x="662" y="316"/>
                  </a:lnTo>
                  <a:lnTo>
                    <a:pt x="652" y="330"/>
                  </a:lnTo>
                  <a:lnTo>
                    <a:pt x="642" y="345"/>
                  </a:lnTo>
                  <a:lnTo>
                    <a:pt x="636" y="349"/>
                  </a:lnTo>
                  <a:lnTo>
                    <a:pt x="633" y="356"/>
                  </a:lnTo>
                  <a:lnTo>
                    <a:pt x="624" y="363"/>
                  </a:lnTo>
                  <a:lnTo>
                    <a:pt x="617" y="369"/>
                  </a:lnTo>
                  <a:lnTo>
                    <a:pt x="612" y="375"/>
                  </a:lnTo>
                  <a:lnTo>
                    <a:pt x="612" y="385"/>
                  </a:lnTo>
                  <a:lnTo>
                    <a:pt x="614" y="395"/>
                  </a:lnTo>
                  <a:lnTo>
                    <a:pt x="616" y="405"/>
                  </a:lnTo>
                  <a:lnTo>
                    <a:pt x="614" y="418"/>
                  </a:lnTo>
                  <a:lnTo>
                    <a:pt x="614" y="430"/>
                  </a:lnTo>
                  <a:lnTo>
                    <a:pt x="612" y="431"/>
                  </a:lnTo>
                  <a:lnTo>
                    <a:pt x="611" y="435"/>
                  </a:lnTo>
                  <a:lnTo>
                    <a:pt x="605" y="440"/>
                  </a:lnTo>
                  <a:lnTo>
                    <a:pt x="604" y="447"/>
                  </a:lnTo>
                  <a:lnTo>
                    <a:pt x="602" y="455"/>
                  </a:lnTo>
                  <a:lnTo>
                    <a:pt x="602" y="464"/>
                  </a:lnTo>
                  <a:lnTo>
                    <a:pt x="592" y="478"/>
                  </a:lnTo>
                  <a:lnTo>
                    <a:pt x="583" y="491"/>
                  </a:lnTo>
                  <a:lnTo>
                    <a:pt x="581" y="497"/>
                  </a:lnTo>
                  <a:lnTo>
                    <a:pt x="581" y="502"/>
                  </a:lnTo>
                  <a:lnTo>
                    <a:pt x="571" y="510"/>
                  </a:lnTo>
                  <a:lnTo>
                    <a:pt x="559" y="516"/>
                  </a:lnTo>
                  <a:lnTo>
                    <a:pt x="545" y="516"/>
                  </a:lnTo>
                  <a:lnTo>
                    <a:pt x="535" y="519"/>
                  </a:lnTo>
                  <a:lnTo>
                    <a:pt x="530" y="521"/>
                  </a:lnTo>
                  <a:lnTo>
                    <a:pt x="528" y="524"/>
                  </a:lnTo>
                  <a:lnTo>
                    <a:pt x="518" y="529"/>
                  </a:lnTo>
                  <a:lnTo>
                    <a:pt x="509" y="533"/>
                  </a:lnTo>
                  <a:lnTo>
                    <a:pt x="500" y="534"/>
                  </a:lnTo>
                  <a:lnTo>
                    <a:pt x="495" y="543"/>
                  </a:lnTo>
                  <a:lnTo>
                    <a:pt x="487" y="548"/>
                  </a:lnTo>
                  <a:lnTo>
                    <a:pt x="480" y="553"/>
                  </a:lnTo>
                  <a:lnTo>
                    <a:pt x="475" y="564"/>
                  </a:lnTo>
                  <a:lnTo>
                    <a:pt x="475" y="577"/>
                  </a:lnTo>
                  <a:lnTo>
                    <a:pt x="475" y="602"/>
                  </a:lnTo>
                  <a:lnTo>
                    <a:pt x="461" y="610"/>
                  </a:lnTo>
                  <a:lnTo>
                    <a:pt x="454" y="626"/>
                  </a:lnTo>
                  <a:lnTo>
                    <a:pt x="454" y="626"/>
                  </a:lnTo>
                  <a:lnTo>
                    <a:pt x="451" y="632"/>
                  </a:lnTo>
                  <a:lnTo>
                    <a:pt x="447" y="641"/>
                  </a:lnTo>
                  <a:lnTo>
                    <a:pt x="439" y="648"/>
                  </a:lnTo>
                  <a:lnTo>
                    <a:pt x="433" y="655"/>
                  </a:lnTo>
                  <a:lnTo>
                    <a:pt x="425" y="660"/>
                  </a:lnTo>
                  <a:lnTo>
                    <a:pt x="420" y="670"/>
                  </a:lnTo>
                  <a:lnTo>
                    <a:pt x="413" y="682"/>
                  </a:lnTo>
                  <a:lnTo>
                    <a:pt x="406" y="694"/>
                  </a:lnTo>
                  <a:lnTo>
                    <a:pt x="396" y="705"/>
                  </a:lnTo>
                  <a:lnTo>
                    <a:pt x="382" y="710"/>
                  </a:lnTo>
                  <a:lnTo>
                    <a:pt x="368" y="706"/>
                  </a:lnTo>
                  <a:lnTo>
                    <a:pt x="359" y="705"/>
                  </a:lnTo>
                  <a:lnTo>
                    <a:pt x="347" y="701"/>
                  </a:lnTo>
                  <a:lnTo>
                    <a:pt x="337" y="700"/>
                  </a:lnTo>
                  <a:lnTo>
                    <a:pt x="334" y="700"/>
                  </a:lnTo>
                  <a:lnTo>
                    <a:pt x="334" y="701"/>
                  </a:lnTo>
                  <a:lnTo>
                    <a:pt x="337" y="706"/>
                  </a:lnTo>
                  <a:lnTo>
                    <a:pt x="342" y="710"/>
                  </a:lnTo>
                  <a:lnTo>
                    <a:pt x="346" y="717"/>
                  </a:lnTo>
                  <a:lnTo>
                    <a:pt x="349" y="725"/>
                  </a:lnTo>
                  <a:lnTo>
                    <a:pt x="353" y="730"/>
                  </a:lnTo>
                  <a:lnTo>
                    <a:pt x="358" y="737"/>
                  </a:lnTo>
                  <a:lnTo>
                    <a:pt x="356" y="744"/>
                  </a:lnTo>
                  <a:lnTo>
                    <a:pt x="356" y="751"/>
                  </a:lnTo>
                  <a:lnTo>
                    <a:pt x="349" y="758"/>
                  </a:lnTo>
                  <a:lnTo>
                    <a:pt x="342" y="767"/>
                  </a:lnTo>
                  <a:lnTo>
                    <a:pt x="327" y="772"/>
                  </a:lnTo>
                  <a:lnTo>
                    <a:pt x="311" y="777"/>
                  </a:lnTo>
                  <a:lnTo>
                    <a:pt x="303" y="775"/>
                  </a:lnTo>
                  <a:lnTo>
                    <a:pt x="294" y="775"/>
                  </a:lnTo>
                  <a:lnTo>
                    <a:pt x="286" y="775"/>
                  </a:lnTo>
                  <a:lnTo>
                    <a:pt x="282" y="777"/>
                  </a:lnTo>
                  <a:lnTo>
                    <a:pt x="277" y="782"/>
                  </a:lnTo>
                  <a:lnTo>
                    <a:pt x="277" y="791"/>
                  </a:lnTo>
                  <a:lnTo>
                    <a:pt x="277" y="798"/>
                  </a:lnTo>
                  <a:lnTo>
                    <a:pt x="277" y="806"/>
                  </a:lnTo>
                  <a:lnTo>
                    <a:pt x="277" y="806"/>
                  </a:lnTo>
                  <a:lnTo>
                    <a:pt x="277" y="808"/>
                  </a:lnTo>
                  <a:lnTo>
                    <a:pt x="277" y="811"/>
                  </a:lnTo>
                  <a:lnTo>
                    <a:pt x="272" y="815"/>
                  </a:lnTo>
                  <a:lnTo>
                    <a:pt x="265" y="818"/>
                  </a:lnTo>
                  <a:lnTo>
                    <a:pt x="253" y="815"/>
                  </a:lnTo>
                  <a:lnTo>
                    <a:pt x="243" y="811"/>
                  </a:lnTo>
                  <a:lnTo>
                    <a:pt x="237" y="813"/>
                  </a:lnTo>
                  <a:lnTo>
                    <a:pt x="237" y="816"/>
                  </a:lnTo>
                  <a:lnTo>
                    <a:pt x="237" y="822"/>
                  </a:lnTo>
                  <a:lnTo>
                    <a:pt x="239" y="828"/>
                  </a:lnTo>
                  <a:lnTo>
                    <a:pt x="243" y="834"/>
                  </a:lnTo>
                  <a:lnTo>
                    <a:pt x="248" y="837"/>
                  </a:lnTo>
                  <a:lnTo>
                    <a:pt x="251" y="835"/>
                  </a:lnTo>
                  <a:lnTo>
                    <a:pt x="255" y="834"/>
                  </a:lnTo>
                  <a:lnTo>
                    <a:pt x="256" y="835"/>
                  </a:lnTo>
                  <a:lnTo>
                    <a:pt x="260" y="839"/>
                  </a:lnTo>
                  <a:lnTo>
                    <a:pt x="256" y="842"/>
                  </a:lnTo>
                  <a:lnTo>
                    <a:pt x="255" y="846"/>
                  </a:lnTo>
                  <a:lnTo>
                    <a:pt x="246" y="842"/>
                  </a:lnTo>
                  <a:lnTo>
                    <a:pt x="241" y="841"/>
                  </a:lnTo>
                  <a:lnTo>
                    <a:pt x="243" y="846"/>
                  </a:lnTo>
                  <a:lnTo>
                    <a:pt x="248" y="847"/>
                  </a:lnTo>
                  <a:lnTo>
                    <a:pt x="237" y="861"/>
                  </a:lnTo>
                  <a:lnTo>
                    <a:pt x="234" y="878"/>
                  </a:lnTo>
                  <a:lnTo>
                    <a:pt x="227" y="884"/>
                  </a:lnTo>
                  <a:lnTo>
                    <a:pt x="220" y="885"/>
                  </a:lnTo>
                  <a:lnTo>
                    <a:pt x="210" y="890"/>
                  </a:lnTo>
                  <a:lnTo>
                    <a:pt x="206" y="904"/>
                  </a:lnTo>
                  <a:lnTo>
                    <a:pt x="208" y="913"/>
                  </a:lnTo>
                  <a:lnTo>
                    <a:pt x="217" y="918"/>
                  </a:lnTo>
                  <a:lnTo>
                    <a:pt x="224" y="921"/>
                  </a:lnTo>
                  <a:lnTo>
                    <a:pt x="229" y="932"/>
                  </a:lnTo>
                  <a:lnTo>
                    <a:pt x="225" y="939"/>
                  </a:lnTo>
                  <a:lnTo>
                    <a:pt x="220" y="945"/>
                  </a:lnTo>
                  <a:lnTo>
                    <a:pt x="213" y="949"/>
                  </a:lnTo>
                  <a:lnTo>
                    <a:pt x="208" y="954"/>
                  </a:lnTo>
                  <a:lnTo>
                    <a:pt x="205" y="961"/>
                  </a:lnTo>
                  <a:lnTo>
                    <a:pt x="203" y="971"/>
                  </a:lnTo>
                  <a:lnTo>
                    <a:pt x="194" y="976"/>
                  </a:lnTo>
                  <a:lnTo>
                    <a:pt x="187" y="980"/>
                  </a:lnTo>
                  <a:lnTo>
                    <a:pt x="181" y="990"/>
                  </a:lnTo>
                  <a:lnTo>
                    <a:pt x="179" y="1004"/>
                  </a:lnTo>
                  <a:lnTo>
                    <a:pt x="181" y="1009"/>
                  </a:lnTo>
                  <a:lnTo>
                    <a:pt x="186" y="1014"/>
                  </a:lnTo>
                  <a:lnTo>
                    <a:pt x="189" y="1019"/>
                  </a:lnTo>
                  <a:lnTo>
                    <a:pt x="193" y="1031"/>
                  </a:lnTo>
                  <a:lnTo>
                    <a:pt x="196" y="1042"/>
                  </a:lnTo>
                  <a:lnTo>
                    <a:pt x="201" y="1050"/>
                  </a:lnTo>
                  <a:lnTo>
                    <a:pt x="208" y="1055"/>
                  </a:lnTo>
                  <a:lnTo>
                    <a:pt x="218" y="1062"/>
                  </a:lnTo>
                  <a:lnTo>
                    <a:pt x="229" y="1068"/>
                  </a:lnTo>
                  <a:lnTo>
                    <a:pt x="239" y="1073"/>
                  </a:lnTo>
                  <a:lnTo>
                    <a:pt x="236" y="1073"/>
                  </a:lnTo>
                  <a:lnTo>
                    <a:pt x="232" y="1073"/>
                  </a:lnTo>
                  <a:lnTo>
                    <a:pt x="217" y="1078"/>
                  </a:lnTo>
                  <a:lnTo>
                    <a:pt x="206" y="1083"/>
                  </a:lnTo>
                  <a:lnTo>
                    <a:pt x="203" y="1083"/>
                  </a:lnTo>
                  <a:lnTo>
                    <a:pt x="201" y="1083"/>
                  </a:lnTo>
                  <a:lnTo>
                    <a:pt x="198" y="1083"/>
                  </a:lnTo>
                  <a:lnTo>
                    <a:pt x="196" y="1085"/>
                  </a:lnTo>
                  <a:lnTo>
                    <a:pt x="189" y="1085"/>
                  </a:lnTo>
                  <a:lnTo>
                    <a:pt x="182" y="1085"/>
                  </a:lnTo>
                  <a:lnTo>
                    <a:pt x="174" y="1081"/>
                  </a:lnTo>
                  <a:lnTo>
                    <a:pt x="172" y="1076"/>
                  </a:lnTo>
                  <a:lnTo>
                    <a:pt x="169" y="1071"/>
                  </a:lnTo>
                  <a:lnTo>
                    <a:pt x="167" y="1069"/>
                  </a:lnTo>
                  <a:lnTo>
                    <a:pt x="153" y="1064"/>
                  </a:lnTo>
                  <a:lnTo>
                    <a:pt x="148" y="1057"/>
                  </a:lnTo>
                  <a:lnTo>
                    <a:pt x="141" y="1057"/>
                  </a:lnTo>
                  <a:lnTo>
                    <a:pt x="138" y="1057"/>
                  </a:lnTo>
                  <a:lnTo>
                    <a:pt x="132" y="1054"/>
                  </a:lnTo>
                  <a:lnTo>
                    <a:pt x="132" y="1050"/>
                  </a:lnTo>
                  <a:lnTo>
                    <a:pt x="120" y="1049"/>
                  </a:lnTo>
                  <a:lnTo>
                    <a:pt x="115" y="1045"/>
                  </a:lnTo>
                  <a:lnTo>
                    <a:pt x="110" y="1040"/>
                  </a:lnTo>
                  <a:lnTo>
                    <a:pt x="107" y="1037"/>
                  </a:lnTo>
                  <a:lnTo>
                    <a:pt x="105" y="1033"/>
                  </a:lnTo>
                  <a:lnTo>
                    <a:pt x="103" y="1031"/>
                  </a:lnTo>
                  <a:lnTo>
                    <a:pt x="107" y="1026"/>
                  </a:lnTo>
                  <a:lnTo>
                    <a:pt x="112" y="1023"/>
                  </a:lnTo>
                  <a:lnTo>
                    <a:pt x="110" y="1021"/>
                  </a:lnTo>
                  <a:lnTo>
                    <a:pt x="108" y="1021"/>
                  </a:lnTo>
                  <a:lnTo>
                    <a:pt x="110" y="1016"/>
                  </a:lnTo>
                  <a:lnTo>
                    <a:pt x="112" y="1012"/>
                  </a:lnTo>
                  <a:lnTo>
                    <a:pt x="108" y="1004"/>
                  </a:lnTo>
                  <a:lnTo>
                    <a:pt x="105" y="1000"/>
                  </a:lnTo>
                  <a:lnTo>
                    <a:pt x="100" y="997"/>
                  </a:lnTo>
                  <a:lnTo>
                    <a:pt x="98" y="992"/>
                  </a:lnTo>
                  <a:lnTo>
                    <a:pt x="98" y="987"/>
                  </a:lnTo>
                  <a:lnTo>
                    <a:pt x="98" y="985"/>
                  </a:lnTo>
                  <a:lnTo>
                    <a:pt x="96" y="975"/>
                  </a:lnTo>
                  <a:lnTo>
                    <a:pt x="95" y="964"/>
                  </a:lnTo>
                  <a:lnTo>
                    <a:pt x="91" y="954"/>
                  </a:lnTo>
                  <a:lnTo>
                    <a:pt x="91" y="947"/>
                  </a:lnTo>
                  <a:lnTo>
                    <a:pt x="96" y="937"/>
                  </a:lnTo>
                  <a:lnTo>
                    <a:pt x="101" y="927"/>
                  </a:lnTo>
                  <a:lnTo>
                    <a:pt x="98" y="916"/>
                  </a:lnTo>
                  <a:lnTo>
                    <a:pt x="95" y="908"/>
                  </a:lnTo>
                  <a:lnTo>
                    <a:pt x="95" y="904"/>
                  </a:lnTo>
                  <a:lnTo>
                    <a:pt x="96" y="904"/>
                  </a:lnTo>
                  <a:lnTo>
                    <a:pt x="96" y="899"/>
                  </a:lnTo>
                  <a:lnTo>
                    <a:pt x="100" y="897"/>
                  </a:lnTo>
                  <a:lnTo>
                    <a:pt x="107" y="902"/>
                  </a:lnTo>
                  <a:lnTo>
                    <a:pt x="114" y="908"/>
                  </a:lnTo>
                  <a:lnTo>
                    <a:pt x="131" y="832"/>
                  </a:lnTo>
                  <a:lnTo>
                    <a:pt x="131" y="825"/>
                  </a:lnTo>
                  <a:lnTo>
                    <a:pt x="127" y="823"/>
                  </a:lnTo>
                  <a:lnTo>
                    <a:pt x="126" y="825"/>
                  </a:lnTo>
                  <a:lnTo>
                    <a:pt x="120" y="827"/>
                  </a:lnTo>
                  <a:lnTo>
                    <a:pt x="117" y="830"/>
                  </a:lnTo>
                  <a:lnTo>
                    <a:pt x="112" y="823"/>
                  </a:lnTo>
                  <a:lnTo>
                    <a:pt x="110" y="813"/>
                  </a:lnTo>
                  <a:lnTo>
                    <a:pt x="112" y="801"/>
                  </a:lnTo>
                  <a:lnTo>
                    <a:pt x="115" y="789"/>
                  </a:lnTo>
                  <a:lnTo>
                    <a:pt x="119" y="787"/>
                  </a:lnTo>
                  <a:lnTo>
                    <a:pt x="120" y="787"/>
                  </a:lnTo>
                  <a:lnTo>
                    <a:pt x="119" y="782"/>
                  </a:lnTo>
                  <a:lnTo>
                    <a:pt x="117" y="780"/>
                  </a:lnTo>
                  <a:lnTo>
                    <a:pt x="115" y="777"/>
                  </a:lnTo>
                  <a:lnTo>
                    <a:pt x="115" y="772"/>
                  </a:lnTo>
                  <a:lnTo>
                    <a:pt x="115" y="767"/>
                  </a:lnTo>
                  <a:lnTo>
                    <a:pt x="115" y="763"/>
                  </a:lnTo>
                  <a:lnTo>
                    <a:pt x="119" y="744"/>
                  </a:lnTo>
                  <a:lnTo>
                    <a:pt x="127" y="732"/>
                  </a:lnTo>
                  <a:lnTo>
                    <a:pt x="129" y="725"/>
                  </a:lnTo>
                  <a:lnTo>
                    <a:pt x="132" y="718"/>
                  </a:lnTo>
                  <a:lnTo>
                    <a:pt x="134" y="717"/>
                  </a:lnTo>
                  <a:lnTo>
                    <a:pt x="138" y="715"/>
                  </a:lnTo>
                  <a:lnTo>
                    <a:pt x="141" y="698"/>
                  </a:lnTo>
                  <a:lnTo>
                    <a:pt x="144" y="682"/>
                  </a:lnTo>
                  <a:lnTo>
                    <a:pt x="143" y="645"/>
                  </a:lnTo>
                  <a:lnTo>
                    <a:pt x="143" y="632"/>
                  </a:lnTo>
                  <a:lnTo>
                    <a:pt x="146" y="620"/>
                  </a:lnTo>
                  <a:lnTo>
                    <a:pt x="146" y="605"/>
                  </a:lnTo>
                  <a:lnTo>
                    <a:pt x="151" y="595"/>
                  </a:lnTo>
                  <a:lnTo>
                    <a:pt x="155" y="583"/>
                  </a:lnTo>
                  <a:lnTo>
                    <a:pt x="158" y="571"/>
                  </a:lnTo>
                  <a:lnTo>
                    <a:pt x="158" y="569"/>
                  </a:lnTo>
                  <a:lnTo>
                    <a:pt x="158" y="567"/>
                  </a:lnTo>
                  <a:lnTo>
                    <a:pt x="158" y="557"/>
                  </a:lnTo>
                  <a:lnTo>
                    <a:pt x="162" y="548"/>
                  </a:lnTo>
                  <a:lnTo>
                    <a:pt x="162" y="538"/>
                  </a:lnTo>
                  <a:lnTo>
                    <a:pt x="162" y="533"/>
                  </a:lnTo>
                  <a:lnTo>
                    <a:pt x="162" y="529"/>
                  </a:lnTo>
                  <a:lnTo>
                    <a:pt x="162" y="526"/>
                  </a:lnTo>
                  <a:lnTo>
                    <a:pt x="162" y="519"/>
                  </a:lnTo>
                  <a:lnTo>
                    <a:pt x="163" y="512"/>
                  </a:lnTo>
                  <a:lnTo>
                    <a:pt x="163" y="504"/>
                  </a:lnTo>
                  <a:lnTo>
                    <a:pt x="165" y="498"/>
                  </a:lnTo>
                  <a:lnTo>
                    <a:pt x="163" y="490"/>
                  </a:lnTo>
                  <a:lnTo>
                    <a:pt x="163" y="478"/>
                  </a:lnTo>
                  <a:lnTo>
                    <a:pt x="162" y="464"/>
                  </a:lnTo>
                  <a:lnTo>
                    <a:pt x="162" y="457"/>
                  </a:lnTo>
                  <a:lnTo>
                    <a:pt x="151" y="442"/>
                  </a:lnTo>
                  <a:lnTo>
                    <a:pt x="139" y="433"/>
                  </a:lnTo>
                  <a:lnTo>
                    <a:pt x="129" y="428"/>
                  </a:lnTo>
                  <a:lnTo>
                    <a:pt x="120" y="424"/>
                  </a:lnTo>
                  <a:lnTo>
                    <a:pt x="112" y="418"/>
                  </a:lnTo>
                  <a:lnTo>
                    <a:pt x="105" y="414"/>
                  </a:lnTo>
                  <a:lnTo>
                    <a:pt x="95" y="409"/>
                  </a:lnTo>
                  <a:lnTo>
                    <a:pt x="86" y="405"/>
                  </a:lnTo>
                  <a:lnTo>
                    <a:pt x="79" y="399"/>
                  </a:lnTo>
                  <a:lnTo>
                    <a:pt x="74" y="393"/>
                  </a:lnTo>
                  <a:lnTo>
                    <a:pt x="71" y="387"/>
                  </a:lnTo>
                  <a:lnTo>
                    <a:pt x="72" y="378"/>
                  </a:lnTo>
                  <a:lnTo>
                    <a:pt x="67" y="368"/>
                  </a:lnTo>
                  <a:lnTo>
                    <a:pt x="62" y="359"/>
                  </a:lnTo>
                  <a:lnTo>
                    <a:pt x="53" y="342"/>
                  </a:lnTo>
                  <a:lnTo>
                    <a:pt x="45" y="326"/>
                  </a:lnTo>
                  <a:lnTo>
                    <a:pt x="40" y="311"/>
                  </a:lnTo>
                  <a:lnTo>
                    <a:pt x="34" y="299"/>
                  </a:lnTo>
                  <a:lnTo>
                    <a:pt x="31" y="295"/>
                  </a:lnTo>
                  <a:lnTo>
                    <a:pt x="28" y="295"/>
                  </a:lnTo>
                  <a:lnTo>
                    <a:pt x="22" y="287"/>
                  </a:lnTo>
                  <a:lnTo>
                    <a:pt x="21" y="280"/>
                  </a:lnTo>
                  <a:lnTo>
                    <a:pt x="17" y="278"/>
                  </a:lnTo>
                  <a:lnTo>
                    <a:pt x="14" y="277"/>
                  </a:lnTo>
                  <a:lnTo>
                    <a:pt x="3" y="264"/>
                  </a:lnTo>
                  <a:lnTo>
                    <a:pt x="0" y="252"/>
                  </a:lnTo>
                  <a:lnTo>
                    <a:pt x="2" y="242"/>
                  </a:lnTo>
                  <a:lnTo>
                    <a:pt x="7" y="237"/>
                  </a:lnTo>
                  <a:lnTo>
                    <a:pt x="14" y="227"/>
                  </a:lnTo>
                  <a:lnTo>
                    <a:pt x="22" y="218"/>
                  </a:lnTo>
                  <a:lnTo>
                    <a:pt x="17" y="216"/>
                  </a:lnTo>
                  <a:lnTo>
                    <a:pt x="14" y="218"/>
                  </a:lnTo>
                  <a:lnTo>
                    <a:pt x="7" y="211"/>
                  </a:lnTo>
                  <a:lnTo>
                    <a:pt x="7" y="201"/>
                  </a:lnTo>
                  <a:lnTo>
                    <a:pt x="7" y="192"/>
                  </a:lnTo>
                  <a:lnTo>
                    <a:pt x="12" y="187"/>
                  </a:lnTo>
                  <a:lnTo>
                    <a:pt x="15" y="180"/>
                  </a:lnTo>
                  <a:lnTo>
                    <a:pt x="17" y="170"/>
                  </a:lnTo>
                  <a:lnTo>
                    <a:pt x="24" y="166"/>
                  </a:lnTo>
                  <a:lnTo>
                    <a:pt x="31" y="161"/>
                  </a:lnTo>
                  <a:lnTo>
                    <a:pt x="34" y="153"/>
                  </a:lnTo>
                  <a:lnTo>
                    <a:pt x="38" y="148"/>
                  </a:lnTo>
                  <a:lnTo>
                    <a:pt x="43" y="139"/>
                  </a:lnTo>
                  <a:lnTo>
                    <a:pt x="50" y="136"/>
                  </a:lnTo>
                  <a:lnTo>
                    <a:pt x="55" y="132"/>
                  </a:lnTo>
                  <a:lnTo>
                    <a:pt x="60" y="125"/>
                  </a:lnTo>
                  <a:lnTo>
                    <a:pt x="57" y="123"/>
                  </a:lnTo>
                  <a:lnTo>
                    <a:pt x="55" y="122"/>
                  </a:lnTo>
                  <a:lnTo>
                    <a:pt x="57" y="117"/>
                  </a:lnTo>
                  <a:lnTo>
                    <a:pt x="57" y="11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4" name="Freeform 293"/>
            <p:cNvSpPr>
              <a:spLocks/>
            </p:cNvSpPr>
            <p:nvPr/>
          </p:nvSpPr>
          <p:spPr bwMode="auto">
            <a:xfrm>
              <a:off x="2518569" y="3440113"/>
              <a:ext cx="14288" cy="15875"/>
            </a:xfrm>
            <a:custGeom>
              <a:avLst/>
              <a:gdLst/>
              <a:ahLst/>
              <a:cxnLst>
                <a:cxn ang="0">
                  <a:pos x="4" y="0"/>
                </a:cxn>
                <a:cxn ang="0">
                  <a:pos x="7" y="2"/>
                </a:cxn>
                <a:cxn ang="0">
                  <a:pos x="9" y="7"/>
                </a:cxn>
                <a:cxn ang="0">
                  <a:pos x="7" y="8"/>
                </a:cxn>
                <a:cxn ang="0">
                  <a:pos x="5" y="10"/>
                </a:cxn>
                <a:cxn ang="0">
                  <a:pos x="0" y="7"/>
                </a:cxn>
                <a:cxn ang="0">
                  <a:pos x="0" y="0"/>
                </a:cxn>
                <a:cxn ang="0">
                  <a:pos x="4" y="0"/>
                </a:cxn>
              </a:cxnLst>
              <a:rect l="0" t="0" r="r" b="b"/>
              <a:pathLst>
                <a:path w="9" h="10">
                  <a:moveTo>
                    <a:pt x="4" y="0"/>
                  </a:moveTo>
                  <a:lnTo>
                    <a:pt x="7" y="2"/>
                  </a:lnTo>
                  <a:lnTo>
                    <a:pt x="9" y="7"/>
                  </a:lnTo>
                  <a:lnTo>
                    <a:pt x="7" y="8"/>
                  </a:lnTo>
                  <a:lnTo>
                    <a:pt x="5" y="10"/>
                  </a:lnTo>
                  <a:lnTo>
                    <a:pt x="0" y="7"/>
                  </a:lnTo>
                  <a:lnTo>
                    <a:pt x="0"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5" name="Freeform 294"/>
            <p:cNvSpPr>
              <a:spLocks/>
            </p:cNvSpPr>
            <p:nvPr/>
          </p:nvSpPr>
          <p:spPr bwMode="auto">
            <a:xfrm>
              <a:off x="2507457" y="3394075"/>
              <a:ext cx="22225" cy="7937"/>
            </a:xfrm>
            <a:custGeom>
              <a:avLst/>
              <a:gdLst/>
              <a:ahLst/>
              <a:cxnLst>
                <a:cxn ang="0">
                  <a:pos x="0" y="5"/>
                </a:cxn>
                <a:cxn ang="0">
                  <a:pos x="2" y="1"/>
                </a:cxn>
                <a:cxn ang="0">
                  <a:pos x="7" y="0"/>
                </a:cxn>
                <a:cxn ang="0">
                  <a:pos x="11" y="1"/>
                </a:cxn>
                <a:cxn ang="0">
                  <a:pos x="14" y="5"/>
                </a:cxn>
                <a:cxn ang="0">
                  <a:pos x="6" y="5"/>
                </a:cxn>
                <a:cxn ang="0">
                  <a:pos x="0" y="5"/>
                </a:cxn>
              </a:cxnLst>
              <a:rect l="0" t="0" r="r" b="b"/>
              <a:pathLst>
                <a:path w="14" h="5">
                  <a:moveTo>
                    <a:pt x="0" y="5"/>
                  </a:moveTo>
                  <a:lnTo>
                    <a:pt x="2" y="1"/>
                  </a:lnTo>
                  <a:lnTo>
                    <a:pt x="7" y="0"/>
                  </a:lnTo>
                  <a:lnTo>
                    <a:pt x="11" y="1"/>
                  </a:lnTo>
                  <a:lnTo>
                    <a:pt x="14" y="5"/>
                  </a:lnTo>
                  <a:lnTo>
                    <a:pt x="6" y="5"/>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6" name="Freeform 295"/>
            <p:cNvSpPr>
              <a:spLocks/>
            </p:cNvSpPr>
            <p:nvPr/>
          </p:nvSpPr>
          <p:spPr bwMode="auto">
            <a:xfrm>
              <a:off x="2543969" y="3403600"/>
              <a:ext cx="4763" cy="6350"/>
            </a:xfrm>
            <a:custGeom>
              <a:avLst/>
              <a:gdLst/>
              <a:ahLst/>
              <a:cxnLst>
                <a:cxn ang="0">
                  <a:pos x="3" y="4"/>
                </a:cxn>
                <a:cxn ang="0">
                  <a:pos x="0" y="2"/>
                </a:cxn>
                <a:cxn ang="0">
                  <a:pos x="0" y="0"/>
                </a:cxn>
                <a:cxn ang="0">
                  <a:pos x="3" y="4"/>
                </a:cxn>
              </a:cxnLst>
              <a:rect l="0" t="0" r="r" b="b"/>
              <a:pathLst>
                <a:path w="3" h="4">
                  <a:moveTo>
                    <a:pt x="3" y="4"/>
                  </a:moveTo>
                  <a:lnTo>
                    <a:pt x="0" y="2"/>
                  </a:lnTo>
                  <a:lnTo>
                    <a:pt x="0" y="0"/>
                  </a:lnTo>
                  <a:lnTo>
                    <a:pt x="3"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7" name="Freeform 296"/>
            <p:cNvSpPr>
              <a:spLocks/>
            </p:cNvSpPr>
            <p:nvPr/>
          </p:nvSpPr>
          <p:spPr bwMode="auto">
            <a:xfrm>
              <a:off x="2624932" y="3524250"/>
              <a:ext cx="17463" cy="14287"/>
            </a:xfrm>
            <a:custGeom>
              <a:avLst/>
              <a:gdLst/>
              <a:ahLst/>
              <a:cxnLst>
                <a:cxn ang="0">
                  <a:pos x="0" y="5"/>
                </a:cxn>
                <a:cxn ang="0">
                  <a:pos x="0" y="9"/>
                </a:cxn>
                <a:cxn ang="0">
                  <a:pos x="2" y="9"/>
                </a:cxn>
                <a:cxn ang="0">
                  <a:pos x="6" y="7"/>
                </a:cxn>
                <a:cxn ang="0">
                  <a:pos x="11" y="5"/>
                </a:cxn>
                <a:cxn ang="0">
                  <a:pos x="11" y="0"/>
                </a:cxn>
                <a:cxn ang="0">
                  <a:pos x="6" y="4"/>
                </a:cxn>
                <a:cxn ang="0">
                  <a:pos x="0" y="5"/>
                </a:cxn>
              </a:cxnLst>
              <a:rect l="0" t="0" r="r" b="b"/>
              <a:pathLst>
                <a:path w="11" h="9">
                  <a:moveTo>
                    <a:pt x="0" y="5"/>
                  </a:moveTo>
                  <a:lnTo>
                    <a:pt x="0" y="9"/>
                  </a:lnTo>
                  <a:lnTo>
                    <a:pt x="2" y="9"/>
                  </a:lnTo>
                  <a:lnTo>
                    <a:pt x="6" y="7"/>
                  </a:lnTo>
                  <a:lnTo>
                    <a:pt x="11" y="5"/>
                  </a:lnTo>
                  <a:lnTo>
                    <a:pt x="11" y="0"/>
                  </a:lnTo>
                  <a:lnTo>
                    <a:pt x="6" y="4"/>
                  </a:lnTo>
                  <a:lnTo>
                    <a:pt x="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8" name="Freeform 297"/>
            <p:cNvSpPr>
              <a:spLocks/>
            </p:cNvSpPr>
            <p:nvPr/>
          </p:nvSpPr>
          <p:spPr bwMode="auto">
            <a:xfrm>
              <a:off x="1456532" y="2787650"/>
              <a:ext cx="1323975" cy="649287"/>
            </a:xfrm>
            <a:custGeom>
              <a:avLst/>
              <a:gdLst/>
              <a:ahLst/>
              <a:cxnLst>
                <a:cxn ang="0">
                  <a:pos x="642" y="289"/>
                </a:cxn>
                <a:cxn ang="0">
                  <a:pos x="626" y="337"/>
                </a:cxn>
                <a:cxn ang="0">
                  <a:pos x="638" y="368"/>
                </a:cxn>
                <a:cxn ang="0">
                  <a:pos x="626" y="404"/>
                </a:cxn>
                <a:cxn ang="0">
                  <a:pos x="600" y="347"/>
                </a:cxn>
                <a:cxn ang="0">
                  <a:pos x="559" y="330"/>
                </a:cxn>
                <a:cxn ang="0">
                  <a:pos x="530" y="325"/>
                </a:cxn>
                <a:cxn ang="0">
                  <a:pos x="506" y="339"/>
                </a:cxn>
                <a:cxn ang="0">
                  <a:pos x="473" y="335"/>
                </a:cxn>
                <a:cxn ang="0">
                  <a:pos x="441" y="335"/>
                </a:cxn>
                <a:cxn ang="0">
                  <a:pos x="410" y="356"/>
                </a:cxn>
                <a:cxn ang="0">
                  <a:pos x="392" y="390"/>
                </a:cxn>
                <a:cxn ang="0">
                  <a:pos x="358" y="370"/>
                </a:cxn>
                <a:cxn ang="0">
                  <a:pos x="332" y="332"/>
                </a:cxn>
                <a:cxn ang="0">
                  <a:pos x="306" y="347"/>
                </a:cxn>
                <a:cxn ang="0">
                  <a:pos x="275" y="313"/>
                </a:cxn>
                <a:cxn ang="0">
                  <a:pos x="238" y="308"/>
                </a:cxn>
                <a:cxn ang="0">
                  <a:pos x="86" y="270"/>
                </a:cxn>
                <a:cxn ang="0">
                  <a:pos x="47" y="234"/>
                </a:cxn>
                <a:cxn ang="0">
                  <a:pos x="17" y="186"/>
                </a:cxn>
                <a:cxn ang="0">
                  <a:pos x="5" y="141"/>
                </a:cxn>
                <a:cxn ang="0">
                  <a:pos x="5" y="82"/>
                </a:cxn>
                <a:cxn ang="0">
                  <a:pos x="2" y="22"/>
                </a:cxn>
                <a:cxn ang="0">
                  <a:pos x="29" y="17"/>
                </a:cxn>
                <a:cxn ang="0">
                  <a:pos x="435" y="5"/>
                </a:cxn>
                <a:cxn ang="0">
                  <a:pos x="494" y="20"/>
                </a:cxn>
                <a:cxn ang="0">
                  <a:pos x="470" y="51"/>
                </a:cxn>
                <a:cxn ang="0">
                  <a:pos x="494" y="53"/>
                </a:cxn>
                <a:cxn ang="0">
                  <a:pos x="527" y="41"/>
                </a:cxn>
                <a:cxn ang="0">
                  <a:pos x="551" y="50"/>
                </a:cxn>
                <a:cxn ang="0">
                  <a:pos x="573" y="62"/>
                </a:cxn>
                <a:cxn ang="0">
                  <a:pos x="530" y="86"/>
                </a:cxn>
                <a:cxn ang="0">
                  <a:pos x="530" y="115"/>
                </a:cxn>
                <a:cxn ang="0">
                  <a:pos x="549" y="131"/>
                </a:cxn>
                <a:cxn ang="0">
                  <a:pos x="552" y="94"/>
                </a:cxn>
                <a:cxn ang="0">
                  <a:pos x="570" y="70"/>
                </a:cxn>
                <a:cxn ang="0">
                  <a:pos x="595" y="74"/>
                </a:cxn>
                <a:cxn ang="0">
                  <a:pos x="604" y="96"/>
                </a:cxn>
                <a:cxn ang="0">
                  <a:pos x="599" y="136"/>
                </a:cxn>
                <a:cxn ang="0">
                  <a:pos x="654" y="124"/>
                </a:cxn>
                <a:cxn ang="0">
                  <a:pos x="668" y="110"/>
                </a:cxn>
                <a:cxn ang="0">
                  <a:pos x="712" y="86"/>
                </a:cxn>
                <a:cxn ang="0">
                  <a:pos x="757" y="74"/>
                </a:cxn>
                <a:cxn ang="0">
                  <a:pos x="783" y="67"/>
                </a:cxn>
                <a:cxn ang="0">
                  <a:pos x="814" y="34"/>
                </a:cxn>
                <a:cxn ang="0">
                  <a:pos x="834" y="82"/>
                </a:cxn>
                <a:cxn ang="0">
                  <a:pos x="798" y="96"/>
                </a:cxn>
                <a:cxn ang="0">
                  <a:pos x="783" y="129"/>
                </a:cxn>
                <a:cxn ang="0">
                  <a:pos x="795" y="139"/>
                </a:cxn>
                <a:cxn ang="0">
                  <a:pos x="748" y="146"/>
                </a:cxn>
                <a:cxn ang="0">
                  <a:pos x="747" y="151"/>
                </a:cxn>
                <a:cxn ang="0">
                  <a:pos x="733" y="160"/>
                </a:cxn>
                <a:cxn ang="0">
                  <a:pos x="721" y="184"/>
                </a:cxn>
                <a:cxn ang="0">
                  <a:pos x="719" y="192"/>
                </a:cxn>
                <a:cxn ang="0">
                  <a:pos x="705" y="211"/>
                </a:cxn>
                <a:cxn ang="0">
                  <a:pos x="700" y="187"/>
                </a:cxn>
                <a:cxn ang="0">
                  <a:pos x="700" y="217"/>
                </a:cxn>
                <a:cxn ang="0">
                  <a:pos x="705" y="225"/>
                </a:cxn>
                <a:cxn ang="0">
                  <a:pos x="704" y="239"/>
                </a:cxn>
                <a:cxn ang="0">
                  <a:pos x="699" y="254"/>
                </a:cxn>
                <a:cxn ang="0">
                  <a:pos x="678" y="268"/>
                </a:cxn>
              </a:cxnLst>
              <a:rect l="0" t="0" r="r" b="b"/>
              <a:pathLst>
                <a:path w="834" h="409">
                  <a:moveTo>
                    <a:pt x="678" y="268"/>
                  </a:moveTo>
                  <a:lnTo>
                    <a:pt x="668" y="272"/>
                  </a:lnTo>
                  <a:lnTo>
                    <a:pt x="659" y="277"/>
                  </a:lnTo>
                  <a:lnTo>
                    <a:pt x="649" y="282"/>
                  </a:lnTo>
                  <a:lnTo>
                    <a:pt x="642" y="289"/>
                  </a:lnTo>
                  <a:lnTo>
                    <a:pt x="633" y="294"/>
                  </a:lnTo>
                  <a:lnTo>
                    <a:pt x="628" y="304"/>
                  </a:lnTo>
                  <a:lnTo>
                    <a:pt x="625" y="315"/>
                  </a:lnTo>
                  <a:lnTo>
                    <a:pt x="625" y="328"/>
                  </a:lnTo>
                  <a:lnTo>
                    <a:pt x="626" y="337"/>
                  </a:lnTo>
                  <a:lnTo>
                    <a:pt x="631" y="345"/>
                  </a:lnTo>
                  <a:lnTo>
                    <a:pt x="635" y="354"/>
                  </a:lnTo>
                  <a:lnTo>
                    <a:pt x="638" y="366"/>
                  </a:lnTo>
                  <a:lnTo>
                    <a:pt x="638" y="364"/>
                  </a:lnTo>
                  <a:lnTo>
                    <a:pt x="638" y="368"/>
                  </a:lnTo>
                  <a:lnTo>
                    <a:pt x="642" y="376"/>
                  </a:lnTo>
                  <a:lnTo>
                    <a:pt x="645" y="388"/>
                  </a:lnTo>
                  <a:lnTo>
                    <a:pt x="642" y="402"/>
                  </a:lnTo>
                  <a:lnTo>
                    <a:pt x="633" y="409"/>
                  </a:lnTo>
                  <a:lnTo>
                    <a:pt x="626" y="404"/>
                  </a:lnTo>
                  <a:lnTo>
                    <a:pt x="623" y="395"/>
                  </a:lnTo>
                  <a:lnTo>
                    <a:pt x="614" y="385"/>
                  </a:lnTo>
                  <a:lnTo>
                    <a:pt x="607" y="376"/>
                  </a:lnTo>
                  <a:lnTo>
                    <a:pt x="602" y="361"/>
                  </a:lnTo>
                  <a:lnTo>
                    <a:pt x="600" y="347"/>
                  </a:lnTo>
                  <a:lnTo>
                    <a:pt x="594" y="333"/>
                  </a:lnTo>
                  <a:lnTo>
                    <a:pt x="583" y="330"/>
                  </a:lnTo>
                  <a:lnTo>
                    <a:pt x="578" y="333"/>
                  </a:lnTo>
                  <a:lnTo>
                    <a:pt x="573" y="337"/>
                  </a:lnTo>
                  <a:lnTo>
                    <a:pt x="559" y="330"/>
                  </a:lnTo>
                  <a:lnTo>
                    <a:pt x="545" y="325"/>
                  </a:lnTo>
                  <a:lnTo>
                    <a:pt x="537" y="327"/>
                  </a:lnTo>
                  <a:lnTo>
                    <a:pt x="533" y="328"/>
                  </a:lnTo>
                  <a:lnTo>
                    <a:pt x="530" y="327"/>
                  </a:lnTo>
                  <a:lnTo>
                    <a:pt x="530" y="325"/>
                  </a:lnTo>
                  <a:lnTo>
                    <a:pt x="516" y="327"/>
                  </a:lnTo>
                  <a:lnTo>
                    <a:pt x="502" y="328"/>
                  </a:lnTo>
                  <a:lnTo>
                    <a:pt x="506" y="328"/>
                  </a:lnTo>
                  <a:lnTo>
                    <a:pt x="509" y="328"/>
                  </a:lnTo>
                  <a:lnTo>
                    <a:pt x="506" y="339"/>
                  </a:lnTo>
                  <a:lnTo>
                    <a:pt x="509" y="345"/>
                  </a:lnTo>
                  <a:lnTo>
                    <a:pt x="499" y="345"/>
                  </a:lnTo>
                  <a:lnTo>
                    <a:pt x="489" y="342"/>
                  </a:lnTo>
                  <a:lnTo>
                    <a:pt x="480" y="337"/>
                  </a:lnTo>
                  <a:lnTo>
                    <a:pt x="473" y="335"/>
                  </a:lnTo>
                  <a:lnTo>
                    <a:pt x="468" y="337"/>
                  </a:lnTo>
                  <a:lnTo>
                    <a:pt x="466" y="339"/>
                  </a:lnTo>
                  <a:lnTo>
                    <a:pt x="458" y="335"/>
                  </a:lnTo>
                  <a:lnTo>
                    <a:pt x="451" y="333"/>
                  </a:lnTo>
                  <a:lnTo>
                    <a:pt x="441" y="335"/>
                  </a:lnTo>
                  <a:lnTo>
                    <a:pt x="434" y="340"/>
                  </a:lnTo>
                  <a:lnTo>
                    <a:pt x="428" y="345"/>
                  </a:lnTo>
                  <a:lnTo>
                    <a:pt x="423" y="352"/>
                  </a:lnTo>
                  <a:lnTo>
                    <a:pt x="416" y="354"/>
                  </a:lnTo>
                  <a:lnTo>
                    <a:pt x="410" y="356"/>
                  </a:lnTo>
                  <a:lnTo>
                    <a:pt x="401" y="359"/>
                  </a:lnTo>
                  <a:lnTo>
                    <a:pt x="396" y="366"/>
                  </a:lnTo>
                  <a:lnTo>
                    <a:pt x="392" y="376"/>
                  </a:lnTo>
                  <a:lnTo>
                    <a:pt x="392" y="388"/>
                  </a:lnTo>
                  <a:lnTo>
                    <a:pt x="392" y="390"/>
                  </a:lnTo>
                  <a:lnTo>
                    <a:pt x="394" y="394"/>
                  </a:lnTo>
                  <a:lnTo>
                    <a:pt x="379" y="390"/>
                  </a:lnTo>
                  <a:lnTo>
                    <a:pt x="370" y="387"/>
                  </a:lnTo>
                  <a:lnTo>
                    <a:pt x="363" y="378"/>
                  </a:lnTo>
                  <a:lnTo>
                    <a:pt x="358" y="370"/>
                  </a:lnTo>
                  <a:lnTo>
                    <a:pt x="355" y="361"/>
                  </a:lnTo>
                  <a:lnTo>
                    <a:pt x="351" y="352"/>
                  </a:lnTo>
                  <a:lnTo>
                    <a:pt x="346" y="342"/>
                  </a:lnTo>
                  <a:lnTo>
                    <a:pt x="341" y="337"/>
                  </a:lnTo>
                  <a:lnTo>
                    <a:pt x="332" y="332"/>
                  </a:lnTo>
                  <a:lnTo>
                    <a:pt x="324" y="332"/>
                  </a:lnTo>
                  <a:lnTo>
                    <a:pt x="317" y="333"/>
                  </a:lnTo>
                  <a:lnTo>
                    <a:pt x="313" y="339"/>
                  </a:lnTo>
                  <a:lnTo>
                    <a:pt x="310" y="344"/>
                  </a:lnTo>
                  <a:lnTo>
                    <a:pt x="306" y="347"/>
                  </a:lnTo>
                  <a:lnTo>
                    <a:pt x="298" y="344"/>
                  </a:lnTo>
                  <a:lnTo>
                    <a:pt x="291" y="337"/>
                  </a:lnTo>
                  <a:lnTo>
                    <a:pt x="286" y="328"/>
                  </a:lnTo>
                  <a:lnTo>
                    <a:pt x="282" y="323"/>
                  </a:lnTo>
                  <a:lnTo>
                    <a:pt x="275" y="313"/>
                  </a:lnTo>
                  <a:lnTo>
                    <a:pt x="269" y="308"/>
                  </a:lnTo>
                  <a:lnTo>
                    <a:pt x="258" y="302"/>
                  </a:lnTo>
                  <a:lnTo>
                    <a:pt x="248" y="301"/>
                  </a:lnTo>
                  <a:lnTo>
                    <a:pt x="238" y="301"/>
                  </a:lnTo>
                  <a:lnTo>
                    <a:pt x="238" y="308"/>
                  </a:lnTo>
                  <a:lnTo>
                    <a:pt x="196" y="308"/>
                  </a:lnTo>
                  <a:lnTo>
                    <a:pt x="141" y="290"/>
                  </a:lnTo>
                  <a:lnTo>
                    <a:pt x="109" y="290"/>
                  </a:lnTo>
                  <a:lnTo>
                    <a:pt x="100" y="278"/>
                  </a:lnTo>
                  <a:lnTo>
                    <a:pt x="86" y="270"/>
                  </a:lnTo>
                  <a:lnTo>
                    <a:pt x="71" y="261"/>
                  </a:lnTo>
                  <a:lnTo>
                    <a:pt x="57" y="256"/>
                  </a:lnTo>
                  <a:lnTo>
                    <a:pt x="54" y="251"/>
                  </a:lnTo>
                  <a:lnTo>
                    <a:pt x="54" y="246"/>
                  </a:lnTo>
                  <a:lnTo>
                    <a:pt x="47" y="234"/>
                  </a:lnTo>
                  <a:lnTo>
                    <a:pt x="40" y="223"/>
                  </a:lnTo>
                  <a:lnTo>
                    <a:pt x="35" y="213"/>
                  </a:lnTo>
                  <a:lnTo>
                    <a:pt x="35" y="201"/>
                  </a:lnTo>
                  <a:lnTo>
                    <a:pt x="26" y="196"/>
                  </a:lnTo>
                  <a:lnTo>
                    <a:pt x="17" y="186"/>
                  </a:lnTo>
                  <a:lnTo>
                    <a:pt x="9" y="174"/>
                  </a:lnTo>
                  <a:lnTo>
                    <a:pt x="4" y="161"/>
                  </a:lnTo>
                  <a:lnTo>
                    <a:pt x="4" y="156"/>
                  </a:lnTo>
                  <a:lnTo>
                    <a:pt x="9" y="153"/>
                  </a:lnTo>
                  <a:lnTo>
                    <a:pt x="5" y="141"/>
                  </a:lnTo>
                  <a:lnTo>
                    <a:pt x="5" y="131"/>
                  </a:lnTo>
                  <a:lnTo>
                    <a:pt x="4" y="119"/>
                  </a:lnTo>
                  <a:lnTo>
                    <a:pt x="4" y="110"/>
                  </a:lnTo>
                  <a:lnTo>
                    <a:pt x="2" y="96"/>
                  </a:lnTo>
                  <a:lnTo>
                    <a:pt x="5" y="82"/>
                  </a:lnTo>
                  <a:lnTo>
                    <a:pt x="9" y="65"/>
                  </a:lnTo>
                  <a:lnTo>
                    <a:pt x="12" y="53"/>
                  </a:lnTo>
                  <a:lnTo>
                    <a:pt x="5" y="39"/>
                  </a:lnTo>
                  <a:lnTo>
                    <a:pt x="0" y="26"/>
                  </a:lnTo>
                  <a:lnTo>
                    <a:pt x="2" y="22"/>
                  </a:lnTo>
                  <a:lnTo>
                    <a:pt x="7" y="22"/>
                  </a:lnTo>
                  <a:lnTo>
                    <a:pt x="16" y="24"/>
                  </a:lnTo>
                  <a:lnTo>
                    <a:pt x="23" y="31"/>
                  </a:lnTo>
                  <a:lnTo>
                    <a:pt x="26" y="24"/>
                  </a:lnTo>
                  <a:lnTo>
                    <a:pt x="29" y="17"/>
                  </a:lnTo>
                  <a:lnTo>
                    <a:pt x="26" y="10"/>
                  </a:lnTo>
                  <a:lnTo>
                    <a:pt x="23" y="5"/>
                  </a:lnTo>
                  <a:lnTo>
                    <a:pt x="428" y="5"/>
                  </a:lnTo>
                  <a:lnTo>
                    <a:pt x="428" y="0"/>
                  </a:lnTo>
                  <a:lnTo>
                    <a:pt x="435" y="5"/>
                  </a:lnTo>
                  <a:lnTo>
                    <a:pt x="442" y="12"/>
                  </a:lnTo>
                  <a:lnTo>
                    <a:pt x="466" y="12"/>
                  </a:lnTo>
                  <a:lnTo>
                    <a:pt x="473" y="17"/>
                  </a:lnTo>
                  <a:lnTo>
                    <a:pt x="484" y="20"/>
                  </a:lnTo>
                  <a:lnTo>
                    <a:pt x="494" y="20"/>
                  </a:lnTo>
                  <a:lnTo>
                    <a:pt x="509" y="22"/>
                  </a:lnTo>
                  <a:lnTo>
                    <a:pt x="499" y="27"/>
                  </a:lnTo>
                  <a:lnTo>
                    <a:pt x="489" y="34"/>
                  </a:lnTo>
                  <a:lnTo>
                    <a:pt x="478" y="39"/>
                  </a:lnTo>
                  <a:lnTo>
                    <a:pt x="470" y="51"/>
                  </a:lnTo>
                  <a:lnTo>
                    <a:pt x="477" y="51"/>
                  </a:lnTo>
                  <a:lnTo>
                    <a:pt x="480" y="48"/>
                  </a:lnTo>
                  <a:lnTo>
                    <a:pt x="487" y="48"/>
                  </a:lnTo>
                  <a:lnTo>
                    <a:pt x="489" y="51"/>
                  </a:lnTo>
                  <a:lnTo>
                    <a:pt x="494" y="53"/>
                  </a:lnTo>
                  <a:lnTo>
                    <a:pt x="501" y="50"/>
                  </a:lnTo>
                  <a:lnTo>
                    <a:pt x="508" y="46"/>
                  </a:lnTo>
                  <a:lnTo>
                    <a:pt x="516" y="39"/>
                  </a:lnTo>
                  <a:lnTo>
                    <a:pt x="530" y="34"/>
                  </a:lnTo>
                  <a:lnTo>
                    <a:pt x="527" y="41"/>
                  </a:lnTo>
                  <a:lnTo>
                    <a:pt x="525" y="48"/>
                  </a:lnTo>
                  <a:lnTo>
                    <a:pt x="535" y="48"/>
                  </a:lnTo>
                  <a:lnTo>
                    <a:pt x="537" y="51"/>
                  </a:lnTo>
                  <a:lnTo>
                    <a:pt x="544" y="53"/>
                  </a:lnTo>
                  <a:lnTo>
                    <a:pt x="551" y="50"/>
                  </a:lnTo>
                  <a:lnTo>
                    <a:pt x="557" y="48"/>
                  </a:lnTo>
                  <a:lnTo>
                    <a:pt x="571" y="51"/>
                  </a:lnTo>
                  <a:lnTo>
                    <a:pt x="587" y="55"/>
                  </a:lnTo>
                  <a:lnTo>
                    <a:pt x="587" y="62"/>
                  </a:lnTo>
                  <a:lnTo>
                    <a:pt x="573" y="62"/>
                  </a:lnTo>
                  <a:lnTo>
                    <a:pt x="563" y="62"/>
                  </a:lnTo>
                  <a:lnTo>
                    <a:pt x="552" y="63"/>
                  </a:lnTo>
                  <a:lnTo>
                    <a:pt x="542" y="69"/>
                  </a:lnTo>
                  <a:lnTo>
                    <a:pt x="533" y="77"/>
                  </a:lnTo>
                  <a:lnTo>
                    <a:pt x="530" y="86"/>
                  </a:lnTo>
                  <a:lnTo>
                    <a:pt x="537" y="81"/>
                  </a:lnTo>
                  <a:lnTo>
                    <a:pt x="544" y="79"/>
                  </a:lnTo>
                  <a:lnTo>
                    <a:pt x="537" y="88"/>
                  </a:lnTo>
                  <a:lnTo>
                    <a:pt x="533" y="101"/>
                  </a:lnTo>
                  <a:lnTo>
                    <a:pt x="530" y="115"/>
                  </a:lnTo>
                  <a:lnTo>
                    <a:pt x="530" y="129"/>
                  </a:lnTo>
                  <a:lnTo>
                    <a:pt x="533" y="136"/>
                  </a:lnTo>
                  <a:lnTo>
                    <a:pt x="542" y="139"/>
                  </a:lnTo>
                  <a:lnTo>
                    <a:pt x="545" y="136"/>
                  </a:lnTo>
                  <a:lnTo>
                    <a:pt x="549" y="131"/>
                  </a:lnTo>
                  <a:lnTo>
                    <a:pt x="551" y="122"/>
                  </a:lnTo>
                  <a:lnTo>
                    <a:pt x="552" y="117"/>
                  </a:lnTo>
                  <a:lnTo>
                    <a:pt x="552" y="106"/>
                  </a:lnTo>
                  <a:lnTo>
                    <a:pt x="552" y="101"/>
                  </a:lnTo>
                  <a:lnTo>
                    <a:pt x="552" y="94"/>
                  </a:lnTo>
                  <a:lnTo>
                    <a:pt x="552" y="88"/>
                  </a:lnTo>
                  <a:lnTo>
                    <a:pt x="552" y="81"/>
                  </a:lnTo>
                  <a:lnTo>
                    <a:pt x="557" y="79"/>
                  </a:lnTo>
                  <a:lnTo>
                    <a:pt x="566" y="74"/>
                  </a:lnTo>
                  <a:lnTo>
                    <a:pt x="570" y="70"/>
                  </a:lnTo>
                  <a:lnTo>
                    <a:pt x="571" y="65"/>
                  </a:lnTo>
                  <a:lnTo>
                    <a:pt x="576" y="65"/>
                  </a:lnTo>
                  <a:lnTo>
                    <a:pt x="580" y="65"/>
                  </a:lnTo>
                  <a:lnTo>
                    <a:pt x="588" y="70"/>
                  </a:lnTo>
                  <a:lnTo>
                    <a:pt x="595" y="74"/>
                  </a:lnTo>
                  <a:lnTo>
                    <a:pt x="599" y="81"/>
                  </a:lnTo>
                  <a:lnTo>
                    <a:pt x="595" y="89"/>
                  </a:lnTo>
                  <a:lnTo>
                    <a:pt x="594" y="100"/>
                  </a:lnTo>
                  <a:lnTo>
                    <a:pt x="599" y="98"/>
                  </a:lnTo>
                  <a:lnTo>
                    <a:pt x="604" y="96"/>
                  </a:lnTo>
                  <a:lnTo>
                    <a:pt x="606" y="105"/>
                  </a:lnTo>
                  <a:lnTo>
                    <a:pt x="611" y="112"/>
                  </a:lnTo>
                  <a:lnTo>
                    <a:pt x="602" y="120"/>
                  </a:lnTo>
                  <a:lnTo>
                    <a:pt x="599" y="129"/>
                  </a:lnTo>
                  <a:lnTo>
                    <a:pt x="599" y="136"/>
                  </a:lnTo>
                  <a:lnTo>
                    <a:pt x="606" y="141"/>
                  </a:lnTo>
                  <a:lnTo>
                    <a:pt x="616" y="137"/>
                  </a:lnTo>
                  <a:lnTo>
                    <a:pt x="630" y="134"/>
                  </a:lnTo>
                  <a:lnTo>
                    <a:pt x="643" y="127"/>
                  </a:lnTo>
                  <a:lnTo>
                    <a:pt x="654" y="124"/>
                  </a:lnTo>
                  <a:lnTo>
                    <a:pt x="650" y="115"/>
                  </a:lnTo>
                  <a:lnTo>
                    <a:pt x="649" y="112"/>
                  </a:lnTo>
                  <a:lnTo>
                    <a:pt x="652" y="112"/>
                  </a:lnTo>
                  <a:lnTo>
                    <a:pt x="656" y="112"/>
                  </a:lnTo>
                  <a:lnTo>
                    <a:pt x="668" y="110"/>
                  </a:lnTo>
                  <a:lnTo>
                    <a:pt x="683" y="110"/>
                  </a:lnTo>
                  <a:lnTo>
                    <a:pt x="695" y="105"/>
                  </a:lnTo>
                  <a:lnTo>
                    <a:pt x="702" y="96"/>
                  </a:lnTo>
                  <a:lnTo>
                    <a:pt x="704" y="93"/>
                  </a:lnTo>
                  <a:lnTo>
                    <a:pt x="712" y="86"/>
                  </a:lnTo>
                  <a:lnTo>
                    <a:pt x="719" y="77"/>
                  </a:lnTo>
                  <a:lnTo>
                    <a:pt x="724" y="76"/>
                  </a:lnTo>
                  <a:lnTo>
                    <a:pt x="735" y="74"/>
                  </a:lnTo>
                  <a:lnTo>
                    <a:pt x="752" y="74"/>
                  </a:lnTo>
                  <a:lnTo>
                    <a:pt x="757" y="74"/>
                  </a:lnTo>
                  <a:lnTo>
                    <a:pt x="764" y="74"/>
                  </a:lnTo>
                  <a:lnTo>
                    <a:pt x="769" y="72"/>
                  </a:lnTo>
                  <a:lnTo>
                    <a:pt x="776" y="72"/>
                  </a:lnTo>
                  <a:lnTo>
                    <a:pt x="779" y="70"/>
                  </a:lnTo>
                  <a:lnTo>
                    <a:pt x="783" y="67"/>
                  </a:lnTo>
                  <a:lnTo>
                    <a:pt x="786" y="58"/>
                  </a:lnTo>
                  <a:lnTo>
                    <a:pt x="791" y="50"/>
                  </a:lnTo>
                  <a:lnTo>
                    <a:pt x="795" y="39"/>
                  </a:lnTo>
                  <a:lnTo>
                    <a:pt x="803" y="33"/>
                  </a:lnTo>
                  <a:lnTo>
                    <a:pt x="814" y="34"/>
                  </a:lnTo>
                  <a:lnTo>
                    <a:pt x="824" y="36"/>
                  </a:lnTo>
                  <a:lnTo>
                    <a:pt x="826" y="46"/>
                  </a:lnTo>
                  <a:lnTo>
                    <a:pt x="828" y="58"/>
                  </a:lnTo>
                  <a:lnTo>
                    <a:pt x="829" y="70"/>
                  </a:lnTo>
                  <a:lnTo>
                    <a:pt x="834" y="82"/>
                  </a:lnTo>
                  <a:lnTo>
                    <a:pt x="828" y="89"/>
                  </a:lnTo>
                  <a:lnTo>
                    <a:pt x="819" y="91"/>
                  </a:lnTo>
                  <a:lnTo>
                    <a:pt x="812" y="89"/>
                  </a:lnTo>
                  <a:lnTo>
                    <a:pt x="807" y="91"/>
                  </a:lnTo>
                  <a:lnTo>
                    <a:pt x="798" y="96"/>
                  </a:lnTo>
                  <a:lnTo>
                    <a:pt x="790" y="103"/>
                  </a:lnTo>
                  <a:lnTo>
                    <a:pt x="783" y="112"/>
                  </a:lnTo>
                  <a:lnTo>
                    <a:pt x="781" y="125"/>
                  </a:lnTo>
                  <a:lnTo>
                    <a:pt x="781" y="127"/>
                  </a:lnTo>
                  <a:lnTo>
                    <a:pt x="783" y="129"/>
                  </a:lnTo>
                  <a:lnTo>
                    <a:pt x="785" y="134"/>
                  </a:lnTo>
                  <a:lnTo>
                    <a:pt x="788" y="139"/>
                  </a:lnTo>
                  <a:lnTo>
                    <a:pt x="791" y="137"/>
                  </a:lnTo>
                  <a:lnTo>
                    <a:pt x="795" y="136"/>
                  </a:lnTo>
                  <a:lnTo>
                    <a:pt x="795" y="139"/>
                  </a:lnTo>
                  <a:lnTo>
                    <a:pt x="783" y="139"/>
                  </a:lnTo>
                  <a:lnTo>
                    <a:pt x="778" y="139"/>
                  </a:lnTo>
                  <a:lnTo>
                    <a:pt x="767" y="143"/>
                  </a:lnTo>
                  <a:lnTo>
                    <a:pt x="759" y="144"/>
                  </a:lnTo>
                  <a:lnTo>
                    <a:pt x="748" y="146"/>
                  </a:lnTo>
                  <a:lnTo>
                    <a:pt x="740" y="151"/>
                  </a:lnTo>
                  <a:lnTo>
                    <a:pt x="745" y="151"/>
                  </a:lnTo>
                  <a:lnTo>
                    <a:pt x="750" y="149"/>
                  </a:lnTo>
                  <a:lnTo>
                    <a:pt x="757" y="151"/>
                  </a:lnTo>
                  <a:lnTo>
                    <a:pt x="747" y="151"/>
                  </a:lnTo>
                  <a:lnTo>
                    <a:pt x="738" y="153"/>
                  </a:lnTo>
                  <a:lnTo>
                    <a:pt x="735" y="153"/>
                  </a:lnTo>
                  <a:lnTo>
                    <a:pt x="731" y="153"/>
                  </a:lnTo>
                  <a:lnTo>
                    <a:pt x="731" y="156"/>
                  </a:lnTo>
                  <a:lnTo>
                    <a:pt x="733" y="160"/>
                  </a:lnTo>
                  <a:lnTo>
                    <a:pt x="735" y="163"/>
                  </a:lnTo>
                  <a:lnTo>
                    <a:pt x="731" y="167"/>
                  </a:lnTo>
                  <a:lnTo>
                    <a:pt x="728" y="174"/>
                  </a:lnTo>
                  <a:lnTo>
                    <a:pt x="724" y="180"/>
                  </a:lnTo>
                  <a:lnTo>
                    <a:pt x="721" y="184"/>
                  </a:lnTo>
                  <a:lnTo>
                    <a:pt x="719" y="182"/>
                  </a:lnTo>
                  <a:lnTo>
                    <a:pt x="717" y="180"/>
                  </a:lnTo>
                  <a:lnTo>
                    <a:pt x="716" y="184"/>
                  </a:lnTo>
                  <a:lnTo>
                    <a:pt x="717" y="187"/>
                  </a:lnTo>
                  <a:lnTo>
                    <a:pt x="719" y="192"/>
                  </a:lnTo>
                  <a:lnTo>
                    <a:pt x="716" y="196"/>
                  </a:lnTo>
                  <a:lnTo>
                    <a:pt x="712" y="203"/>
                  </a:lnTo>
                  <a:lnTo>
                    <a:pt x="709" y="210"/>
                  </a:lnTo>
                  <a:lnTo>
                    <a:pt x="707" y="213"/>
                  </a:lnTo>
                  <a:lnTo>
                    <a:pt x="705" y="211"/>
                  </a:lnTo>
                  <a:lnTo>
                    <a:pt x="705" y="210"/>
                  </a:lnTo>
                  <a:lnTo>
                    <a:pt x="705" y="206"/>
                  </a:lnTo>
                  <a:lnTo>
                    <a:pt x="705" y="204"/>
                  </a:lnTo>
                  <a:lnTo>
                    <a:pt x="702" y="196"/>
                  </a:lnTo>
                  <a:lnTo>
                    <a:pt x="700" y="187"/>
                  </a:lnTo>
                  <a:lnTo>
                    <a:pt x="699" y="191"/>
                  </a:lnTo>
                  <a:lnTo>
                    <a:pt x="700" y="194"/>
                  </a:lnTo>
                  <a:lnTo>
                    <a:pt x="700" y="203"/>
                  </a:lnTo>
                  <a:lnTo>
                    <a:pt x="702" y="213"/>
                  </a:lnTo>
                  <a:lnTo>
                    <a:pt x="700" y="217"/>
                  </a:lnTo>
                  <a:lnTo>
                    <a:pt x="702" y="220"/>
                  </a:lnTo>
                  <a:lnTo>
                    <a:pt x="704" y="220"/>
                  </a:lnTo>
                  <a:lnTo>
                    <a:pt x="705" y="220"/>
                  </a:lnTo>
                  <a:lnTo>
                    <a:pt x="705" y="222"/>
                  </a:lnTo>
                  <a:lnTo>
                    <a:pt x="705" y="225"/>
                  </a:lnTo>
                  <a:lnTo>
                    <a:pt x="702" y="229"/>
                  </a:lnTo>
                  <a:lnTo>
                    <a:pt x="699" y="232"/>
                  </a:lnTo>
                  <a:lnTo>
                    <a:pt x="702" y="234"/>
                  </a:lnTo>
                  <a:lnTo>
                    <a:pt x="705" y="235"/>
                  </a:lnTo>
                  <a:lnTo>
                    <a:pt x="704" y="239"/>
                  </a:lnTo>
                  <a:lnTo>
                    <a:pt x="699" y="241"/>
                  </a:lnTo>
                  <a:lnTo>
                    <a:pt x="699" y="246"/>
                  </a:lnTo>
                  <a:lnTo>
                    <a:pt x="704" y="249"/>
                  </a:lnTo>
                  <a:lnTo>
                    <a:pt x="700" y="251"/>
                  </a:lnTo>
                  <a:lnTo>
                    <a:pt x="699" y="254"/>
                  </a:lnTo>
                  <a:lnTo>
                    <a:pt x="690" y="256"/>
                  </a:lnTo>
                  <a:lnTo>
                    <a:pt x="686" y="260"/>
                  </a:lnTo>
                  <a:lnTo>
                    <a:pt x="680" y="263"/>
                  </a:lnTo>
                  <a:lnTo>
                    <a:pt x="676" y="266"/>
                  </a:lnTo>
                  <a:lnTo>
                    <a:pt x="678" y="26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29" name="Freeform 298"/>
            <p:cNvSpPr>
              <a:spLocks/>
            </p:cNvSpPr>
            <p:nvPr/>
          </p:nvSpPr>
          <p:spPr bwMode="auto">
            <a:xfrm>
              <a:off x="1085057" y="1992313"/>
              <a:ext cx="1955800" cy="1011237"/>
            </a:xfrm>
            <a:custGeom>
              <a:avLst/>
              <a:gdLst/>
              <a:ahLst/>
              <a:cxnLst>
                <a:cxn ang="0">
                  <a:pos x="1096" y="570"/>
                </a:cxn>
                <a:cxn ang="0">
                  <a:pos x="1091" y="607"/>
                </a:cxn>
                <a:cxn ang="0">
                  <a:pos x="1149" y="568"/>
                </a:cxn>
                <a:cxn ang="0">
                  <a:pos x="1103" y="527"/>
                </a:cxn>
                <a:cxn ang="0">
                  <a:pos x="1092" y="499"/>
                </a:cxn>
                <a:cxn ang="0">
                  <a:pos x="1067" y="499"/>
                </a:cxn>
                <a:cxn ang="0">
                  <a:pos x="1172" y="479"/>
                </a:cxn>
                <a:cxn ang="0">
                  <a:pos x="1218" y="410"/>
                </a:cxn>
                <a:cxn ang="0">
                  <a:pos x="1187" y="408"/>
                </a:cxn>
                <a:cxn ang="0">
                  <a:pos x="1165" y="370"/>
                </a:cxn>
                <a:cxn ang="0">
                  <a:pos x="1127" y="319"/>
                </a:cxn>
                <a:cxn ang="0">
                  <a:pos x="1089" y="293"/>
                </a:cxn>
                <a:cxn ang="0">
                  <a:pos x="1031" y="281"/>
                </a:cxn>
                <a:cxn ang="0">
                  <a:pos x="969" y="231"/>
                </a:cxn>
                <a:cxn ang="0">
                  <a:pos x="903" y="243"/>
                </a:cxn>
                <a:cxn ang="0">
                  <a:pos x="907" y="300"/>
                </a:cxn>
                <a:cxn ang="0">
                  <a:pos x="917" y="374"/>
                </a:cxn>
                <a:cxn ang="0">
                  <a:pos x="891" y="458"/>
                </a:cxn>
                <a:cxn ang="0">
                  <a:pos x="841" y="391"/>
                </a:cxn>
                <a:cxn ang="0">
                  <a:pos x="705" y="348"/>
                </a:cxn>
                <a:cxn ang="0">
                  <a:pos x="666" y="308"/>
                </a:cxn>
                <a:cxn ang="0">
                  <a:pos x="695" y="227"/>
                </a:cxn>
                <a:cxn ang="0">
                  <a:pos x="697" y="202"/>
                </a:cxn>
                <a:cxn ang="0">
                  <a:pos x="738" y="195"/>
                </a:cxn>
                <a:cxn ang="0">
                  <a:pos x="733" y="152"/>
                </a:cxn>
                <a:cxn ang="0">
                  <a:pos x="785" y="140"/>
                </a:cxn>
                <a:cxn ang="0">
                  <a:pos x="845" y="131"/>
                </a:cxn>
                <a:cxn ang="0">
                  <a:pos x="857" y="78"/>
                </a:cxn>
                <a:cxn ang="0">
                  <a:pos x="798" y="64"/>
                </a:cxn>
                <a:cxn ang="0">
                  <a:pos x="757" y="104"/>
                </a:cxn>
                <a:cxn ang="0">
                  <a:pos x="735" y="78"/>
                </a:cxn>
                <a:cxn ang="0">
                  <a:pos x="700" y="50"/>
                </a:cxn>
                <a:cxn ang="0">
                  <a:pos x="659" y="0"/>
                </a:cxn>
                <a:cxn ang="0">
                  <a:pos x="642" y="52"/>
                </a:cxn>
                <a:cxn ang="0">
                  <a:pos x="668" y="93"/>
                </a:cxn>
                <a:cxn ang="0">
                  <a:pos x="638" y="92"/>
                </a:cxn>
                <a:cxn ang="0">
                  <a:pos x="582" y="105"/>
                </a:cxn>
                <a:cxn ang="0">
                  <a:pos x="487" y="76"/>
                </a:cxn>
                <a:cxn ang="0">
                  <a:pos x="482" y="97"/>
                </a:cxn>
                <a:cxn ang="0">
                  <a:pos x="427" y="102"/>
                </a:cxn>
                <a:cxn ang="0">
                  <a:pos x="367" y="95"/>
                </a:cxn>
                <a:cxn ang="0">
                  <a:pos x="343" y="80"/>
                </a:cxn>
                <a:cxn ang="0">
                  <a:pos x="253" y="59"/>
                </a:cxn>
                <a:cxn ang="0">
                  <a:pos x="184" y="40"/>
                </a:cxn>
                <a:cxn ang="0">
                  <a:pos x="131" y="52"/>
                </a:cxn>
                <a:cxn ang="0">
                  <a:pos x="85" y="68"/>
                </a:cxn>
                <a:cxn ang="0">
                  <a:pos x="28" y="71"/>
                </a:cxn>
                <a:cxn ang="0">
                  <a:pos x="19" y="281"/>
                </a:cxn>
                <a:cxn ang="0">
                  <a:pos x="78" y="291"/>
                </a:cxn>
                <a:cxn ang="0">
                  <a:pos x="134" y="360"/>
                </a:cxn>
                <a:cxn ang="0">
                  <a:pos x="150" y="411"/>
                </a:cxn>
                <a:cxn ang="0">
                  <a:pos x="183" y="448"/>
                </a:cxn>
                <a:cxn ang="0">
                  <a:pos x="232" y="492"/>
                </a:cxn>
                <a:cxn ang="0">
                  <a:pos x="700" y="513"/>
                </a:cxn>
                <a:cxn ang="0">
                  <a:pos x="771" y="515"/>
                </a:cxn>
                <a:cxn ang="0">
                  <a:pos x="807" y="540"/>
                </a:cxn>
                <a:cxn ang="0">
                  <a:pos x="876" y="587"/>
                </a:cxn>
                <a:cxn ang="0">
                  <a:pos x="833" y="630"/>
                </a:cxn>
                <a:cxn ang="0">
                  <a:pos x="883" y="626"/>
                </a:cxn>
                <a:cxn ang="0">
                  <a:pos x="912" y="601"/>
                </a:cxn>
                <a:cxn ang="0">
                  <a:pos x="991" y="575"/>
                </a:cxn>
                <a:cxn ang="0">
                  <a:pos x="1037" y="534"/>
                </a:cxn>
              </a:cxnLst>
              <a:rect l="0" t="0" r="r" b="b"/>
              <a:pathLst>
                <a:path w="1232" h="637">
                  <a:moveTo>
                    <a:pt x="1067" y="580"/>
                  </a:moveTo>
                  <a:lnTo>
                    <a:pt x="1067" y="578"/>
                  </a:lnTo>
                  <a:lnTo>
                    <a:pt x="1068" y="578"/>
                  </a:lnTo>
                  <a:lnTo>
                    <a:pt x="1072" y="578"/>
                  </a:lnTo>
                  <a:lnTo>
                    <a:pt x="1074" y="578"/>
                  </a:lnTo>
                  <a:lnTo>
                    <a:pt x="1080" y="578"/>
                  </a:lnTo>
                  <a:lnTo>
                    <a:pt x="1086" y="577"/>
                  </a:lnTo>
                  <a:lnTo>
                    <a:pt x="1091" y="577"/>
                  </a:lnTo>
                  <a:lnTo>
                    <a:pt x="1096" y="570"/>
                  </a:lnTo>
                  <a:lnTo>
                    <a:pt x="1105" y="566"/>
                  </a:lnTo>
                  <a:lnTo>
                    <a:pt x="1105" y="573"/>
                  </a:lnTo>
                  <a:lnTo>
                    <a:pt x="1111" y="575"/>
                  </a:lnTo>
                  <a:lnTo>
                    <a:pt x="1101" y="575"/>
                  </a:lnTo>
                  <a:lnTo>
                    <a:pt x="1091" y="580"/>
                  </a:lnTo>
                  <a:lnTo>
                    <a:pt x="1084" y="585"/>
                  </a:lnTo>
                  <a:lnTo>
                    <a:pt x="1082" y="594"/>
                  </a:lnTo>
                  <a:lnTo>
                    <a:pt x="1086" y="602"/>
                  </a:lnTo>
                  <a:lnTo>
                    <a:pt x="1091" y="607"/>
                  </a:lnTo>
                  <a:lnTo>
                    <a:pt x="1094" y="604"/>
                  </a:lnTo>
                  <a:lnTo>
                    <a:pt x="1099" y="599"/>
                  </a:lnTo>
                  <a:lnTo>
                    <a:pt x="1106" y="594"/>
                  </a:lnTo>
                  <a:lnTo>
                    <a:pt x="1115" y="590"/>
                  </a:lnTo>
                  <a:lnTo>
                    <a:pt x="1122" y="587"/>
                  </a:lnTo>
                  <a:lnTo>
                    <a:pt x="1134" y="582"/>
                  </a:lnTo>
                  <a:lnTo>
                    <a:pt x="1146" y="577"/>
                  </a:lnTo>
                  <a:lnTo>
                    <a:pt x="1153" y="573"/>
                  </a:lnTo>
                  <a:lnTo>
                    <a:pt x="1149" y="568"/>
                  </a:lnTo>
                  <a:lnTo>
                    <a:pt x="1144" y="566"/>
                  </a:lnTo>
                  <a:lnTo>
                    <a:pt x="1139" y="566"/>
                  </a:lnTo>
                  <a:lnTo>
                    <a:pt x="1135" y="566"/>
                  </a:lnTo>
                  <a:lnTo>
                    <a:pt x="1123" y="563"/>
                  </a:lnTo>
                  <a:lnTo>
                    <a:pt x="1111" y="558"/>
                  </a:lnTo>
                  <a:lnTo>
                    <a:pt x="1101" y="549"/>
                  </a:lnTo>
                  <a:lnTo>
                    <a:pt x="1098" y="540"/>
                  </a:lnTo>
                  <a:lnTo>
                    <a:pt x="1099" y="534"/>
                  </a:lnTo>
                  <a:lnTo>
                    <a:pt x="1103" y="527"/>
                  </a:lnTo>
                  <a:lnTo>
                    <a:pt x="1098" y="527"/>
                  </a:lnTo>
                  <a:lnTo>
                    <a:pt x="1091" y="527"/>
                  </a:lnTo>
                  <a:lnTo>
                    <a:pt x="1094" y="521"/>
                  </a:lnTo>
                  <a:lnTo>
                    <a:pt x="1101" y="520"/>
                  </a:lnTo>
                  <a:lnTo>
                    <a:pt x="1108" y="515"/>
                  </a:lnTo>
                  <a:lnTo>
                    <a:pt x="1111" y="509"/>
                  </a:lnTo>
                  <a:lnTo>
                    <a:pt x="1108" y="503"/>
                  </a:lnTo>
                  <a:lnTo>
                    <a:pt x="1101" y="501"/>
                  </a:lnTo>
                  <a:lnTo>
                    <a:pt x="1092" y="499"/>
                  </a:lnTo>
                  <a:lnTo>
                    <a:pt x="1086" y="501"/>
                  </a:lnTo>
                  <a:lnTo>
                    <a:pt x="1068" y="503"/>
                  </a:lnTo>
                  <a:lnTo>
                    <a:pt x="1058" y="509"/>
                  </a:lnTo>
                  <a:lnTo>
                    <a:pt x="1048" y="515"/>
                  </a:lnTo>
                  <a:lnTo>
                    <a:pt x="1037" y="520"/>
                  </a:lnTo>
                  <a:lnTo>
                    <a:pt x="1043" y="511"/>
                  </a:lnTo>
                  <a:lnTo>
                    <a:pt x="1049" y="508"/>
                  </a:lnTo>
                  <a:lnTo>
                    <a:pt x="1056" y="504"/>
                  </a:lnTo>
                  <a:lnTo>
                    <a:pt x="1067" y="499"/>
                  </a:lnTo>
                  <a:lnTo>
                    <a:pt x="1070" y="489"/>
                  </a:lnTo>
                  <a:lnTo>
                    <a:pt x="1079" y="484"/>
                  </a:lnTo>
                  <a:lnTo>
                    <a:pt x="1091" y="480"/>
                  </a:lnTo>
                  <a:lnTo>
                    <a:pt x="1103" y="480"/>
                  </a:lnTo>
                  <a:lnTo>
                    <a:pt x="1115" y="480"/>
                  </a:lnTo>
                  <a:lnTo>
                    <a:pt x="1129" y="482"/>
                  </a:lnTo>
                  <a:lnTo>
                    <a:pt x="1144" y="482"/>
                  </a:lnTo>
                  <a:lnTo>
                    <a:pt x="1160" y="482"/>
                  </a:lnTo>
                  <a:lnTo>
                    <a:pt x="1172" y="479"/>
                  </a:lnTo>
                  <a:lnTo>
                    <a:pt x="1184" y="470"/>
                  </a:lnTo>
                  <a:lnTo>
                    <a:pt x="1194" y="463"/>
                  </a:lnTo>
                  <a:lnTo>
                    <a:pt x="1209" y="458"/>
                  </a:lnTo>
                  <a:lnTo>
                    <a:pt x="1225" y="451"/>
                  </a:lnTo>
                  <a:lnTo>
                    <a:pt x="1232" y="442"/>
                  </a:lnTo>
                  <a:lnTo>
                    <a:pt x="1228" y="427"/>
                  </a:lnTo>
                  <a:lnTo>
                    <a:pt x="1223" y="418"/>
                  </a:lnTo>
                  <a:lnTo>
                    <a:pt x="1220" y="415"/>
                  </a:lnTo>
                  <a:lnTo>
                    <a:pt x="1218" y="410"/>
                  </a:lnTo>
                  <a:lnTo>
                    <a:pt x="1218" y="405"/>
                  </a:lnTo>
                  <a:lnTo>
                    <a:pt x="1206" y="410"/>
                  </a:lnTo>
                  <a:lnTo>
                    <a:pt x="1194" y="415"/>
                  </a:lnTo>
                  <a:lnTo>
                    <a:pt x="1178" y="417"/>
                  </a:lnTo>
                  <a:lnTo>
                    <a:pt x="1170" y="420"/>
                  </a:lnTo>
                  <a:lnTo>
                    <a:pt x="1166" y="418"/>
                  </a:lnTo>
                  <a:lnTo>
                    <a:pt x="1165" y="417"/>
                  </a:lnTo>
                  <a:lnTo>
                    <a:pt x="1173" y="411"/>
                  </a:lnTo>
                  <a:lnTo>
                    <a:pt x="1187" y="408"/>
                  </a:lnTo>
                  <a:lnTo>
                    <a:pt x="1199" y="403"/>
                  </a:lnTo>
                  <a:lnTo>
                    <a:pt x="1206" y="398"/>
                  </a:lnTo>
                  <a:lnTo>
                    <a:pt x="1204" y="394"/>
                  </a:lnTo>
                  <a:lnTo>
                    <a:pt x="1203" y="393"/>
                  </a:lnTo>
                  <a:lnTo>
                    <a:pt x="1190" y="391"/>
                  </a:lnTo>
                  <a:lnTo>
                    <a:pt x="1178" y="389"/>
                  </a:lnTo>
                  <a:lnTo>
                    <a:pt x="1168" y="382"/>
                  </a:lnTo>
                  <a:lnTo>
                    <a:pt x="1165" y="372"/>
                  </a:lnTo>
                  <a:lnTo>
                    <a:pt x="1165" y="370"/>
                  </a:lnTo>
                  <a:lnTo>
                    <a:pt x="1149" y="365"/>
                  </a:lnTo>
                  <a:lnTo>
                    <a:pt x="1139" y="358"/>
                  </a:lnTo>
                  <a:lnTo>
                    <a:pt x="1144" y="355"/>
                  </a:lnTo>
                  <a:lnTo>
                    <a:pt x="1148" y="348"/>
                  </a:lnTo>
                  <a:lnTo>
                    <a:pt x="1144" y="341"/>
                  </a:lnTo>
                  <a:lnTo>
                    <a:pt x="1144" y="334"/>
                  </a:lnTo>
                  <a:lnTo>
                    <a:pt x="1137" y="329"/>
                  </a:lnTo>
                  <a:lnTo>
                    <a:pt x="1132" y="325"/>
                  </a:lnTo>
                  <a:lnTo>
                    <a:pt x="1127" y="319"/>
                  </a:lnTo>
                  <a:lnTo>
                    <a:pt x="1127" y="313"/>
                  </a:lnTo>
                  <a:lnTo>
                    <a:pt x="1125" y="305"/>
                  </a:lnTo>
                  <a:lnTo>
                    <a:pt x="1120" y="298"/>
                  </a:lnTo>
                  <a:lnTo>
                    <a:pt x="1111" y="291"/>
                  </a:lnTo>
                  <a:lnTo>
                    <a:pt x="1110" y="284"/>
                  </a:lnTo>
                  <a:lnTo>
                    <a:pt x="1105" y="281"/>
                  </a:lnTo>
                  <a:lnTo>
                    <a:pt x="1101" y="279"/>
                  </a:lnTo>
                  <a:lnTo>
                    <a:pt x="1092" y="282"/>
                  </a:lnTo>
                  <a:lnTo>
                    <a:pt x="1089" y="293"/>
                  </a:lnTo>
                  <a:lnTo>
                    <a:pt x="1086" y="298"/>
                  </a:lnTo>
                  <a:lnTo>
                    <a:pt x="1079" y="308"/>
                  </a:lnTo>
                  <a:lnTo>
                    <a:pt x="1068" y="315"/>
                  </a:lnTo>
                  <a:lnTo>
                    <a:pt x="1060" y="319"/>
                  </a:lnTo>
                  <a:lnTo>
                    <a:pt x="1049" y="313"/>
                  </a:lnTo>
                  <a:lnTo>
                    <a:pt x="1043" y="308"/>
                  </a:lnTo>
                  <a:lnTo>
                    <a:pt x="1036" y="303"/>
                  </a:lnTo>
                  <a:lnTo>
                    <a:pt x="1032" y="293"/>
                  </a:lnTo>
                  <a:lnTo>
                    <a:pt x="1031" y="281"/>
                  </a:lnTo>
                  <a:lnTo>
                    <a:pt x="1031" y="272"/>
                  </a:lnTo>
                  <a:lnTo>
                    <a:pt x="1024" y="264"/>
                  </a:lnTo>
                  <a:lnTo>
                    <a:pt x="1013" y="262"/>
                  </a:lnTo>
                  <a:lnTo>
                    <a:pt x="1003" y="258"/>
                  </a:lnTo>
                  <a:lnTo>
                    <a:pt x="1000" y="250"/>
                  </a:lnTo>
                  <a:lnTo>
                    <a:pt x="989" y="245"/>
                  </a:lnTo>
                  <a:lnTo>
                    <a:pt x="984" y="239"/>
                  </a:lnTo>
                  <a:lnTo>
                    <a:pt x="976" y="233"/>
                  </a:lnTo>
                  <a:lnTo>
                    <a:pt x="969" y="231"/>
                  </a:lnTo>
                  <a:lnTo>
                    <a:pt x="962" y="233"/>
                  </a:lnTo>
                  <a:lnTo>
                    <a:pt x="955" y="236"/>
                  </a:lnTo>
                  <a:lnTo>
                    <a:pt x="943" y="233"/>
                  </a:lnTo>
                  <a:lnTo>
                    <a:pt x="934" y="231"/>
                  </a:lnTo>
                  <a:lnTo>
                    <a:pt x="926" y="227"/>
                  </a:lnTo>
                  <a:lnTo>
                    <a:pt x="917" y="227"/>
                  </a:lnTo>
                  <a:lnTo>
                    <a:pt x="905" y="229"/>
                  </a:lnTo>
                  <a:lnTo>
                    <a:pt x="902" y="239"/>
                  </a:lnTo>
                  <a:lnTo>
                    <a:pt x="903" y="243"/>
                  </a:lnTo>
                  <a:lnTo>
                    <a:pt x="907" y="248"/>
                  </a:lnTo>
                  <a:lnTo>
                    <a:pt x="908" y="253"/>
                  </a:lnTo>
                  <a:lnTo>
                    <a:pt x="903" y="262"/>
                  </a:lnTo>
                  <a:lnTo>
                    <a:pt x="902" y="265"/>
                  </a:lnTo>
                  <a:lnTo>
                    <a:pt x="905" y="272"/>
                  </a:lnTo>
                  <a:lnTo>
                    <a:pt x="908" y="277"/>
                  </a:lnTo>
                  <a:lnTo>
                    <a:pt x="914" y="284"/>
                  </a:lnTo>
                  <a:lnTo>
                    <a:pt x="910" y="293"/>
                  </a:lnTo>
                  <a:lnTo>
                    <a:pt x="907" y="300"/>
                  </a:lnTo>
                  <a:lnTo>
                    <a:pt x="898" y="303"/>
                  </a:lnTo>
                  <a:lnTo>
                    <a:pt x="895" y="307"/>
                  </a:lnTo>
                  <a:lnTo>
                    <a:pt x="903" y="319"/>
                  </a:lnTo>
                  <a:lnTo>
                    <a:pt x="912" y="331"/>
                  </a:lnTo>
                  <a:lnTo>
                    <a:pt x="915" y="336"/>
                  </a:lnTo>
                  <a:lnTo>
                    <a:pt x="920" y="344"/>
                  </a:lnTo>
                  <a:lnTo>
                    <a:pt x="922" y="355"/>
                  </a:lnTo>
                  <a:lnTo>
                    <a:pt x="924" y="367"/>
                  </a:lnTo>
                  <a:lnTo>
                    <a:pt x="917" y="374"/>
                  </a:lnTo>
                  <a:lnTo>
                    <a:pt x="907" y="386"/>
                  </a:lnTo>
                  <a:lnTo>
                    <a:pt x="893" y="394"/>
                  </a:lnTo>
                  <a:lnTo>
                    <a:pt x="883" y="399"/>
                  </a:lnTo>
                  <a:lnTo>
                    <a:pt x="891" y="408"/>
                  </a:lnTo>
                  <a:lnTo>
                    <a:pt x="895" y="422"/>
                  </a:lnTo>
                  <a:lnTo>
                    <a:pt x="896" y="436"/>
                  </a:lnTo>
                  <a:lnTo>
                    <a:pt x="900" y="446"/>
                  </a:lnTo>
                  <a:lnTo>
                    <a:pt x="895" y="449"/>
                  </a:lnTo>
                  <a:lnTo>
                    <a:pt x="891" y="458"/>
                  </a:lnTo>
                  <a:lnTo>
                    <a:pt x="883" y="461"/>
                  </a:lnTo>
                  <a:lnTo>
                    <a:pt x="876" y="463"/>
                  </a:lnTo>
                  <a:lnTo>
                    <a:pt x="865" y="453"/>
                  </a:lnTo>
                  <a:lnTo>
                    <a:pt x="855" y="444"/>
                  </a:lnTo>
                  <a:lnTo>
                    <a:pt x="847" y="434"/>
                  </a:lnTo>
                  <a:lnTo>
                    <a:pt x="845" y="423"/>
                  </a:lnTo>
                  <a:lnTo>
                    <a:pt x="845" y="410"/>
                  </a:lnTo>
                  <a:lnTo>
                    <a:pt x="845" y="401"/>
                  </a:lnTo>
                  <a:lnTo>
                    <a:pt x="841" y="391"/>
                  </a:lnTo>
                  <a:lnTo>
                    <a:pt x="834" y="386"/>
                  </a:lnTo>
                  <a:lnTo>
                    <a:pt x="802" y="386"/>
                  </a:lnTo>
                  <a:lnTo>
                    <a:pt x="786" y="375"/>
                  </a:lnTo>
                  <a:lnTo>
                    <a:pt x="771" y="367"/>
                  </a:lnTo>
                  <a:lnTo>
                    <a:pt x="754" y="360"/>
                  </a:lnTo>
                  <a:lnTo>
                    <a:pt x="738" y="355"/>
                  </a:lnTo>
                  <a:lnTo>
                    <a:pt x="728" y="348"/>
                  </a:lnTo>
                  <a:lnTo>
                    <a:pt x="716" y="344"/>
                  </a:lnTo>
                  <a:lnTo>
                    <a:pt x="705" y="348"/>
                  </a:lnTo>
                  <a:lnTo>
                    <a:pt x="697" y="351"/>
                  </a:lnTo>
                  <a:lnTo>
                    <a:pt x="695" y="338"/>
                  </a:lnTo>
                  <a:lnTo>
                    <a:pt x="692" y="325"/>
                  </a:lnTo>
                  <a:lnTo>
                    <a:pt x="685" y="315"/>
                  </a:lnTo>
                  <a:lnTo>
                    <a:pt x="678" y="312"/>
                  </a:lnTo>
                  <a:lnTo>
                    <a:pt x="671" y="313"/>
                  </a:lnTo>
                  <a:lnTo>
                    <a:pt x="666" y="317"/>
                  </a:lnTo>
                  <a:lnTo>
                    <a:pt x="666" y="312"/>
                  </a:lnTo>
                  <a:lnTo>
                    <a:pt x="666" y="308"/>
                  </a:lnTo>
                  <a:lnTo>
                    <a:pt x="666" y="301"/>
                  </a:lnTo>
                  <a:lnTo>
                    <a:pt x="666" y="295"/>
                  </a:lnTo>
                  <a:lnTo>
                    <a:pt x="666" y="279"/>
                  </a:lnTo>
                  <a:lnTo>
                    <a:pt x="669" y="269"/>
                  </a:lnTo>
                  <a:lnTo>
                    <a:pt x="675" y="258"/>
                  </a:lnTo>
                  <a:lnTo>
                    <a:pt x="683" y="250"/>
                  </a:lnTo>
                  <a:lnTo>
                    <a:pt x="685" y="243"/>
                  </a:lnTo>
                  <a:lnTo>
                    <a:pt x="690" y="236"/>
                  </a:lnTo>
                  <a:lnTo>
                    <a:pt x="695" y="227"/>
                  </a:lnTo>
                  <a:lnTo>
                    <a:pt x="700" y="224"/>
                  </a:lnTo>
                  <a:lnTo>
                    <a:pt x="707" y="222"/>
                  </a:lnTo>
                  <a:lnTo>
                    <a:pt x="714" y="221"/>
                  </a:lnTo>
                  <a:lnTo>
                    <a:pt x="721" y="219"/>
                  </a:lnTo>
                  <a:lnTo>
                    <a:pt x="724" y="214"/>
                  </a:lnTo>
                  <a:lnTo>
                    <a:pt x="721" y="209"/>
                  </a:lnTo>
                  <a:lnTo>
                    <a:pt x="712" y="205"/>
                  </a:lnTo>
                  <a:lnTo>
                    <a:pt x="704" y="203"/>
                  </a:lnTo>
                  <a:lnTo>
                    <a:pt x="697" y="202"/>
                  </a:lnTo>
                  <a:lnTo>
                    <a:pt x="697" y="200"/>
                  </a:lnTo>
                  <a:lnTo>
                    <a:pt x="699" y="198"/>
                  </a:lnTo>
                  <a:lnTo>
                    <a:pt x="705" y="198"/>
                  </a:lnTo>
                  <a:lnTo>
                    <a:pt x="714" y="200"/>
                  </a:lnTo>
                  <a:lnTo>
                    <a:pt x="728" y="205"/>
                  </a:lnTo>
                  <a:lnTo>
                    <a:pt x="731" y="203"/>
                  </a:lnTo>
                  <a:lnTo>
                    <a:pt x="733" y="200"/>
                  </a:lnTo>
                  <a:lnTo>
                    <a:pt x="735" y="197"/>
                  </a:lnTo>
                  <a:lnTo>
                    <a:pt x="738" y="195"/>
                  </a:lnTo>
                  <a:lnTo>
                    <a:pt x="740" y="195"/>
                  </a:lnTo>
                  <a:lnTo>
                    <a:pt x="748" y="195"/>
                  </a:lnTo>
                  <a:lnTo>
                    <a:pt x="762" y="188"/>
                  </a:lnTo>
                  <a:lnTo>
                    <a:pt x="776" y="176"/>
                  </a:lnTo>
                  <a:lnTo>
                    <a:pt x="776" y="169"/>
                  </a:lnTo>
                  <a:lnTo>
                    <a:pt x="762" y="166"/>
                  </a:lnTo>
                  <a:lnTo>
                    <a:pt x="750" y="164"/>
                  </a:lnTo>
                  <a:lnTo>
                    <a:pt x="740" y="159"/>
                  </a:lnTo>
                  <a:lnTo>
                    <a:pt x="733" y="152"/>
                  </a:lnTo>
                  <a:lnTo>
                    <a:pt x="736" y="152"/>
                  </a:lnTo>
                  <a:lnTo>
                    <a:pt x="743" y="152"/>
                  </a:lnTo>
                  <a:lnTo>
                    <a:pt x="752" y="159"/>
                  </a:lnTo>
                  <a:lnTo>
                    <a:pt x="766" y="164"/>
                  </a:lnTo>
                  <a:lnTo>
                    <a:pt x="771" y="160"/>
                  </a:lnTo>
                  <a:lnTo>
                    <a:pt x="779" y="157"/>
                  </a:lnTo>
                  <a:lnTo>
                    <a:pt x="785" y="152"/>
                  </a:lnTo>
                  <a:lnTo>
                    <a:pt x="788" y="147"/>
                  </a:lnTo>
                  <a:lnTo>
                    <a:pt x="785" y="140"/>
                  </a:lnTo>
                  <a:lnTo>
                    <a:pt x="785" y="136"/>
                  </a:lnTo>
                  <a:lnTo>
                    <a:pt x="797" y="141"/>
                  </a:lnTo>
                  <a:lnTo>
                    <a:pt x="807" y="147"/>
                  </a:lnTo>
                  <a:lnTo>
                    <a:pt x="814" y="143"/>
                  </a:lnTo>
                  <a:lnTo>
                    <a:pt x="824" y="141"/>
                  </a:lnTo>
                  <a:lnTo>
                    <a:pt x="824" y="135"/>
                  </a:lnTo>
                  <a:lnTo>
                    <a:pt x="831" y="140"/>
                  </a:lnTo>
                  <a:lnTo>
                    <a:pt x="834" y="138"/>
                  </a:lnTo>
                  <a:lnTo>
                    <a:pt x="845" y="131"/>
                  </a:lnTo>
                  <a:lnTo>
                    <a:pt x="855" y="123"/>
                  </a:lnTo>
                  <a:lnTo>
                    <a:pt x="860" y="116"/>
                  </a:lnTo>
                  <a:lnTo>
                    <a:pt x="853" y="107"/>
                  </a:lnTo>
                  <a:lnTo>
                    <a:pt x="848" y="102"/>
                  </a:lnTo>
                  <a:lnTo>
                    <a:pt x="847" y="97"/>
                  </a:lnTo>
                  <a:lnTo>
                    <a:pt x="847" y="93"/>
                  </a:lnTo>
                  <a:lnTo>
                    <a:pt x="848" y="88"/>
                  </a:lnTo>
                  <a:lnTo>
                    <a:pt x="857" y="83"/>
                  </a:lnTo>
                  <a:lnTo>
                    <a:pt x="857" y="78"/>
                  </a:lnTo>
                  <a:lnTo>
                    <a:pt x="857" y="71"/>
                  </a:lnTo>
                  <a:lnTo>
                    <a:pt x="847" y="68"/>
                  </a:lnTo>
                  <a:lnTo>
                    <a:pt x="841" y="64"/>
                  </a:lnTo>
                  <a:lnTo>
                    <a:pt x="834" y="59"/>
                  </a:lnTo>
                  <a:lnTo>
                    <a:pt x="824" y="57"/>
                  </a:lnTo>
                  <a:lnTo>
                    <a:pt x="817" y="56"/>
                  </a:lnTo>
                  <a:lnTo>
                    <a:pt x="812" y="54"/>
                  </a:lnTo>
                  <a:lnTo>
                    <a:pt x="802" y="56"/>
                  </a:lnTo>
                  <a:lnTo>
                    <a:pt x="798" y="64"/>
                  </a:lnTo>
                  <a:lnTo>
                    <a:pt x="802" y="71"/>
                  </a:lnTo>
                  <a:lnTo>
                    <a:pt x="807" y="78"/>
                  </a:lnTo>
                  <a:lnTo>
                    <a:pt x="800" y="83"/>
                  </a:lnTo>
                  <a:lnTo>
                    <a:pt x="791" y="88"/>
                  </a:lnTo>
                  <a:lnTo>
                    <a:pt x="788" y="100"/>
                  </a:lnTo>
                  <a:lnTo>
                    <a:pt x="783" y="114"/>
                  </a:lnTo>
                  <a:lnTo>
                    <a:pt x="773" y="117"/>
                  </a:lnTo>
                  <a:lnTo>
                    <a:pt x="764" y="112"/>
                  </a:lnTo>
                  <a:lnTo>
                    <a:pt x="757" y="104"/>
                  </a:lnTo>
                  <a:lnTo>
                    <a:pt x="755" y="98"/>
                  </a:lnTo>
                  <a:lnTo>
                    <a:pt x="759" y="92"/>
                  </a:lnTo>
                  <a:lnTo>
                    <a:pt x="764" y="86"/>
                  </a:lnTo>
                  <a:lnTo>
                    <a:pt x="761" y="81"/>
                  </a:lnTo>
                  <a:lnTo>
                    <a:pt x="755" y="74"/>
                  </a:lnTo>
                  <a:lnTo>
                    <a:pt x="748" y="69"/>
                  </a:lnTo>
                  <a:lnTo>
                    <a:pt x="745" y="68"/>
                  </a:lnTo>
                  <a:lnTo>
                    <a:pt x="736" y="69"/>
                  </a:lnTo>
                  <a:lnTo>
                    <a:pt x="735" y="78"/>
                  </a:lnTo>
                  <a:lnTo>
                    <a:pt x="731" y="85"/>
                  </a:lnTo>
                  <a:lnTo>
                    <a:pt x="724" y="90"/>
                  </a:lnTo>
                  <a:lnTo>
                    <a:pt x="723" y="78"/>
                  </a:lnTo>
                  <a:lnTo>
                    <a:pt x="714" y="71"/>
                  </a:lnTo>
                  <a:lnTo>
                    <a:pt x="716" y="66"/>
                  </a:lnTo>
                  <a:lnTo>
                    <a:pt x="719" y="64"/>
                  </a:lnTo>
                  <a:lnTo>
                    <a:pt x="704" y="61"/>
                  </a:lnTo>
                  <a:lnTo>
                    <a:pt x="693" y="57"/>
                  </a:lnTo>
                  <a:lnTo>
                    <a:pt x="700" y="50"/>
                  </a:lnTo>
                  <a:lnTo>
                    <a:pt x="705" y="43"/>
                  </a:lnTo>
                  <a:lnTo>
                    <a:pt x="702" y="37"/>
                  </a:lnTo>
                  <a:lnTo>
                    <a:pt x="697" y="35"/>
                  </a:lnTo>
                  <a:lnTo>
                    <a:pt x="692" y="31"/>
                  </a:lnTo>
                  <a:lnTo>
                    <a:pt x="690" y="28"/>
                  </a:lnTo>
                  <a:lnTo>
                    <a:pt x="687" y="16"/>
                  </a:lnTo>
                  <a:lnTo>
                    <a:pt x="681" y="9"/>
                  </a:lnTo>
                  <a:lnTo>
                    <a:pt x="671" y="2"/>
                  </a:lnTo>
                  <a:lnTo>
                    <a:pt x="659" y="0"/>
                  </a:lnTo>
                  <a:lnTo>
                    <a:pt x="652" y="4"/>
                  </a:lnTo>
                  <a:lnTo>
                    <a:pt x="654" y="13"/>
                  </a:lnTo>
                  <a:lnTo>
                    <a:pt x="644" y="13"/>
                  </a:lnTo>
                  <a:lnTo>
                    <a:pt x="640" y="19"/>
                  </a:lnTo>
                  <a:lnTo>
                    <a:pt x="642" y="26"/>
                  </a:lnTo>
                  <a:lnTo>
                    <a:pt x="644" y="33"/>
                  </a:lnTo>
                  <a:lnTo>
                    <a:pt x="640" y="37"/>
                  </a:lnTo>
                  <a:lnTo>
                    <a:pt x="637" y="43"/>
                  </a:lnTo>
                  <a:lnTo>
                    <a:pt x="642" y="52"/>
                  </a:lnTo>
                  <a:lnTo>
                    <a:pt x="654" y="56"/>
                  </a:lnTo>
                  <a:lnTo>
                    <a:pt x="664" y="59"/>
                  </a:lnTo>
                  <a:lnTo>
                    <a:pt x="671" y="68"/>
                  </a:lnTo>
                  <a:lnTo>
                    <a:pt x="669" y="76"/>
                  </a:lnTo>
                  <a:lnTo>
                    <a:pt x="668" y="83"/>
                  </a:lnTo>
                  <a:lnTo>
                    <a:pt x="673" y="80"/>
                  </a:lnTo>
                  <a:lnTo>
                    <a:pt x="678" y="78"/>
                  </a:lnTo>
                  <a:lnTo>
                    <a:pt x="676" y="88"/>
                  </a:lnTo>
                  <a:lnTo>
                    <a:pt x="668" y="93"/>
                  </a:lnTo>
                  <a:lnTo>
                    <a:pt x="661" y="95"/>
                  </a:lnTo>
                  <a:lnTo>
                    <a:pt x="656" y="98"/>
                  </a:lnTo>
                  <a:lnTo>
                    <a:pt x="652" y="104"/>
                  </a:lnTo>
                  <a:lnTo>
                    <a:pt x="652" y="114"/>
                  </a:lnTo>
                  <a:lnTo>
                    <a:pt x="644" y="112"/>
                  </a:lnTo>
                  <a:lnTo>
                    <a:pt x="642" y="107"/>
                  </a:lnTo>
                  <a:lnTo>
                    <a:pt x="644" y="100"/>
                  </a:lnTo>
                  <a:lnTo>
                    <a:pt x="644" y="95"/>
                  </a:lnTo>
                  <a:lnTo>
                    <a:pt x="638" y="92"/>
                  </a:lnTo>
                  <a:lnTo>
                    <a:pt x="633" y="92"/>
                  </a:lnTo>
                  <a:lnTo>
                    <a:pt x="626" y="90"/>
                  </a:lnTo>
                  <a:lnTo>
                    <a:pt x="621" y="90"/>
                  </a:lnTo>
                  <a:lnTo>
                    <a:pt x="611" y="93"/>
                  </a:lnTo>
                  <a:lnTo>
                    <a:pt x="609" y="105"/>
                  </a:lnTo>
                  <a:lnTo>
                    <a:pt x="601" y="105"/>
                  </a:lnTo>
                  <a:lnTo>
                    <a:pt x="594" y="105"/>
                  </a:lnTo>
                  <a:lnTo>
                    <a:pt x="587" y="105"/>
                  </a:lnTo>
                  <a:lnTo>
                    <a:pt x="582" y="105"/>
                  </a:lnTo>
                  <a:lnTo>
                    <a:pt x="573" y="105"/>
                  </a:lnTo>
                  <a:lnTo>
                    <a:pt x="564" y="105"/>
                  </a:lnTo>
                  <a:lnTo>
                    <a:pt x="554" y="104"/>
                  </a:lnTo>
                  <a:lnTo>
                    <a:pt x="544" y="102"/>
                  </a:lnTo>
                  <a:lnTo>
                    <a:pt x="533" y="100"/>
                  </a:lnTo>
                  <a:lnTo>
                    <a:pt x="523" y="98"/>
                  </a:lnTo>
                  <a:lnTo>
                    <a:pt x="508" y="88"/>
                  </a:lnTo>
                  <a:lnTo>
                    <a:pt x="499" y="76"/>
                  </a:lnTo>
                  <a:lnTo>
                    <a:pt x="487" y="76"/>
                  </a:lnTo>
                  <a:lnTo>
                    <a:pt x="475" y="78"/>
                  </a:lnTo>
                  <a:lnTo>
                    <a:pt x="463" y="81"/>
                  </a:lnTo>
                  <a:lnTo>
                    <a:pt x="460" y="90"/>
                  </a:lnTo>
                  <a:lnTo>
                    <a:pt x="461" y="93"/>
                  </a:lnTo>
                  <a:lnTo>
                    <a:pt x="466" y="95"/>
                  </a:lnTo>
                  <a:lnTo>
                    <a:pt x="480" y="92"/>
                  </a:lnTo>
                  <a:lnTo>
                    <a:pt x="494" y="88"/>
                  </a:lnTo>
                  <a:lnTo>
                    <a:pt x="490" y="93"/>
                  </a:lnTo>
                  <a:lnTo>
                    <a:pt x="482" y="97"/>
                  </a:lnTo>
                  <a:lnTo>
                    <a:pt x="473" y="98"/>
                  </a:lnTo>
                  <a:lnTo>
                    <a:pt x="470" y="107"/>
                  </a:lnTo>
                  <a:lnTo>
                    <a:pt x="472" y="116"/>
                  </a:lnTo>
                  <a:lnTo>
                    <a:pt x="473" y="123"/>
                  </a:lnTo>
                  <a:lnTo>
                    <a:pt x="461" y="116"/>
                  </a:lnTo>
                  <a:lnTo>
                    <a:pt x="453" y="105"/>
                  </a:lnTo>
                  <a:lnTo>
                    <a:pt x="444" y="102"/>
                  </a:lnTo>
                  <a:lnTo>
                    <a:pt x="434" y="102"/>
                  </a:lnTo>
                  <a:lnTo>
                    <a:pt x="427" y="102"/>
                  </a:lnTo>
                  <a:lnTo>
                    <a:pt x="420" y="102"/>
                  </a:lnTo>
                  <a:lnTo>
                    <a:pt x="411" y="102"/>
                  </a:lnTo>
                  <a:lnTo>
                    <a:pt x="398" y="104"/>
                  </a:lnTo>
                  <a:lnTo>
                    <a:pt x="384" y="107"/>
                  </a:lnTo>
                  <a:lnTo>
                    <a:pt x="372" y="105"/>
                  </a:lnTo>
                  <a:lnTo>
                    <a:pt x="367" y="104"/>
                  </a:lnTo>
                  <a:lnTo>
                    <a:pt x="365" y="100"/>
                  </a:lnTo>
                  <a:lnTo>
                    <a:pt x="365" y="98"/>
                  </a:lnTo>
                  <a:lnTo>
                    <a:pt x="367" y="95"/>
                  </a:lnTo>
                  <a:lnTo>
                    <a:pt x="372" y="95"/>
                  </a:lnTo>
                  <a:lnTo>
                    <a:pt x="377" y="93"/>
                  </a:lnTo>
                  <a:lnTo>
                    <a:pt x="382" y="93"/>
                  </a:lnTo>
                  <a:lnTo>
                    <a:pt x="374" y="81"/>
                  </a:lnTo>
                  <a:lnTo>
                    <a:pt x="367" y="78"/>
                  </a:lnTo>
                  <a:lnTo>
                    <a:pt x="361" y="76"/>
                  </a:lnTo>
                  <a:lnTo>
                    <a:pt x="358" y="76"/>
                  </a:lnTo>
                  <a:lnTo>
                    <a:pt x="351" y="78"/>
                  </a:lnTo>
                  <a:lnTo>
                    <a:pt x="343" y="80"/>
                  </a:lnTo>
                  <a:lnTo>
                    <a:pt x="331" y="78"/>
                  </a:lnTo>
                  <a:lnTo>
                    <a:pt x="320" y="76"/>
                  </a:lnTo>
                  <a:lnTo>
                    <a:pt x="312" y="71"/>
                  </a:lnTo>
                  <a:lnTo>
                    <a:pt x="303" y="68"/>
                  </a:lnTo>
                  <a:lnTo>
                    <a:pt x="293" y="62"/>
                  </a:lnTo>
                  <a:lnTo>
                    <a:pt x="284" y="59"/>
                  </a:lnTo>
                  <a:lnTo>
                    <a:pt x="274" y="57"/>
                  </a:lnTo>
                  <a:lnTo>
                    <a:pt x="265" y="57"/>
                  </a:lnTo>
                  <a:lnTo>
                    <a:pt x="253" y="59"/>
                  </a:lnTo>
                  <a:lnTo>
                    <a:pt x="243" y="62"/>
                  </a:lnTo>
                  <a:lnTo>
                    <a:pt x="234" y="57"/>
                  </a:lnTo>
                  <a:lnTo>
                    <a:pt x="231" y="49"/>
                  </a:lnTo>
                  <a:lnTo>
                    <a:pt x="220" y="56"/>
                  </a:lnTo>
                  <a:lnTo>
                    <a:pt x="212" y="62"/>
                  </a:lnTo>
                  <a:lnTo>
                    <a:pt x="203" y="57"/>
                  </a:lnTo>
                  <a:lnTo>
                    <a:pt x="195" y="50"/>
                  </a:lnTo>
                  <a:lnTo>
                    <a:pt x="188" y="42"/>
                  </a:lnTo>
                  <a:lnTo>
                    <a:pt x="184" y="40"/>
                  </a:lnTo>
                  <a:lnTo>
                    <a:pt x="177" y="42"/>
                  </a:lnTo>
                  <a:lnTo>
                    <a:pt x="176" y="47"/>
                  </a:lnTo>
                  <a:lnTo>
                    <a:pt x="172" y="50"/>
                  </a:lnTo>
                  <a:lnTo>
                    <a:pt x="167" y="54"/>
                  </a:lnTo>
                  <a:lnTo>
                    <a:pt x="162" y="52"/>
                  </a:lnTo>
                  <a:lnTo>
                    <a:pt x="159" y="47"/>
                  </a:lnTo>
                  <a:lnTo>
                    <a:pt x="146" y="49"/>
                  </a:lnTo>
                  <a:lnTo>
                    <a:pt x="140" y="50"/>
                  </a:lnTo>
                  <a:lnTo>
                    <a:pt x="131" y="52"/>
                  </a:lnTo>
                  <a:lnTo>
                    <a:pt x="122" y="57"/>
                  </a:lnTo>
                  <a:lnTo>
                    <a:pt x="116" y="59"/>
                  </a:lnTo>
                  <a:lnTo>
                    <a:pt x="110" y="62"/>
                  </a:lnTo>
                  <a:lnTo>
                    <a:pt x="104" y="64"/>
                  </a:lnTo>
                  <a:lnTo>
                    <a:pt x="100" y="64"/>
                  </a:lnTo>
                  <a:lnTo>
                    <a:pt x="91" y="59"/>
                  </a:lnTo>
                  <a:lnTo>
                    <a:pt x="88" y="61"/>
                  </a:lnTo>
                  <a:lnTo>
                    <a:pt x="86" y="64"/>
                  </a:lnTo>
                  <a:lnTo>
                    <a:pt x="85" y="68"/>
                  </a:lnTo>
                  <a:lnTo>
                    <a:pt x="73" y="68"/>
                  </a:lnTo>
                  <a:lnTo>
                    <a:pt x="67" y="69"/>
                  </a:lnTo>
                  <a:lnTo>
                    <a:pt x="64" y="71"/>
                  </a:lnTo>
                  <a:lnTo>
                    <a:pt x="66" y="74"/>
                  </a:lnTo>
                  <a:lnTo>
                    <a:pt x="67" y="78"/>
                  </a:lnTo>
                  <a:lnTo>
                    <a:pt x="69" y="81"/>
                  </a:lnTo>
                  <a:lnTo>
                    <a:pt x="57" y="80"/>
                  </a:lnTo>
                  <a:lnTo>
                    <a:pt x="43" y="78"/>
                  </a:lnTo>
                  <a:lnTo>
                    <a:pt x="28" y="71"/>
                  </a:lnTo>
                  <a:lnTo>
                    <a:pt x="12" y="66"/>
                  </a:lnTo>
                  <a:lnTo>
                    <a:pt x="9" y="62"/>
                  </a:lnTo>
                  <a:lnTo>
                    <a:pt x="5" y="59"/>
                  </a:lnTo>
                  <a:lnTo>
                    <a:pt x="2" y="59"/>
                  </a:lnTo>
                  <a:lnTo>
                    <a:pt x="0" y="59"/>
                  </a:lnTo>
                  <a:lnTo>
                    <a:pt x="0" y="279"/>
                  </a:lnTo>
                  <a:lnTo>
                    <a:pt x="4" y="279"/>
                  </a:lnTo>
                  <a:lnTo>
                    <a:pt x="12" y="281"/>
                  </a:lnTo>
                  <a:lnTo>
                    <a:pt x="19" y="281"/>
                  </a:lnTo>
                  <a:lnTo>
                    <a:pt x="28" y="286"/>
                  </a:lnTo>
                  <a:lnTo>
                    <a:pt x="31" y="291"/>
                  </a:lnTo>
                  <a:lnTo>
                    <a:pt x="38" y="298"/>
                  </a:lnTo>
                  <a:lnTo>
                    <a:pt x="45" y="303"/>
                  </a:lnTo>
                  <a:lnTo>
                    <a:pt x="54" y="307"/>
                  </a:lnTo>
                  <a:lnTo>
                    <a:pt x="61" y="300"/>
                  </a:lnTo>
                  <a:lnTo>
                    <a:pt x="67" y="295"/>
                  </a:lnTo>
                  <a:lnTo>
                    <a:pt x="71" y="293"/>
                  </a:lnTo>
                  <a:lnTo>
                    <a:pt x="78" y="291"/>
                  </a:lnTo>
                  <a:lnTo>
                    <a:pt x="86" y="300"/>
                  </a:lnTo>
                  <a:lnTo>
                    <a:pt x="95" y="308"/>
                  </a:lnTo>
                  <a:lnTo>
                    <a:pt x="102" y="319"/>
                  </a:lnTo>
                  <a:lnTo>
                    <a:pt x="112" y="332"/>
                  </a:lnTo>
                  <a:lnTo>
                    <a:pt x="116" y="334"/>
                  </a:lnTo>
                  <a:lnTo>
                    <a:pt x="119" y="339"/>
                  </a:lnTo>
                  <a:lnTo>
                    <a:pt x="122" y="348"/>
                  </a:lnTo>
                  <a:lnTo>
                    <a:pt x="129" y="358"/>
                  </a:lnTo>
                  <a:lnTo>
                    <a:pt x="134" y="360"/>
                  </a:lnTo>
                  <a:lnTo>
                    <a:pt x="141" y="363"/>
                  </a:lnTo>
                  <a:lnTo>
                    <a:pt x="150" y="370"/>
                  </a:lnTo>
                  <a:lnTo>
                    <a:pt x="155" y="382"/>
                  </a:lnTo>
                  <a:lnTo>
                    <a:pt x="152" y="387"/>
                  </a:lnTo>
                  <a:lnTo>
                    <a:pt x="148" y="393"/>
                  </a:lnTo>
                  <a:lnTo>
                    <a:pt x="148" y="394"/>
                  </a:lnTo>
                  <a:lnTo>
                    <a:pt x="150" y="399"/>
                  </a:lnTo>
                  <a:lnTo>
                    <a:pt x="148" y="405"/>
                  </a:lnTo>
                  <a:lnTo>
                    <a:pt x="150" y="411"/>
                  </a:lnTo>
                  <a:lnTo>
                    <a:pt x="150" y="417"/>
                  </a:lnTo>
                  <a:lnTo>
                    <a:pt x="157" y="422"/>
                  </a:lnTo>
                  <a:lnTo>
                    <a:pt x="162" y="422"/>
                  </a:lnTo>
                  <a:lnTo>
                    <a:pt x="167" y="425"/>
                  </a:lnTo>
                  <a:lnTo>
                    <a:pt x="169" y="432"/>
                  </a:lnTo>
                  <a:lnTo>
                    <a:pt x="172" y="441"/>
                  </a:lnTo>
                  <a:lnTo>
                    <a:pt x="174" y="441"/>
                  </a:lnTo>
                  <a:lnTo>
                    <a:pt x="179" y="444"/>
                  </a:lnTo>
                  <a:lnTo>
                    <a:pt x="183" y="448"/>
                  </a:lnTo>
                  <a:lnTo>
                    <a:pt x="186" y="451"/>
                  </a:lnTo>
                  <a:lnTo>
                    <a:pt x="188" y="458"/>
                  </a:lnTo>
                  <a:lnTo>
                    <a:pt x="191" y="466"/>
                  </a:lnTo>
                  <a:lnTo>
                    <a:pt x="196" y="472"/>
                  </a:lnTo>
                  <a:lnTo>
                    <a:pt x="208" y="475"/>
                  </a:lnTo>
                  <a:lnTo>
                    <a:pt x="210" y="479"/>
                  </a:lnTo>
                  <a:lnTo>
                    <a:pt x="219" y="482"/>
                  </a:lnTo>
                  <a:lnTo>
                    <a:pt x="226" y="484"/>
                  </a:lnTo>
                  <a:lnTo>
                    <a:pt x="232" y="492"/>
                  </a:lnTo>
                  <a:lnTo>
                    <a:pt x="239" y="497"/>
                  </a:lnTo>
                  <a:lnTo>
                    <a:pt x="251" y="504"/>
                  </a:lnTo>
                  <a:lnTo>
                    <a:pt x="253" y="504"/>
                  </a:lnTo>
                  <a:lnTo>
                    <a:pt x="257" y="506"/>
                  </a:lnTo>
                  <a:lnTo>
                    <a:pt x="662" y="506"/>
                  </a:lnTo>
                  <a:lnTo>
                    <a:pt x="662" y="501"/>
                  </a:lnTo>
                  <a:lnTo>
                    <a:pt x="669" y="506"/>
                  </a:lnTo>
                  <a:lnTo>
                    <a:pt x="676" y="513"/>
                  </a:lnTo>
                  <a:lnTo>
                    <a:pt x="700" y="513"/>
                  </a:lnTo>
                  <a:lnTo>
                    <a:pt x="707" y="518"/>
                  </a:lnTo>
                  <a:lnTo>
                    <a:pt x="718" y="521"/>
                  </a:lnTo>
                  <a:lnTo>
                    <a:pt x="728" y="521"/>
                  </a:lnTo>
                  <a:lnTo>
                    <a:pt x="743" y="523"/>
                  </a:lnTo>
                  <a:lnTo>
                    <a:pt x="748" y="521"/>
                  </a:lnTo>
                  <a:lnTo>
                    <a:pt x="755" y="521"/>
                  </a:lnTo>
                  <a:lnTo>
                    <a:pt x="759" y="513"/>
                  </a:lnTo>
                  <a:lnTo>
                    <a:pt x="764" y="509"/>
                  </a:lnTo>
                  <a:lnTo>
                    <a:pt x="771" y="515"/>
                  </a:lnTo>
                  <a:lnTo>
                    <a:pt x="776" y="521"/>
                  </a:lnTo>
                  <a:lnTo>
                    <a:pt x="776" y="516"/>
                  </a:lnTo>
                  <a:lnTo>
                    <a:pt x="778" y="515"/>
                  </a:lnTo>
                  <a:lnTo>
                    <a:pt x="781" y="515"/>
                  </a:lnTo>
                  <a:lnTo>
                    <a:pt x="785" y="516"/>
                  </a:lnTo>
                  <a:lnTo>
                    <a:pt x="793" y="523"/>
                  </a:lnTo>
                  <a:lnTo>
                    <a:pt x="802" y="528"/>
                  </a:lnTo>
                  <a:lnTo>
                    <a:pt x="807" y="534"/>
                  </a:lnTo>
                  <a:lnTo>
                    <a:pt x="807" y="540"/>
                  </a:lnTo>
                  <a:lnTo>
                    <a:pt x="810" y="549"/>
                  </a:lnTo>
                  <a:lnTo>
                    <a:pt x="819" y="554"/>
                  </a:lnTo>
                  <a:lnTo>
                    <a:pt x="829" y="558"/>
                  </a:lnTo>
                  <a:lnTo>
                    <a:pt x="840" y="559"/>
                  </a:lnTo>
                  <a:lnTo>
                    <a:pt x="850" y="566"/>
                  </a:lnTo>
                  <a:lnTo>
                    <a:pt x="864" y="566"/>
                  </a:lnTo>
                  <a:lnTo>
                    <a:pt x="872" y="571"/>
                  </a:lnTo>
                  <a:lnTo>
                    <a:pt x="877" y="583"/>
                  </a:lnTo>
                  <a:lnTo>
                    <a:pt x="876" y="587"/>
                  </a:lnTo>
                  <a:lnTo>
                    <a:pt x="872" y="589"/>
                  </a:lnTo>
                  <a:lnTo>
                    <a:pt x="862" y="583"/>
                  </a:lnTo>
                  <a:lnTo>
                    <a:pt x="859" y="580"/>
                  </a:lnTo>
                  <a:lnTo>
                    <a:pt x="855" y="587"/>
                  </a:lnTo>
                  <a:lnTo>
                    <a:pt x="853" y="599"/>
                  </a:lnTo>
                  <a:lnTo>
                    <a:pt x="848" y="607"/>
                  </a:lnTo>
                  <a:lnTo>
                    <a:pt x="845" y="613"/>
                  </a:lnTo>
                  <a:lnTo>
                    <a:pt x="836" y="621"/>
                  </a:lnTo>
                  <a:lnTo>
                    <a:pt x="833" y="630"/>
                  </a:lnTo>
                  <a:lnTo>
                    <a:pt x="836" y="633"/>
                  </a:lnTo>
                  <a:lnTo>
                    <a:pt x="841" y="637"/>
                  </a:lnTo>
                  <a:lnTo>
                    <a:pt x="845" y="633"/>
                  </a:lnTo>
                  <a:lnTo>
                    <a:pt x="848" y="632"/>
                  </a:lnTo>
                  <a:lnTo>
                    <a:pt x="855" y="626"/>
                  </a:lnTo>
                  <a:lnTo>
                    <a:pt x="867" y="626"/>
                  </a:lnTo>
                  <a:lnTo>
                    <a:pt x="874" y="626"/>
                  </a:lnTo>
                  <a:lnTo>
                    <a:pt x="879" y="628"/>
                  </a:lnTo>
                  <a:lnTo>
                    <a:pt x="883" y="626"/>
                  </a:lnTo>
                  <a:lnTo>
                    <a:pt x="888" y="625"/>
                  </a:lnTo>
                  <a:lnTo>
                    <a:pt x="886" y="620"/>
                  </a:lnTo>
                  <a:lnTo>
                    <a:pt x="884" y="616"/>
                  </a:lnTo>
                  <a:lnTo>
                    <a:pt x="883" y="613"/>
                  </a:lnTo>
                  <a:lnTo>
                    <a:pt x="881" y="611"/>
                  </a:lnTo>
                  <a:lnTo>
                    <a:pt x="883" y="607"/>
                  </a:lnTo>
                  <a:lnTo>
                    <a:pt x="888" y="607"/>
                  </a:lnTo>
                  <a:lnTo>
                    <a:pt x="896" y="604"/>
                  </a:lnTo>
                  <a:lnTo>
                    <a:pt x="912" y="601"/>
                  </a:lnTo>
                  <a:lnTo>
                    <a:pt x="924" y="597"/>
                  </a:lnTo>
                  <a:lnTo>
                    <a:pt x="936" y="597"/>
                  </a:lnTo>
                  <a:lnTo>
                    <a:pt x="938" y="594"/>
                  </a:lnTo>
                  <a:lnTo>
                    <a:pt x="946" y="587"/>
                  </a:lnTo>
                  <a:lnTo>
                    <a:pt x="953" y="578"/>
                  </a:lnTo>
                  <a:lnTo>
                    <a:pt x="958" y="577"/>
                  </a:lnTo>
                  <a:lnTo>
                    <a:pt x="969" y="575"/>
                  </a:lnTo>
                  <a:lnTo>
                    <a:pt x="986" y="575"/>
                  </a:lnTo>
                  <a:lnTo>
                    <a:pt x="991" y="575"/>
                  </a:lnTo>
                  <a:lnTo>
                    <a:pt x="998" y="575"/>
                  </a:lnTo>
                  <a:lnTo>
                    <a:pt x="1003" y="573"/>
                  </a:lnTo>
                  <a:lnTo>
                    <a:pt x="1010" y="573"/>
                  </a:lnTo>
                  <a:lnTo>
                    <a:pt x="1013" y="571"/>
                  </a:lnTo>
                  <a:lnTo>
                    <a:pt x="1017" y="568"/>
                  </a:lnTo>
                  <a:lnTo>
                    <a:pt x="1020" y="559"/>
                  </a:lnTo>
                  <a:lnTo>
                    <a:pt x="1025" y="551"/>
                  </a:lnTo>
                  <a:lnTo>
                    <a:pt x="1029" y="540"/>
                  </a:lnTo>
                  <a:lnTo>
                    <a:pt x="1037" y="534"/>
                  </a:lnTo>
                  <a:lnTo>
                    <a:pt x="1048" y="535"/>
                  </a:lnTo>
                  <a:lnTo>
                    <a:pt x="1058" y="537"/>
                  </a:lnTo>
                  <a:lnTo>
                    <a:pt x="1060" y="547"/>
                  </a:lnTo>
                  <a:lnTo>
                    <a:pt x="1062" y="558"/>
                  </a:lnTo>
                  <a:lnTo>
                    <a:pt x="1062" y="568"/>
                  </a:lnTo>
                  <a:lnTo>
                    <a:pt x="1067" y="580"/>
                  </a:lnTo>
                  <a:lnTo>
                    <a:pt x="1067" y="58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0" name="Freeform 299"/>
            <p:cNvSpPr>
              <a:spLocks/>
            </p:cNvSpPr>
            <p:nvPr/>
          </p:nvSpPr>
          <p:spPr bwMode="auto">
            <a:xfrm>
              <a:off x="473869" y="2020888"/>
              <a:ext cx="857250" cy="614362"/>
            </a:xfrm>
            <a:custGeom>
              <a:avLst/>
              <a:gdLst/>
              <a:ahLst/>
              <a:cxnLst>
                <a:cxn ang="0">
                  <a:pos x="397" y="263"/>
                </a:cxn>
                <a:cxn ang="0">
                  <a:pos x="423" y="280"/>
                </a:cxn>
                <a:cxn ang="0">
                  <a:pos x="452" y="277"/>
                </a:cxn>
                <a:cxn ang="0">
                  <a:pos x="480" y="290"/>
                </a:cxn>
                <a:cxn ang="0">
                  <a:pos x="504" y="321"/>
                </a:cxn>
                <a:cxn ang="0">
                  <a:pos x="526" y="345"/>
                </a:cxn>
                <a:cxn ang="0">
                  <a:pos x="533" y="375"/>
                </a:cxn>
                <a:cxn ang="0">
                  <a:pos x="513" y="368"/>
                </a:cxn>
                <a:cxn ang="0">
                  <a:pos x="506" y="352"/>
                </a:cxn>
                <a:cxn ang="0">
                  <a:pos x="482" y="337"/>
                </a:cxn>
                <a:cxn ang="0">
                  <a:pos x="490" y="321"/>
                </a:cxn>
                <a:cxn ang="0">
                  <a:pos x="468" y="321"/>
                </a:cxn>
                <a:cxn ang="0">
                  <a:pos x="464" y="306"/>
                </a:cxn>
                <a:cxn ang="0">
                  <a:pos x="442" y="307"/>
                </a:cxn>
                <a:cxn ang="0">
                  <a:pos x="418" y="289"/>
                </a:cxn>
                <a:cxn ang="0">
                  <a:pos x="372" y="271"/>
                </a:cxn>
                <a:cxn ang="0">
                  <a:pos x="303" y="254"/>
                </a:cxn>
                <a:cxn ang="0">
                  <a:pos x="277" y="256"/>
                </a:cxn>
                <a:cxn ang="0">
                  <a:pos x="241" y="285"/>
                </a:cxn>
                <a:cxn ang="0">
                  <a:pos x="225" y="282"/>
                </a:cxn>
                <a:cxn ang="0">
                  <a:pos x="229" y="264"/>
                </a:cxn>
                <a:cxn ang="0">
                  <a:pos x="251" y="247"/>
                </a:cxn>
                <a:cxn ang="0">
                  <a:pos x="231" y="249"/>
                </a:cxn>
                <a:cxn ang="0">
                  <a:pos x="200" y="294"/>
                </a:cxn>
                <a:cxn ang="0">
                  <a:pos x="169" y="323"/>
                </a:cxn>
                <a:cxn ang="0">
                  <a:pos x="138" y="347"/>
                </a:cxn>
                <a:cxn ang="0">
                  <a:pos x="100" y="366"/>
                </a:cxn>
                <a:cxn ang="0">
                  <a:pos x="53" y="385"/>
                </a:cxn>
                <a:cxn ang="0">
                  <a:pos x="72" y="368"/>
                </a:cxn>
                <a:cxn ang="0">
                  <a:pos x="112" y="342"/>
                </a:cxn>
                <a:cxn ang="0">
                  <a:pos x="151" y="316"/>
                </a:cxn>
                <a:cxn ang="0">
                  <a:pos x="162" y="294"/>
                </a:cxn>
                <a:cxn ang="0">
                  <a:pos x="131" y="295"/>
                </a:cxn>
                <a:cxn ang="0">
                  <a:pos x="112" y="297"/>
                </a:cxn>
                <a:cxn ang="0">
                  <a:pos x="102" y="299"/>
                </a:cxn>
                <a:cxn ang="0">
                  <a:pos x="83" y="297"/>
                </a:cxn>
                <a:cxn ang="0">
                  <a:pos x="81" y="275"/>
                </a:cxn>
                <a:cxn ang="0">
                  <a:pos x="60" y="277"/>
                </a:cxn>
                <a:cxn ang="0">
                  <a:pos x="38" y="256"/>
                </a:cxn>
                <a:cxn ang="0">
                  <a:pos x="24" y="239"/>
                </a:cxn>
                <a:cxn ang="0">
                  <a:pos x="48" y="206"/>
                </a:cxn>
                <a:cxn ang="0">
                  <a:pos x="93" y="191"/>
                </a:cxn>
                <a:cxn ang="0">
                  <a:pos x="95" y="170"/>
                </a:cxn>
                <a:cxn ang="0">
                  <a:pos x="89" y="166"/>
                </a:cxn>
                <a:cxn ang="0">
                  <a:pos x="46" y="170"/>
                </a:cxn>
                <a:cxn ang="0">
                  <a:pos x="14" y="156"/>
                </a:cxn>
                <a:cxn ang="0">
                  <a:pos x="0" y="144"/>
                </a:cxn>
                <a:cxn ang="0">
                  <a:pos x="46" y="122"/>
                </a:cxn>
                <a:cxn ang="0">
                  <a:pos x="65" y="132"/>
                </a:cxn>
                <a:cxn ang="0">
                  <a:pos x="81" y="122"/>
                </a:cxn>
                <a:cxn ang="0">
                  <a:pos x="52" y="103"/>
                </a:cxn>
                <a:cxn ang="0">
                  <a:pos x="33" y="84"/>
                </a:cxn>
                <a:cxn ang="0">
                  <a:pos x="19" y="70"/>
                </a:cxn>
                <a:cxn ang="0">
                  <a:pos x="77" y="34"/>
                </a:cxn>
                <a:cxn ang="0">
                  <a:pos x="115" y="15"/>
                </a:cxn>
                <a:cxn ang="0">
                  <a:pos x="157" y="0"/>
                </a:cxn>
                <a:cxn ang="0">
                  <a:pos x="167" y="13"/>
                </a:cxn>
                <a:cxn ang="0">
                  <a:pos x="193" y="12"/>
                </a:cxn>
                <a:cxn ang="0">
                  <a:pos x="272" y="22"/>
                </a:cxn>
                <a:cxn ang="0">
                  <a:pos x="329" y="36"/>
                </a:cxn>
                <a:cxn ang="0">
                  <a:pos x="368" y="34"/>
                </a:cxn>
                <a:cxn ang="0">
                  <a:pos x="385" y="41"/>
                </a:cxn>
              </a:cxnLst>
              <a:rect l="0" t="0" r="r" b="b"/>
              <a:pathLst>
                <a:path w="540" h="387">
                  <a:moveTo>
                    <a:pt x="385" y="41"/>
                  </a:moveTo>
                  <a:lnTo>
                    <a:pt x="385" y="261"/>
                  </a:lnTo>
                  <a:lnTo>
                    <a:pt x="389" y="261"/>
                  </a:lnTo>
                  <a:lnTo>
                    <a:pt x="397" y="263"/>
                  </a:lnTo>
                  <a:lnTo>
                    <a:pt x="404" y="263"/>
                  </a:lnTo>
                  <a:lnTo>
                    <a:pt x="413" y="268"/>
                  </a:lnTo>
                  <a:lnTo>
                    <a:pt x="416" y="273"/>
                  </a:lnTo>
                  <a:lnTo>
                    <a:pt x="423" y="280"/>
                  </a:lnTo>
                  <a:lnTo>
                    <a:pt x="430" y="285"/>
                  </a:lnTo>
                  <a:lnTo>
                    <a:pt x="439" y="289"/>
                  </a:lnTo>
                  <a:lnTo>
                    <a:pt x="446" y="282"/>
                  </a:lnTo>
                  <a:lnTo>
                    <a:pt x="452" y="277"/>
                  </a:lnTo>
                  <a:lnTo>
                    <a:pt x="456" y="275"/>
                  </a:lnTo>
                  <a:lnTo>
                    <a:pt x="463" y="273"/>
                  </a:lnTo>
                  <a:lnTo>
                    <a:pt x="471" y="282"/>
                  </a:lnTo>
                  <a:lnTo>
                    <a:pt x="480" y="290"/>
                  </a:lnTo>
                  <a:lnTo>
                    <a:pt x="487" y="301"/>
                  </a:lnTo>
                  <a:lnTo>
                    <a:pt x="497" y="314"/>
                  </a:lnTo>
                  <a:lnTo>
                    <a:pt x="501" y="316"/>
                  </a:lnTo>
                  <a:lnTo>
                    <a:pt x="504" y="321"/>
                  </a:lnTo>
                  <a:lnTo>
                    <a:pt x="507" y="330"/>
                  </a:lnTo>
                  <a:lnTo>
                    <a:pt x="514" y="340"/>
                  </a:lnTo>
                  <a:lnTo>
                    <a:pt x="519" y="342"/>
                  </a:lnTo>
                  <a:lnTo>
                    <a:pt x="526" y="345"/>
                  </a:lnTo>
                  <a:lnTo>
                    <a:pt x="535" y="352"/>
                  </a:lnTo>
                  <a:lnTo>
                    <a:pt x="540" y="364"/>
                  </a:lnTo>
                  <a:lnTo>
                    <a:pt x="537" y="369"/>
                  </a:lnTo>
                  <a:lnTo>
                    <a:pt x="533" y="375"/>
                  </a:lnTo>
                  <a:lnTo>
                    <a:pt x="530" y="375"/>
                  </a:lnTo>
                  <a:lnTo>
                    <a:pt x="528" y="375"/>
                  </a:lnTo>
                  <a:lnTo>
                    <a:pt x="519" y="371"/>
                  </a:lnTo>
                  <a:lnTo>
                    <a:pt x="513" y="368"/>
                  </a:lnTo>
                  <a:lnTo>
                    <a:pt x="507" y="362"/>
                  </a:lnTo>
                  <a:lnTo>
                    <a:pt x="506" y="359"/>
                  </a:lnTo>
                  <a:lnTo>
                    <a:pt x="506" y="356"/>
                  </a:lnTo>
                  <a:lnTo>
                    <a:pt x="506" y="352"/>
                  </a:lnTo>
                  <a:lnTo>
                    <a:pt x="501" y="344"/>
                  </a:lnTo>
                  <a:lnTo>
                    <a:pt x="492" y="344"/>
                  </a:lnTo>
                  <a:lnTo>
                    <a:pt x="483" y="340"/>
                  </a:lnTo>
                  <a:lnTo>
                    <a:pt x="482" y="337"/>
                  </a:lnTo>
                  <a:lnTo>
                    <a:pt x="485" y="332"/>
                  </a:lnTo>
                  <a:lnTo>
                    <a:pt x="490" y="328"/>
                  </a:lnTo>
                  <a:lnTo>
                    <a:pt x="490" y="323"/>
                  </a:lnTo>
                  <a:lnTo>
                    <a:pt x="490" y="321"/>
                  </a:lnTo>
                  <a:lnTo>
                    <a:pt x="482" y="325"/>
                  </a:lnTo>
                  <a:lnTo>
                    <a:pt x="476" y="328"/>
                  </a:lnTo>
                  <a:lnTo>
                    <a:pt x="471" y="325"/>
                  </a:lnTo>
                  <a:lnTo>
                    <a:pt x="468" y="321"/>
                  </a:lnTo>
                  <a:lnTo>
                    <a:pt x="470" y="313"/>
                  </a:lnTo>
                  <a:lnTo>
                    <a:pt x="473" y="309"/>
                  </a:lnTo>
                  <a:lnTo>
                    <a:pt x="468" y="304"/>
                  </a:lnTo>
                  <a:lnTo>
                    <a:pt x="464" y="306"/>
                  </a:lnTo>
                  <a:lnTo>
                    <a:pt x="454" y="302"/>
                  </a:lnTo>
                  <a:lnTo>
                    <a:pt x="449" y="299"/>
                  </a:lnTo>
                  <a:lnTo>
                    <a:pt x="446" y="304"/>
                  </a:lnTo>
                  <a:lnTo>
                    <a:pt x="442" y="307"/>
                  </a:lnTo>
                  <a:lnTo>
                    <a:pt x="432" y="304"/>
                  </a:lnTo>
                  <a:lnTo>
                    <a:pt x="427" y="299"/>
                  </a:lnTo>
                  <a:lnTo>
                    <a:pt x="421" y="292"/>
                  </a:lnTo>
                  <a:lnTo>
                    <a:pt x="418" y="289"/>
                  </a:lnTo>
                  <a:lnTo>
                    <a:pt x="406" y="282"/>
                  </a:lnTo>
                  <a:lnTo>
                    <a:pt x="394" y="278"/>
                  </a:lnTo>
                  <a:lnTo>
                    <a:pt x="382" y="275"/>
                  </a:lnTo>
                  <a:lnTo>
                    <a:pt x="372" y="271"/>
                  </a:lnTo>
                  <a:lnTo>
                    <a:pt x="344" y="271"/>
                  </a:lnTo>
                  <a:lnTo>
                    <a:pt x="330" y="266"/>
                  </a:lnTo>
                  <a:lnTo>
                    <a:pt x="317" y="261"/>
                  </a:lnTo>
                  <a:lnTo>
                    <a:pt x="303" y="254"/>
                  </a:lnTo>
                  <a:lnTo>
                    <a:pt x="296" y="246"/>
                  </a:lnTo>
                  <a:lnTo>
                    <a:pt x="286" y="249"/>
                  </a:lnTo>
                  <a:lnTo>
                    <a:pt x="275" y="252"/>
                  </a:lnTo>
                  <a:lnTo>
                    <a:pt x="277" y="256"/>
                  </a:lnTo>
                  <a:lnTo>
                    <a:pt x="280" y="259"/>
                  </a:lnTo>
                  <a:lnTo>
                    <a:pt x="270" y="268"/>
                  </a:lnTo>
                  <a:lnTo>
                    <a:pt x="256" y="277"/>
                  </a:lnTo>
                  <a:lnTo>
                    <a:pt x="241" y="285"/>
                  </a:lnTo>
                  <a:lnTo>
                    <a:pt x="231" y="289"/>
                  </a:lnTo>
                  <a:lnTo>
                    <a:pt x="225" y="287"/>
                  </a:lnTo>
                  <a:lnTo>
                    <a:pt x="225" y="285"/>
                  </a:lnTo>
                  <a:lnTo>
                    <a:pt x="225" y="282"/>
                  </a:lnTo>
                  <a:lnTo>
                    <a:pt x="229" y="280"/>
                  </a:lnTo>
                  <a:lnTo>
                    <a:pt x="227" y="277"/>
                  </a:lnTo>
                  <a:lnTo>
                    <a:pt x="229" y="275"/>
                  </a:lnTo>
                  <a:lnTo>
                    <a:pt x="229" y="264"/>
                  </a:lnTo>
                  <a:lnTo>
                    <a:pt x="234" y="259"/>
                  </a:lnTo>
                  <a:lnTo>
                    <a:pt x="239" y="252"/>
                  </a:lnTo>
                  <a:lnTo>
                    <a:pt x="251" y="251"/>
                  </a:lnTo>
                  <a:lnTo>
                    <a:pt x="251" y="247"/>
                  </a:lnTo>
                  <a:lnTo>
                    <a:pt x="251" y="246"/>
                  </a:lnTo>
                  <a:lnTo>
                    <a:pt x="246" y="246"/>
                  </a:lnTo>
                  <a:lnTo>
                    <a:pt x="244" y="246"/>
                  </a:lnTo>
                  <a:lnTo>
                    <a:pt x="231" y="249"/>
                  </a:lnTo>
                  <a:lnTo>
                    <a:pt x="217" y="261"/>
                  </a:lnTo>
                  <a:lnTo>
                    <a:pt x="203" y="275"/>
                  </a:lnTo>
                  <a:lnTo>
                    <a:pt x="200" y="290"/>
                  </a:lnTo>
                  <a:lnTo>
                    <a:pt x="200" y="294"/>
                  </a:lnTo>
                  <a:lnTo>
                    <a:pt x="200" y="297"/>
                  </a:lnTo>
                  <a:lnTo>
                    <a:pt x="193" y="309"/>
                  </a:lnTo>
                  <a:lnTo>
                    <a:pt x="177" y="318"/>
                  </a:lnTo>
                  <a:lnTo>
                    <a:pt x="169" y="323"/>
                  </a:lnTo>
                  <a:lnTo>
                    <a:pt x="163" y="330"/>
                  </a:lnTo>
                  <a:lnTo>
                    <a:pt x="155" y="335"/>
                  </a:lnTo>
                  <a:lnTo>
                    <a:pt x="146" y="342"/>
                  </a:lnTo>
                  <a:lnTo>
                    <a:pt x="138" y="347"/>
                  </a:lnTo>
                  <a:lnTo>
                    <a:pt x="131" y="354"/>
                  </a:lnTo>
                  <a:lnTo>
                    <a:pt x="122" y="357"/>
                  </a:lnTo>
                  <a:lnTo>
                    <a:pt x="112" y="362"/>
                  </a:lnTo>
                  <a:lnTo>
                    <a:pt x="100" y="366"/>
                  </a:lnTo>
                  <a:lnTo>
                    <a:pt x="89" y="369"/>
                  </a:lnTo>
                  <a:lnTo>
                    <a:pt x="77" y="373"/>
                  </a:lnTo>
                  <a:lnTo>
                    <a:pt x="65" y="380"/>
                  </a:lnTo>
                  <a:lnTo>
                    <a:pt x="53" y="385"/>
                  </a:lnTo>
                  <a:lnTo>
                    <a:pt x="41" y="387"/>
                  </a:lnTo>
                  <a:lnTo>
                    <a:pt x="52" y="378"/>
                  </a:lnTo>
                  <a:lnTo>
                    <a:pt x="65" y="376"/>
                  </a:lnTo>
                  <a:lnTo>
                    <a:pt x="72" y="368"/>
                  </a:lnTo>
                  <a:lnTo>
                    <a:pt x="81" y="359"/>
                  </a:lnTo>
                  <a:lnTo>
                    <a:pt x="93" y="356"/>
                  </a:lnTo>
                  <a:lnTo>
                    <a:pt x="105" y="352"/>
                  </a:lnTo>
                  <a:lnTo>
                    <a:pt x="112" y="342"/>
                  </a:lnTo>
                  <a:lnTo>
                    <a:pt x="124" y="335"/>
                  </a:lnTo>
                  <a:lnTo>
                    <a:pt x="134" y="330"/>
                  </a:lnTo>
                  <a:lnTo>
                    <a:pt x="146" y="325"/>
                  </a:lnTo>
                  <a:lnTo>
                    <a:pt x="151" y="316"/>
                  </a:lnTo>
                  <a:lnTo>
                    <a:pt x="158" y="307"/>
                  </a:lnTo>
                  <a:lnTo>
                    <a:pt x="162" y="299"/>
                  </a:lnTo>
                  <a:lnTo>
                    <a:pt x="170" y="294"/>
                  </a:lnTo>
                  <a:lnTo>
                    <a:pt x="162" y="294"/>
                  </a:lnTo>
                  <a:lnTo>
                    <a:pt x="153" y="297"/>
                  </a:lnTo>
                  <a:lnTo>
                    <a:pt x="145" y="301"/>
                  </a:lnTo>
                  <a:lnTo>
                    <a:pt x="136" y="297"/>
                  </a:lnTo>
                  <a:lnTo>
                    <a:pt x="131" y="295"/>
                  </a:lnTo>
                  <a:lnTo>
                    <a:pt x="127" y="301"/>
                  </a:lnTo>
                  <a:lnTo>
                    <a:pt x="127" y="306"/>
                  </a:lnTo>
                  <a:lnTo>
                    <a:pt x="117" y="301"/>
                  </a:lnTo>
                  <a:lnTo>
                    <a:pt x="112" y="297"/>
                  </a:lnTo>
                  <a:lnTo>
                    <a:pt x="107" y="294"/>
                  </a:lnTo>
                  <a:lnTo>
                    <a:pt x="102" y="290"/>
                  </a:lnTo>
                  <a:lnTo>
                    <a:pt x="102" y="294"/>
                  </a:lnTo>
                  <a:lnTo>
                    <a:pt x="102" y="299"/>
                  </a:lnTo>
                  <a:lnTo>
                    <a:pt x="96" y="299"/>
                  </a:lnTo>
                  <a:lnTo>
                    <a:pt x="91" y="301"/>
                  </a:lnTo>
                  <a:lnTo>
                    <a:pt x="88" y="302"/>
                  </a:lnTo>
                  <a:lnTo>
                    <a:pt x="83" y="297"/>
                  </a:lnTo>
                  <a:lnTo>
                    <a:pt x="83" y="290"/>
                  </a:lnTo>
                  <a:lnTo>
                    <a:pt x="83" y="283"/>
                  </a:lnTo>
                  <a:lnTo>
                    <a:pt x="83" y="280"/>
                  </a:lnTo>
                  <a:lnTo>
                    <a:pt x="81" y="275"/>
                  </a:lnTo>
                  <a:lnTo>
                    <a:pt x="79" y="273"/>
                  </a:lnTo>
                  <a:lnTo>
                    <a:pt x="72" y="277"/>
                  </a:lnTo>
                  <a:lnTo>
                    <a:pt x="69" y="280"/>
                  </a:lnTo>
                  <a:lnTo>
                    <a:pt x="60" y="277"/>
                  </a:lnTo>
                  <a:lnTo>
                    <a:pt x="50" y="270"/>
                  </a:lnTo>
                  <a:lnTo>
                    <a:pt x="40" y="261"/>
                  </a:lnTo>
                  <a:lnTo>
                    <a:pt x="34" y="258"/>
                  </a:lnTo>
                  <a:lnTo>
                    <a:pt x="38" y="256"/>
                  </a:lnTo>
                  <a:lnTo>
                    <a:pt x="41" y="256"/>
                  </a:lnTo>
                  <a:lnTo>
                    <a:pt x="36" y="249"/>
                  </a:lnTo>
                  <a:lnTo>
                    <a:pt x="29" y="244"/>
                  </a:lnTo>
                  <a:lnTo>
                    <a:pt x="24" y="239"/>
                  </a:lnTo>
                  <a:lnTo>
                    <a:pt x="22" y="234"/>
                  </a:lnTo>
                  <a:lnTo>
                    <a:pt x="26" y="221"/>
                  </a:lnTo>
                  <a:lnTo>
                    <a:pt x="36" y="213"/>
                  </a:lnTo>
                  <a:lnTo>
                    <a:pt x="48" y="206"/>
                  </a:lnTo>
                  <a:lnTo>
                    <a:pt x="60" y="206"/>
                  </a:lnTo>
                  <a:lnTo>
                    <a:pt x="67" y="203"/>
                  </a:lnTo>
                  <a:lnTo>
                    <a:pt x="81" y="197"/>
                  </a:lnTo>
                  <a:lnTo>
                    <a:pt x="93" y="191"/>
                  </a:lnTo>
                  <a:lnTo>
                    <a:pt x="100" y="185"/>
                  </a:lnTo>
                  <a:lnTo>
                    <a:pt x="95" y="179"/>
                  </a:lnTo>
                  <a:lnTo>
                    <a:pt x="89" y="173"/>
                  </a:lnTo>
                  <a:lnTo>
                    <a:pt x="95" y="170"/>
                  </a:lnTo>
                  <a:lnTo>
                    <a:pt x="98" y="173"/>
                  </a:lnTo>
                  <a:lnTo>
                    <a:pt x="98" y="166"/>
                  </a:lnTo>
                  <a:lnTo>
                    <a:pt x="93" y="165"/>
                  </a:lnTo>
                  <a:lnTo>
                    <a:pt x="89" y="166"/>
                  </a:lnTo>
                  <a:lnTo>
                    <a:pt x="79" y="170"/>
                  </a:lnTo>
                  <a:lnTo>
                    <a:pt x="69" y="175"/>
                  </a:lnTo>
                  <a:lnTo>
                    <a:pt x="57" y="172"/>
                  </a:lnTo>
                  <a:lnTo>
                    <a:pt x="46" y="170"/>
                  </a:lnTo>
                  <a:lnTo>
                    <a:pt x="31" y="170"/>
                  </a:lnTo>
                  <a:lnTo>
                    <a:pt x="21" y="170"/>
                  </a:lnTo>
                  <a:lnTo>
                    <a:pt x="17" y="161"/>
                  </a:lnTo>
                  <a:lnTo>
                    <a:pt x="14" y="156"/>
                  </a:lnTo>
                  <a:lnTo>
                    <a:pt x="14" y="153"/>
                  </a:lnTo>
                  <a:lnTo>
                    <a:pt x="16" y="151"/>
                  </a:lnTo>
                  <a:lnTo>
                    <a:pt x="5" y="149"/>
                  </a:lnTo>
                  <a:lnTo>
                    <a:pt x="0" y="144"/>
                  </a:lnTo>
                  <a:lnTo>
                    <a:pt x="9" y="137"/>
                  </a:lnTo>
                  <a:lnTo>
                    <a:pt x="22" y="132"/>
                  </a:lnTo>
                  <a:lnTo>
                    <a:pt x="34" y="127"/>
                  </a:lnTo>
                  <a:lnTo>
                    <a:pt x="46" y="122"/>
                  </a:lnTo>
                  <a:lnTo>
                    <a:pt x="55" y="122"/>
                  </a:lnTo>
                  <a:lnTo>
                    <a:pt x="55" y="129"/>
                  </a:lnTo>
                  <a:lnTo>
                    <a:pt x="60" y="132"/>
                  </a:lnTo>
                  <a:lnTo>
                    <a:pt x="65" y="132"/>
                  </a:lnTo>
                  <a:lnTo>
                    <a:pt x="74" y="132"/>
                  </a:lnTo>
                  <a:lnTo>
                    <a:pt x="81" y="132"/>
                  </a:lnTo>
                  <a:lnTo>
                    <a:pt x="88" y="132"/>
                  </a:lnTo>
                  <a:lnTo>
                    <a:pt x="81" y="122"/>
                  </a:lnTo>
                  <a:lnTo>
                    <a:pt x="76" y="117"/>
                  </a:lnTo>
                  <a:lnTo>
                    <a:pt x="65" y="111"/>
                  </a:lnTo>
                  <a:lnTo>
                    <a:pt x="57" y="108"/>
                  </a:lnTo>
                  <a:lnTo>
                    <a:pt x="52" y="103"/>
                  </a:lnTo>
                  <a:lnTo>
                    <a:pt x="48" y="98"/>
                  </a:lnTo>
                  <a:lnTo>
                    <a:pt x="45" y="91"/>
                  </a:lnTo>
                  <a:lnTo>
                    <a:pt x="41" y="87"/>
                  </a:lnTo>
                  <a:lnTo>
                    <a:pt x="33" y="84"/>
                  </a:lnTo>
                  <a:lnTo>
                    <a:pt x="26" y="82"/>
                  </a:lnTo>
                  <a:lnTo>
                    <a:pt x="17" y="79"/>
                  </a:lnTo>
                  <a:lnTo>
                    <a:pt x="16" y="77"/>
                  </a:lnTo>
                  <a:lnTo>
                    <a:pt x="19" y="70"/>
                  </a:lnTo>
                  <a:lnTo>
                    <a:pt x="22" y="63"/>
                  </a:lnTo>
                  <a:lnTo>
                    <a:pt x="52" y="63"/>
                  </a:lnTo>
                  <a:lnTo>
                    <a:pt x="62" y="48"/>
                  </a:lnTo>
                  <a:lnTo>
                    <a:pt x="77" y="34"/>
                  </a:lnTo>
                  <a:lnTo>
                    <a:pt x="86" y="27"/>
                  </a:lnTo>
                  <a:lnTo>
                    <a:pt x="95" y="22"/>
                  </a:lnTo>
                  <a:lnTo>
                    <a:pt x="105" y="17"/>
                  </a:lnTo>
                  <a:lnTo>
                    <a:pt x="115" y="15"/>
                  </a:lnTo>
                  <a:lnTo>
                    <a:pt x="124" y="13"/>
                  </a:lnTo>
                  <a:lnTo>
                    <a:pt x="134" y="13"/>
                  </a:lnTo>
                  <a:lnTo>
                    <a:pt x="145" y="5"/>
                  </a:lnTo>
                  <a:lnTo>
                    <a:pt x="157" y="0"/>
                  </a:lnTo>
                  <a:lnTo>
                    <a:pt x="163" y="1"/>
                  </a:lnTo>
                  <a:lnTo>
                    <a:pt x="172" y="7"/>
                  </a:lnTo>
                  <a:lnTo>
                    <a:pt x="169" y="10"/>
                  </a:lnTo>
                  <a:lnTo>
                    <a:pt x="167" y="13"/>
                  </a:lnTo>
                  <a:lnTo>
                    <a:pt x="174" y="12"/>
                  </a:lnTo>
                  <a:lnTo>
                    <a:pt x="181" y="7"/>
                  </a:lnTo>
                  <a:lnTo>
                    <a:pt x="186" y="8"/>
                  </a:lnTo>
                  <a:lnTo>
                    <a:pt x="193" y="12"/>
                  </a:lnTo>
                  <a:lnTo>
                    <a:pt x="217" y="12"/>
                  </a:lnTo>
                  <a:lnTo>
                    <a:pt x="224" y="17"/>
                  </a:lnTo>
                  <a:lnTo>
                    <a:pt x="232" y="22"/>
                  </a:lnTo>
                  <a:lnTo>
                    <a:pt x="272" y="22"/>
                  </a:lnTo>
                  <a:lnTo>
                    <a:pt x="282" y="27"/>
                  </a:lnTo>
                  <a:lnTo>
                    <a:pt x="298" y="32"/>
                  </a:lnTo>
                  <a:lnTo>
                    <a:pt x="313" y="34"/>
                  </a:lnTo>
                  <a:lnTo>
                    <a:pt x="329" y="36"/>
                  </a:lnTo>
                  <a:lnTo>
                    <a:pt x="341" y="32"/>
                  </a:lnTo>
                  <a:lnTo>
                    <a:pt x="353" y="31"/>
                  </a:lnTo>
                  <a:lnTo>
                    <a:pt x="361" y="31"/>
                  </a:lnTo>
                  <a:lnTo>
                    <a:pt x="368" y="34"/>
                  </a:lnTo>
                  <a:lnTo>
                    <a:pt x="375" y="38"/>
                  </a:lnTo>
                  <a:lnTo>
                    <a:pt x="385" y="41"/>
                  </a:lnTo>
                  <a:lnTo>
                    <a:pt x="385" y="39"/>
                  </a:lnTo>
                  <a:lnTo>
                    <a:pt x="385" y="4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1" name="Freeform 300"/>
            <p:cNvSpPr>
              <a:spLocks/>
            </p:cNvSpPr>
            <p:nvPr/>
          </p:nvSpPr>
          <p:spPr bwMode="auto">
            <a:xfrm>
              <a:off x="1246982" y="2568575"/>
              <a:ext cx="38100" cy="55562"/>
            </a:xfrm>
            <a:custGeom>
              <a:avLst/>
              <a:gdLst/>
              <a:ahLst/>
              <a:cxnLst>
                <a:cxn ang="0">
                  <a:pos x="10" y="14"/>
                </a:cxn>
                <a:cxn ang="0">
                  <a:pos x="3" y="11"/>
                </a:cxn>
                <a:cxn ang="0">
                  <a:pos x="0" y="14"/>
                </a:cxn>
                <a:cxn ang="0">
                  <a:pos x="0" y="5"/>
                </a:cxn>
                <a:cxn ang="0">
                  <a:pos x="2" y="2"/>
                </a:cxn>
                <a:cxn ang="0">
                  <a:pos x="5" y="0"/>
                </a:cxn>
                <a:cxn ang="0">
                  <a:pos x="12" y="4"/>
                </a:cxn>
                <a:cxn ang="0">
                  <a:pos x="12" y="11"/>
                </a:cxn>
                <a:cxn ang="0">
                  <a:pos x="17" y="17"/>
                </a:cxn>
                <a:cxn ang="0">
                  <a:pos x="20" y="23"/>
                </a:cxn>
                <a:cxn ang="0">
                  <a:pos x="24" y="30"/>
                </a:cxn>
                <a:cxn ang="0">
                  <a:pos x="22" y="33"/>
                </a:cxn>
                <a:cxn ang="0">
                  <a:pos x="20" y="35"/>
                </a:cxn>
                <a:cxn ang="0">
                  <a:pos x="12" y="30"/>
                </a:cxn>
                <a:cxn ang="0">
                  <a:pos x="10" y="24"/>
                </a:cxn>
                <a:cxn ang="0">
                  <a:pos x="8" y="17"/>
                </a:cxn>
                <a:cxn ang="0">
                  <a:pos x="10" y="14"/>
                </a:cxn>
              </a:cxnLst>
              <a:rect l="0" t="0" r="r" b="b"/>
              <a:pathLst>
                <a:path w="24" h="35">
                  <a:moveTo>
                    <a:pt x="10" y="14"/>
                  </a:moveTo>
                  <a:lnTo>
                    <a:pt x="3" y="11"/>
                  </a:lnTo>
                  <a:lnTo>
                    <a:pt x="0" y="14"/>
                  </a:lnTo>
                  <a:lnTo>
                    <a:pt x="0" y="5"/>
                  </a:lnTo>
                  <a:lnTo>
                    <a:pt x="2" y="2"/>
                  </a:lnTo>
                  <a:lnTo>
                    <a:pt x="5" y="0"/>
                  </a:lnTo>
                  <a:lnTo>
                    <a:pt x="12" y="4"/>
                  </a:lnTo>
                  <a:lnTo>
                    <a:pt x="12" y="11"/>
                  </a:lnTo>
                  <a:lnTo>
                    <a:pt x="17" y="17"/>
                  </a:lnTo>
                  <a:lnTo>
                    <a:pt x="20" y="23"/>
                  </a:lnTo>
                  <a:lnTo>
                    <a:pt x="24" y="30"/>
                  </a:lnTo>
                  <a:lnTo>
                    <a:pt x="22" y="33"/>
                  </a:lnTo>
                  <a:lnTo>
                    <a:pt x="20" y="35"/>
                  </a:lnTo>
                  <a:lnTo>
                    <a:pt x="12" y="30"/>
                  </a:lnTo>
                  <a:lnTo>
                    <a:pt x="10" y="24"/>
                  </a:lnTo>
                  <a:lnTo>
                    <a:pt x="8" y="17"/>
                  </a:lnTo>
                  <a:lnTo>
                    <a:pt x="1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2" name="Freeform 301"/>
            <p:cNvSpPr>
              <a:spLocks/>
            </p:cNvSpPr>
            <p:nvPr/>
          </p:nvSpPr>
          <p:spPr bwMode="auto">
            <a:xfrm>
              <a:off x="1186657" y="2508250"/>
              <a:ext cx="34925" cy="66675"/>
            </a:xfrm>
            <a:custGeom>
              <a:avLst/>
              <a:gdLst/>
              <a:ahLst/>
              <a:cxnLst>
                <a:cxn ang="0">
                  <a:pos x="17" y="21"/>
                </a:cxn>
                <a:cxn ang="0">
                  <a:pos x="19" y="21"/>
                </a:cxn>
                <a:cxn ang="0">
                  <a:pos x="22" y="21"/>
                </a:cxn>
                <a:cxn ang="0">
                  <a:pos x="22" y="31"/>
                </a:cxn>
                <a:cxn ang="0">
                  <a:pos x="21" y="42"/>
                </a:cxn>
                <a:cxn ang="0">
                  <a:pos x="14" y="31"/>
                </a:cxn>
                <a:cxn ang="0">
                  <a:pos x="14" y="21"/>
                </a:cxn>
                <a:cxn ang="0">
                  <a:pos x="3" y="16"/>
                </a:cxn>
                <a:cxn ang="0">
                  <a:pos x="0" y="6"/>
                </a:cxn>
                <a:cxn ang="0">
                  <a:pos x="2" y="0"/>
                </a:cxn>
                <a:cxn ang="0">
                  <a:pos x="5" y="0"/>
                </a:cxn>
                <a:cxn ang="0">
                  <a:pos x="10" y="0"/>
                </a:cxn>
                <a:cxn ang="0">
                  <a:pos x="17" y="0"/>
                </a:cxn>
                <a:cxn ang="0">
                  <a:pos x="15" y="7"/>
                </a:cxn>
                <a:cxn ang="0">
                  <a:pos x="15" y="13"/>
                </a:cxn>
                <a:cxn ang="0">
                  <a:pos x="15" y="16"/>
                </a:cxn>
                <a:cxn ang="0">
                  <a:pos x="17" y="21"/>
                </a:cxn>
              </a:cxnLst>
              <a:rect l="0" t="0" r="r" b="b"/>
              <a:pathLst>
                <a:path w="22" h="42">
                  <a:moveTo>
                    <a:pt x="17" y="21"/>
                  </a:moveTo>
                  <a:lnTo>
                    <a:pt x="19" y="21"/>
                  </a:lnTo>
                  <a:lnTo>
                    <a:pt x="22" y="21"/>
                  </a:lnTo>
                  <a:lnTo>
                    <a:pt x="22" y="31"/>
                  </a:lnTo>
                  <a:lnTo>
                    <a:pt x="21" y="42"/>
                  </a:lnTo>
                  <a:lnTo>
                    <a:pt x="14" y="31"/>
                  </a:lnTo>
                  <a:lnTo>
                    <a:pt x="14" y="21"/>
                  </a:lnTo>
                  <a:lnTo>
                    <a:pt x="3" y="16"/>
                  </a:lnTo>
                  <a:lnTo>
                    <a:pt x="0" y="6"/>
                  </a:lnTo>
                  <a:lnTo>
                    <a:pt x="2" y="0"/>
                  </a:lnTo>
                  <a:lnTo>
                    <a:pt x="5" y="0"/>
                  </a:lnTo>
                  <a:lnTo>
                    <a:pt x="10" y="0"/>
                  </a:lnTo>
                  <a:lnTo>
                    <a:pt x="17" y="0"/>
                  </a:lnTo>
                  <a:lnTo>
                    <a:pt x="15" y="7"/>
                  </a:lnTo>
                  <a:lnTo>
                    <a:pt x="15" y="13"/>
                  </a:lnTo>
                  <a:lnTo>
                    <a:pt x="15" y="16"/>
                  </a:lnTo>
                  <a:lnTo>
                    <a:pt x="17" y="2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3" name="Freeform 302"/>
            <p:cNvSpPr>
              <a:spLocks/>
            </p:cNvSpPr>
            <p:nvPr/>
          </p:nvSpPr>
          <p:spPr bwMode="auto">
            <a:xfrm>
              <a:off x="1577182" y="1905000"/>
              <a:ext cx="420688" cy="222250"/>
            </a:xfrm>
            <a:custGeom>
              <a:avLst/>
              <a:gdLst/>
              <a:ahLst/>
              <a:cxnLst>
                <a:cxn ang="0">
                  <a:pos x="239" y="111"/>
                </a:cxn>
                <a:cxn ang="0">
                  <a:pos x="241" y="117"/>
                </a:cxn>
                <a:cxn ang="0">
                  <a:pos x="248" y="124"/>
                </a:cxn>
                <a:cxn ang="0">
                  <a:pos x="246" y="131"/>
                </a:cxn>
                <a:cxn ang="0">
                  <a:pos x="230" y="135"/>
                </a:cxn>
                <a:cxn ang="0">
                  <a:pos x="208" y="133"/>
                </a:cxn>
                <a:cxn ang="0">
                  <a:pos x="189" y="123"/>
                </a:cxn>
                <a:cxn ang="0">
                  <a:pos x="174" y="123"/>
                </a:cxn>
                <a:cxn ang="0">
                  <a:pos x="158" y="131"/>
                </a:cxn>
                <a:cxn ang="0">
                  <a:pos x="137" y="135"/>
                </a:cxn>
                <a:cxn ang="0">
                  <a:pos x="115" y="140"/>
                </a:cxn>
                <a:cxn ang="0">
                  <a:pos x="94" y="140"/>
                </a:cxn>
                <a:cxn ang="0">
                  <a:pos x="79" y="135"/>
                </a:cxn>
                <a:cxn ang="0">
                  <a:pos x="69" y="124"/>
                </a:cxn>
                <a:cxn ang="0">
                  <a:pos x="53" y="123"/>
                </a:cxn>
                <a:cxn ang="0">
                  <a:pos x="33" y="117"/>
                </a:cxn>
                <a:cxn ang="0">
                  <a:pos x="33" y="100"/>
                </a:cxn>
                <a:cxn ang="0">
                  <a:pos x="58" y="95"/>
                </a:cxn>
                <a:cxn ang="0">
                  <a:pos x="82" y="95"/>
                </a:cxn>
                <a:cxn ang="0">
                  <a:pos x="84" y="90"/>
                </a:cxn>
                <a:cxn ang="0">
                  <a:pos x="62" y="90"/>
                </a:cxn>
                <a:cxn ang="0">
                  <a:pos x="38" y="90"/>
                </a:cxn>
                <a:cxn ang="0">
                  <a:pos x="15" y="86"/>
                </a:cxn>
                <a:cxn ang="0">
                  <a:pos x="14" y="73"/>
                </a:cxn>
                <a:cxn ang="0">
                  <a:pos x="26" y="69"/>
                </a:cxn>
                <a:cxn ang="0">
                  <a:pos x="22" y="68"/>
                </a:cxn>
                <a:cxn ang="0">
                  <a:pos x="3" y="64"/>
                </a:cxn>
                <a:cxn ang="0">
                  <a:pos x="0" y="49"/>
                </a:cxn>
                <a:cxn ang="0">
                  <a:pos x="14" y="31"/>
                </a:cxn>
                <a:cxn ang="0">
                  <a:pos x="34" y="21"/>
                </a:cxn>
                <a:cxn ang="0">
                  <a:pos x="53" y="16"/>
                </a:cxn>
                <a:cxn ang="0">
                  <a:pos x="67" y="18"/>
                </a:cxn>
                <a:cxn ang="0">
                  <a:pos x="70" y="28"/>
                </a:cxn>
                <a:cxn ang="0">
                  <a:pos x="77" y="28"/>
                </a:cxn>
                <a:cxn ang="0">
                  <a:pos x="94" y="25"/>
                </a:cxn>
                <a:cxn ang="0">
                  <a:pos x="105" y="31"/>
                </a:cxn>
                <a:cxn ang="0">
                  <a:pos x="117" y="37"/>
                </a:cxn>
                <a:cxn ang="0">
                  <a:pos x="124" y="30"/>
                </a:cxn>
                <a:cxn ang="0">
                  <a:pos x="134" y="26"/>
                </a:cxn>
                <a:cxn ang="0">
                  <a:pos x="151" y="42"/>
                </a:cxn>
                <a:cxn ang="0">
                  <a:pos x="153" y="52"/>
                </a:cxn>
                <a:cxn ang="0">
                  <a:pos x="160" y="61"/>
                </a:cxn>
                <a:cxn ang="0">
                  <a:pos x="167" y="55"/>
                </a:cxn>
                <a:cxn ang="0">
                  <a:pos x="158" y="37"/>
                </a:cxn>
                <a:cxn ang="0">
                  <a:pos x="155" y="21"/>
                </a:cxn>
                <a:cxn ang="0">
                  <a:pos x="163" y="14"/>
                </a:cxn>
                <a:cxn ang="0">
                  <a:pos x="179" y="14"/>
                </a:cxn>
                <a:cxn ang="0">
                  <a:pos x="177" y="9"/>
                </a:cxn>
                <a:cxn ang="0">
                  <a:pos x="193" y="0"/>
                </a:cxn>
                <a:cxn ang="0">
                  <a:pos x="211" y="12"/>
                </a:cxn>
                <a:cxn ang="0">
                  <a:pos x="199" y="28"/>
                </a:cxn>
                <a:cxn ang="0">
                  <a:pos x="206" y="52"/>
                </a:cxn>
                <a:cxn ang="0">
                  <a:pos x="213" y="71"/>
                </a:cxn>
                <a:cxn ang="0">
                  <a:pos x="236" y="92"/>
                </a:cxn>
                <a:cxn ang="0">
                  <a:pos x="265" y="107"/>
                </a:cxn>
                <a:cxn ang="0">
                  <a:pos x="246" y="111"/>
                </a:cxn>
              </a:cxnLst>
              <a:rect l="0" t="0" r="r" b="b"/>
              <a:pathLst>
                <a:path w="265" h="140">
                  <a:moveTo>
                    <a:pt x="246" y="111"/>
                  </a:moveTo>
                  <a:lnTo>
                    <a:pt x="239" y="111"/>
                  </a:lnTo>
                  <a:lnTo>
                    <a:pt x="239" y="116"/>
                  </a:lnTo>
                  <a:lnTo>
                    <a:pt x="241" y="117"/>
                  </a:lnTo>
                  <a:lnTo>
                    <a:pt x="246" y="119"/>
                  </a:lnTo>
                  <a:lnTo>
                    <a:pt x="248" y="124"/>
                  </a:lnTo>
                  <a:lnTo>
                    <a:pt x="251" y="126"/>
                  </a:lnTo>
                  <a:lnTo>
                    <a:pt x="246" y="131"/>
                  </a:lnTo>
                  <a:lnTo>
                    <a:pt x="239" y="135"/>
                  </a:lnTo>
                  <a:lnTo>
                    <a:pt x="230" y="135"/>
                  </a:lnTo>
                  <a:lnTo>
                    <a:pt x="222" y="136"/>
                  </a:lnTo>
                  <a:lnTo>
                    <a:pt x="208" y="133"/>
                  </a:lnTo>
                  <a:lnTo>
                    <a:pt x="199" y="128"/>
                  </a:lnTo>
                  <a:lnTo>
                    <a:pt x="189" y="123"/>
                  </a:lnTo>
                  <a:lnTo>
                    <a:pt x="180" y="121"/>
                  </a:lnTo>
                  <a:lnTo>
                    <a:pt x="174" y="123"/>
                  </a:lnTo>
                  <a:lnTo>
                    <a:pt x="168" y="129"/>
                  </a:lnTo>
                  <a:lnTo>
                    <a:pt x="158" y="131"/>
                  </a:lnTo>
                  <a:lnTo>
                    <a:pt x="148" y="135"/>
                  </a:lnTo>
                  <a:lnTo>
                    <a:pt x="137" y="135"/>
                  </a:lnTo>
                  <a:lnTo>
                    <a:pt x="131" y="140"/>
                  </a:lnTo>
                  <a:lnTo>
                    <a:pt x="115" y="140"/>
                  </a:lnTo>
                  <a:lnTo>
                    <a:pt x="105" y="140"/>
                  </a:lnTo>
                  <a:lnTo>
                    <a:pt x="94" y="140"/>
                  </a:lnTo>
                  <a:lnTo>
                    <a:pt x="86" y="140"/>
                  </a:lnTo>
                  <a:lnTo>
                    <a:pt x="79" y="135"/>
                  </a:lnTo>
                  <a:lnTo>
                    <a:pt x="76" y="128"/>
                  </a:lnTo>
                  <a:lnTo>
                    <a:pt x="69" y="124"/>
                  </a:lnTo>
                  <a:lnTo>
                    <a:pt x="62" y="123"/>
                  </a:lnTo>
                  <a:lnTo>
                    <a:pt x="53" y="123"/>
                  </a:lnTo>
                  <a:lnTo>
                    <a:pt x="48" y="124"/>
                  </a:lnTo>
                  <a:lnTo>
                    <a:pt x="33" y="117"/>
                  </a:lnTo>
                  <a:lnTo>
                    <a:pt x="24" y="107"/>
                  </a:lnTo>
                  <a:lnTo>
                    <a:pt x="33" y="100"/>
                  </a:lnTo>
                  <a:lnTo>
                    <a:pt x="45" y="97"/>
                  </a:lnTo>
                  <a:lnTo>
                    <a:pt x="58" y="95"/>
                  </a:lnTo>
                  <a:lnTo>
                    <a:pt x="74" y="95"/>
                  </a:lnTo>
                  <a:lnTo>
                    <a:pt x="82" y="95"/>
                  </a:lnTo>
                  <a:lnTo>
                    <a:pt x="91" y="95"/>
                  </a:lnTo>
                  <a:lnTo>
                    <a:pt x="84" y="90"/>
                  </a:lnTo>
                  <a:lnTo>
                    <a:pt x="77" y="90"/>
                  </a:lnTo>
                  <a:lnTo>
                    <a:pt x="62" y="90"/>
                  </a:lnTo>
                  <a:lnTo>
                    <a:pt x="51" y="90"/>
                  </a:lnTo>
                  <a:lnTo>
                    <a:pt x="38" y="90"/>
                  </a:lnTo>
                  <a:lnTo>
                    <a:pt x="26" y="90"/>
                  </a:lnTo>
                  <a:lnTo>
                    <a:pt x="15" y="86"/>
                  </a:lnTo>
                  <a:lnTo>
                    <a:pt x="12" y="80"/>
                  </a:lnTo>
                  <a:lnTo>
                    <a:pt x="14" y="73"/>
                  </a:lnTo>
                  <a:lnTo>
                    <a:pt x="19" y="71"/>
                  </a:lnTo>
                  <a:lnTo>
                    <a:pt x="26" y="69"/>
                  </a:lnTo>
                  <a:lnTo>
                    <a:pt x="33" y="69"/>
                  </a:lnTo>
                  <a:lnTo>
                    <a:pt x="22" y="68"/>
                  </a:lnTo>
                  <a:lnTo>
                    <a:pt x="14" y="69"/>
                  </a:lnTo>
                  <a:lnTo>
                    <a:pt x="3" y="64"/>
                  </a:lnTo>
                  <a:lnTo>
                    <a:pt x="0" y="59"/>
                  </a:lnTo>
                  <a:lnTo>
                    <a:pt x="0" y="49"/>
                  </a:lnTo>
                  <a:lnTo>
                    <a:pt x="7" y="40"/>
                  </a:lnTo>
                  <a:lnTo>
                    <a:pt x="14" y="31"/>
                  </a:lnTo>
                  <a:lnTo>
                    <a:pt x="24" y="26"/>
                  </a:lnTo>
                  <a:lnTo>
                    <a:pt x="34" y="21"/>
                  </a:lnTo>
                  <a:lnTo>
                    <a:pt x="45" y="18"/>
                  </a:lnTo>
                  <a:lnTo>
                    <a:pt x="53" y="16"/>
                  </a:lnTo>
                  <a:lnTo>
                    <a:pt x="64" y="16"/>
                  </a:lnTo>
                  <a:lnTo>
                    <a:pt x="67" y="18"/>
                  </a:lnTo>
                  <a:lnTo>
                    <a:pt x="69" y="23"/>
                  </a:lnTo>
                  <a:lnTo>
                    <a:pt x="70" y="28"/>
                  </a:lnTo>
                  <a:lnTo>
                    <a:pt x="72" y="33"/>
                  </a:lnTo>
                  <a:lnTo>
                    <a:pt x="77" y="28"/>
                  </a:lnTo>
                  <a:lnTo>
                    <a:pt x="88" y="25"/>
                  </a:lnTo>
                  <a:lnTo>
                    <a:pt x="94" y="25"/>
                  </a:lnTo>
                  <a:lnTo>
                    <a:pt x="101" y="28"/>
                  </a:lnTo>
                  <a:lnTo>
                    <a:pt x="105" y="31"/>
                  </a:lnTo>
                  <a:lnTo>
                    <a:pt x="110" y="40"/>
                  </a:lnTo>
                  <a:lnTo>
                    <a:pt x="117" y="37"/>
                  </a:lnTo>
                  <a:lnTo>
                    <a:pt x="125" y="37"/>
                  </a:lnTo>
                  <a:lnTo>
                    <a:pt x="124" y="30"/>
                  </a:lnTo>
                  <a:lnTo>
                    <a:pt x="124" y="26"/>
                  </a:lnTo>
                  <a:lnTo>
                    <a:pt x="134" y="26"/>
                  </a:lnTo>
                  <a:lnTo>
                    <a:pt x="144" y="31"/>
                  </a:lnTo>
                  <a:lnTo>
                    <a:pt x="151" y="42"/>
                  </a:lnTo>
                  <a:lnTo>
                    <a:pt x="151" y="45"/>
                  </a:lnTo>
                  <a:lnTo>
                    <a:pt x="153" y="52"/>
                  </a:lnTo>
                  <a:lnTo>
                    <a:pt x="153" y="57"/>
                  </a:lnTo>
                  <a:lnTo>
                    <a:pt x="160" y="61"/>
                  </a:lnTo>
                  <a:lnTo>
                    <a:pt x="163" y="57"/>
                  </a:lnTo>
                  <a:lnTo>
                    <a:pt x="167" y="55"/>
                  </a:lnTo>
                  <a:lnTo>
                    <a:pt x="162" y="47"/>
                  </a:lnTo>
                  <a:lnTo>
                    <a:pt x="158" y="37"/>
                  </a:lnTo>
                  <a:lnTo>
                    <a:pt x="155" y="26"/>
                  </a:lnTo>
                  <a:lnTo>
                    <a:pt x="155" y="21"/>
                  </a:lnTo>
                  <a:lnTo>
                    <a:pt x="156" y="14"/>
                  </a:lnTo>
                  <a:lnTo>
                    <a:pt x="163" y="14"/>
                  </a:lnTo>
                  <a:lnTo>
                    <a:pt x="170" y="14"/>
                  </a:lnTo>
                  <a:lnTo>
                    <a:pt x="179" y="14"/>
                  </a:lnTo>
                  <a:lnTo>
                    <a:pt x="177" y="11"/>
                  </a:lnTo>
                  <a:lnTo>
                    <a:pt x="177" y="9"/>
                  </a:lnTo>
                  <a:lnTo>
                    <a:pt x="182" y="2"/>
                  </a:lnTo>
                  <a:lnTo>
                    <a:pt x="193" y="0"/>
                  </a:lnTo>
                  <a:lnTo>
                    <a:pt x="205" y="2"/>
                  </a:lnTo>
                  <a:lnTo>
                    <a:pt x="211" y="12"/>
                  </a:lnTo>
                  <a:lnTo>
                    <a:pt x="205" y="19"/>
                  </a:lnTo>
                  <a:lnTo>
                    <a:pt x="199" y="28"/>
                  </a:lnTo>
                  <a:lnTo>
                    <a:pt x="201" y="40"/>
                  </a:lnTo>
                  <a:lnTo>
                    <a:pt x="206" y="52"/>
                  </a:lnTo>
                  <a:lnTo>
                    <a:pt x="210" y="61"/>
                  </a:lnTo>
                  <a:lnTo>
                    <a:pt x="213" y="71"/>
                  </a:lnTo>
                  <a:lnTo>
                    <a:pt x="218" y="81"/>
                  </a:lnTo>
                  <a:lnTo>
                    <a:pt x="236" y="92"/>
                  </a:lnTo>
                  <a:lnTo>
                    <a:pt x="253" y="98"/>
                  </a:lnTo>
                  <a:lnTo>
                    <a:pt x="265" y="107"/>
                  </a:lnTo>
                  <a:lnTo>
                    <a:pt x="254" y="111"/>
                  </a:lnTo>
                  <a:lnTo>
                    <a:pt x="246" y="1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4" name="Freeform 303"/>
            <p:cNvSpPr>
              <a:spLocks/>
            </p:cNvSpPr>
            <p:nvPr/>
          </p:nvSpPr>
          <p:spPr bwMode="auto">
            <a:xfrm>
              <a:off x="1421607" y="1873250"/>
              <a:ext cx="234950" cy="152400"/>
            </a:xfrm>
            <a:custGeom>
              <a:avLst/>
              <a:gdLst/>
              <a:ahLst/>
              <a:cxnLst>
                <a:cxn ang="0">
                  <a:pos x="31" y="91"/>
                </a:cxn>
                <a:cxn ang="0">
                  <a:pos x="27" y="86"/>
                </a:cxn>
                <a:cxn ang="0">
                  <a:pos x="24" y="81"/>
                </a:cxn>
                <a:cxn ang="0">
                  <a:pos x="17" y="77"/>
                </a:cxn>
                <a:cxn ang="0">
                  <a:pos x="10" y="75"/>
                </a:cxn>
                <a:cxn ang="0">
                  <a:pos x="2" y="72"/>
                </a:cxn>
                <a:cxn ang="0">
                  <a:pos x="0" y="70"/>
                </a:cxn>
                <a:cxn ang="0">
                  <a:pos x="3" y="57"/>
                </a:cxn>
                <a:cxn ang="0">
                  <a:pos x="12" y="46"/>
                </a:cxn>
                <a:cxn ang="0">
                  <a:pos x="19" y="34"/>
                </a:cxn>
                <a:cxn ang="0">
                  <a:pos x="24" y="22"/>
                </a:cxn>
                <a:cxn ang="0">
                  <a:pos x="20" y="12"/>
                </a:cxn>
                <a:cxn ang="0">
                  <a:pos x="17" y="3"/>
                </a:cxn>
                <a:cxn ang="0">
                  <a:pos x="33" y="0"/>
                </a:cxn>
                <a:cxn ang="0">
                  <a:pos x="48" y="3"/>
                </a:cxn>
                <a:cxn ang="0">
                  <a:pos x="55" y="0"/>
                </a:cxn>
                <a:cxn ang="0">
                  <a:pos x="69" y="0"/>
                </a:cxn>
                <a:cxn ang="0">
                  <a:pos x="81" y="5"/>
                </a:cxn>
                <a:cxn ang="0">
                  <a:pos x="94" y="10"/>
                </a:cxn>
                <a:cxn ang="0">
                  <a:pos x="103" y="10"/>
                </a:cxn>
                <a:cxn ang="0">
                  <a:pos x="112" y="8"/>
                </a:cxn>
                <a:cxn ang="0">
                  <a:pos x="120" y="8"/>
                </a:cxn>
                <a:cxn ang="0">
                  <a:pos x="134" y="14"/>
                </a:cxn>
                <a:cxn ang="0">
                  <a:pos x="143" y="20"/>
                </a:cxn>
                <a:cxn ang="0">
                  <a:pos x="148" y="31"/>
                </a:cxn>
                <a:cxn ang="0">
                  <a:pos x="143" y="32"/>
                </a:cxn>
                <a:cxn ang="0">
                  <a:pos x="132" y="36"/>
                </a:cxn>
                <a:cxn ang="0">
                  <a:pos x="122" y="38"/>
                </a:cxn>
                <a:cxn ang="0">
                  <a:pos x="117" y="41"/>
                </a:cxn>
                <a:cxn ang="0">
                  <a:pos x="103" y="46"/>
                </a:cxn>
                <a:cxn ang="0">
                  <a:pos x="89" y="58"/>
                </a:cxn>
                <a:cxn ang="0">
                  <a:pos x="81" y="69"/>
                </a:cxn>
                <a:cxn ang="0">
                  <a:pos x="77" y="81"/>
                </a:cxn>
                <a:cxn ang="0">
                  <a:pos x="70" y="84"/>
                </a:cxn>
                <a:cxn ang="0">
                  <a:pos x="58" y="89"/>
                </a:cxn>
                <a:cxn ang="0">
                  <a:pos x="46" y="93"/>
                </a:cxn>
                <a:cxn ang="0">
                  <a:pos x="39" y="96"/>
                </a:cxn>
                <a:cxn ang="0">
                  <a:pos x="34" y="93"/>
                </a:cxn>
                <a:cxn ang="0">
                  <a:pos x="31" y="91"/>
                </a:cxn>
              </a:cxnLst>
              <a:rect l="0" t="0" r="r" b="b"/>
              <a:pathLst>
                <a:path w="148" h="96">
                  <a:moveTo>
                    <a:pt x="31" y="91"/>
                  </a:moveTo>
                  <a:lnTo>
                    <a:pt x="27" y="86"/>
                  </a:lnTo>
                  <a:lnTo>
                    <a:pt x="24" y="81"/>
                  </a:lnTo>
                  <a:lnTo>
                    <a:pt x="17" y="77"/>
                  </a:lnTo>
                  <a:lnTo>
                    <a:pt x="10" y="75"/>
                  </a:lnTo>
                  <a:lnTo>
                    <a:pt x="2" y="72"/>
                  </a:lnTo>
                  <a:lnTo>
                    <a:pt x="0" y="70"/>
                  </a:lnTo>
                  <a:lnTo>
                    <a:pt x="3" y="57"/>
                  </a:lnTo>
                  <a:lnTo>
                    <a:pt x="12" y="46"/>
                  </a:lnTo>
                  <a:lnTo>
                    <a:pt x="19" y="34"/>
                  </a:lnTo>
                  <a:lnTo>
                    <a:pt x="24" y="22"/>
                  </a:lnTo>
                  <a:lnTo>
                    <a:pt x="20" y="12"/>
                  </a:lnTo>
                  <a:lnTo>
                    <a:pt x="17" y="3"/>
                  </a:lnTo>
                  <a:lnTo>
                    <a:pt x="33" y="0"/>
                  </a:lnTo>
                  <a:lnTo>
                    <a:pt x="48" y="3"/>
                  </a:lnTo>
                  <a:lnTo>
                    <a:pt x="55" y="0"/>
                  </a:lnTo>
                  <a:lnTo>
                    <a:pt x="69" y="0"/>
                  </a:lnTo>
                  <a:lnTo>
                    <a:pt x="81" y="5"/>
                  </a:lnTo>
                  <a:lnTo>
                    <a:pt x="94" y="10"/>
                  </a:lnTo>
                  <a:lnTo>
                    <a:pt x="103" y="10"/>
                  </a:lnTo>
                  <a:lnTo>
                    <a:pt x="112" y="8"/>
                  </a:lnTo>
                  <a:lnTo>
                    <a:pt x="120" y="8"/>
                  </a:lnTo>
                  <a:lnTo>
                    <a:pt x="134" y="14"/>
                  </a:lnTo>
                  <a:lnTo>
                    <a:pt x="143" y="20"/>
                  </a:lnTo>
                  <a:lnTo>
                    <a:pt x="148" y="31"/>
                  </a:lnTo>
                  <a:lnTo>
                    <a:pt x="143" y="32"/>
                  </a:lnTo>
                  <a:lnTo>
                    <a:pt x="132" y="36"/>
                  </a:lnTo>
                  <a:lnTo>
                    <a:pt x="122" y="38"/>
                  </a:lnTo>
                  <a:lnTo>
                    <a:pt x="117" y="41"/>
                  </a:lnTo>
                  <a:lnTo>
                    <a:pt x="103" y="46"/>
                  </a:lnTo>
                  <a:lnTo>
                    <a:pt x="89" y="58"/>
                  </a:lnTo>
                  <a:lnTo>
                    <a:pt x="81" y="69"/>
                  </a:lnTo>
                  <a:lnTo>
                    <a:pt x="77" y="81"/>
                  </a:lnTo>
                  <a:lnTo>
                    <a:pt x="70" y="84"/>
                  </a:lnTo>
                  <a:lnTo>
                    <a:pt x="58" y="89"/>
                  </a:lnTo>
                  <a:lnTo>
                    <a:pt x="46" y="93"/>
                  </a:lnTo>
                  <a:lnTo>
                    <a:pt x="39" y="96"/>
                  </a:lnTo>
                  <a:lnTo>
                    <a:pt x="34" y="93"/>
                  </a:lnTo>
                  <a:lnTo>
                    <a:pt x="31" y="9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5" name="Freeform 304"/>
            <p:cNvSpPr>
              <a:spLocks/>
            </p:cNvSpPr>
            <p:nvPr/>
          </p:nvSpPr>
          <p:spPr bwMode="auto">
            <a:xfrm>
              <a:off x="1607344" y="1760538"/>
              <a:ext cx="284163" cy="117475"/>
            </a:xfrm>
            <a:custGeom>
              <a:avLst/>
              <a:gdLst/>
              <a:ahLst/>
              <a:cxnLst>
                <a:cxn ang="0">
                  <a:pos x="51" y="71"/>
                </a:cxn>
                <a:cxn ang="0">
                  <a:pos x="51" y="61"/>
                </a:cxn>
                <a:cxn ang="0">
                  <a:pos x="55" y="55"/>
                </a:cxn>
                <a:cxn ang="0">
                  <a:pos x="48" y="52"/>
                </a:cxn>
                <a:cxn ang="0">
                  <a:pos x="34" y="57"/>
                </a:cxn>
                <a:cxn ang="0">
                  <a:pos x="15" y="57"/>
                </a:cxn>
                <a:cxn ang="0">
                  <a:pos x="2" y="52"/>
                </a:cxn>
                <a:cxn ang="0">
                  <a:pos x="0" y="43"/>
                </a:cxn>
                <a:cxn ang="0">
                  <a:pos x="7" y="38"/>
                </a:cxn>
                <a:cxn ang="0">
                  <a:pos x="26" y="38"/>
                </a:cxn>
                <a:cxn ang="0">
                  <a:pos x="24" y="38"/>
                </a:cxn>
                <a:cxn ang="0">
                  <a:pos x="14" y="26"/>
                </a:cxn>
                <a:cxn ang="0">
                  <a:pos x="22" y="26"/>
                </a:cxn>
                <a:cxn ang="0">
                  <a:pos x="31" y="28"/>
                </a:cxn>
                <a:cxn ang="0">
                  <a:pos x="45" y="30"/>
                </a:cxn>
                <a:cxn ang="0">
                  <a:pos x="19" y="24"/>
                </a:cxn>
                <a:cxn ang="0">
                  <a:pos x="29" y="19"/>
                </a:cxn>
                <a:cxn ang="0">
                  <a:pos x="43" y="21"/>
                </a:cxn>
                <a:cxn ang="0">
                  <a:pos x="27" y="14"/>
                </a:cxn>
                <a:cxn ang="0">
                  <a:pos x="43" y="14"/>
                </a:cxn>
                <a:cxn ang="0">
                  <a:pos x="51" y="21"/>
                </a:cxn>
                <a:cxn ang="0">
                  <a:pos x="63" y="21"/>
                </a:cxn>
                <a:cxn ang="0">
                  <a:pos x="84" y="31"/>
                </a:cxn>
                <a:cxn ang="0">
                  <a:pos x="112" y="42"/>
                </a:cxn>
                <a:cxn ang="0">
                  <a:pos x="124" y="35"/>
                </a:cxn>
                <a:cxn ang="0">
                  <a:pos x="113" y="33"/>
                </a:cxn>
                <a:cxn ang="0">
                  <a:pos x="118" y="31"/>
                </a:cxn>
                <a:cxn ang="0">
                  <a:pos x="110" y="21"/>
                </a:cxn>
                <a:cxn ang="0">
                  <a:pos x="106" y="11"/>
                </a:cxn>
                <a:cxn ang="0">
                  <a:pos x="117" y="2"/>
                </a:cxn>
                <a:cxn ang="0">
                  <a:pos x="129" y="2"/>
                </a:cxn>
                <a:cxn ang="0">
                  <a:pos x="132" y="7"/>
                </a:cxn>
                <a:cxn ang="0">
                  <a:pos x="139" y="23"/>
                </a:cxn>
                <a:cxn ang="0">
                  <a:pos x="158" y="26"/>
                </a:cxn>
                <a:cxn ang="0">
                  <a:pos x="174" y="26"/>
                </a:cxn>
                <a:cxn ang="0">
                  <a:pos x="175" y="42"/>
                </a:cxn>
                <a:cxn ang="0">
                  <a:pos x="165" y="55"/>
                </a:cxn>
                <a:cxn ang="0">
                  <a:pos x="155" y="59"/>
                </a:cxn>
                <a:cxn ang="0">
                  <a:pos x="132" y="57"/>
                </a:cxn>
                <a:cxn ang="0">
                  <a:pos x="122" y="59"/>
                </a:cxn>
                <a:cxn ang="0">
                  <a:pos x="100" y="64"/>
                </a:cxn>
                <a:cxn ang="0">
                  <a:pos x="77" y="71"/>
                </a:cxn>
              </a:cxnLst>
              <a:rect l="0" t="0" r="r" b="b"/>
              <a:pathLst>
                <a:path w="179" h="74">
                  <a:moveTo>
                    <a:pt x="62" y="74"/>
                  </a:moveTo>
                  <a:lnTo>
                    <a:pt x="51" y="71"/>
                  </a:lnTo>
                  <a:lnTo>
                    <a:pt x="48" y="67"/>
                  </a:lnTo>
                  <a:lnTo>
                    <a:pt x="51" y="61"/>
                  </a:lnTo>
                  <a:lnTo>
                    <a:pt x="62" y="61"/>
                  </a:lnTo>
                  <a:lnTo>
                    <a:pt x="55" y="55"/>
                  </a:lnTo>
                  <a:lnTo>
                    <a:pt x="53" y="48"/>
                  </a:lnTo>
                  <a:lnTo>
                    <a:pt x="48" y="52"/>
                  </a:lnTo>
                  <a:lnTo>
                    <a:pt x="48" y="55"/>
                  </a:lnTo>
                  <a:lnTo>
                    <a:pt x="34" y="57"/>
                  </a:lnTo>
                  <a:lnTo>
                    <a:pt x="26" y="59"/>
                  </a:lnTo>
                  <a:lnTo>
                    <a:pt x="15" y="57"/>
                  </a:lnTo>
                  <a:lnTo>
                    <a:pt x="8" y="55"/>
                  </a:lnTo>
                  <a:lnTo>
                    <a:pt x="2" y="52"/>
                  </a:lnTo>
                  <a:lnTo>
                    <a:pt x="0" y="48"/>
                  </a:lnTo>
                  <a:lnTo>
                    <a:pt x="0" y="43"/>
                  </a:lnTo>
                  <a:lnTo>
                    <a:pt x="0" y="42"/>
                  </a:lnTo>
                  <a:lnTo>
                    <a:pt x="7" y="38"/>
                  </a:lnTo>
                  <a:lnTo>
                    <a:pt x="14" y="36"/>
                  </a:lnTo>
                  <a:lnTo>
                    <a:pt x="26" y="38"/>
                  </a:lnTo>
                  <a:lnTo>
                    <a:pt x="36" y="42"/>
                  </a:lnTo>
                  <a:lnTo>
                    <a:pt x="24" y="38"/>
                  </a:lnTo>
                  <a:lnTo>
                    <a:pt x="14" y="35"/>
                  </a:lnTo>
                  <a:lnTo>
                    <a:pt x="14" y="26"/>
                  </a:lnTo>
                  <a:lnTo>
                    <a:pt x="19" y="26"/>
                  </a:lnTo>
                  <a:lnTo>
                    <a:pt x="22" y="26"/>
                  </a:lnTo>
                  <a:lnTo>
                    <a:pt x="24" y="26"/>
                  </a:lnTo>
                  <a:lnTo>
                    <a:pt x="31" y="28"/>
                  </a:lnTo>
                  <a:lnTo>
                    <a:pt x="38" y="28"/>
                  </a:lnTo>
                  <a:lnTo>
                    <a:pt x="45" y="30"/>
                  </a:lnTo>
                  <a:lnTo>
                    <a:pt x="29" y="28"/>
                  </a:lnTo>
                  <a:lnTo>
                    <a:pt x="19" y="24"/>
                  </a:lnTo>
                  <a:lnTo>
                    <a:pt x="22" y="19"/>
                  </a:lnTo>
                  <a:lnTo>
                    <a:pt x="29" y="19"/>
                  </a:lnTo>
                  <a:lnTo>
                    <a:pt x="36" y="19"/>
                  </a:lnTo>
                  <a:lnTo>
                    <a:pt x="43" y="21"/>
                  </a:lnTo>
                  <a:lnTo>
                    <a:pt x="32" y="19"/>
                  </a:lnTo>
                  <a:lnTo>
                    <a:pt x="27" y="14"/>
                  </a:lnTo>
                  <a:lnTo>
                    <a:pt x="36" y="12"/>
                  </a:lnTo>
                  <a:lnTo>
                    <a:pt x="43" y="14"/>
                  </a:lnTo>
                  <a:lnTo>
                    <a:pt x="48" y="14"/>
                  </a:lnTo>
                  <a:lnTo>
                    <a:pt x="51" y="21"/>
                  </a:lnTo>
                  <a:lnTo>
                    <a:pt x="60" y="21"/>
                  </a:lnTo>
                  <a:lnTo>
                    <a:pt x="63" y="21"/>
                  </a:lnTo>
                  <a:lnTo>
                    <a:pt x="74" y="23"/>
                  </a:lnTo>
                  <a:lnTo>
                    <a:pt x="84" y="31"/>
                  </a:lnTo>
                  <a:lnTo>
                    <a:pt x="94" y="38"/>
                  </a:lnTo>
                  <a:lnTo>
                    <a:pt x="112" y="42"/>
                  </a:lnTo>
                  <a:lnTo>
                    <a:pt x="118" y="38"/>
                  </a:lnTo>
                  <a:lnTo>
                    <a:pt x="124" y="35"/>
                  </a:lnTo>
                  <a:lnTo>
                    <a:pt x="117" y="33"/>
                  </a:lnTo>
                  <a:lnTo>
                    <a:pt x="113" y="33"/>
                  </a:lnTo>
                  <a:lnTo>
                    <a:pt x="115" y="31"/>
                  </a:lnTo>
                  <a:lnTo>
                    <a:pt x="118" y="31"/>
                  </a:lnTo>
                  <a:lnTo>
                    <a:pt x="118" y="24"/>
                  </a:lnTo>
                  <a:lnTo>
                    <a:pt x="110" y="21"/>
                  </a:lnTo>
                  <a:lnTo>
                    <a:pt x="105" y="16"/>
                  </a:lnTo>
                  <a:lnTo>
                    <a:pt x="106" y="11"/>
                  </a:lnTo>
                  <a:lnTo>
                    <a:pt x="112" y="5"/>
                  </a:lnTo>
                  <a:lnTo>
                    <a:pt x="117" y="2"/>
                  </a:lnTo>
                  <a:lnTo>
                    <a:pt x="124" y="0"/>
                  </a:lnTo>
                  <a:lnTo>
                    <a:pt x="129" y="2"/>
                  </a:lnTo>
                  <a:lnTo>
                    <a:pt x="134" y="4"/>
                  </a:lnTo>
                  <a:lnTo>
                    <a:pt x="132" y="7"/>
                  </a:lnTo>
                  <a:lnTo>
                    <a:pt x="134" y="11"/>
                  </a:lnTo>
                  <a:lnTo>
                    <a:pt x="139" y="23"/>
                  </a:lnTo>
                  <a:lnTo>
                    <a:pt x="153" y="30"/>
                  </a:lnTo>
                  <a:lnTo>
                    <a:pt x="158" y="26"/>
                  </a:lnTo>
                  <a:lnTo>
                    <a:pt x="167" y="23"/>
                  </a:lnTo>
                  <a:lnTo>
                    <a:pt x="174" y="26"/>
                  </a:lnTo>
                  <a:lnTo>
                    <a:pt x="179" y="36"/>
                  </a:lnTo>
                  <a:lnTo>
                    <a:pt x="175" y="42"/>
                  </a:lnTo>
                  <a:lnTo>
                    <a:pt x="172" y="50"/>
                  </a:lnTo>
                  <a:lnTo>
                    <a:pt x="165" y="55"/>
                  </a:lnTo>
                  <a:lnTo>
                    <a:pt x="161" y="59"/>
                  </a:lnTo>
                  <a:lnTo>
                    <a:pt x="155" y="59"/>
                  </a:lnTo>
                  <a:lnTo>
                    <a:pt x="143" y="59"/>
                  </a:lnTo>
                  <a:lnTo>
                    <a:pt x="132" y="57"/>
                  </a:lnTo>
                  <a:lnTo>
                    <a:pt x="129" y="59"/>
                  </a:lnTo>
                  <a:lnTo>
                    <a:pt x="122" y="59"/>
                  </a:lnTo>
                  <a:lnTo>
                    <a:pt x="112" y="62"/>
                  </a:lnTo>
                  <a:lnTo>
                    <a:pt x="100" y="64"/>
                  </a:lnTo>
                  <a:lnTo>
                    <a:pt x="94" y="67"/>
                  </a:lnTo>
                  <a:lnTo>
                    <a:pt x="77" y="71"/>
                  </a:lnTo>
                  <a:lnTo>
                    <a:pt x="62" y="7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6" name="Freeform 305"/>
            <p:cNvSpPr>
              <a:spLocks/>
            </p:cNvSpPr>
            <p:nvPr/>
          </p:nvSpPr>
          <p:spPr bwMode="auto">
            <a:xfrm>
              <a:off x="1569244" y="1801813"/>
              <a:ext cx="38100" cy="30162"/>
            </a:xfrm>
            <a:custGeom>
              <a:avLst/>
              <a:gdLst/>
              <a:ahLst/>
              <a:cxnLst>
                <a:cxn ang="0">
                  <a:pos x="8" y="19"/>
                </a:cxn>
                <a:cxn ang="0">
                  <a:pos x="1" y="16"/>
                </a:cxn>
                <a:cxn ang="0">
                  <a:pos x="0" y="12"/>
                </a:cxn>
                <a:cxn ang="0">
                  <a:pos x="1" y="5"/>
                </a:cxn>
                <a:cxn ang="0">
                  <a:pos x="8" y="2"/>
                </a:cxn>
                <a:cxn ang="0">
                  <a:pos x="17" y="0"/>
                </a:cxn>
                <a:cxn ang="0">
                  <a:pos x="24" y="0"/>
                </a:cxn>
                <a:cxn ang="0">
                  <a:pos x="17" y="12"/>
                </a:cxn>
                <a:cxn ang="0">
                  <a:pos x="8" y="19"/>
                </a:cxn>
              </a:cxnLst>
              <a:rect l="0" t="0" r="r" b="b"/>
              <a:pathLst>
                <a:path w="24" h="19">
                  <a:moveTo>
                    <a:pt x="8" y="19"/>
                  </a:moveTo>
                  <a:lnTo>
                    <a:pt x="1" y="16"/>
                  </a:lnTo>
                  <a:lnTo>
                    <a:pt x="0" y="12"/>
                  </a:lnTo>
                  <a:lnTo>
                    <a:pt x="1" y="5"/>
                  </a:lnTo>
                  <a:lnTo>
                    <a:pt x="8" y="2"/>
                  </a:lnTo>
                  <a:lnTo>
                    <a:pt x="17" y="0"/>
                  </a:lnTo>
                  <a:lnTo>
                    <a:pt x="24" y="0"/>
                  </a:lnTo>
                  <a:lnTo>
                    <a:pt x="17" y="12"/>
                  </a:lnTo>
                  <a:lnTo>
                    <a:pt x="8" y="1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7" name="Freeform 306"/>
            <p:cNvSpPr>
              <a:spLocks/>
            </p:cNvSpPr>
            <p:nvPr/>
          </p:nvSpPr>
          <p:spPr bwMode="auto">
            <a:xfrm>
              <a:off x="1669257" y="1760538"/>
              <a:ext cx="28575" cy="11112"/>
            </a:xfrm>
            <a:custGeom>
              <a:avLst/>
              <a:gdLst/>
              <a:ahLst/>
              <a:cxnLst>
                <a:cxn ang="0">
                  <a:pos x="7" y="7"/>
                </a:cxn>
                <a:cxn ang="0">
                  <a:pos x="2" y="5"/>
                </a:cxn>
                <a:cxn ang="0">
                  <a:pos x="0" y="0"/>
                </a:cxn>
                <a:cxn ang="0">
                  <a:pos x="18" y="0"/>
                </a:cxn>
                <a:cxn ang="0">
                  <a:pos x="18" y="7"/>
                </a:cxn>
                <a:cxn ang="0">
                  <a:pos x="11" y="7"/>
                </a:cxn>
                <a:cxn ang="0">
                  <a:pos x="7" y="7"/>
                </a:cxn>
              </a:cxnLst>
              <a:rect l="0" t="0" r="r" b="b"/>
              <a:pathLst>
                <a:path w="18" h="7">
                  <a:moveTo>
                    <a:pt x="7" y="7"/>
                  </a:moveTo>
                  <a:lnTo>
                    <a:pt x="2" y="5"/>
                  </a:lnTo>
                  <a:lnTo>
                    <a:pt x="0" y="0"/>
                  </a:lnTo>
                  <a:lnTo>
                    <a:pt x="18" y="0"/>
                  </a:lnTo>
                  <a:lnTo>
                    <a:pt x="18" y="7"/>
                  </a:lnTo>
                  <a:lnTo>
                    <a:pt x="11" y="7"/>
                  </a:lnTo>
                  <a:lnTo>
                    <a:pt x="7"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8" name="Freeform 307"/>
            <p:cNvSpPr>
              <a:spLocks/>
            </p:cNvSpPr>
            <p:nvPr/>
          </p:nvSpPr>
          <p:spPr bwMode="auto">
            <a:xfrm>
              <a:off x="1486694" y="1730375"/>
              <a:ext cx="161925" cy="85725"/>
            </a:xfrm>
            <a:custGeom>
              <a:avLst/>
              <a:gdLst/>
              <a:ahLst/>
              <a:cxnLst>
                <a:cxn ang="0">
                  <a:pos x="102" y="6"/>
                </a:cxn>
                <a:cxn ang="0">
                  <a:pos x="98" y="9"/>
                </a:cxn>
                <a:cxn ang="0">
                  <a:pos x="95" y="14"/>
                </a:cxn>
                <a:cxn ang="0">
                  <a:pos x="96" y="19"/>
                </a:cxn>
                <a:cxn ang="0">
                  <a:pos x="100" y="24"/>
                </a:cxn>
                <a:cxn ang="0">
                  <a:pos x="78" y="40"/>
                </a:cxn>
                <a:cxn ang="0">
                  <a:pos x="69" y="33"/>
                </a:cxn>
                <a:cxn ang="0">
                  <a:pos x="65" y="26"/>
                </a:cxn>
                <a:cxn ang="0">
                  <a:pos x="59" y="37"/>
                </a:cxn>
                <a:cxn ang="0">
                  <a:pos x="48" y="42"/>
                </a:cxn>
                <a:cxn ang="0">
                  <a:pos x="43" y="49"/>
                </a:cxn>
                <a:cxn ang="0">
                  <a:pos x="36" y="54"/>
                </a:cxn>
                <a:cxn ang="0">
                  <a:pos x="31" y="49"/>
                </a:cxn>
                <a:cxn ang="0">
                  <a:pos x="28" y="45"/>
                </a:cxn>
                <a:cxn ang="0">
                  <a:pos x="21" y="45"/>
                </a:cxn>
                <a:cxn ang="0">
                  <a:pos x="14" y="45"/>
                </a:cxn>
                <a:cxn ang="0">
                  <a:pos x="9" y="47"/>
                </a:cxn>
                <a:cxn ang="0">
                  <a:pos x="5" y="50"/>
                </a:cxn>
                <a:cxn ang="0">
                  <a:pos x="2" y="45"/>
                </a:cxn>
                <a:cxn ang="0">
                  <a:pos x="0" y="42"/>
                </a:cxn>
                <a:cxn ang="0">
                  <a:pos x="4" y="37"/>
                </a:cxn>
                <a:cxn ang="0">
                  <a:pos x="12" y="33"/>
                </a:cxn>
                <a:cxn ang="0">
                  <a:pos x="22" y="28"/>
                </a:cxn>
                <a:cxn ang="0">
                  <a:pos x="36" y="23"/>
                </a:cxn>
                <a:cxn ang="0">
                  <a:pos x="41" y="16"/>
                </a:cxn>
                <a:cxn ang="0">
                  <a:pos x="47" y="11"/>
                </a:cxn>
                <a:cxn ang="0">
                  <a:pos x="52" y="6"/>
                </a:cxn>
                <a:cxn ang="0">
                  <a:pos x="62" y="4"/>
                </a:cxn>
                <a:cxn ang="0">
                  <a:pos x="65" y="4"/>
                </a:cxn>
                <a:cxn ang="0">
                  <a:pos x="71" y="6"/>
                </a:cxn>
                <a:cxn ang="0">
                  <a:pos x="74" y="4"/>
                </a:cxn>
                <a:cxn ang="0">
                  <a:pos x="86" y="2"/>
                </a:cxn>
                <a:cxn ang="0">
                  <a:pos x="96" y="0"/>
                </a:cxn>
                <a:cxn ang="0">
                  <a:pos x="102" y="6"/>
                </a:cxn>
              </a:cxnLst>
              <a:rect l="0" t="0" r="r" b="b"/>
              <a:pathLst>
                <a:path w="102" h="54">
                  <a:moveTo>
                    <a:pt x="102" y="6"/>
                  </a:moveTo>
                  <a:lnTo>
                    <a:pt x="98" y="9"/>
                  </a:lnTo>
                  <a:lnTo>
                    <a:pt x="95" y="14"/>
                  </a:lnTo>
                  <a:lnTo>
                    <a:pt x="96" y="19"/>
                  </a:lnTo>
                  <a:lnTo>
                    <a:pt x="100" y="24"/>
                  </a:lnTo>
                  <a:lnTo>
                    <a:pt x="78" y="40"/>
                  </a:lnTo>
                  <a:lnTo>
                    <a:pt x="69" y="33"/>
                  </a:lnTo>
                  <a:lnTo>
                    <a:pt x="65" y="26"/>
                  </a:lnTo>
                  <a:lnTo>
                    <a:pt x="59" y="37"/>
                  </a:lnTo>
                  <a:lnTo>
                    <a:pt x="48" y="42"/>
                  </a:lnTo>
                  <a:lnTo>
                    <a:pt x="43" y="49"/>
                  </a:lnTo>
                  <a:lnTo>
                    <a:pt x="36" y="54"/>
                  </a:lnTo>
                  <a:lnTo>
                    <a:pt x="31" y="49"/>
                  </a:lnTo>
                  <a:lnTo>
                    <a:pt x="28" y="45"/>
                  </a:lnTo>
                  <a:lnTo>
                    <a:pt x="21" y="45"/>
                  </a:lnTo>
                  <a:lnTo>
                    <a:pt x="14" y="45"/>
                  </a:lnTo>
                  <a:lnTo>
                    <a:pt x="9" y="47"/>
                  </a:lnTo>
                  <a:lnTo>
                    <a:pt x="5" y="50"/>
                  </a:lnTo>
                  <a:lnTo>
                    <a:pt x="2" y="45"/>
                  </a:lnTo>
                  <a:lnTo>
                    <a:pt x="0" y="42"/>
                  </a:lnTo>
                  <a:lnTo>
                    <a:pt x="4" y="37"/>
                  </a:lnTo>
                  <a:lnTo>
                    <a:pt x="12" y="33"/>
                  </a:lnTo>
                  <a:lnTo>
                    <a:pt x="22" y="28"/>
                  </a:lnTo>
                  <a:lnTo>
                    <a:pt x="36" y="23"/>
                  </a:lnTo>
                  <a:lnTo>
                    <a:pt x="41" y="16"/>
                  </a:lnTo>
                  <a:lnTo>
                    <a:pt x="47" y="11"/>
                  </a:lnTo>
                  <a:lnTo>
                    <a:pt x="52" y="6"/>
                  </a:lnTo>
                  <a:lnTo>
                    <a:pt x="62" y="4"/>
                  </a:lnTo>
                  <a:lnTo>
                    <a:pt x="65" y="4"/>
                  </a:lnTo>
                  <a:lnTo>
                    <a:pt x="71" y="6"/>
                  </a:lnTo>
                  <a:lnTo>
                    <a:pt x="74" y="4"/>
                  </a:lnTo>
                  <a:lnTo>
                    <a:pt x="86" y="2"/>
                  </a:lnTo>
                  <a:lnTo>
                    <a:pt x="96" y="0"/>
                  </a:lnTo>
                  <a:lnTo>
                    <a:pt x="102"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39" name="Freeform 308"/>
            <p:cNvSpPr>
              <a:spLocks/>
            </p:cNvSpPr>
            <p:nvPr/>
          </p:nvSpPr>
          <p:spPr bwMode="auto">
            <a:xfrm>
              <a:off x="1702594" y="1668463"/>
              <a:ext cx="92075" cy="26987"/>
            </a:xfrm>
            <a:custGeom>
              <a:avLst/>
              <a:gdLst/>
              <a:ahLst/>
              <a:cxnLst>
                <a:cxn ang="0">
                  <a:pos x="22" y="17"/>
                </a:cxn>
                <a:cxn ang="0">
                  <a:pos x="15" y="15"/>
                </a:cxn>
                <a:cxn ang="0">
                  <a:pos x="10" y="14"/>
                </a:cxn>
                <a:cxn ang="0">
                  <a:pos x="3" y="15"/>
                </a:cxn>
                <a:cxn ang="0">
                  <a:pos x="0" y="17"/>
                </a:cxn>
                <a:cxn ang="0">
                  <a:pos x="3" y="10"/>
                </a:cxn>
                <a:cxn ang="0">
                  <a:pos x="15" y="5"/>
                </a:cxn>
                <a:cxn ang="0">
                  <a:pos x="28" y="0"/>
                </a:cxn>
                <a:cxn ang="0">
                  <a:pos x="36" y="0"/>
                </a:cxn>
                <a:cxn ang="0">
                  <a:pos x="50" y="3"/>
                </a:cxn>
                <a:cxn ang="0">
                  <a:pos x="58" y="12"/>
                </a:cxn>
                <a:cxn ang="0">
                  <a:pos x="52" y="15"/>
                </a:cxn>
                <a:cxn ang="0">
                  <a:pos x="45" y="17"/>
                </a:cxn>
                <a:cxn ang="0">
                  <a:pos x="36" y="17"/>
                </a:cxn>
                <a:cxn ang="0">
                  <a:pos x="33" y="17"/>
                </a:cxn>
                <a:cxn ang="0">
                  <a:pos x="28" y="17"/>
                </a:cxn>
                <a:cxn ang="0">
                  <a:pos x="22" y="17"/>
                </a:cxn>
              </a:cxnLst>
              <a:rect l="0" t="0" r="r" b="b"/>
              <a:pathLst>
                <a:path w="58" h="17">
                  <a:moveTo>
                    <a:pt x="22" y="17"/>
                  </a:moveTo>
                  <a:lnTo>
                    <a:pt x="15" y="15"/>
                  </a:lnTo>
                  <a:lnTo>
                    <a:pt x="10" y="14"/>
                  </a:lnTo>
                  <a:lnTo>
                    <a:pt x="3" y="15"/>
                  </a:lnTo>
                  <a:lnTo>
                    <a:pt x="0" y="17"/>
                  </a:lnTo>
                  <a:lnTo>
                    <a:pt x="3" y="10"/>
                  </a:lnTo>
                  <a:lnTo>
                    <a:pt x="15" y="5"/>
                  </a:lnTo>
                  <a:lnTo>
                    <a:pt x="28" y="0"/>
                  </a:lnTo>
                  <a:lnTo>
                    <a:pt x="36" y="0"/>
                  </a:lnTo>
                  <a:lnTo>
                    <a:pt x="50" y="3"/>
                  </a:lnTo>
                  <a:lnTo>
                    <a:pt x="58" y="12"/>
                  </a:lnTo>
                  <a:lnTo>
                    <a:pt x="52" y="15"/>
                  </a:lnTo>
                  <a:lnTo>
                    <a:pt x="45" y="17"/>
                  </a:lnTo>
                  <a:lnTo>
                    <a:pt x="36" y="17"/>
                  </a:lnTo>
                  <a:lnTo>
                    <a:pt x="33" y="17"/>
                  </a:lnTo>
                  <a:lnTo>
                    <a:pt x="28" y="17"/>
                  </a:lnTo>
                  <a:lnTo>
                    <a:pt x="22"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0" name="Freeform 309"/>
            <p:cNvSpPr>
              <a:spLocks/>
            </p:cNvSpPr>
            <p:nvPr/>
          </p:nvSpPr>
          <p:spPr bwMode="auto">
            <a:xfrm>
              <a:off x="1705769" y="1700213"/>
              <a:ext cx="79375" cy="41275"/>
            </a:xfrm>
            <a:custGeom>
              <a:avLst/>
              <a:gdLst/>
              <a:ahLst/>
              <a:cxnLst>
                <a:cxn ang="0">
                  <a:pos x="43" y="11"/>
                </a:cxn>
                <a:cxn ang="0">
                  <a:pos x="39" y="16"/>
                </a:cxn>
                <a:cxn ang="0">
                  <a:pos x="32" y="21"/>
                </a:cxn>
                <a:cxn ang="0">
                  <a:pos x="24" y="25"/>
                </a:cxn>
                <a:cxn ang="0">
                  <a:pos x="15" y="26"/>
                </a:cxn>
                <a:cxn ang="0">
                  <a:pos x="5" y="21"/>
                </a:cxn>
                <a:cxn ang="0">
                  <a:pos x="0" y="13"/>
                </a:cxn>
                <a:cxn ang="0">
                  <a:pos x="3" y="4"/>
                </a:cxn>
                <a:cxn ang="0">
                  <a:pos x="15" y="0"/>
                </a:cxn>
                <a:cxn ang="0">
                  <a:pos x="29" y="0"/>
                </a:cxn>
                <a:cxn ang="0">
                  <a:pos x="41" y="0"/>
                </a:cxn>
                <a:cxn ang="0">
                  <a:pos x="46" y="2"/>
                </a:cxn>
                <a:cxn ang="0">
                  <a:pos x="50" y="6"/>
                </a:cxn>
                <a:cxn ang="0">
                  <a:pos x="39" y="9"/>
                </a:cxn>
                <a:cxn ang="0">
                  <a:pos x="29" y="11"/>
                </a:cxn>
                <a:cxn ang="0">
                  <a:pos x="43" y="11"/>
                </a:cxn>
              </a:cxnLst>
              <a:rect l="0" t="0" r="r" b="b"/>
              <a:pathLst>
                <a:path w="50" h="26">
                  <a:moveTo>
                    <a:pt x="43" y="11"/>
                  </a:moveTo>
                  <a:lnTo>
                    <a:pt x="39" y="16"/>
                  </a:lnTo>
                  <a:lnTo>
                    <a:pt x="32" y="21"/>
                  </a:lnTo>
                  <a:lnTo>
                    <a:pt x="24" y="25"/>
                  </a:lnTo>
                  <a:lnTo>
                    <a:pt x="15" y="26"/>
                  </a:lnTo>
                  <a:lnTo>
                    <a:pt x="5" y="21"/>
                  </a:lnTo>
                  <a:lnTo>
                    <a:pt x="0" y="13"/>
                  </a:lnTo>
                  <a:lnTo>
                    <a:pt x="3" y="4"/>
                  </a:lnTo>
                  <a:lnTo>
                    <a:pt x="15" y="0"/>
                  </a:lnTo>
                  <a:lnTo>
                    <a:pt x="29" y="0"/>
                  </a:lnTo>
                  <a:lnTo>
                    <a:pt x="41" y="0"/>
                  </a:lnTo>
                  <a:lnTo>
                    <a:pt x="46" y="2"/>
                  </a:lnTo>
                  <a:lnTo>
                    <a:pt x="50" y="6"/>
                  </a:lnTo>
                  <a:lnTo>
                    <a:pt x="39" y="9"/>
                  </a:lnTo>
                  <a:lnTo>
                    <a:pt x="29" y="11"/>
                  </a:lnTo>
                  <a:lnTo>
                    <a:pt x="43" y="11"/>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1" name="Freeform 310"/>
            <p:cNvSpPr>
              <a:spLocks/>
            </p:cNvSpPr>
            <p:nvPr/>
          </p:nvSpPr>
          <p:spPr bwMode="auto">
            <a:xfrm>
              <a:off x="1667669" y="1703388"/>
              <a:ext cx="26988" cy="22225"/>
            </a:xfrm>
            <a:custGeom>
              <a:avLst/>
              <a:gdLst/>
              <a:ahLst/>
              <a:cxnLst>
                <a:cxn ang="0">
                  <a:pos x="17" y="9"/>
                </a:cxn>
                <a:cxn ang="0">
                  <a:pos x="13" y="12"/>
                </a:cxn>
                <a:cxn ang="0">
                  <a:pos x="10" y="14"/>
                </a:cxn>
                <a:cxn ang="0">
                  <a:pos x="1" y="11"/>
                </a:cxn>
                <a:cxn ang="0">
                  <a:pos x="0" y="7"/>
                </a:cxn>
                <a:cxn ang="0">
                  <a:pos x="1" y="0"/>
                </a:cxn>
                <a:cxn ang="0">
                  <a:pos x="7" y="2"/>
                </a:cxn>
                <a:cxn ang="0">
                  <a:pos x="12" y="5"/>
                </a:cxn>
                <a:cxn ang="0">
                  <a:pos x="17" y="9"/>
                </a:cxn>
              </a:cxnLst>
              <a:rect l="0" t="0" r="r" b="b"/>
              <a:pathLst>
                <a:path w="17" h="14">
                  <a:moveTo>
                    <a:pt x="17" y="9"/>
                  </a:moveTo>
                  <a:lnTo>
                    <a:pt x="13" y="12"/>
                  </a:lnTo>
                  <a:lnTo>
                    <a:pt x="10" y="14"/>
                  </a:lnTo>
                  <a:lnTo>
                    <a:pt x="1" y="11"/>
                  </a:lnTo>
                  <a:lnTo>
                    <a:pt x="0" y="7"/>
                  </a:lnTo>
                  <a:lnTo>
                    <a:pt x="1" y="0"/>
                  </a:lnTo>
                  <a:lnTo>
                    <a:pt x="7" y="2"/>
                  </a:lnTo>
                  <a:lnTo>
                    <a:pt x="12" y="5"/>
                  </a:lnTo>
                  <a:lnTo>
                    <a:pt x="17" y="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2" name="Freeform 311"/>
            <p:cNvSpPr>
              <a:spLocks/>
            </p:cNvSpPr>
            <p:nvPr/>
          </p:nvSpPr>
          <p:spPr bwMode="auto">
            <a:xfrm>
              <a:off x="1964532" y="1905000"/>
              <a:ext cx="136525" cy="109537"/>
            </a:xfrm>
            <a:custGeom>
              <a:avLst/>
              <a:gdLst/>
              <a:ahLst/>
              <a:cxnLst>
                <a:cxn ang="0">
                  <a:pos x="76" y="26"/>
                </a:cxn>
                <a:cxn ang="0">
                  <a:pos x="74" y="30"/>
                </a:cxn>
                <a:cxn ang="0">
                  <a:pos x="74" y="33"/>
                </a:cxn>
                <a:cxn ang="0">
                  <a:pos x="79" y="33"/>
                </a:cxn>
                <a:cxn ang="0">
                  <a:pos x="86" y="37"/>
                </a:cxn>
                <a:cxn ang="0">
                  <a:pos x="84" y="43"/>
                </a:cxn>
                <a:cxn ang="0">
                  <a:pos x="83" y="50"/>
                </a:cxn>
                <a:cxn ang="0">
                  <a:pos x="81" y="54"/>
                </a:cxn>
                <a:cxn ang="0">
                  <a:pos x="81" y="57"/>
                </a:cxn>
                <a:cxn ang="0">
                  <a:pos x="74" y="59"/>
                </a:cxn>
                <a:cxn ang="0">
                  <a:pos x="65" y="62"/>
                </a:cxn>
                <a:cxn ang="0">
                  <a:pos x="60" y="66"/>
                </a:cxn>
                <a:cxn ang="0">
                  <a:pos x="55" y="69"/>
                </a:cxn>
                <a:cxn ang="0">
                  <a:pos x="48" y="66"/>
                </a:cxn>
                <a:cxn ang="0">
                  <a:pos x="45" y="61"/>
                </a:cxn>
                <a:cxn ang="0">
                  <a:pos x="33" y="52"/>
                </a:cxn>
                <a:cxn ang="0">
                  <a:pos x="22" y="47"/>
                </a:cxn>
                <a:cxn ang="0">
                  <a:pos x="10" y="42"/>
                </a:cxn>
                <a:cxn ang="0">
                  <a:pos x="0" y="35"/>
                </a:cxn>
                <a:cxn ang="0">
                  <a:pos x="0" y="26"/>
                </a:cxn>
                <a:cxn ang="0">
                  <a:pos x="10" y="28"/>
                </a:cxn>
                <a:cxn ang="0">
                  <a:pos x="22" y="31"/>
                </a:cxn>
                <a:cxn ang="0">
                  <a:pos x="26" y="31"/>
                </a:cxn>
                <a:cxn ang="0">
                  <a:pos x="31" y="31"/>
                </a:cxn>
                <a:cxn ang="0">
                  <a:pos x="31" y="18"/>
                </a:cxn>
                <a:cxn ang="0">
                  <a:pos x="19" y="16"/>
                </a:cxn>
                <a:cxn ang="0">
                  <a:pos x="14" y="12"/>
                </a:cxn>
                <a:cxn ang="0">
                  <a:pos x="16" y="9"/>
                </a:cxn>
                <a:cxn ang="0">
                  <a:pos x="17" y="7"/>
                </a:cxn>
                <a:cxn ang="0">
                  <a:pos x="31" y="0"/>
                </a:cxn>
                <a:cxn ang="0">
                  <a:pos x="48" y="2"/>
                </a:cxn>
                <a:cxn ang="0">
                  <a:pos x="60" y="2"/>
                </a:cxn>
                <a:cxn ang="0">
                  <a:pos x="69" y="2"/>
                </a:cxn>
                <a:cxn ang="0">
                  <a:pos x="71" y="2"/>
                </a:cxn>
                <a:cxn ang="0">
                  <a:pos x="72" y="6"/>
                </a:cxn>
                <a:cxn ang="0">
                  <a:pos x="65" y="18"/>
                </a:cxn>
                <a:cxn ang="0">
                  <a:pos x="57" y="25"/>
                </a:cxn>
                <a:cxn ang="0">
                  <a:pos x="60" y="23"/>
                </a:cxn>
                <a:cxn ang="0">
                  <a:pos x="67" y="23"/>
                </a:cxn>
                <a:cxn ang="0">
                  <a:pos x="72" y="21"/>
                </a:cxn>
                <a:cxn ang="0">
                  <a:pos x="76" y="26"/>
                </a:cxn>
              </a:cxnLst>
              <a:rect l="0" t="0" r="r" b="b"/>
              <a:pathLst>
                <a:path w="86" h="69">
                  <a:moveTo>
                    <a:pt x="76" y="26"/>
                  </a:moveTo>
                  <a:lnTo>
                    <a:pt x="74" y="30"/>
                  </a:lnTo>
                  <a:lnTo>
                    <a:pt x="74" y="33"/>
                  </a:lnTo>
                  <a:lnTo>
                    <a:pt x="79" y="33"/>
                  </a:lnTo>
                  <a:lnTo>
                    <a:pt x="86" y="37"/>
                  </a:lnTo>
                  <a:lnTo>
                    <a:pt x="84" y="43"/>
                  </a:lnTo>
                  <a:lnTo>
                    <a:pt x="83" y="50"/>
                  </a:lnTo>
                  <a:lnTo>
                    <a:pt x="81" y="54"/>
                  </a:lnTo>
                  <a:lnTo>
                    <a:pt x="81" y="57"/>
                  </a:lnTo>
                  <a:lnTo>
                    <a:pt x="74" y="59"/>
                  </a:lnTo>
                  <a:lnTo>
                    <a:pt x="65" y="62"/>
                  </a:lnTo>
                  <a:lnTo>
                    <a:pt x="60" y="66"/>
                  </a:lnTo>
                  <a:lnTo>
                    <a:pt x="55" y="69"/>
                  </a:lnTo>
                  <a:lnTo>
                    <a:pt x="48" y="66"/>
                  </a:lnTo>
                  <a:lnTo>
                    <a:pt x="45" y="61"/>
                  </a:lnTo>
                  <a:lnTo>
                    <a:pt x="33" y="52"/>
                  </a:lnTo>
                  <a:lnTo>
                    <a:pt x="22" y="47"/>
                  </a:lnTo>
                  <a:lnTo>
                    <a:pt x="10" y="42"/>
                  </a:lnTo>
                  <a:lnTo>
                    <a:pt x="0" y="35"/>
                  </a:lnTo>
                  <a:lnTo>
                    <a:pt x="0" y="26"/>
                  </a:lnTo>
                  <a:lnTo>
                    <a:pt x="10" y="28"/>
                  </a:lnTo>
                  <a:lnTo>
                    <a:pt x="22" y="31"/>
                  </a:lnTo>
                  <a:lnTo>
                    <a:pt x="26" y="31"/>
                  </a:lnTo>
                  <a:lnTo>
                    <a:pt x="31" y="31"/>
                  </a:lnTo>
                  <a:lnTo>
                    <a:pt x="31" y="18"/>
                  </a:lnTo>
                  <a:lnTo>
                    <a:pt x="19" y="16"/>
                  </a:lnTo>
                  <a:lnTo>
                    <a:pt x="14" y="12"/>
                  </a:lnTo>
                  <a:lnTo>
                    <a:pt x="16" y="9"/>
                  </a:lnTo>
                  <a:lnTo>
                    <a:pt x="17" y="7"/>
                  </a:lnTo>
                  <a:lnTo>
                    <a:pt x="31" y="0"/>
                  </a:lnTo>
                  <a:lnTo>
                    <a:pt x="48" y="2"/>
                  </a:lnTo>
                  <a:lnTo>
                    <a:pt x="60" y="2"/>
                  </a:lnTo>
                  <a:lnTo>
                    <a:pt x="69" y="2"/>
                  </a:lnTo>
                  <a:lnTo>
                    <a:pt x="71" y="2"/>
                  </a:lnTo>
                  <a:lnTo>
                    <a:pt x="72" y="6"/>
                  </a:lnTo>
                  <a:lnTo>
                    <a:pt x="65" y="18"/>
                  </a:lnTo>
                  <a:lnTo>
                    <a:pt x="57" y="25"/>
                  </a:lnTo>
                  <a:lnTo>
                    <a:pt x="60" y="23"/>
                  </a:lnTo>
                  <a:lnTo>
                    <a:pt x="67" y="23"/>
                  </a:lnTo>
                  <a:lnTo>
                    <a:pt x="72" y="21"/>
                  </a:lnTo>
                  <a:lnTo>
                    <a:pt x="76" y="2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3" name="Freeform 312"/>
            <p:cNvSpPr>
              <a:spLocks/>
            </p:cNvSpPr>
            <p:nvPr/>
          </p:nvSpPr>
          <p:spPr bwMode="auto">
            <a:xfrm>
              <a:off x="1915319" y="1771650"/>
              <a:ext cx="152400" cy="76200"/>
            </a:xfrm>
            <a:custGeom>
              <a:avLst/>
              <a:gdLst/>
              <a:ahLst/>
              <a:cxnLst>
                <a:cxn ang="0">
                  <a:pos x="4" y="12"/>
                </a:cxn>
                <a:cxn ang="0">
                  <a:pos x="0" y="7"/>
                </a:cxn>
                <a:cxn ang="0">
                  <a:pos x="0" y="2"/>
                </a:cxn>
                <a:cxn ang="0">
                  <a:pos x="2" y="2"/>
                </a:cxn>
                <a:cxn ang="0">
                  <a:pos x="5" y="2"/>
                </a:cxn>
                <a:cxn ang="0">
                  <a:pos x="14" y="5"/>
                </a:cxn>
                <a:cxn ang="0">
                  <a:pos x="24" y="14"/>
                </a:cxn>
                <a:cxn ang="0">
                  <a:pos x="31" y="21"/>
                </a:cxn>
                <a:cxn ang="0">
                  <a:pos x="43" y="23"/>
                </a:cxn>
                <a:cxn ang="0">
                  <a:pos x="36" y="17"/>
                </a:cxn>
                <a:cxn ang="0">
                  <a:pos x="33" y="14"/>
                </a:cxn>
                <a:cxn ang="0">
                  <a:pos x="33" y="9"/>
                </a:cxn>
                <a:cxn ang="0">
                  <a:pos x="40" y="9"/>
                </a:cxn>
                <a:cxn ang="0">
                  <a:pos x="47" y="14"/>
                </a:cxn>
                <a:cxn ang="0">
                  <a:pos x="52" y="16"/>
                </a:cxn>
                <a:cxn ang="0">
                  <a:pos x="62" y="19"/>
                </a:cxn>
                <a:cxn ang="0">
                  <a:pos x="62" y="9"/>
                </a:cxn>
                <a:cxn ang="0">
                  <a:pos x="48" y="7"/>
                </a:cxn>
                <a:cxn ang="0">
                  <a:pos x="43" y="2"/>
                </a:cxn>
                <a:cxn ang="0">
                  <a:pos x="47" y="0"/>
                </a:cxn>
                <a:cxn ang="0">
                  <a:pos x="52" y="0"/>
                </a:cxn>
                <a:cxn ang="0">
                  <a:pos x="62" y="2"/>
                </a:cxn>
                <a:cxn ang="0">
                  <a:pos x="76" y="5"/>
                </a:cxn>
                <a:cxn ang="0">
                  <a:pos x="79" y="4"/>
                </a:cxn>
                <a:cxn ang="0">
                  <a:pos x="86" y="2"/>
                </a:cxn>
                <a:cxn ang="0">
                  <a:pos x="93" y="5"/>
                </a:cxn>
                <a:cxn ang="0">
                  <a:pos x="96" y="14"/>
                </a:cxn>
                <a:cxn ang="0">
                  <a:pos x="95" y="21"/>
                </a:cxn>
                <a:cxn ang="0">
                  <a:pos x="93" y="29"/>
                </a:cxn>
                <a:cxn ang="0">
                  <a:pos x="90" y="36"/>
                </a:cxn>
                <a:cxn ang="0">
                  <a:pos x="91" y="47"/>
                </a:cxn>
                <a:cxn ang="0">
                  <a:pos x="78" y="47"/>
                </a:cxn>
                <a:cxn ang="0">
                  <a:pos x="71" y="48"/>
                </a:cxn>
                <a:cxn ang="0">
                  <a:pos x="66" y="48"/>
                </a:cxn>
                <a:cxn ang="0">
                  <a:pos x="62" y="48"/>
                </a:cxn>
                <a:cxn ang="0">
                  <a:pos x="57" y="47"/>
                </a:cxn>
                <a:cxn ang="0">
                  <a:pos x="55" y="47"/>
                </a:cxn>
                <a:cxn ang="0">
                  <a:pos x="55" y="43"/>
                </a:cxn>
                <a:cxn ang="0">
                  <a:pos x="59" y="41"/>
                </a:cxn>
                <a:cxn ang="0">
                  <a:pos x="59" y="38"/>
                </a:cxn>
                <a:cxn ang="0">
                  <a:pos x="59" y="36"/>
                </a:cxn>
                <a:cxn ang="0">
                  <a:pos x="64" y="31"/>
                </a:cxn>
                <a:cxn ang="0">
                  <a:pos x="71" y="29"/>
                </a:cxn>
                <a:cxn ang="0">
                  <a:pos x="67" y="28"/>
                </a:cxn>
                <a:cxn ang="0">
                  <a:pos x="66" y="28"/>
                </a:cxn>
                <a:cxn ang="0">
                  <a:pos x="55" y="28"/>
                </a:cxn>
                <a:cxn ang="0">
                  <a:pos x="47" y="29"/>
                </a:cxn>
                <a:cxn ang="0">
                  <a:pos x="36" y="31"/>
                </a:cxn>
                <a:cxn ang="0">
                  <a:pos x="28" y="33"/>
                </a:cxn>
                <a:cxn ang="0">
                  <a:pos x="23" y="29"/>
                </a:cxn>
                <a:cxn ang="0">
                  <a:pos x="23" y="26"/>
                </a:cxn>
                <a:cxn ang="0">
                  <a:pos x="14" y="26"/>
                </a:cxn>
                <a:cxn ang="0">
                  <a:pos x="14" y="21"/>
                </a:cxn>
                <a:cxn ang="0">
                  <a:pos x="5" y="19"/>
                </a:cxn>
                <a:cxn ang="0">
                  <a:pos x="0" y="16"/>
                </a:cxn>
                <a:cxn ang="0">
                  <a:pos x="0" y="7"/>
                </a:cxn>
                <a:cxn ang="0">
                  <a:pos x="4" y="12"/>
                </a:cxn>
              </a:cxnLst>
              <a:rect l="0" t="0" r="r" b="b"/>
              <a:pathLst>
                <a:path w="96" h="48">
                  <a:moveTo>
                    <a:pt x="4" y="12"/>
                  </a:moveTo>
                  <a:lnTo>
                    <a:pt x="0" y="7"/>
                  </a:lnTo>
                  <a:lnTo>
                    <a:pt x="0" y="2"/>
                  </a:lnTo>
                  <a:lnTo>
                    <a:pt x="2" y="2"/>
                  </a:lnTo>
                  <a:lnTo>
                    <a:pt x="5" y="2"/>
                  </a:lnTo>
                  <a:lnTo>
                    <a:pt x="14" y="5"/>
                  </a:lnTo>
                  <a:lnTo>
                    <a:pt x="24" y="14"/>
                  </a:lnTo>
                  <a:lnTo>
                    <a:pt x="31" y="21"/>
                  </a:lnTo>
                  <a:lnTo>
                    <a:pt x="43" y="23"/>
                  </a:lnTo>
                  <a:lnTo>
                    <a:pt x="36" y="17"/>
                  </a:lnTo>
                  <a:lnTo>
                    <a:pt x="33" y="14"/>
                  </a:lnTo>
                  <a:lnTo>
                    <a:pt x="33" y="9"/>
                  </a:lnTo>
                  <a:lnTo>
                    <a:pt x="40" y="9"/>
                  </a:lnTo>
                  <a:lnTo>
                    <a:pt x="47" y="14"/>
                  </a:lnTo>
                  <a:lnTo>
                    <a:pt x="52" y="16"/>
                  </a:lnTo>
                  <a:lnTo>
                    <a:pt x="62" y="19"/>
                  </a:lnTo>
                  <a:lnTo>
                    <a:pt x="62" y="9"/>
                  </a:lnTo>
                  <a:lnTo>
                    <a:pt x="48" y="7"/>
                  </a:lnTo>
                  <a:lnTo>
                    <a:pt x="43" y="2"/>
                  </a:lnTo>
                  <a:lnTo>
                    <a:pt x="47" y="0"/>
                  </a:lnTo>
                  <a:lnTo>
                    <a:pt x="52" y="0"/>
                  </a:lnTo>
                  <a:lnTo>
                    <a:pt x="62" y="2"/>
                  </a:lnTo>
                  <a:lnTo>
                    <a:pt x="76" y="5"/>
                  </a:lnTo>
                  <a:lnTo>
                    <a:pt x="79" y="4"/>
                  </a:lnTo>
                  <a:lnTo>
                    <a:pt x="86" y="2"/>
                  </a:lnTo>
                  <a:lnTo>
                    <a:pt x="93" y="5"/>
                  </a:lnTo>
                  <a:lnTo>
                    <a:pt x="96" y="14"/>
                  </a:lnTo>
                  <a:lnTo>
                    <a:pt x="95" y="21"/>
                  </a:lnTo>
                  <a:lnTo>
                    <a:pt x="93" y="29"/>
                  </a:lnTo>
                  <a:lnTo>
                    <a:pt x="90" y="36"/>
                  </a:lnTo>
                  <a:lnTo>
                    <a:pt x="91" y="47"/>
                  </a:lnTo>
                  <a:lnTo>
                    <a:pt x="78" y="47"/>
                  </a:lnTo>
                  <a:lnTo>
                    <a:pt x="71" y="48"/>
                  </a:lnTo>
                  <a:lnTo>
                    <a:pt x="66" y="48"/>
                  </a:lnTo>
                  <a:lnTo>
                    <a:pt x="62" y="48"/>
                  </a:lnTo>
                  <a:lnTo>
                    <a:pt x="57" y="47"/>
                  </a:lnTo>
                  <a:lnTo>
                    <a:pt x="55" y="47"/>
                  </a:lnTo>
                  <a:lnTo>
                    <a:pt x="55" y="43"/>
                  </a:lnTo>
                  <a:lnTo>
                    <a:pt x="59" y="41"/>
                  </a:lnTo>
                  <a:lnTo>
                    <a:pt x="59" y="38"/>
                  </a:lnTo>
                  <a:lnTo>
                    <a:pt x="59" y="36"/>
                  </a:lnTo>
                  <a:lnTo>
                    <a:pt x="64" y="31"/>
                  </a:lnTo>
                  <a:lnTo>
                    <a:pt x="71" y="29"/>
                  </a:lnTo>
                  <a:lnTo>
                    <a:pt x="67" y="28"/>
                  </a:lnTo>
                  <a:lnTo>
                    <a:pt x="66" y="28"/>
                  </a:lnTo>
                  <a:lnTo>
                    <a:pt x="55" y="28"/>
                  </a:lnTo>
                  <a:lnTo>
                    <a:pt x="47" y="29"/>
                  </a:lnTo>
                  <a:lnTo>
                    <a:pt x="36" y="31"/>
                  </a:lnTo>
                  <a:lnTo>
                    <a:pt x="28" y="33"/>
                  </a:lnTo>
                  <a:lnTo>
                    <a:pt x="23" y="29"/>
                  </a:lnTo>
                  <a:lnTo>
                    <a:pt x="23" y="26"/>
                  </a:lnTo>
                  <a:lnTo>
                    <a:pt x="14" y="26"/>
                  </a:lnTo>
                  <a:lnTo>
                    <a:pt x="14" y="21"/>
                  </a:lnTo>
                  <a:lnTo>
                    <a:pt x="5" y="19"/>
                  </a:lnTo>
                  <a:lnTo>
                    <a:pt x="0" y="16"/>
                  </a:lnTo>
                  <a:lnTo>
                    <a:pt x="0" y="7"/>
                  </a:lnTo>
                  <a:lnTo>
                    <a:pt x="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4" name="Freeform 313"/>
            <p:cNvSpPr>
              <a:spLocks/>
            </p:cNvSpPr>
            <p:nvPr/>
          </p:nvSpPr>
          <p:spPr bwMode="auto">
            <a:xfrm>
              <a:off x="2029619" y="2078038"/>
              <a:ext cx="90488" cy="53975"/>
            </a:xfrm>
            <a:custGeom>
              <a:avLst/>
              <a:gdLst/>
              <a:ahLst/>
              <a:cxnLst>
                <a:cxn ang="0">
                  <a:pos x="45" y="34"/>
                </a:cxn>
                <a:cxn ang="0">
                  <a:pos x="35" y="31"/>
                </a:cxn>
                <a:cxn ang="0">
                  <a:pos x="19" y="26"/>
                </a:cxn>
                <a:cxn ang="0">
                  <a:pos x="6" y="20"/>
                </a:cxn>
                <a:cxn ang="0">
                  <a:pos x="0" y="19"/>
                </a:cxn>
                <a:cxn ang="0">
                  <a:pos x="6" y="15"/>
                </a:cxn>
                <a:cxn ang="0">
                  <a:pos x="12" y="17"/>
                </a:cxn>
                <a:cxn ang="0">
                  <a:pos x="14" y="12"/>
                </a:cxn>
                <a:cxn ang="0">
                  <a:pos x="16" y="7"/>
                </a:cxn>
                <a:cxn ang="0">
                  <a:pos x="19" y="2"/>
                </a:cxn>
                <a:cxn ang="0">
                  <a:pos x="26" y="0"/>
                </a:cxn>
                <a:cxn ang="0">
                  <a:pos x="33" y="2"/>
                </a:cxn>
                <a:cxn ang="0">
                  <a:pos x="43" y="10"/>
                </a:cxn>
                <a:cxn ang="0">
                  <a:pos x="52" y="17"/>
                </a:cxn>
                <a:cxn ang="0">
                  <a:pos x="57" y="26"/>
                </a:cxn>
                <a:cxn ang="0">
                  <a:pos x="50" y="31"/>
                </a:cxn>
                <a:cxn ang="0">
                  <a:pos x="45" y="34"/>
                </a:cxn>
              </a:cxnLst>
              <a:rect l="0" t="0" r="r" b="b"/>
              <a:pathLst>
                <a:path w="57" h="34">
                  <a:moveTo>
                    <a:pt x="45" y="34"/>
                  </a:moveTo>
                  <a:lnTo>
                    <a:pt x="35" y="31"/>
                  </a:lnTo>
                  <a:lnTo>
                    <a:pt x="19" y="26"/>
                  </a:lnTo>
                  <a:lnTo>
                    <a:pt x="6" y="20"/>
                  </a:lnTo>
                  <a:lnTo>
                    <a:pt x="0" y="19"/>
                  </a:lnTo>
                  <a:lnTo>
                    <a:pt x="6" y="15"/>
                  </a:lnTo>
                  <a:lnTo>
                    <a:pt x="12" y="17"/>
                  </a:lnTo>
                  <a:lnTo>
                    <a:pt x="14" y="12"/>
                  </a:lnTo>
                  <a:lnTo>
                    <a:pt x="16" y="7"/>
                  </a:lnTo>
                  <a:lnTo>
                    <a:pt x="19" y="2"/>
                  </a:lnTo>
                  <a:lnTo>
                    <a:pt x="26" y="0"/>
                  </a:lnTo>
                  <a:lnTo>
                    <a:pt x="33" y="2"/>
                  </a:lnTo>
                  <a:lnTo>
                    <a:pt x="43" y="10"/>
                  </a:lnTo>
                  <a:lnTo>
                    <a:pt x="52" y="17"/>
                  </a:lnTo>
                  <a:lnTo>
                    <a:pt x="57" y="26"/>
                  </a:lnTo>
                  <a:lnTo>
                    <a:pt x="50" y="31"/>
                  </a:lnTo>
                  <a:lnTo>
                    <a:pt x="45" y="3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5" name="Freeform 314"/>
            <p:cNvSpPr>
              <a:spLocks/>
            </p:cNvSpPr>
            <p:nvPr/>
          </p:nvSpPr>
          <p:spPr bwMode="auto">
            <a:xfrm>
              <a:off x="2116932" y="1889125"/>
              <a:ext cx="117475" cy="95250"/>
            </a:xfrm>
            <a:custGeom>
              <a:avLst/>
              <a:gdLst/>
              <a:ahLst/>
              <a:cxnLst>
                <a:cxn ang="0">
                  <a:pos x="74" y="12"/>
                </a:cxn>
                <a:cxn ang="0">
                  <a:pos x="69" y="16"/>
                </a:cxn>
                <a:cxn ang="0">
                  <a:pos x="66" y="21"/>
                </a:cxn>
                <a:cxn ang="0">
                  <a:pos x="59" y="26"/>
                </a:cxn>
                <a:cxn ang="0">
                  <a:pos x="54" y="33"/>
                </a:cxn>
                <a:cxn ang="0">
                  <a:pos x="45" y="38"/>
                </a:cxn>
                <a:cxn ang="0">
                  <a:pos x="37" y="41"/>
                </a:cxn>
                <a:cxn ang="0">
                  <a:pos x="26" y="38"/>
                </a:cxn>
                <a:cxn ang="0">
                  <a:pos x="23" y="45"/>
                </a:cxn>
                <a:cxn ang="0">
                  <a:pos x="30" y="45"/>
                </a:cxn>
                <a:cxn ang="0">
                  <a:pos x="25" y="53"/>
                </a:cxn>
                <a:cxn ang="0">
                  <a:pos x="18" y="60"/>
                </a:cxn>
                <a:cxn ang="0">
                  <a:pos x="7" y="60"/>
                </a:cxn>
                <a:cxn ang="0">
                  <a:pos x="7" y="52"/>
                </a:cxn>
                <a:cxn ang="0">
                  <a:pos x="7" y="47"/>
                </a:cxn>
                <a:cxn ang="0">
                  <a:pos x="2" y="35"/>
                </a:cxn>
                <a:cxn ang="0">
                  <a:pos x="0" y="22"/>
                </a:cxn>
                <a:cxn ang="0">
                  <a:pos x="0" y="12"/>
                </a:cxn>
                <a:cxn ang="0">
                  <a:pos x="6" y="12"/>
                </a:cxn>
                <a:cxn ang="0">
                  <a:pos x="12" y="12"/>
                </a:cxn>
                <a:cxn ang="0">
                  <a:pos x="11" y="10"/>
                </a:cxn>
                <a:cxn ang="0">
                  <a:pos x="12" y="9"/>
                </a:cxn>
                <a:cxn ang="0">
                  <a:pos x="14" y="4"/>
                </a:cxn>
                <a:cxn ang="0">
                  <a:pos x="26" y="0"/>
                </a:cxn>
                <a:cxn ang="0">
                  <a:pos x="38" y="0"/>
                </a:cxn>
                <a:cxn ang="0">
                  <a:pos x="50" y="4"/>
                </a:cxn>
                <a:cxn ang="0">
                  <a:pos x="61" y="5"/>
                </a:cxn>
                <a:cxn ang="0">
                  <a:pos x="74" y="7"/>
                </a:cxn>
                <a:cxn ang="0">
                  <a:pos x="74" y="9"/>
                </a:cxn>
                <a:cxn ang="0">
                  <a:pos x="74" y="12"/>
                </a:cxn>
              </a:cxnLst>
              <a:rect l="0" t="0" r="r" b="b"/>
              <a:pathLst>
                <a:path w="74" h="60">
                  <a:moveTo>
                    <a:pt x="74" y="12"/>
                  </a:moveTo>
                  <a:lnTo>
                    <a:pt x="69" y="16"/>
                  </a:lnTo>
                  <a:lnTo>
                    <a:pt x="66" y="21"/>
                  </a:lnTo>
                  <a:lnTo>
                    <a:pt x="59" y="26"/>
                  </a:lnTo>
                  <a:lnTo>
                    <a:pt x="54" y="33"/>
                  </a:lnTo>
                  <a:lnTo>
                    <a:pt x="45" y="38"/>
                  </a:lnTo>
                  <a:lnTo>
                    <a:pt x="37" y="41"/>
                  </a:lnTo>
                  <a:lnTo>
                    <a:pt x="26" y="38"/>
                  </a:lnTo>
                  <a:lnTo>
                    <a:pt x="23" y="45"/>
                  </a:lnTo>
                  <a:lnTo>
                    <a:pt x="30" y="45"/>
                  </a:lnTo>
                  <a:lnTo>
                    <a:pt x="25" y="53"/>
                  </a:lnTo>
                  <a:lnTo>
                    <a:pt x="18" y="60"/>
                  </a:lnTo>
                  <a:lnTo>
                    <a:pt x="7" y="60"/>
                  </a:lnTo>
                  <a:lnTo>
                    <a:pt x="7" y="52"/>
                  </a:lnTo>
                  <a:lnTo>
                    <a:pt x="7" y="47"/>
                  </a:lnTo>
                  <a:lnTo>
                    <a:pt x="2" y="35"/>
                  </a:lnTo>
                  <a:lnTo>
                    <a:pt x="0" y="22"/>
                  </a:lnTo>
                  <a:lnTo>
                    <a:pt x="0" y="12"/>
                  </a:lnTo>
                  <a:lnTo>
                    <a:pt x="6" y="12"/>
                  </a:lnTo>
                  <a:lnTo>
                    <a:pt x="12" y="12"/>
                  </a:lnTo>
                  <a:lnTo>
                    <a:pt x="11" y="10"/>
                  </a:lnTo>
                  <a:lnTo>
                    <a:pt x="12" y="9"/>
                  </a:lnTo>
                  <a:lnTo>
                    <a:pt x="14" y="4"/>
                  </a:lnTo>
                  <a:lnTo>
                    <a:pt x="26" y="0"/>
                  </a:lnTo>
                  <a:lnTo>
                    <a:pt x="38" y="0"/>
                  </a:lnTo>
                  <a:lnTo>
                    <a:pt x="50" y="4"/>
                  </a:lnTo>
                  <a:lnTo>
                    <a:pt x="61" y="5"/>
                  </a:lnTo>
                  <a:lnTo>
                    <a:pt x="74" y="7"/>
                  </a:lnTo>
                  <a:lnTo>
                    <a:pt x="74" y="9"/>
                  </a:lnTo>
                  <a:lnTo>
                    <a:pt x="7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6" name="Freeform 315"/>
            <p:cNvSpPr>
              <a:spLocks/>
            </p:cNvSpPr>
            <p:nvPr/>
          </p:nvSpPr>
          <p:spPr bwMode="auto">
            <a:xfrm>
              <a:off x="1874044" y="1717675"/>
              <a:ext cx="41275" cy="31750"/>
            </a:xfrm>
            <a:custGeom>
              <a:avLst/>
              <a:gdLst/>
              <a:ahLst/>
              <a:cxnLst>
                <a:cxn ang="0">
                  <a:pos x="26" y="15"/>
                </a:cxn>
                <a:cxn ang="0">
                  <a:pos x="23" y="19"/>
                </a:cxn>
                <a:cxn ang="0">
                  <a:pos x="19" y="20"/>
                </a:cxn>
                <a:cxn ang="0">
                  <a:pos x="12" y="17"/>
                </a:cxn>
                <a:cxn ang="0">
                  <a:pos x="7" y="12"/>
                </a:cxn>
                <a:cxn ang="0">
                  <a:pos x="0" y="5"/>
                </a:cxn>
                <a:cxn ang="0">
                  <a:pos x="0" y="0"/>
                </a:cxn>
                <a:cxn ang="0">
                  <a:pos x="7" y="0"/>
                </a:cxn>
                <a:cxn ang="0">
                  <a:pos x="14" y="5"/>
                </a:cxn>
                <a:cxn ang="0">
                  <a:pos x="19" y="10"/>
                </a:cxn>
                <a:cxn ang="0">
                  <a:pos x="26" y="15"/>
                </a:cxn>
              </a:cxnLst>
              <a:rect l="0" t="0" r="r" b="b"/>
              <a:pathLst>
                <a:path w="26" h="20">
                  <a:moveTo>
                    <a:pt x="26" y="15"/>
                  </a:moveTo>
                  <a:lnTo>
                    <a:pt x="23" y="19"/>
                  </a:lnTo>
                  <a:lnTo>
                    <a:pt x="19" y="20"/>
                  </a:lnTo>
                  <a:lnTo>
                    <a:pt x="12" y="17"/>
                  </a:lnTo>
                  <a:lnTo>
                    <a:pt x="7" y="12"/>
                  </a:lnTo>
                  <a:lnTo>
                    <a:pt x="0" y="5"/>
                  </a:lnTo>
                  <a:lnTo>
                    <a:pt x="0" y="0"/>
                  </a:lnTo>
                  <a:lnTo>
                    <a:pt x="7" y="0"/>
                  </a:lnTo>
                  <a:lnTo>
                    <a:pt x="14" y="5"/>
                  </a:lnTo>
                  <a:lnTo>
                    <a:pt x="19" y="10"/>
                  </a:lnTo>
                  <a:lnTo>
                    <a:pt x="26" y="1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7" name="Freeform 316"/>
            <p:cNvSpPr>
              <a:spLocks/>
            </p:cNvSpPr>
            <p:nvPr/>
          </p:nvSpPr>
          <p:spPr bwMode="auto">
            <a:xfrm>
              <a:off x="1899444" y="1827213"/>
              <a:ext cx="26988" cy="20637"/>
            </a:xfrm>
            <a:custGeom>
              <a:avLst/>
              <a:gdLst/>
              <a:ahLst/>
              <a:cxnLst>
                <a:cxn ang="0">
                  <a:pos x="14" y="0"/>
                </a:cxn>
                <a:cxn ang="0">
                  <a:pos x="15" y="3"/>
                </a:cxn>
                <a:cxn ang="0">
                  <a:pos x="17" y="6"/>
                </a:cxn>
                <a:cxn ang="0">
                  <a:pos x="14" y="12"/>
                </a:cxn>
                <a:cxn ang="0">
                  <a:pos x="10" y="13"/>
                </a:cxn>
                <a:cxn ang="0">
                  <a:pos x="3" y="13"/>
                </a:cxn>
                <a:cxn ang="0">
                  <a:pos x="0" y="13"/>
                </a:cxn>
                <a:cxn ang="0">
                  <a:pos x="3" y="3"/>
                </a:cxn>
                <a:cxn ang="0">
                  <a:pos x="14" y="0"/>
                </a:cxn>
              </a:cxnLst>
              <a:rect l="0" t="0" r="r" b="b"/>
              <a:pathLst>
                <a:path w="17" h="13">
                  <a:moveTo>
                    <a:pt x="14" y="0"/>
                  </a:moveTo>
                  <a:lnTo>
                    <a:pt x="15" y="3"/>
                  </a:lnTo>
                  <a:lnTo>
                    <a:pt x="17" y="6"/>
                  </a:lnTo>
                  <a:lnTo>
                    <a:pt x="14" y="12"/>
                  </a:lnTo>
                  <a:lnTo>
                    <a:pt x="10" y="13"/>
                  </a:lnTo>
                  <a:lnTo>
                    <a:pt x="3" y="13"/>
                  </a:lnTo>
                  <a:lnTo>
                    <a:pt x="0" y="13"/>
                  </a:lnTo>
                  <a:lnTo>
                    <a:pt x="3" y="3"/>
                  </a:lnTo>
                  <a:lnTo>
                    <a:pt x="1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8" name="Freeform 317"/>
            <p:cNvSpPr>
              <a:spLocks/>
            </p:cNvSpPr>
            <p:nvPr/>
          </p:nvSpPr>
          <p:spPr bwMode="auto">
            <a:xfrm>
              <a:off x="1885157" y="1638300"/>
              <a:ext cx="150813" cy="79375"/>
            </a:xfrm>
            <a:custGeom>
              <a:avLst/>
              <a:gdLst/>
              <a:ahLst/>
              <a:cxnLst>
                <a:cxn ang="0">
                  <a:pos x="62" y="36"/>
                </a:cxn>
                <a:cxn ang="0">
                  <a:pos x="50" y="34"/>
                </a:cxn>
                <a:cxn ang="0">
                  <a:pos x="38" y="34"/>
                </a:cxn>
                <a:cxn ang="0">
                  <a:pos x="31" y="31"/>
                </a:cxn>
                <a:cxn ang="0">
                  <a:pos x="23" y="33"/>
                </a:cxn>
                <a:cxn ang="0">
                  <a:pos x="12" y="31"/>
                </a:cxn>
                <a:cxn ang="0">
                  <a:pos x="9" y="29"/>
                </a:cxn>
                <a:cxn ang="0">
                  <a:pos x="14" y="24"/>
                </a:cxn>
                <a:cxn ang="0">
                  <a:pos x="23" y="22"/>
                </a:cxn>
                <a:cxn ang="0">
                  <a:pos x="23" y="19"/>
                </a:cxn>
                <a:cxn ang="0">
                  <a:pos x="23" y="17"/>
                </a:cxn>
                <a:cxn ang="0">
                  <a:pos x="11" y="17"/>
                </a:cxn>
                <a:cxn ang="0">
                  <a:pos x="5" y="17"/>
                </a:cxn>
                <a:cxn ang="0">
                  <a:pos x="7" y="14"/>
                </a:cxn>
                <a:cxn ang="0">
                  <a:pos x="9" y="12"/>
                </a:cxn>
                <a:cxn ang="0">
                  <a:pos x="2" y="10"/>
                </a:cxn>
                <a:cxn ang="0">
                  <a:pos x="0" y="3"/>
                </a:cxn>
                <a:cxn ang="0">
                  <a:pos x="9" y="2"/>
                </a:cxn>
                <a:cxn ang="0">
                  <a:pos x="17" y="0"/>
                </a:cxn>
                <a:cxn ang="0">
                  <a:pos x="28" y="3"/>
                </a:cxn>
                <a:cxn ang="0">
                  <a:pos x="36" y="9"/>
                </a:cxn>
                <a:cxn ang="0">
                  <a:pos x="40" y="7"/>
                </a:cxn>
                <a:cxn ang="0">
                  <a:pos x="47" y="5"/>
                </a:cxn>
                <a:cxn ang="0">
                  <a:pos x="55" y="10"/>
                </a:cxn>
                <a:cxn ang="0">
                  <a:pos x="60" y="17"/>
                </a:cxn>
                <a:cxn ang="0">
                  <a:pos x="64" y="14"/>
                </a:cxn>
                <a:cxn ang="0">
                  <a:pos x="69" y="12"/>
                </a:cxn>
                <a:cxn ang="0">
                  <a:pos x="78" y="17"/>
                </a:cxn>
                <a:cxn ang="0">
                  <a:pos x="85" y="24"/>
                </a:cxn>
                <a:cxn ang="0">
                  <a:pos x="81" y="26"/>
                </a:cxn>
                <a:cxn ang="0">
                  <a:pos x="81" y="29"/>
                </a:cxn>
                <a:cxn ang="0">
                  <a:pos x="88" y="34"/>
                </a:cxn>
                <a:cxn ang="0">
                  <a:pos x="95" y="43"/>
                </a:cxn>
                <a:cxn ang="0">
                  <a:pos x="91" y="48"/>
                </a:cxn>
                <a:cxn ang="0">
                  <a:pos x="85" y="50"/>
                </a:cxn>
                <a:cxn ang="0">
                  <a:pos x="76" y="46"/>
                </a:cxn>
                <a:cxn ang="0">
                  <a:pos x="72" y="43"/>
                </a:cxn>
                <a:cxn ang="0">
                  <a:pos x="67" y="38"/>
                </a:cxn>
                <a:cxn ang="0">
                  <a:pos x="62" y="36"/>
                </a:cxn>
              </a:cxnLst>
              <a:rect l="0" t="0" r="r" b="b"/>
              <a:pathLst>
                <a:path w="95" h="50">
                  <a:moveTo>
                    <a:pt x="62" y="36"/>
                  </a:moveTo>
                  <a:lnTo>
                    <a:pt x="50" y="34"/>
                  </a:lnTo>
                  <a:lnTo>
                    <a:pt x="38" y="34"/>
                  </a:lnTo>
                  <a:lnTo>
                    <a:pt x="31" y="31"/>
                  </a:lnTo>
                  <a:lnTo>
                    <a:pt x="23" y="33"/>
                  </a:lnTo>
                  <a:lnTo>
                    <a:pt x="12" y="31"/>
                  </a:lnTo>
                  <a:lnTo>
                    <a:pt x="9" y="29"/>
                  </a:lnTo>
                  <a:lnTo>
                    <a:pt x="14" y="24"/>
                  </a:lnTo>
                  <a:lnTo>
                    <a:pt x="23" y="22"/>
                  </a:lnTo>
                  <a:lnTo>
                    <a:pt x="23" y="19"/>
                  </a:lnTo>
                  <a:lnTo>
                    <a:pt x="23" y="17"/>
                  </a:lnTo>
                  <a:lnTo>
                    <a:pt x="11" y="17"/>
                  </a:lnTo>
                  <a:lnTo>
                    <a:pt x="5" y="17"/>
                  </a:lnTo>
                  <a:lnTo>
                    <a:pt x="7" y="14"/>
                  </a:lnTo>
                  <a:lnTo>
                    <a:pt x="9" y="12"/>
                  </a:lnTo>
                  <a:lnTo>
                    <a:pt x="2" y="10"/>
                  </a:lnTo>
                  <a:lnTo>
                    <a:pt x="0" y="3"/>
                  </a:lnTo>
                  <a:lnTo>
                    <a:pt x="9" y="2"/>
                  </a:lnTo>
                  <a:lnTo>
                    <a:pt x="17" y="0"/>
                  </a:lnTo>
                  <a:lnTo>
                    <a:pt x="28" y="3"/>
                  </a:lnTo>
                  <a:lnTo>
                    <a:pt x="36" y="9"/>
                  </a:lnTo>
                  <a:lnTo>
                    <a:pt x="40" y="7"/>
                  </a:lnTo>
                  <a:lnTo>
                    <a:pt x="47" y="5"/>
                  </a:lnTo>
                  <a:lnTo>
                    <a:pt x="55" y="10"/>
                  </a:lnTo>
                  <a:lnTo>
                    <a:pt x="60" y="17"/>
                  </a:lnTo>
                  <a:lnTo>
                    <a:pt x="64" y="14"/>
                  </a:lnTo>
                  <a:lnTo>
                    <a:pt x="69" y="12"/>
                  </a:lnTo>
                  <a:lnTo>
                    <a:pt x="78" y="17"/>
                  </a:lnTo>
                  <a:lnTo>
                    <a:pt x="85" y="24"/>
                  </a:lnTo>
                  <a:lnTo>
                    <a:pt x="81" y="26"/>
                  </a:lnTo>
                  <a:lnTo>
                    <a:pt x="81" y="29"/>
                  </a:lnTo>
                  <a:lnTo>
                    <a:pt x="88" y="34"/>
                  </a:lnTo>
                  <a:lnTo>
                    <a:pt x="95" y="43"/>
                  </a:lnTo>
                  <a:lnTo>
                    <a:pt x="91" y="48"/>
                  </a:lnTo>
                  <a:lnTo>
                    <a:pt x="85" y="50"/>
                  </a:lnTo>
                  <a:lnTo>
                    <a:pt x="76" y="46"/>
                  </a:lnTo>
                  <a:lnTo>
                    <a:pt x="72" y="43"/>
                  </a:lnTo>
                  <a:lnTo>
                    <a:pt x="67" y="38"/>
                  </a:lnTo>
                  <a:lnTo>
                    <a:pt x="62" y="3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49" name="Freeform 318"/>
            <p:cNvSpPr>
              <a:spLocks/>
            </p:cNvSpPr>
            <p:nvPr/>
          </p:nvSpPr>
          <p:spPr bwMode="auto">
            <a:xfrm>
              <a:off x="1956594" y="1706563"/>
              <a:ext cx="30163" cy="11112"/>
            </a:xfrm>
            <a:custGeom>
              <a:avLst/>
              <a:gdLst/>
              <a:ahLst/>
              <a:cxnLst>
                <a:cxn ang="0">
                  <a:pos x="2" y="7"/>
                </a:cxn>
                <a:cxn ang="0">
                  <a:pos x="0" y="3"/>
                </a:cxn>
                <a:cxn ang="0">
                  <a:pos x="7" y="0"/>
                </a:cxn>
                <a:cxn ang="0">
                  <a:pos x="12" y="0"/>
                </a:cxn>
                <a:cxn ang="0">
                  <a:pos x="19" y="3"/>
                </a:cxn>
                <a:cxn ang="0">
                  <a:pos x="10" y="5"/>
                </a:cxn>
                <a:cxn ang="0">
                  <a:pos x="2" y="7"/>
                </a:cxn>
              </a:cxnLst>
              <a:rect l="0" t="0" r="r" b="b"/>
              <a:pathLst>
                <a:path w="19" h="7">
                  <a:moveTo>
                    <a:pt x="2" y="7"/>
                  </a:moveTo>
                  <a:lnTo>
                    <a:pt x="0" y="3"/>
                  </a:lnTo>
                  <a:lnTo>
                    <a:pt x="7" y="0"/>
                  </a:lnTo>
                  <a:lnTo>
                    <a:pt x="12" y="0"/>
                  </a:lnTo>
                  <a:lnTo>
                    <a:pt x="19" y="3"/>
                  </a:lnTo>
                  <a:lnTo>
                    <a:pt x="10" y="5"/>
                  </a:lnTo>
                  <a:lnTo>
                    <a:pt x="2"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0" name="Freeform 319"/>
            <p:cNvSpPr>
              <a:spLocks/>
            </p:cNvSpPr>
            <p:nvPr/>
          </p:nvSpPr>
          <p:spPr bwMode="auto">
            <a:xfrm>
              <a:off x="2089944" y="1752600"/>
              <a:ext cx="396875" cy="123825"/>
            </a:xfrm>
            <a:custGeom>
              <a:avLst/>
              <a:gdLst/>
              <a:ahLst/>
              <a:cxnLst>
                <a:cxn ang="0">
                  <a:pos x="244" y="53"/>
                </a:cxn>
                <a:cxn ang="0">
                  <a:pos x="246" y="59"/>
                </a:cxn>
                <a:cxn ang="0">
                  <a:pos x="244" y="69"/>
                </a:cxn>
                <a:cxn ang="0">
                  <a:pos x="220" y="76"/>
                </a:cxn>
                <a:cxn ang="0">
                  <a:pos x="200" y="74"/>
                </a:cxn>
                <a:cxn ang="0">
                  <a:pos x="189" y="71"/>
                </a:cxn>
                <a:cxn ang="0">
                  <a:pos x="145" y="76"/>
                </a:cxn>
                <a:cxn ang="0">
                  <a:pos x="126" y="76"/>
                </a:cxn>
                <a:cxn ang="0">
                  <a:pos x="119" y="69"/>
                </a:cxn>
                <a:cxn ang="0">
                  <a:pos x="105" y="72"/>
                </a:cxn>
                <a:cxn ang="0">
                  <a:pos x="86" y="74"/>
                </a:cxn>
                <a:cxn ang="0">
                  <a:pos x="66" y="60"/>
                </a:cxn>
                <a:cxn ang="0">
                  <a:pos x="64" y="48"/>
                </a:cxn>
                <a:cxn ang="0">
                  <a:pos x="57" y="33"/>
                </a:cxn>
                <a:cxn ang="0">
                  <a:pos x="43" y="23"/>
                </a:cxn>
                <a:cxn ang="0">
                  <a:pos x="28" y="23"/>
                </a:cxn>
                <a:cxn ang="0">
                  <a:pos x="4" y="10"/>
                </a:cxn>
                <a:cxn ang="0">
                  <a:pos x="5" y="0"/>
                </a:cxn>
                <a:cxn ang="0">
                  <a:pos x="28" y="2"/>
                </a:cxn>
                <a:cxn ang="0">
                  <a:pos x="48" y="14"/>
                </a:cxn>
                <a:cxn ang="0">
                  <a:pos x="66" y="16"/>
                </a:cxn>
                <a:cxn ang="0">
                  <a:pos x="76" y="14"/>
                </a:cxn>
                <a:cxn ang="0">
                  <a:pos x="79" y="19"/>
                </a:cxn>
                <a:cxn ang="0">
                  <a:pos x="95" y="24"/>
                </a:cxn>
                <a:cxn ang="0">
                  <a:pos x="83" y="29"/>
                </a:cxn>
                <a:cxn ang="0">
                  <a:pos x="91" y="38"/>
                </a:cxn>
                <a:cxn ang="0">
                  <a:pos x="105" y="41"/>
                </a:cxn>
                <a:cxn ang="0">
                  <a:pos x="102" y="43"/>
                </a:cxn>
                <a:cxn ang="0">
                  <a:pos x="110" y="47"/>
                </a:cxn>
                <a:cxn ang="0">
                  <a:pos x="145" y="52"/>
                </a:cxn>
                <a:cxn ang="0">
                  <a:pos x="162" y="48"/>
                </a:cxn>
                <a:cxn ang="0">
                  <a:pos x="177" y="45"/>
                </a:cxn>
                <a:cxn ang="0">
                  <a:pos x="189" y="40"/>
                </a:cxn>
                <a:cxn ang="0">
                  <a:pos x="208" y="40"/>
                </a:cxn>
                <a:cxn ang="0">
                  <a:pos x="234" y="41"/>
                </a:cxn>
                <a:cxn ang="0">
                  <a:pos x="250" y="53"/>
                </a:cxn>
                <a:cxn ang="0">
                  <a:pos x="244" y="53"/>
                </a:cxn>
              </a:cxnLst>
              <a:rect l="0" t="0" r="r" b="b"/>
              <a:pathLst>
                <a:path w="250" h="78">
                  <a:moveTo>
                    <a:pt x="248" y="52"/>
                  </a:moveTo>
                  <a:lnTo>
                    <a:pt x="244" y="53"/>
                  </a:lnTo>
                  <a:lnTo>
                    <a:pt x="243" y="59"/>
                  </a:lnTo>
                  <a:lnTo>
                    <a:pt x="246" y="59"/>
                  </a:lnTo>
                  <a:lnTo>
                    <a:pt x="250" y="60"/>
                  </a:lnTo>
                  <a:lnTo>
                    <a:pt x="244" y="69"/>
                  </a:lnTo>
                  <a:lnTo>
                    <a:pt x="234" y="74"/>
                  </a:lnTo>
                  <a:lnTo>
                    <a:pt x="220" y="76"/>
                  </a:lnTo>
                  <a:lnTo>
                    <a:pt x="207" y="78"/>
                  </a:lnTo>
                  <a:lnTo>
                    <a:pt x="200" y="74"/>
                  </a:lnTo>
                  <a:lnTo>
                    <a:pt x="198" y="69"/>
                  </a:lnTo>
                  <a:lnTo>
                    <a:pt x="189" y="71"/>
                  </a:lnTo>
                  <a:lnTo>
                    <a:pt x="184" y="76"/>
                  </a:lnTo>
                  <a:lnTo>
                    <a:pt x="145" y="76"/>
                  </a:lnTo>
                  <a:lnTo>
                    <a:pt x="134" y="76"/>
                  </a:lnTo>
                  <a:lnTo>
                    <a:pt x="126" y="76"/>
                  </a:lnTo>
                  <a:lnTo>
                    <a:pt x="119" y="72"/>
                  </a:lnTo>
                  <a:lnTo>
                    <a:pt x="119" y="69"/>
                  </a:lnTo>
                  <a:lnTo>
                    <a:pt x="112" y="69"/>
                  </a:lnTo>
                  <a:lnTo>
                    <a:pt x="105" y="72"/>
                  </a:lnTo>
                  <a:lnTo>
                    <a:pt x="98" y="78"/>
                  </a:lnTo>
                  <a:lnTo>
                    <a:pt x="86" y="74"/>
                  </a:lnTo>
                  <a:lnTo>
                    <a:pt x="76" y="69"/>
                  </a:lnTo>
                  <a:lnTo>
                    <a:pt x="66" y="60"/>
                  </a:lnTo>
                  <a:lnTo>
                    <a:pt x="62" y="53"/>
                  </a:lnTo>
                  <a:lnTo>
                    <a:pt x="64" y="48"/>
                  </a:lnTo>
                  <a:lnTo>
                    <a:pt x="67" y="47"/>
                  </a:lnTo>
                  <a:lnTo>
                    <a:pt x="57" y="33"/>
                  </a:lnTo>
                  <a:lnTo>
                    <a:pt x="48" y="21"/>
                  </a:lnTo>
                  <a:lnTo>
                    <a:pt x="43" y="23"/>
                  </a:lnTo>
                  <a:lnTo>
                    <a:pt x="38" y="26"/>
                  </a:lnTo>
                  <a:lnTo>
                    <a:pt x="28" y="23"/>
                  </a:lnTo>
                  <a:lnTo>
                    <a:pt x="16" y="17"/>
                  </a:lnTo>
                  <a:lnTo>
                    <a:pt x="4" y="10"/>
                  </a:lnTo>
                  <a:lnTo>
                    <a:pt x="0" y="7"/>
                  </a:lnTo>
                  <a:lnTo>
                    <a:pt x="5" y="0"/>
                  </a:lnTo>
                  <a:lnTo>
                    <a:pt x="16" y="0"/>
                  </a:lnTo>
                  <a:lnTo>
                    <a:pt x="28" y="2"/>
                  </a:lnTo>
                  <a:lnTo>
                    <a:pt x="40" y="9"/>
                  </a:lnTo>
                  <a:lnTo>
                    <a:pt x="48" y="14"/>
                  </a:lnTo>
                  <a:lnTo>
                    <a:pt x="60" y="17"/>
                  </a:lnTo>
                  <a:lnTo>
                    <a:pt x="66" y="16"/>
                  </a:lnTo>
                  <a:lnTo>
                    <a:pt x="71" y="14"/>
                  </a:lnTo>
                  <a:lnTo>
                    <a:pt x="76" y="14"/>
                  </a:lnTo>
                  <a:lnTo>
                    <a:pt x="79" y="14"/>
                  </a:lnTo>
                  <a:lnTo>
                    <a:pt x="79" y="19"/>
                  </a:lnTo>
                  <a:lnTo>
                    <a:pt x="88" y="23"/>
                  </a:lnTo>
                  <a:lnTo>
                    <a:pt x="95" y="24"/>
                  </a:lnTo>
                  <a:lnTo>
                    <a:pt x="103" y="29"/>
                  </a:lnTo>
                  <a:lnTo>
                    <a:pt x="83" y="29"/>
                  </a:lnTo>
                  <a:lnTo>
                    <a:pt x="86" y="35"/>
                  </a:lnTo>
                  <a:lnTo>
                    <a:pt x="91" y="38"/>
                  </a:lnTo>
                  <a:lnTo>
                    <a:pt x="98" y="38"/>
                  </a:lnTo>
                  <a:lnTo>
                    <a:pt x="105" y="41"/>
                  </a:lnTo>
                  <a:lnTo>
                    <a:pt x="103" y="41"/>
                  </a:lnTo>
                  <a:lnTo>
                    <a:pt x="102" y="43"/>
                  </a:lnTo>
                  <a:lnTo>
                    <a:pt x="105" y="47"/>
                  </a:lnTo>
                  <a:lnTo>
                    <a:pt x="110" y="47"/>
                  </a:lnTo>
                  <a:lnTo>
                    <a:pt x="128" y="48"/>
                  </a:lnTo>
                  <a:lnTo>
                    <a:pt x="145" y="52"/>
                  </a:lnTo>
                  <a:lnTo>
                    <a:pt x="153" y="50"/>
                  </a:lnTo>
                  <a:lnTo>
                    <a:pt x="162" y="48"/>
                  </a:lnTo>
                  <a:lnTo>
                    <a:pt x="169" y="47"/>
                  </a:lnTo>
                  <a:lnTo>
                    <a:pt x="177" y="45"/>
                  </a:lnTo>
                  <a:lnTo>
                    <a:pt x="183" y="41"/>
                  </a:lnTo>
                  <a:lnTo>
                    <a:pt x="189" y="40"/>
                  </a:lnTo>
                  <a:lnTo>
                    <a:pt x="198" y="40"/>
                  </a:lnTo>
                  <a:lnTo>
                    <a:pt x="208" y="40"/>
                  </a:lnTo>
                  <a:lnTo>
                    <a:pt x="222" y="40"/>
                  </a:lnTo>
                  <a:lnTo>
                    <a:pt x="234" y="41"/>
                  </a:lnTo>
                  <a:lnTo>
                    <a:pt x="243" y="45"/>
                  </a:lnTo>
                  <a:lnTo>
                    <a:pt x="250" y="53"/>
                  </a:lnTo>
                  <a:lnTo>
                    <a:pt x="246" y="53"/>
                  </a:lnTo>
                  <a:lnTo>
                    <a:pt x="244" y="53"/>
                  </a:lnTo>
                  <a:lnTo>
                    <a:pt x="248" y="5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1" name="Freeform 320"/>
            <p:cNvSpPr>
              <a:spLocks/>
            </p:cNvSpPr>
            <p:nvPr/>
          </p:nvSpPr>
          <p:spPr bwMode="auto">
            <a:xfrm>
              <a:off x="2096294" y="1817688"/>
              <a:ext cx="69850" cy="52387"/>
            </a:xfrm>
            <a:custGeom>
              <a:avLst/>
              <a:gdLst/>
              <a:ahLst/>
              <a:cxnLst>
                <a:cxn ang="0">
                  <a:pos x="7" y="12"/>
                </a:cxn>
                <a:cxn ang="0">
                  <a:pos x="12" y="6"/>
                </a:cxn>
                <a:cxn ang="0">
                  <a:pos x="22" y="0"/>
                </a:cxn>
                <a:cxn ang="0">
                  <a:pos x="27" y="0"/>
                </a:cxn>
                <a:cxn ang="0">
                  <a:pos x="36" y="6"/>
                </a:cxn>
                <a:cxn ang="0">
                  <a:pos x="41" y="11"/>
                </a:cxn>
                <a:cxn ang="0">
                  <a:pos x="44" y="18"/>
                </a:cxn>
                <a:cxn ang="0">
                  <a:pos x="41" y="28"/>
                </a:cxn>
                <a:cxn ang="0">
                  <a:pos x="34" y="33"/>
                </a:cxn>
                <a:cxn ang="0">
                  <a:pos x="27" y="30"/>
                </a:cxn>
                <a:cxn ang="0">
                  <a:pos x="15" y="26"/>
                </a:cxn>
                <a:cxn ang="0">
                  <a:pos x="3" y="21"/>
                </a:cxn>
                <a:cxn ang="0">
                  <a:pos x="0" y="19"/>
                </a:cxn>
                <a:cxn ang="0">
                  <a:pos x="3" y="12"/>
                </a:cxn>
                <a:cxn ang="0">
                  <a:pos x="7" y="12"/>
                </a:cxn>
              </a:cxnLst>
              <a:rect l="0" t="0" r="r" b="b"/>
              <a:pathLst>
                <a:path w="44" h="33">
                  <a:moveTo>
                    <a:pt x="7" y="12"/>
                  </a:moveTo>
                  <a:lnTo>
                    <a:pt x="12" y="6"/>
                  </a:lnTo>
                  <a:lnTo>
                    <a:pt x="22" y="0"/>
                  </a:lnTo>
                  <a:lnTo>
                    <a:pt x="27" y="0"/>
                  </a:lnTo>
                  <a:lnTo>
                    <a:pt x="36" y="6"/>
                  </a:lnTo>
                  <a:lnTo>
                    <a:pt x="41" y="11"/>
                  </a:lnTo>
                  <a:lnTo>
                    <a:pt x="44" y="18"/>
                  </a:lnTo>
                  <a:lnTo>
                    <a:pt x="41" y="28"/>
                  </a:lnTo>
                  <a:lnTo>
                    <a:pt x="34" y="33"/>
                  </a:lnTo>
                  <a:lnTo>
                    <a:pt x="27" y="30"/>
                  </a:lnTo>
                  <a:lnTo>
                    <a:pt x="15" y="26"/>
                  </a:lnTo>
                  <a:lnTo>
                    <a:pt x="3" y="21"/>
                  </a:lnTo>
                  <a:lnTo>
                    <a:pt x="0" y="19"/>
                  </a:lnTo>
                  <a:lnTo>
                    <a:pt x="3" y="12"/>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2" name="Freeform 321"/>
            <p:cNvSpPr>
              <a:spLocks/>
            </p:cNvSpPr>
            <p:nvPr/>
          </p:nvSpPr>
          <p:spPr bwMode="auto">
            <a:xfrm>
              <a:off x="2104232" y="1717675"/>
              <a:ext cx="61913" cy="19050"/>
            </a:xfrm>
            <a:custGeom>
              <a:avLst/>
              <a:gdLst/>
              <a:ahLst/>
              <a:cxnLst>
                <a:cxn ang="0">
                  <a:pos x="34" y="0"/>
                </a:cxn>
                <a:cxn ang="0">
                  <a:pos x="36" y="0"/>
                </a:cxn>
                <a:cxn ang="0">
                  <a:pos x="39" y="0"/>
                </a:cxn>
                <a:cxn ang="0">
                  <a:pos x="39" y="3"/>
                </a:cxn>
                <a:cxn ang="0">
                  <a:pos x="39" y="7"/>
                </a:cxn>
                <a:cxn ang="0">
                  <a:pos x="38" y="10"/>
                </a:cxn>
                <a:cxn ang="0">
                  <a:pos x="33" y="12"/>
                </a:cxn>
                <a:cxn ang="0">
                  <a:pos x="26" y="10"/>
                </a:cxn>
                <a:cxn ang="0">
                  <a:pos x="14" y="8"/>
                </a:cxn>
                <a:cxn ang="0">
                  <a:pos x="3" y="7"/>
                </a:cxn>
                <a:cxn ang="0">
                  <a:pos x="0" y="7"/>
                </a:cxn>
                <a:cxn ang="0">
                  <a:pos x="5" y="2"/>
                </a:cxn>
                <a:cxn ang="0">
                  <a:pos x="14" y="0"/>
                </a:cxn>
                <a:cxn ang="0">
                  <a:pos x="24" y="0"/>
                </a:cxn>
                <a:cxn ang="0">
                  <a:pos x="34" y="0"/>
                </a:cxn>
              </a:cxnLst>
              <a:rect l="0" t="0" r="r" b="b"/>
              <a:pathLst>
                <a:path w="39" h="12">
                  <a:moveTo>
                    <a:pt x="34" y="0"/>
                  </a:moveTo>
                  <a:lnTo>
                    <a:pt x="36" y="0"/>
                  </a:lnTo>
                  <a:lnTo>
                    <a:pt x="39" y="0"/>
                  </a:lnTo>
                  <a:lnTo>
                    <a:pt x="39" y="3"/>
                  </a:lnTo>
                  <a:lnTo>
                    <a:pt x="39" y="7"/>
                  </a:lnTo>
                  <a:lnTo>
                    <a:pt x="38" y="10"/>
                  </a:lnTo>
                  <a:lnTo>
                    <a:pt x="33" y="12"/>
                  </a:lnTo>
                  <a:lnTo>
                    <a:pt x="26" y="10"/>
                  </a:lnTo>
                  <a:lnTo>
                    <a:pt x="14" y="8"/>
                  </a:lnTo>
                  <a:lnTo>
                    <a:pt x="3" y="7"/>
                  </a:lnTo>
                  <a:lnTo>
                    <a:pt x="0" y="7"/>
                  </a:lnTo>
                  <a:lnTo>
                    <a:pt x="5" y="2"/>
                  </a:lnTo>
                  <a:lnTo>
                    <a:pt x="14" y="0"/>
                  </a:lnTo>
                  <a:lnTo>
                    <a:pt x="24" y="0"/>
                  </a:lnTo>
                  <a:lnTo>
                    <a:pt x="3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3" name="Freeform 322"/>
            <p:cNvSpPr>
              <a:spLocks/>
            </p:cNvSpPr>
            <p:nvPr/>
          </p:nvSpPr>
          <p:spPr bwMode="auto">
            <a:xfrm>
              <a:off x="2058194" y="1657350"/>
              <a:ext cx="73025" cy="53975"/>
            </a:xfrm>
            <a:custGeom>
              <a:avLst/>
              <a:gdLst/>
              <a:ahLst/>
              <a:cxnLst>
                <a:cxn ang="0">
                  <a:pos x="10" y="33"/>
                </a:cxn>
                <a:cxn ang="0">
                  <a:pos x="12" y="27"/>
                </a:cxn>
                <a:cxn ang="0">
                  <a:pos x="15" y="27"/>
                </a:cxn>
                <a:cxn ang="0">
                  <a:pos x="5" y="17"/>
                </a:cxn>
                <a:cxn ang="0">
                  <a:pos x="0" y="9"/>
                </a:cxn>
                <a:cxn ang="0">
                  <a:pos x="3" y="2"/>
                </a:cxn>
                <a:cxn ang="0">
                  <a:pos x="10" y="0"/>
                </a:cxn>
                <a:cxn ang="0">
                  <a:pos x="17" y="5"/>
                </a:cxn>
                <a:cxn ang="0">
                  <a:pos x="29" y="9"/>
                </a:cxn>
                <a:cxn ang="0">
                  <a:pos x="31" y="12"/>
                </a:cxn>
                <a:cxn ang="0">
                  <a:pos x="37" y="14"/>
                </a:cxn>
                <a:cxn ang="0">
                  <a:pos x="43" y="14"/>
                </a:cxn>
                <a:cxn ang="0">
                  <a:pos x="46" y="19"/>
                </a:cxn>
                <a:cxn ang="0">
                  <a:pos x="44" y="24"/>
                </a:cxn>
                <a:cxn ang="0">
                  <a:pos x="46" y="33"/>
                </a:cxn>
                <a:cxn ang="0">
                  <a:pos x="32" y="33"/>
                </a:cxn>
                <a:cxn ang="0">
                  <a:pos x="20" y="34"/>
                </a:cxn>
                <a:cxn ang="0">
                  <a:pos x="12" y="34"/>
                </a:cxn>
                <a:cxn ang="0">
                  <a:pos x="10" y="33"/>
                </a:cxn>
              </a:cxnLst>
              <a:rect l="0" t="0" r="r" b="b"/>
              <a:pathLst>
                <a:path w="46" h="34">
                  <a:moveTo>
                    <a:pt x="10" y="33"/>
                  </a:moveTo>
                  <a:lnTo>
                    <a:pt x="12" y="27"/>
                  </a:lnTo>
                  <a:lnTo>
                    <a:pt x="15" y="27"/>
                  </a:lnTo>
                  <a:lnTo>
                    <a:pt x="5" y="17"/>
                  </a:lnTo>
                  <a:lnTo>
                    <a:pt x="0" y="9"/>
                  </a:lnTo>
                  <a:lnTo>
                    <a:pt x="3" y="2"/>
                  </a:lnTo>
                  <a:lnTo>
                    <a:pt x="10" y="0"/>
                  </a:lnTo>
                  <a:lnTo>
                    <a:pt x="17" y="5"/>
                  </a:lnTo>
                  <a:lnTo>
                    <a:pt x="29" y="9"/>
                  </a:lnTo>
                  <a:lnTo>
                    <a:pt x="31" y="12"/>
                  </a:lnTo>
                  <a:lnTo>
                    <a:pt x="37" y="14"/>
                  </a:lnTo>
                  <a:lnTo>
                    <a:pt x="43" y="14"/>
                  </a:lnTo>
                  <a:lnTo>
                    <a:pt x="46" y="19"/>
                  </a:lnTo>
                  <a:lnTo>
                    <a:pt x="44" y="24"/>
                  </a:lnTo>
                  <a:lnTo>
                    <a:pt x="46" y="33"/>
                  </a:lnTo>
                  <a:lnTo>
                    <a:pt x="32" y="33"/>
                  </a:lnTo>
                  <a:lnTo>
                    <a:pt x="20" y="34"/>
                  </a:lnTo>
                  <a:lnTo>
                    <a:pt x="12" y="34"/>
                  </a:lnTo>
                  <a:lnTo>
                    <a:pt x="10"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4" name="Freeform 323"/>
            <p:cNvSpPr>
              <a:spLocks/>
            </p:cNvSpPr>
            <p:nvPr/>
          </p:nvSpPr>
          <p:spPr bwMode="auto">
            <a:xfrm>
              <a:off x="2028032" y="1603375"/>
              <a:ext cx="30163" cy="15875"/>
            </a:xfrm>
            <a:custGeom>
              <a:avLst/>
              <a:gdLst/>
              <a:ahLst/>
              <a:cxnLst>
                <a:cxn ang="0">
                  <a:pos x="19" y="0"/>
                </a:cxn>
                <a:cxn ang="0">
                  <a:pos x="19" y="10"/>
                </a:cxn>
                <a:cxn ang="0">
                  <a:pos x="10" y="10"/>
                </a:cxn>
                <a:cxn ang="0">
                  <a:pos x="3" y="6"/>
                </a:cxn>
                <a:cxn ang="0">
                  <a:pos x="0" y="0"/>
                </a:cxn>
                <a:cxn ang="0">
                  <a:pos x="10" y="0"/>
                </a:cxn>
                <a:cxn ang="0">
                  <a:pos x="19" y="0"/>
                </a:cxn>
              </a:cxnLst>
              <a:rect l="0" t="0" r="r" b="b"/>
              <a:pathLst>
                <a:path w="19" h="10">
                  <a:moveTo>
                    <a:pt x="19" y="0"/>
                  </a:moveTo>
                  <a:lnTo>
                    <a:pt x="19" y="10"/>
                  </a:lnTo>
                  <a:lnTo>
                    <a:pt x="10" y="10"/>
                  </a:lnTo>
                  <a:lnTo>
                    <a:pt x="3" y="6"/>
                  </a:lnTo>
                  <a:lnTo>
                    <a:pt x="0" y="0"/>
                  </a:lnTo>
                  <a:lnTo>
                    <a:pt x="10" y="0"/>
                  </a:lnTo>
                  <a:lnTo>
                    <a:pt x="19"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5" name="Freeform 324"/>
            <p:cNvSpPr>
              <a:spLocks/>
            </p:cNvSpPr>
            <p:nvPr/>
          </p:nvSpPr>
          <p:spPr bwMode="auto">
            <a:xfrm>
              <a:off x="2108994" y="1531938"/>
              <a:ext cx="249238" cy="168275"/>
            </a:xfrm>
            <a:custGeom>
              <a:avLst/>
              <a:gdLst/>
              <a:ahLst/>
              <a:cxnLst>
                <a:cxn ang="0">
                  <a:pos x="112" y="43"/>
                </a:cxn>
                <a:cxn ang="0">
                  <a:pos x="109" y="33"/>
                </a:cxn>
                <a:cxn ang="0">
                  <a:pos x="114" y="33"/>
                </a:cxn>
                <a:cxn ang="0">
                  <a:pos x="121" y="41"/>
                </a:cxn>
                <a:cxn ang="0">
                  <a:pos x="128" y="48"/>
                </a:cxn>
                <a:cxn ang="0">
                  <a:pos x="124" y="57"/>
                </a:cxn>
                <a:cxn ang="0">
                  <a:pos x="133" y="57"/>
                </a:cxn>
                <a:cxn ang="0">
                  <a:pos x="157" y="64"/>
                </a:cxn>
                <a:cxn ang="0">
                  <a:pos x="157" y="70"/>
                </a:cxn>
                <a:cxn ang="0">
                  <a:pos x="145" y="74"/>
                </a:cxn>
                <a:cxn ang="0">
                  <a:pos x="131" y="81"/>
                </a:cxn>
                <a:cxn ang="0">
                  <a:pos x="121" y="89"/>
                </a:cxn>
                <a:cxn ang="0">
                  <a:pos x="112" y="79"/>
                </a:cxn>
                <a:cxn ang="0">
                  <a:pos x="107" y="88"/>
                </a:cxn>
                <a:cxn ang="0">
                  <a:pos x="114" y="96"/>
                </a:cxn>
                <a:cxn ang="0">
                  <a:pos x="103" y="103"/>
                </a:cxn>
                <a:cxn ang="0">
                  <a:pos x="86" y="94"/>
                </a:cxn>
                <a:cxn ang="0">
                  <a:pos x="74" y="106"/>
                </a:cxn>
                <a:cxn ang="0">
                  <a:pos x="54" y="96"/>
                </a:cxn>
                <a:cxn ang="0">
                  <a:pos x="60" y="93"/>
                </a:cxn>
                <a:cxn ang="0">
                  <a:pos x="45" y="89"/>
                </a:cxn>
                <a:cxn ang="0">
                  <a:pos x="36" y="81"/>
                </a:cxn>
                <a:cxn ang="0">
                  <a:pos x="54" y="72"/>
                </a:cxn>
                <a:cxn ang="0">
                  <a:pos x="76" y="70"/>
                </a:cxn>
                <a:cxn ang="0">
                  <a:pos x="55" y="67"/>
                </a:cxn>
                <a:cxn ang="0">
                  <a:pos x="40" y="70"/>
                </a:cxn>
                <a:cxn ang="0">
                  <a:pos x="33" y="64"/>
                </a:cxn>
                <a:cxn ang="0">
                  <a:pos x="23" y="69"/>
                </a:cxn>
                <a:cxn ang="0">
                  <a:pos x="17" y="64"/>
                </a:cxn>
                <a:cxn ang="0">
                  <a:pos x="30" y="57"/>
                </a:cxn>
                <a:cxn ang="0">
                  <a:pos x="9" y="53"/>
                </a:cxn>
                <a:cxn ang="0">
                  <a:pos x="0" y="41"/>
                </a:cxn>
                <a:cxn ang="0">
                  <a:pos x="14" y="43"/>
                </a:cxn>
                <a:cxn ang="0">
                  <a:pos x="24" y="43"/>
                </a:cxn>
                <a:cxn ang="0">
                  <a:pos x="21" y="38"/>
                </a:cxn>
                <a:cxn ang="0">
                  <a:pos x="7" y="33"/>
                </a:cxn>
                <a:cxn ang="0">
                  <a:pos x="9" y="26"/>
                </a:cxn>
                <a:cxn ang="0">
                  <a:pos x="24" y="27"/>
                </a:cxn>
                <a:cxn ang="0">
                  <a:pos x="33" y="26"/>
                </a:cxn>
                <a:cxn ang="0">
                  <a:pos x="28" y="22"/>
                </a:cxn>
                <a:cxn ang="0">
                  <a:pos x="17" y="19"/>
                </a:cxn>
                <a:cxn ang="0">
                  <a:pos x="23" y="10"/>
                </a:cxn>
                <a:cxn ang="0">
                  <a:pos x="43" y="10"/>
                </a:cxn>
                <a:cxn ang="0">
                  <a:pos x="28" y="0"/>
                </a:cxn>
                <a:cxn ang="0">
                  <a:pos x="60" y="5"/>
                </a:cxn>
                <a:cxn ang="0">
                  <a:pos x="67" y="15"/>
                </a:cxn>
                <a:cxn ang="0">
                  <a:pos x="76" y="27"/>
                </a:cxn>
                <a:cxn ang="0">
                  <a:pos x="97" y="29"/>
                </a:cxn>
                <a:cxn ang="0">
                  <a:pos x="105" y="43"/>
                </a:cxn>
              </a:cxnLst>
              <a:rect l="0" t="0" r="r" b="b"/>
              <a:pathLst>
                <a:path w="157" h="106">
                  <a:moveTo>
                    <a:pt x="105" y="43"/>
                  </a:moveTo>
                  <a:lnTo>
                    <a:pt x="112" y="43"/>
                  </a:lnTo>
                  <a:lnTo>
                    <a:pt x="112" y="36"/>
                  </a:lnTo>
                  <a:lnTo>
                    <a:pt x="109" y="33"/>
                  </a:lnTo>
                  <a:lnTo>
                    <a:pt x="110" y="33"/>
                  </a:lnTo>
                  <a:lnTo>
                    <a:pt x="114" y="33"/>
                  </a:lnTo>
                  <a:lnTo>
                    <a:pt x="119" y="34"/>
                  </a:lnTo>
                  <a:lnTo>
                    <a:pt x="121" y="41"/>
                  </a:lnTo>
                  <a:lnTo>
                    <a:pt x="124" y="45"/>
                  </a:lnTo>
                  <a:lnTo>
                    <a:pt x="128" y="48"/>
                  </a:lnTo>
                  <a:lnTo>
                    <a:pt x="126" y="51"/>
                  </a:lnTo>
                  <a:lnTo>
                    <a:pt x="124" y="57"/>
                  </a:lnTo>
                  <a:lnTo>
                    <a:pt x="128" y="58"/>
                  </a:lnTo>
                  <a:lnTo>
                    <a:pt x="133" y="57"/>
                  </a:lnTo>
                  <a:lnTo>
                    <a:pt x="143" y="58"/>
                  </a:lnTo>
                  <a:lnTo>
                    <a:pt x="157" y="64"/>
                  </a:lnTo>
                  <a:lnTo>
                    <a:pt x="157" y="67"/>
                  </a:lnTo>
                  <a:lnTo>
                    <a:pt x="157" y="70"/>
                  </a:lnTo>
                  <a:lnTo>
                    <a:pt x="150" y="72"/>
                  </a:lnTo>
                  <a:lnTo>
                    <a:pt x="145" y="74"/>
                  </a:lnTo>
                  <a:lnTo>
                    <a:pt x="136" y="76"/>
                  </a:lnTo>
                  <a:lnTo>
                    <a:pt x="131" y="81"/>
                  </a:lnTo>
                  <a:lnTo>
                    <a:pt x="126" y="86"/>
                  </a:lnTo>
                  <a:lnTo>
                    <a:pt x="121" y="89"/>
                  </a:lnTo>
                  <a:lnTo>
                    <a:pt x="114" y="86"/>
                  </a:lnTo>
                  <a:lnTo>
                    <a:pt x="112" y="79"/>
                  </a:lnTo>
                  <a:lnTo>
                    <a:pt x="109" y="82"/>
                  </a:lnTo>
                  <a:lnTo>
                    <a:pt x="107" y="88"/>
                  </a:lnTo>
                  <a:lnTo>
                    <a:pt x="110" y="91"/>
                  </a:lnTo>
                  <a:lnTo>
                    <a:pt x="114" y="96"/>
                  </a:lnTo>
                  <a:lnTo>
                    <a:pt x="103" y="96"/>
                  </a:lnTo>
                  <a:lnTo>
                    <a:pt x="103" y="103"/>
                  </a:lnTo>
                  <a:lnTo>
                    <a:pt x="95" y="100"/>
                  </a:lnTo>
                  <a:lnTo>
                    <a:pt x="86" y="94"/>
                  </a:lnTo>
                  <a:lnTo>
                    <a:pt x="83" y="103"/>
                  </a:lnTo>
                  <a:lnTo>
                    <a:pt x="74" y="106"/>
                  </a:lnTo>
                  <a:lnTo>
                    <a:pt x="60" y="103"/>
                  </a:lnTo>
                  <a:lnTo>
                    <a:pt x="54" y="96"/>
                  </a:lnTo>
                  <a:lnTo>
                    <a:pt x="57" y="94"/>
                  </a:lnTo>
                  <a:lnTo>
                    <a:pt x="60" y="93"/>
                  </a:lnTo>
                  <a:lnTo>
                    <a:pt x="52" y="91"/>
                  </a:lnTo>
                  <a:lnTo>
                    <a:pt x="45" y="89"/>
                  </a:lnTo>
                  <a:lnTo>
                    <a:pt x="38" y="84"/>
                  </a:lnTo>
                  <a:lnTo>
                    <a:pt x="36" y="81"/>
                  </a:lnTo>
                  <a:lnTo>
                    <a:pt x="40" y="74"/>
                  </a:lnTo>
                  <a:lnTo>
                    <a:pt x="54" y="72"/>
                  </a:lnTo>
                  <a:lnTo>
                    <a:pt x="66" y="70"/>
                  </a:lnTo>
                  <a:lnTo>
                    <a:pt x="76" y="70"/>
                  </a:lnTo>
                  <a:lnTo>
                    <a:pt x="64" y="67"/>
                  </a:lnTo>
                  <a:lnTo>
                    <a:pt x="55" y="67"/>
                  </a:lnTo>
                  <a:lnTo>
                    <a:pt x="45" y="69"/>
                  </a:lnTo>
                  <a:lnTo>
                    <a:pt x="40" y="70"/>
                  </a:lnTo>
                  <a:lnTo>
                    <a:pt x="35" y="67"/>
                  </a:lnTo>
                  <a:lnTo>
                    <a:pt x="33" y="64"/>
                  </a:lnTo>
                  <a:lnTo>
                    <a:pt x="26" y="65"/>
                  </a:lnTo>
                  <a:lnTo>
                    <a:pt x="23" y="69"/>
                  </a:lnTo>
                  <a:lnTo>
                    <a:pt x="17" y="65"/>
                  </a:lnTo>
                  <a:lnTo>
                    <a:pt x="17" y="64"/>
                  </a:lnTo>
                  <a:lnTo>
                    <a:pt x="23" y="60"/>
                  </a:lnTo>
                  <a:lnTo>
                    <a:pt x="30" y="57"/>
                  </a:lnTo>
                  <a:lnTo>
                    <a:pt x="17" y="55"/>
                  </a:lnTo>
                  <a:lnTo>
                    <a:pt x="9" y="53"/>
                  </a:lnTo>
                  <a:lnTo>
                    <a:pt x="2" y="48"/>
                  </a:lnTo>
                  <a:lnTo>
                    <a:pt x="0" y="41"/>
                  </a:lnTo>
                  <a:lnTo>
                    <a:pt x="7" y="41"/>
                  </a:lnTo>
                  <a:lnTo>
                    <a:pt x="14" y="43"/>
                  </a:lnTo>
                  <a:lnTo>
                    <a:pt x="23" y="45"/>
                  </a:lnTo>
                  <a:lnTo>
                    <a:pt x="24" y="43"/>
                  </a:lnTo>
                  <a:lnTo>
                    <a:pt x="28" y="41"/>
                  </a:lnTo>
                  <a:lnTo>
                    <a:pt x="21" y="38"/>
                  </a:lnTo>
                  <a:lnTo>
                    <a:pt x="14" y="36"/>
                  </a:lnTo>
                  <a:lnTo>
                    <a:pt x="7" y="33"/>
                  </a:lnTo>
                  <a:lnTo>
                    <a:pt x="5" y="31"/>
                  </a:lnTo>
                  <a:lnTo>
                    <a:pt x="9" y="26"/>
                  </a:lnTo>
                  <a:lnTo>
                    <a:pt x="17" y="26"/>
                  </a:lnTo>
                  <a:lnTo>
                    <a:pt x="24" y="27"/>
                  </a:lnTo>
                  <a:lnTo>
                    <a:pt x="31" y="29"/>
                  </a:lnTo>
                  <a:lnTo>
                    <a:pt x="33" y="26"/>
                  </a:lnTo>
                  <a:lnTo>
                    <a:pt x="36" y="24"/>
                  </a:lnTo>
                  <a:lnTo>
                    <a:pt x="28" y="22"/>
                  </a:lnTo>
                  <a:lnTo>
                    <a:pt x="23" y="24"/>
                  </a:lnTo>
                  <a:lnTo>
                    <a:pt x="17" y="19"/>
                  </a:lnTo>
                  <a:lnTo>
                    <a:pt x="16" y="15"/>
                  </a:lnTo>
                  <a:lnTo>
                    <a:pt x="23" y="10"/>
                  </a:lnTo>
                  <a:lnTo>
                    <a:pt x="35" y="10"/>
                  </a:lnTo>
                  <a:lnTo>
                    <a:pt x="43" y="10"/>
                  </a:lnTo>
                  <a:lnTo>
                    <a:pt x="33" y="7"/>
                  </a:lnTo>
                  <a:lnTo>
                    <a:pt x="28" y="0"/>
                  </a:lnTo>
                  <a:lnTo>
                    <a:pt x="43" y="2"/>
                  </a:lnTo>
                  <a:lnTo>
                    <a:pt x="60" y="5"/>
                  </a:lnTo>
                  <a:lnTo>
                    <a:pt x="66" y="8"/>
                  </a:lnTo>
                  <a:lnTo>
                    <a:pt x="67" y="15"/>
                  </a:lnTo>
                  <a:lnTo>
                    <a:pt x="69" y="22"/>
                  </a:lnTo>
                  <a:lnTo>
                    <a:pt x="76" y="27"/>
                  </a:lnTo>
                  <a:lnTo>
                    <a:pt x="86" y="27"/>
                  </a:lnTo>
                  <a:lnTo>
                    <a:pt x="97" y="29"/>
                  </a:lnTo>
                  <a:lnTo>
                    <a:pt x="102" y="34"/>
                  </a:lnTo>
                  <a:lnTo>
                    <a:pt x="105" y="4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6" name="Freeform 325"/>
            <p:cNvSpPr>
              <a:spLocks/>
            </p:cNvSpPr>
            <p:nvPr/>
          </p:nvSpPr>
          <p:spPr bwMode="auto">
            <a:xfrm>
              <a:off x="2312194" y="2233613"/>
              <a:ext cx="163513" cy="103187"/>
            </a:xfrm>
            <a:custGeom>
              <a:avLst/>
              <a:gdLst/>
              <a:ahLst/>
              <a:cxnLst>
                <a:cxn ang="0">
                  <a:pos x="6" y="45"/>
                </a:cxn>
                <a:cxn ang="0">
                  <a:pos x="10" y="41"/>
                </a:cxn>
                <a:cxn ang="0">
                  <a:pos x="12" y="38"/>
                </a:cxn>
                <a:cxn ang="0">
                  <a:pos x="12" y="32"/>
                </a:cxn>
                <a:cxn ang="0">
                  <a:pos x="12" y="31"/>
                </a:cxn>
                <a:cxn ang="0">
                  <a:pos x="12" y="20"/>
                </a:cxn>
                <a:cxn ang="0">
                  <a:pos x="13" y="12"/>
                </a:cxn>
                <a:cxn ang="0">
                  <a:pos x="18" y="3"/>
                </a:cxn>
                <a:cxn ang="0">
                  <a:pos x="29" y="0"/>
                </a:cxn>
                <a:cxn ang="0">
                  <a:pos x="32" y="7"/>
                </a:cxn>
                <a:cxn ang="0">
                  <a:pos x="36" y="14"/>
                </a:cxn>
                <a:cxn ang="0">
                  <a:pos x="37" y="12"/>
                </a:cxn>
                <a:cxn ang="0">
                  <a:pos x="41" y="10"/>
                </a:cxn>
                <a:cxn ang="0">
                  <a:pos x="48" y="15"/>
                </a:cxn>
                <a:cxn ang="0">
                  <a:pos x="58" y="20"/>
                </a:cxn>
                <a:cxn ang="0">
                  <a:pos x="67" y="22"/>
                </a:cxn>
                <a:cxn ang="0">
                  <a:pos x="77" y="31"/>
                </a:cxn>
                <a:cxn ang="0">
                  <a:pos x="77" y="34"/>
                </a:cxn>
                <a:cxn ang="0">
                  <a:pos x="80" y="39"/>
                </a:cxn>
                <a:cxn ang="0">
                  <a:pos x="92" y="45"/>
                </a:cxn>
                <a:cxn ang="0">
                  <a:pos x="103" y="50"/>
                </a:cxn>
                <a:cxn ang="0">
                  <a:pos x="94" y="53"/>
                </a:cxn>
                <a:cxn ang="0">
                  <a:pos x="86" y="55"/>
                </a:cxn>
                <a:cxn ang="0">
                  <a:pos x="77" y="55"/>
                </a:cxn>
                <a:cxn ang="0">
                  <a:pos x="72" y="55"/>
                </a:cxn>
                <a:cxn ang="0">
                  <a:pos x="68" y="51"/>
                </a:cxn>
                <a:cxn ang="0">
                  <a:pos x="61" y="48"/>
                </a:cxn>
                <a:cxn ang="0">
                  <a:pos x="55" y="43"/>
                </a:cxn>
                <a:cxn ang="0">
                  <a:pos x="53" y="43"/>
                </a:cxn>
                <a:cxn ang="0">
                  <a:pos x="49" y="50"/>
                </a:cxn>
                <a:cxn ang="0">
                  <a:pos x="43" y="57"/>
                </a:cxn>
                <a:cxn ang="0">
                  <a:pos x="34" y="60"/>
                </a:cxn>
                <a:cxn ang="0">
                  <a:pos x="29" y="60"/>
                </a:cxn>
                <a:cxn ang="0">
                  <a:pos x="25" y="63"/>
                </a:cxn>
                <a:cxn ang="0">
                  <a:pos x="24" y="65"/>
                </a:cxn>
                <a:cxn ang="0">
                  <a:pos x="18" y="62"/>
                </a:cxn>
                <a:cxn ang="0">
                  <a:pos x="20" y="55"/>
                </a:cxn>
                <a:cxn ang="0">
                  <a:pos x="8" y="53"/>
                </a:cxn>
                <a:cxn ang="0">
                  <a:pos x="0" y="55"/>
                </a:cxn>
                <a:cxn ang="0">
                  <a:pos x="1" y="46"/>
                </a:cxn>
                <a:cxn ang="0">
                  <a:pos x="6" y="45"/>
                </a:cxn>
              </a:cxnLst>
              <a:rect l="0" t="0" r="r" b="b"/>
              <a:pathLst>
                <a:path w="103" h="65">
                  <a:moveTo>
                    <a:pt x="6" y="45"/>
                  </a:moveTo>
                  <a:lnTo>
                    <a:pt x="10" y="41"/>
                  </a:lnTo>
                  <a:lnTo>
                    <a:pt x="12" y="38"/>
                  </a:lnTo>
                  <a:lnTo>
                    <a:pt x="12" y="32"/>
                  </a:lnTo>
                  <a:lnTo>
                    <a:pt x="12" y="31"/>
                  </a:lnTo>
                  <a:lnTo>
                    <a:pt x="12" y="20"/>
                  </a:lnTo>
                  <a:lnTo>
                    <a:pt x="13" y="12"/>
                  </a:lnTo>
                  <a:lnTo>
                    <a:pt x="18" y="3"/>
                  </a:lnTo>
                  <a:lnTo>
                    <a:pt x="29" y="0"/>
                  </a:lnTo>
                  <a:lnTo>
                    <a:pt x="32" y="7"/>
                  </a:lnTo>
                  <a:lnTo>
                    <a:pt x="36" y="14"/>
                  </a:lnTo>
                  <a:lnTo>
                    <a:pt x="37" y="12"/>
                  </a:lnTo>
                  <a:lnTo>
                    <a:pt x="41" y="10"/>
                  </a:lnTo>
                  <a:lnTo>
                    <a:pt x="48" y="15"/>
                  </a:lnTo>
                  <a:lnTo>
                    <a:pt x="58" y="20"/>
                  </a:lnTo>
                  <a:lnTo>
                    <a:pt x="67" y="22"/>
                  </a:lnTo>
                  <a:lnTo>
                    <a:pt x="77" y="31"/>
                  </a:lnTo>
                  <a:lnTo>
                    <a:pt x="77" y="34"/>
                  </a:lnTo>
                  <a:lnTo>
                    <a:pt x="80" y="39"/>
                  </a:lnTo>
                  <a:lnTo>
                    <a:pt x="92" y="45"/>
                  </a:lnTo>
                  <a:lnTo>
                    <a:pt x="103" y="50"/>
                  </a:lnTo>
                  <a:lnTo>
                    <a:pt x="94" y="53"/>
                  </a:lnTo>
                  <a:lnTo>
                    <a:pt x="86" y="55"/>
                  </a:lnTo>
                  <a:lnTo>
                    <a:pt x="77" y="55"/>
                  </a:lnTo>
                  <a:lnTo>
                    <a:pt x="72" y="55"/>
                  </a:lnTo>
                  <a:lnTo>
                    <a:pt x="68" y="51"/>
                  </a:lnTo>
                  <a:lnTo>
                    <a:pt x="61" y="48"/>
                  </a:lnTo>
                  <a:lnTo>
                    <a:pt x="55" y="43"/>
                  </a:lnTo>
                  <a:lnTo>
                    <a:pt x="53" y="43"/>
                  </a:lnTo>
                  <a:lnTo>
                    <a:pt x="49" y="50"/>
                  </a:lnTo>
                  <a:lnTo>
                    <a:pt x="43" y="57"/>
                  </a:lnTo>
                  <a:lnTo>
                    <a:pt x="34" y="60"/>
                  </a:lnTo>
                  <a:lnTo>
                    <a:pt x="29" y="60"/>
                  </a:lnTo>
                  <a:lnTo>
                    <a:pt x="25" y="63"/>
                  </a:lnTo>
                  <a:lnTo>
                    <a:pt x="24" y="65"/>
                  </a:lnTo>
                  <a:lnTo>
                    <a:pt x="18" y="62"/>
                  </a:lnTo>
                  <a:lnTo>
                    <a:pt x="20" y="55"/>
                  </a:lnTo>
                  <a:lnTo>
                    <a:pt x="8" y="53"/>
                  </a:lnTo>
                  <a:lnTo>
                    <a:pt x="0" y="55"/>
                  </a:lnTo>
                  <a:lnTo>
                    <a:pt x="1" y="46"/>
                  </a:lnTo>
                  <a:lnTo>
                    <a:pt x="6" y="4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7" name="Freeform 326"/>
            <p:cNvSpPr>
              <a:spLocks/>
            </p:cNvSpPr>
            <p:nvPr/>
          </p:nvSpPr>
          <p:spPr bwMode="auto">
            <a:xfrm>
              <a:off x="2543969" y="2139950"/>
              <a:ext cx="49213" cy="41275"/>
            </a:xfrm>
            <a:custGeom>
              <a:avLst/>
              <a:gdLst/>
              <a:ahLst/>
              <a:cxnLst>
                <a:cxn ang="0">
                  <a:pos x="31" y="14"/>
                </a:cxn>
                <a:cxn ang="0">
                  <a:pos x="24" y="23"/>
                </a:cxn>
                <a:cxn ang="0">
                  <a:pos x="12" y="26"/>
                </a:cxn>
                <a:cxn ang="0">
                  <a:pos x="3" y="23"/>
                </a:cxn>
                <a:cxn ang="0">
                  <a:pos x="0" y="14"/>
                </a:cxn>
                <a:cxn ang="0">
                  <a:pos x="3" y="2"/>
                </a:cxn>
                <a:cxn ang="0">
                  <a:pos x="15" y="0"/>
                </a:cxn>
                <a:cxn ang="0">
                  <a:pos x="26" y="4"/>
                </a:cxn>
                <a:cxn ang="0">
                  <a:pos x="31" y="14"/>
                </a:cxn>
              </a:cxnLst>
              <a:rect l="0" t="0" r="r" b="b"/>
              <a:pathLst>
                <a:path w="31" h="26">
                  <a:moveTo>
                    <a:pt x="31" y="14"/>
                  </a:moveTo>
                  <a:lnTo>
                    <a:pt x="24" y="23"/>
                  </a:lnTo>
                  <a:lnTo>
                    <a:pt x="12" y="26"/>
                  </a:lnTo>
                  <a:lnTo>
                    <a:pt x="3" y="23"/>
                  </a:lnTo>
                  <a:lnTo>
                    <a:pt x="0" y="14"/>
                  </a:lnTo>
                  <a:lnTo>
                    <a:pt x="3" y="2"/>
                  </a:lnTo>
                  <a:lnTo>
                    <a:pt x="15" y="0"/>
                  </a:lnTo>
                  <a:lnTo>
                    <a:pt x="26" y="4"/>
                  </a:lnTo>
                  <a:lnTo>
                    <a:pt x="31"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8" name="Freeform 327"/>
            <p:cNvSpPr>
              <a:spLocks/>
            </p:cNvSpPr>
            <p:nvPr/>
          </p:nvSpPr>
          <p:spPr bwMode="auto">
            <a:xfrm>
              <a:off x="2393157" y="2339975"/>
              <a:ext cx="41275" cy="31750"/>
            </a:xfrm>
            <a:custGeom>
              <a:avLst/>
              <a:gdLst/>
              <a:ahLst/>
              <a:cxnLst>
                <a:cxn ang="0">
                  <a:pos x="10" y="2"/>
                </a:cxn>
                <a:cxn ang="0">
                  <a:pos x="19" y="0"/>
                </a:cxn>
                <a:cxn ang="0">
                  <a:pos x="26" y="3"/>
                </a:cxn>
                <a:cxn ang="0">
                  <a:pos x="14" y="14"/>
                </a:cxn>
                <a:cxn ang="0">
                  <a:pos x="0" y="20"/>
                </a:cxn>
                <a:cxn ang="0">
                  <a:pos x="0" y="14"/>
                </a:cxn>
                <a:cxn ang="0">
                  <a:pos x="5" y="7"/>
                </a:cxn>
                <a:cxn ang="0">
                  <a:pos x="10" y="2"/>
                </a:cxn>
              </a:cxnLst>
              <a:rect l="0" t="0" r="r" b="b"/>
              <a:pathLst>
                <a:path w="26" h="20">
                  <a:moveTo>
                    <a:pt x="10" y="2"/>
                  </a:moveTo>
                  <a:lnTo>
                    <a:pt x="19" y="0"/>
                  </a:lnTo>
                  <a:lnTo>
                    <a:pt x="26" y="3"/>
                  </a:lnTo>
                  <a:lnTo>
                    <a:pt x="14" y="14"/>
                  </a:lnTo>
                  <a:lnTo>
                    <a:pt x="0" y="20"/>
                  </a:lnTo>
                  <a:lnTo>
                    <a:pt x="0" y="14"/>
                  </a:lnTo>
                  <a:lnTo>
                    <a:pt x="5" y="7"/>
                  </a:lnTo>
                  <a:lnTo>
                    <a:pt x="1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59" name="Freeform 328"/>
            <p:cNvSpPr>
              <a:spLocks/>
            </p:cNvSpPr>
            <p:nvPr/>
          </p:nvSpPr>
          <p:spPr bwMode="auto">
            <a:xfrm>
              <a:off x="2458244" y="1908175"/>
              <a:ext cx="107950" cy="46037"/>
            </a:xfrm>
            <a:custGeom>
              <a:avLst/>
              <a:gdLst/>
              <a:ahLst/>
              <a:cxnLst>
                <a:cxn ang="0">
                  <a:pos x="25" y="29"/>
                </a:cxn>
                <a:cxn ang="0">
                  <a:pos x="11" y="26"/>
                </a:cxn>
                <a:cxn ang="0">
                  <a:pos x="11" y="17"/>
                </a:cxn>
                <a:cxn ang="0">
                  <a:pos x="2" y="12"/>
                </a:cxn>
                <a:cxn ang="0">
                  <a:pos x="0" y="7"/>
                </a:cxn>
                <a:cxn ang="0">
                  <a:pos x="2" y="0"/>
                </a:cxn>
                <a:cxn ang="0">
                  <a:pos x="9" y="0"/>
                </a:cxn>
                <a:cxn ang="0">
                  <a:pos x="21" y="2"/>
                </a:cxn>
                <a:cxn ang="0">
                  <a:pos x="33" y="4"/>
                </a:cxn>
                <a:cxn ang="0">
                  <a:pos x="42" y="4"/>
                </a:cxn>
                <a:cxn ang="0">
                  <a:pos x="52" y="9"/>
                </a:cxn>
                <a:cxn ang="0">
                  <a:pos x="59" y="14"/>
                </a:cxn>
                <a:cxn ang="0">
                  <a:pos x="68" y="19"/>
                </a:cxn>
                <a:cxn ang="0">
                  <a:pos x="64" y="24"/>
                </a:cxn>
                <a:cxn ang="0">
                  <a:pos x="59" y="28"/>
                </a:cxn>
                <a:cxn ang="0">
                  <a:pos x="50" y="26"/>
                </a:cxn>
                <a:cxn ang="0">
                  <a:pos x="43" y="24"/>
                </a:cxn>
                <a:cxn ang="0">
                  <a:pos x="35" y="26"/>
                </a:cxn>
                <a:cxn ang="0">
                  <a:pos x="25" y="29"/>
                </a:cxn>
              </a:cxnLst>
              <a:rect l="0" t="0" r="r" b="b"/>
              <a:pathLst>
                <a:path w="68" h="29">
                  <a:moveTo>
                    <a:pt x="25" y="29"/>
                  </a:moveTo>
                  <a:lnTo>
                    <a:pt x="11" y="26"/>
                  </a:lnTo>
                  <a:lnTo>
                    <a:pt x="11" y="17"/>
                  </a:lnTo>
                  <a:lnTo>
                    <a:pt x="2" y="12"/>
                  </a:lnTo>
                  <a:lnTo>
                    <a:pt x="0" y="7"/>
                  </a:lnTo>
                  <a:lnTo>
                    <a:pt x="2" y="0"/>
                  </a:lnTo>
                  <a:lnTo>
                    <a:pt x="9" y="0"/>
                  </a:lnTo>
                  <a:lnTo>
                    <a:pt x="21" y="2"/>
                  </a:lnTo>
                  <a:lnTo>
                    <a:pt x="33" y="4"/>
                  </a:lnTo>
                  <a:lnTo>
                    <a:pt x="42" y="4"/>
                  </a:lnTo>
                  <a:lnTo>
                    <a:pt x="52" y="9"/>
                  </a:lnTo>
                  <a:lnTo>
                    <a:pt x="59" y="14"/>
                  </a:lnTo>
                  <a:lnTo>
                    <a:pt x="68" y="19"/>
                  </a:lnTo>
                  <a:lnTo>
                    <a:pt x="64" y="24"/>
                  </a:lnTo>
                  <a:lnTo>
                    <a:pt x="59" y="28"/>
                  </a:lnTo>
                  <a:lnTo>
                    <a:pt x="50" y="26"/>
                  </a:lnTo>
                  <a:lnTo>
                    <a:pt x="43" y="24"/>
                  </a:lnTo>
                  <a:lnTo>
                    <a:pt x="35" y="26"/>
                  </a:lnTo>
                  <a:lnTo>
                    <a:pt x="25"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0" name="Freeform 329"/>
            <p:cNvSpPr>
              <a:spLocks/>
            </p:cNvSpPr>
            <p:nvPr/>
          </p:nvSpPr>
          <p:spPr bwMode="auto">
            <a:xfrm>
              <a:off x="2467769" y="2363788"/>
              <a:ext cx="26988" cy="25400"/>
            </a:xfrm>
            <a:custGeom>
              <a:avLst/>
              <a:gdLst/>
              <a:ahLst/>
              <a:cxnLst>
                <a:cxn ang="0">
                  <a:pos x="17" y="4"/>
                </a:cxn>
                <a:cxn ang="0">
                  <a:pos x="12" y="11"/>
                </a:cxn>
                <a:cxn ang="0">
                  <a:pos x="8" y="16"/>
                </a:cxn>
                <a:cxn ang="0">
                  <a:pos x="3" y="12"/>
                </a:cxn>
                <a:cxn ang="0">
                  <a:pos x="0" y="9"/>
                </a:cxn>
                <a:cxn ang="0">
                  <a:pos x="5" y="0"/>
                </a:cxn>
                <a:cxn ang="0">
                  <a:pos x="17" y="4"/>
                </a:cxn>
              </a:cxnLst>
              <a:rect l="0" t="0" r="r" b="b"/>
              <a:pathLst>
                <a:path w="17" h="16">
                  <a:moveTo>
                    <a:pt x="17" y="4"/>
                  </a:moveTo>
                  <a:lnTo>
                    <a:pt x="12" y="11"/>
                  </a:lnTo>
                  <a:lnTo>
                    <a:pt x="8" y="16"/>
                  </a:lnTo>
                  <a:lnTo>
                    <a:pt x="3" y="12"/>
                  </a:lnTo>
                  <a:lnTo>
                    <a:pt x="0" y="9"/>
                  </a:lnTo>
                  <a:lnTo>
                    <a:pt x="5" y="0"/>
                  </a:lnTo>
                  <a:lnTo>
                    <a:pt x="17"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1" name="Freeform 330"/>
            <p:cNvSpPr>
              <a:spLocks/>
            </p:cNvSpPr>
            <p:nvPr/>
          </p:nvSpPr>
          <p:spPr bwMode="auto">
            <a:xfrm>
              <a:off x="2601119" y="2143125"/>
              <a:ext cx="26988" cy="15875"/>
            </a:xfrm>
            <a:custGeom>
              <a:avLst/>
              <a:gdLst/>
              <a:ahLst/>
              <a:cxnLst>
                <a:cxn ang="0">
                  <a:pos x="7" y="10"/>
                </a:cxn>
                <a:cxn ang="0">
                  <a:pos x="2" y="9"/>
                </a:cxn>
                <a:cxn ang="0">
                  <a:pos x="0" y="7"/>
                </a:cxn>
                <a:cxn ang="0">
                  <a:pos x="2" y="2"/>
                </a:cxn>
                <a:cxn ang="0">
                  <a:pos x="7" y="0"/>
                </a:cxn>
                <a:cxn ang="0">
                  <a:pos x="12" y="3"/>
                </a:cxn>
                <a:cxn ang="0">
                  <a:pos x="17" y="9"/>
                </a:cxn>
                <a:cxn ang="0">
                  <a:pos x="10" y="9"/>
                </a:cxn>
                <a:cxn ang="0">
                  <a:pos x="7" y="10"/>
                </a:cxn>
              </a:cxnLst>
              <a:rect l="0" t="0" r="r" b="b"/>
              <a:pathLst>
                <a:path w="17" h="10">
                  <a:moveTo>
                    <a:pt x="7" y="10"/>
                  </a:moveTo>
                  <a:lnTo>
                    <a:pt x="2" y="9"/>
                  </a:lnTo>
                  <a:lnTo>
                    <a:pt x="0" y="7"/>
                  </a:lnTo>
                  <a:lnTo>
                    <a:pt x="2" y="2"/>
                  </a:lnTo>
                  <a:lnTo>
                    <a:pt x="7" y="0"/>
                  </a:lnTo>
                  <a:lnTo>
                    <a:pt x="12" y="3"/>
                  </a:lnTo>
                  <a:lnTo>
                    <a:pt x="17" y="9"/>
                  </a:lnTo>
                  <a:lnTo>
                    <a:pt x="10" y="9"/>
                  </a:lnTo>
                  <a:lnTo>
                    <a:pt x="7"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2" name="Freeform 331"/>
            <p:cNvSpPr>
              <a:spLocks/>
            </p:cNvSpPr>
            <p:nvPr/>
          </p:nvSpPr>
          <p:spPr bwMode="auto">
            <a:xfrm>
              <a:off x="2497932" y="2100263"/>
              <a:ext cx="15875" cy="15875"/>
            </a:xfrm>
            <a:custGeom>
              <a:avLst/>
              <a:gdLst/>
              <a:ahLst/>
              <a:cxnLst>
                <a:cxn ang="0">
                  <a:pos x="0" y="10"/>
                </a:cxn>
                <a:cxn ang="0">
                  <a:pos x="0" y="5"/>
                </a:cxn>
                <a:cxn ang="0">
                  <a:pos x="10" y="0"/>
                </a:cxn>
                <a:cxn ang="0">
                  <a:pos x="5" y="6"/>
                </a:cxn>
                <a:cxn ang="0">
                  <a:pos x="0" y="10"/>
                </a:cxn>
              </a:cxnLst>
              <a:rect l="0" t="0" r="r" b="b"/>
              <a:pathLst>
                <a:path w="10" h="10">
                  <a:moveTo>
                    <a:pt x="0" y="10"/>
                  </a:moveTo>
                  <a:lnTo>
                    <a:pt x="0" y="5"/>
                  </a:lnTo>
                  <a:lnTo>
                    <a:pt x="10" y="0"/>
                  </a:lnTo>
                  <a:lnTo>
                    <a:pt x="5" y="6"/>
                  </a:lnTo>
                  <a:lnTo>
                    <a:pt x="0" y="1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3" name="Freeform 332"/>
            <p:cNvSpPr>
              <a:spLocks/>
            </p:cNvSpPr>
            <p:nvPr/>
          </p:nvSpPr>
          <p:spPr bwMode="auto">
            <a:xfrm>
              <a:off x="2243932" y="1905000"/>
              <a:ext cx="663575" cy="477837"/>
            </a:xfrm>
            <a:custGeom>
              <a:avLst/>
              <a:gdLst/>
              <a:ahLst/>
              <a:cxnLst>
                <a:cxn ang="0">
                  <a:pos x="375" y="222"/>
                </a:cxn>
                <a:cxn ang="0">
                  <a:pos x="347" y="196"/>
                </a:cxn>
                <a:cxn ang="0">
                  <a:pos x="328" y="198"/>
                </a:cxn>
                <a:cxn ang="0">
                  <a:pos x="326" y="205"/>
                </a:cxn>
                <a:cxn ang="0">
                  <a:pos x="344" y="231"/>
                </a:cxn>
                <a:cxn ang="0">
                  <a:pos x="366" y="238"/>
                </a:cxn>
                <a:cxn ang="0">
                  <a:pos x="376" y="258"/>
                </a:cxn>
                <a:cxn ang="0">
                  <a:pos x="342" y="270"/>
                </a:cxn>
                <a:cxn ang="0">
                  <a:pos x="321" y="265"/>
                </a:cxn>
                <a:cxn ang="0">
                  <a:pos x="347" y="298"/>
                </a:cxn>
                <a:cxn ang="0">
                  <a:pos x="328" y="289"/>
                </a:cxn>
                <a:cxn ang="0">
                  <a:pos x="290" y="277"/>
                </a:cxn>
                <a:cxn ang="0">
                  <a:pos x="258" y="253"/>
                </a:cxn>
                <a:cxn ang="0">
                  <a:pos x="225" y="239"/>
                </a:cxn>
                <a:cxn ang="0">
                  <a:pos x="203" y="243"/>
                </a:cxn>
                <a:cxn ang="0">
                  <a:pos x="175" y="236"/>
                </a:cxn>
                <a:cxn ang="0">
                  <a:pos x="187" y="219"/>
                </a:cxn>
                <a:cxn ang="0">
                  <a:pos x="227" y="215"/>
                </a:cxn>
                <a:cxn ang="0">
                  <a:pos x="233" y="195"/>
                </a:cxn>
                <a:cxn ang="0">
                  <a:pos x="251" y="159"/>
                </a:cxn>
                <a:cxn ang="0">
                  <a:pos x="206" y="135"/>
                </a:cxn>
                <a:cxn ang="0">
                  <a:pos x="197" y="126"/>
                </a:cxn>
                <a:cxn ang="0">
                  <a:pos x="175" y="100"/>
                </a:cxn>
                <a:cxn ang="0">
                  <a:pos x="151" y="114"/>
                </a:cxn>
                <a:cxn ang="0">
                  <a:pos x="132" y="104"/>
                </a:cxn>
                <a:cxn ang="0">
                  <a:pos x="92" y="104"/>
                </a:cxn>
                <a:cxn ang="0">
                  <a:pos x="55" y="100"/>
                </a:cxn>
                <a:cxn ang="0">
                  <a:pos x="13" y="80"/>
                </a:cxn>
                <a:cxn ang="0">
                  <a:pos x="27" y="71"/>
                </a:cxn>
                <a:cxn ang="0">
                  <a:pos x="3" y="64"/>
                </a:cxn>
                <a:cxn ang="0">
                  <a:pos x="5" y="35"/>
                </a:cxn>
                <a:cxn ang="0">
                  <a:pos x="20" y="11"/>
                </a:cxn>
                <a:cxn ang="0">
                  <a:pos x="56" y="0"/>
                </a:cxn>
                <a:cxn ang="0">
                  <a:pos x="65" y="11"/>
                </a:cxn>
                <a:cxn ang="0">
                  <a:pos x="49" y="35"/>
                </a:cxn>
                <a:cxn ang="0">
                  <a:pos x="53" y="50"/>
                </a:cxn>
                <a:cxn ang="0">
                  <a:pos x="65" y="38"/>
                </a:cxn>
                <a:cxn ang="0">
                  <a:pos x="91" y="7"/>
                </a:cxn>
                <a:cxn ang="0">
                  <a:pos x="127" y="7"/>
                </a:cxn>
                <a:cxn ang="0">
                  <a:pos x="137" y="40"/>
                </a:cxn>
                <a:cxn ang="0">
                  <a:pos x="154" y="42"/>
                </a:cxn>
                <a:cxn ang="0">
                  <a:pos x="173" y="33"/>
                </a:cxn>
                <a:cxn ang="0">
                  <a:pos x="209" y="35"/>
                </a:cxn>
                <a:cxn ang="0">
                  <a:pos x="237" y="61"/>
                </a:cxn>
                <a:cxn ang="0">
                  <a:pos x="266" y="64"/>
                </a:cxn>
                <a:cxn ang="0">
                  <a:pos x="289" y="78"/>
                </a:cxn>
                <a:cxn ang="0">
                  <a:pos x="314" y="98"/>
                </a:cxn>
                <a:cxn ang="0">
                  <a:pos x="338" y="111"/>
                </a:cxn>
                <a:cxn ang="0">
                  <a:pos x="335" y="117"/>
                </a:cxn>
                <a:cxn ang="0">
                  <a:pos x="326" y="135"/>
                </a:cxn>
                <a:cxn ang="0">
                  <a:pos x="349" y="150"/>
                </a:cxn>
                <a:cxn ang="0">
                  <a:pos x="376" y="174"/>
                </a:cxn>
                <a:cxn ang="0">
                  <a:pos x="404" y="179"/>
                </a:cxn>
                <a:cxn ang="0">
                  <a:pos x="402" y="198"/>
                </a:cxn>
                <a:cxn ang="0">
                  <a:pos x="392" y="212"/>
                </a:cxn>
              </a:cxnLst>
              <a:rect l="0" t="0" r="r" b="b"/>
              <a:pathLst>
                <a:path w="418" h="301">
                  <a:moveTo>
                    <a:pt x="392" y="212"/>
                  </a:moveTo>
                  <a:lnTo>
                    <a:pt x="390" y="221"/>
                  </a:lnTo>
                  <a:lnTo>
                    <a:pt x="385" y="226"/>
                  </a:lnTo>
                  <a:lnTo>
                    <a:pt x="375" y="222"/>
                  </a:lnTo>
                  <a:lnTo>
                    <a:pt x="368" y="219"/>
                  </a:lnTo>
                  <a:lnTo>
                    <a:pt x="362" y="214"/>
                  </a:lnTo>
                  <a:lnTo>
                    <a:pt x="357" y="209"/>
                  </a:lnTo>
                  <a:lnTo>
                    <a:pt x="347" y="196"/>
                  </a:lnTo>
                  <a:lnTo>
                    <a:pt x="333" y="191"/>
                  </a:lnTo>
                  <a:lnTo>
                    <a:pt x="328" y="193"/>
                  </a:lnTo>
                  <a:lnTo>
                    <a:pt x="323" y="196"/>
                  </a:lnTo>
                  <a:lnTo>
                    <a:pt x="328" y="198"/>
                  </a:lnTo>
                  <a:lnTo>
                    <a:pt x="333" y="198"/>
                  </a:lnTo>
                  <a:lnTo>
                    <a:pt x="333" y="205"/>
                  </a:lnTo>
                  <a:lnTo>
                    <a:pt x="330" y="205"/>
                  </a:lnTo>
                  <a:lnTo>
                    <a:pt x="326" y="205"/>
                  </a:lnTo>
                  <a:lnTo>
                    <a:pt x="326" y="212"/>
                  </a:lnTo>
                  <a:lnTo>
                    <a:pt x="333" y="212"/>
                  </a:lnTo>
                  <a:lnTo>
                    <a:pt x="337" y="222"/>
                  </a:lnTo>
                  <a:lnTo>
                    <a:pt x="344" y="231"/>
                  </a:lnTo>
                  <a:lnTo>
                    <a:pt x="354" y="231"/>
                  </a:lnTo>
                  <a:lnTo>
                    <a:pt x="357" y="238"/>
                  </a:lnTo>
                  <a:lnTo>
                    <a:pt x="361" y="238"/>
                  </a:lnTo>
                  <a:lnTo>
                    <a:pt x="366" y="238"/>
                  </a:lnTo>
                  <a:lnTo>
                    <a:pt x="366" y="243"/>
                  </a:lnTo>
                  <a:lnTo>
                    <a:pt x="366" y="248"/>
                  </a:lnTo>
                  <a:lnTo>
                    <a:pt x="371" y="252"/>
                  </a:lnTo>
                  <a:lnTo>
                    <a:pt x="376" y="258"/>
                  </a:lnTo>
                  <a:lnTo>
                    <a:pt x="371" y="269"/>
                  </a:lnTo>
                  <a:lnTo>
                    <a:pt x="368" y="279"/>
                  </a:lnTo>
                  <a:lnTo>
                    <a:pt x="356" y="276"/>
                  </a:lnTo>
                  <a:lnTo>
                    <a:pt x="342" y="270"/>
                  </a:lnTo>
                  <a:lnTo>
                    <a:pt x="328" y="264"/>
                  </a:lnTo>
                  <a:lnTo>
                    <a:pt x="321" y="258"/>
                  </a:lnTo>
                  <a:lnTo>
                    <a:pt x="313" y="258"/>
                  </a:lnTo>
                  <a:lnTo>
                    <a:pt x="321" y="265"/>
                  </a:lnTo>
                  <a:lnTo>
                    <a:pt x="333" y="276"/>
                  </a:lnTo>
                  <a:lnTo>
                    <a:pt x="344" y="284"/>
                  </a:lnTo>
                  <a:lnTo>
                    <a:pt x="350" y="294"/>
                  </a:lnTo>
                  <a:lnTo>
                    <a:pt x="347" y="298"/>
                  </a:lnTo>
                  <a:lnTo>
                    <a:pt x="345" y="301"/>
                  </a:lnTo>
                  <a:lnTo>
                    <a:pt x="342" y="298"/>
                  </a:lnTo>
                  <a:lnTo>
                    <a:pt x="340" y="294"/>
                  </a:lnTo>
                  <a:lnTo>
                    <a:pt x="328" y="289"/>
                  </a:lnTo>
                  <a:lnTo>
                    <a:pt x="319" y="288"/>
                  </a:lnTo>
                  <a:lnTo>
                    <a:pt x="311" y="286"/>
                  </a:lnTo>
                  <a:lnTo>
                    <a:pt x="304" y="282"/>
                  </a:lnTo>
                  <a:lnTo>
                    <a:pt x="290" y="277"/>
                  </a:lnTo>
                  <a:lnTo>
                    <a:pt x="278" y="274"/>
                  </a:lnTo>
                  <a:lnTo>
                    <a:pt x="268" y="267"/>
                  </a:lnTo>
                  <a:lnTo>
                    <a:pt x="270" y="260"/>
                  </a:lnTo>
                  <a:lnTo>
                    <a:pt x="258" y="253"/>
                  </a:lnTo>
                  <a:lnTo>
                    <a:pt x="247" y="246"/>
                  </a:lnTo>
                  <a:lnTo>
                    <a:pt x="239" y="239"/>
                  </a:lnTo>
                  <a:lnTo>
                    <a:pt x="230" y="234"/>
                  </a:lnTo>
                  <a:lnTo>
                    <a:pt x="225" y="239"/>
                  </a:lnTo>
                  <a:lnTo>
                    <a:pt x="220" y="243"/>
                  </a:lnTo>
                  <a:lnTo>
                    <a:pt x="215" y="241"/>
                  </a:lnTo>
                  <a:lnTo>
                    <a:pt x="211" y="239"/>
                  </a:lnTo>
                  <a:lnTo>
                    <a:pt x="203" y="243"/>
                  </a:lnTo>
                  <a:lnTo>
                    <a:pt x="196" y="246"/>
                  </a:lnTo>
                  <a:lnTo>
                    <a:pt x="189" y="245"/>
                  </a:lnTo>
                  <a:lnTo>
                    <a:pt x="182" y="241"/>
                  </a:lnTo>
                  <a:lnTo>
                    <a:pt x="175" y="236"/>
                  </a:lnTo>
                  <a:lnTo>
                    <a:pt x="173" y="233"/>
                  </a:lnTo>
                  <a:lnTo>
                    <a:pt x="175" y="227"/>
                  </a:lnTo>
                  <a:lnTo>
                    <a:pt x="180" y="222"/>
                  </a:lnTo>
                  <a:lnTo>
                    <a:pt x="187" y="219"/>
                  </a:lnTo>
                  <a:lnTo>
                    <a:pt x="194" y="219"/>
                  </a:lnTo>
                  <a:lnTo>
                    <a:pt x="206" y="219"/>
                  </a:lnTo>
                  <a:lnTo>
                    <a:pt x="216" y="219"/>
                  </a:lnTo>
                  <a:lnTo>
                    <a:pt x="227" y="215"/>
                  </a:lnTo>
                  <a:lnTo>
                    <a:pt x="239" y="212"/>
                  </a:lnTo>
                  <a:lnTo>
                    <a:pt x="233" y="207"/>
                  </a:lnTo>
                  <a:lnTo>
                    <a:pt x="230" y="202"/>
                  </a:lnTo>
                  <a:lnTo>
                    <a:pt x="233" y="195"/>
                  </a:lnTo>
                  <a:lnTo>
                    <a:pt x="242" y="193"/>
                  </a:lnTo>
                  <a:lnTo>
                    <a:pt x="251" y="181"/>
                  </a:lnTo>
                  <a:lnTo>
                    <a:pt x="258" y="171"/>
                  </a:lnTo>
                  <a:lnTo>
                    <a:pt x="251" y="159"/>
                  </a:lnTo>
                  <a:lnTo>
                    <a:pt x="239" y="147"/>
                  </a:lnTo>
                  <a:lnTo>
                    <a:pt x="225" y="136"/>
                  </a:lnTo>
                  <a:lnTo>
                    <a:pt x="215" y="133"/>
                  </a:lnTo>
                  <a:lnTo>
                    <a:pt x="206" y="135"/>
                  </a:lnTo>
                  <a:lnTo>
                    <a:pt x="197" y="138"/>
                  </a:lnTo>
                  <a:lnTo>
                    <a:pt x="194" y="135"/>
                  </a:lnTo>
                  <a:lnTo>
                    <a:pt x="194" y="133"/>
                  </a:lnTo>
                  <a:lnTo>
                    <a:pt x="197" y="126"/>
                  </a:lnTo>
                  <a:lnTo>
                    <a:pt x="206" y="126"/>
                  </a:lnTo>
                  <a:lnTo>
                    <a:pt x="197" y="117"/>
                  </a:lnTo>
                  <a:lnTo>
                    <a:pt x="187" y="109"/>
                  </a:lnTo>
                  <a:lnTo>
                    <a:pt x="175" y="100"/>
                  </a:lnTo>
                  <a:lnTo>
                    <a:pt x="168" y="98"/>
                  </a:lnTo>
                  <a:lnTo>
                    <a:pt x="163" y="100"/>
                  </a:lnTo>
                  <a:lnTo>
                    <a:pt x="158" y="107"/>
                  </a:lnTo>
                  <a:lnTo>
                    <a:pt x="151" y="114"/>
                  </a:lnTo>
                  <a:lnTo>
                    <a:pt x="146" y="117"/>
                  </a:lnTo>
                  <a:lnTo>
                    <a:pt x="141" y="112"/>
                  </a:lnTo>
                  <a:lnTo>
                    <a:pt x="141" y="105"/>
                  </a:lnTo>
                  <a:lnTo>
                    <a:pt x="132" y="104"/>
                  </a:lnTo>
                  <a:lnTo>
                    <a:pt x="123" y="104"/>
                  </a:lnTo>
                  <a:lnTo>
                    <a:pt x="113" y="104"/>
                  </a:lnTo>
                  <a:lnTo>
                    <a:pt x="104" y="104"/>
                  </a:lnTo>
                  <a:lnTo>
                    <a:pt x="92" y="104"/>
                  </a:lnTo>
                  <a:lnTo>
                    <a:pt x="82" y="104"/>
                  </a:lnTo>
                  <a:lnTo>
                    <a:pt x="72" y="104"/>
                  </a:lnTo>
                  <a:lnTo>
                    <a:pt x="63" y="105"/>
                  </a:lnTo>
                  <a:lnTo>
                    <a:pt x="55" y="100"/>
                  </a:lnTo>
                  <a:lnTo>
                    <a:pt x="48" y="95"/>
                  </a:lnTo>
                  <a:lnTo>
                    <a:pt x="24" y="95"/>
                  </a:lnTo>
                  <a:lnTo>
                    <a:pt x="17" y="86"/>
                  </a:lnTo>
                  <a:lnTo>
                    <a:pt x="13" y="80"/>
                  </a:lnTo>
                  <a:lnTo>
                    <a:pt x="24" y="80"/>
                  </a:lnTo>
                  <a:lnTo>
                    <a:pt x="36" y="81"/>
                  </a:lnTo>
                  <a:lnTo>
                    <a:pt x="36" y="74"/>
                  </a:lnTo>
                  <a:lnTo>
                    <a:pt x="27" y="71"/>
                  </a:lnTo>
                  <a:lnTo>
                    <a:pt x="18" y="71"/>
                  </a:lnTo>
                  <a:lnTo>
                    <a:pt x="10" y="69"/>
                  </a:lnTo>
                  <a:lnTo>
                    <a:pt x="8" y="69"/>
                  </a:lnTo>
                  <a:lnTo>
                    <a:pt x="3" y="64"/>
                  </a:lnTo>
                  <a:lnTo>
                    <a:pt x="0" y="55"/>
                  </a:lnTo>
                  <a:lnTo>
                    <a:pt x="0" y="45"/>
                  </a:lnTo>
                  <a:lnTo>
                    <a:pt x="1" y="40"/>
                  </a:lnTo>
                  <a:lnTo>
                    <a:pt x="5" y="35"/>
                  </a:lnTo>
                  <a:lnTo>
                    <a:pt x="10" y="33"/>
                  </a:lnTo>
                  <a:lnTo>
                    <a:pt x="12" y="25"/>
                  </a:lnTo>
                  <a:lnTo>
                    <a:pt x="13" y="19"/>
                  </a:lnTo>
                  <a:lnTo>
                    <a:pt x="20" y="11"/>
                  </a:lnTo>
                  <a:lnTo>
                    <a:pt x="31" y="6"/>
                  </a:lnTo>
                  <a:lnTo>
                    <a:pt x="41" y="0"/>
                  </a:lnTo>
                  <a:lnTo>
                    <a:pt x="55" y="0"/>
                  </a:lnTo>
                  <a:lnTo>
                    <a:pt x="56" y="0"/>
                  </a:lnTo>
                  <a:lnTo>
                    <a:pt x="61" y="2"/>
                  </a:lnTo>
                  <a:lnTo>
                    <a:pt x="67" y="4"/>
                  </a:lnTo>
                  <a:lnTo>
                    <a:pt x="72" y="6"/>
                  </a:lnTo>
                  <a:lnTo>
                    <a:pt x="65" y="11"/>
                  </a:lnTo>
                  <a:lnTo>
                    <a:pt x="58" y="16"/>
                  </a:lnTo>
                  <a:lnTo>
                    <a:pt x="51" y="21"/>
                  </a:lnTo>
                  <a:lnTo>
                    <a:pt x="49" y="31"/>
                  </a:lnTo>
                  <a:lnTo>
                    <a:pt x="49" y="35"/>
                  </a:lnTo>
                  <a:lnTo>
                    <a:pt x="53" y="37"/>
                  </a:lnTo>
                  <a:lnTo>
                    <a:pt x="53" y="42"/>
                  </a:lnTo>
                  <a:lnTo>
                    <a:pt x="53" y="47"/>
                  </a:lnTo>
                  <a:lnTo>
                    <a:pt x="53" y="50"/>
                  </a:lnTo>
                  <a:lnTo>
                    <a:pt x="58" y="54"/>
                  </a:lnTo>
                  <a:lnTo>
                    <a:pt x="63" y="50"/>
                  </a:lnTo>
                  <a:lnTo>
                    <a:pt x="68" y="45"/>
                  </a:lnTo>
                  <a:lnTo>
                    <a:pt x="65" y="38"/>
                  </a:lnTo>
                  <a:lnTo>
                    <a:pt x="63" y="31"/>
                  </a:lnTo>
                  <a:lnTo>
                    <a:pt x="68" y="18"/>
                  </a:lnTo>
                  <a:lnTo>
                    <a:pt x="82" y="11"/>
                  </a:lnTo>
                  <a:lnTo>
                    <a:pt x="91" y="7"/>
                  </a:lnTo>
                  <a:lnTo>
                    <a:pt x="99" y="6"/>
                  </a:lnTo>
                  <a:lnTo>
                    <a:pt x="108" y="6"/>
                  </a:lnTo>
                  <a:lnTo>
                    <a:pt x="118" y="6"/>
                  </a:lnTo>
                  <a:lnTo>
                    <a:pt x="127" y="7"/>
                  </a:lnTo>
                  <a:lnTo>
                    <a:pt x="134" y="14"/>
                  </a:lnTo>
                  <a:lnTo>
                    <a:pt x="137" y="25"/>
                  </a:lnTo>
                  <a:lnTo>
                    <a:pt x="139" y="35"/>
                  </a:lnTo>
                  <a:lnTo>
                    <a:pt x="137" y="40"/>
                  </a:lnTo>
                  <a:lnTo>
                    <a:pt x="139" y="45"/>
                  </a:lnTo>
                  <a:lnTo>
                    <a:pt x="142" y="42"/>
                  </a:lnTo>
                  <a:lnTo>
                    <a:pt x="149" y="40"/>
                  </a:lnTo>
                  <a:lnTo>
                    <a:pt x="154" y="42"/>
                  </a:lnTo>
                  <a:lnTo>
                    <a:pt x="160" y="45"/>
                  </a:lnTo>
                  <a:lnTo>
                    <a:pt x="165" y="42"/>
                  </a:lnTo>
                  <a:lnTo>
                    <a:pt x="170" y="38"/>
                  </a:lnTo>
                  <a:lnTo>
                    <a:pt x="173" y="33"/>
                  </a:lnTo>
                  <a:lnTo>
                    <a:pt x="180" y="31"/>
                  </a:lnTo>
                  <a:lnTo>
                    <a:pt x="189" y="31"/>
                  </a:lnTo>
                  <a:lnTo>
                    <a:pt x="199" y="33"/>
                  </a:lnTo>
                  <a:lnTo>
                    <a:pt x="209" y="35"/>
                  </a:lnTo>
                  <a:lnTo>
                    <a:pt x="218" y="40"/>
                  </a:lnTo>
                  <a:lnTo>
                    <a:pt x="225" y="45"/>
                  </a:lnTo>
                  <a:lnTo>
                    <a:pt x="232" y="54"/>
                  </a:lnTo>
                  <a:lnTo>
                    <a:pt x="237" y="61"/>
                  </a:lnTo>
                  <a:lnTo>
                    <a:pt x="249" y="64"/>
                  </a:lnTo>
                  <a:lnTo>
                    <a:pt x="258" y="64"/>
                  </a:lnTo>
                  <a:lnTo>
                    <a:pt x="263" y="64"/>
                  </a:lnTo>
                  <a:lnTo>
                    <a:pt x="266" y="64"/>
                  </a:lnTo>
                  <a:lnTo>
                    <a:pt x="273" y="66"/>
                  </a:lnTo>
                  <a:lnTo>
                    <a:pt x="276" y="68"/>
                  </a:lnTo>
                  <a:lnTo>
                    <a:pt x="280" y="74"/>
                  </a:lnTo>
                  <a:lnTo>
                    <a:pt x="289" y="78"/>
                  </a:lnTo>
                  <a:lnTo>
                    <a:pt x="297" y="83"/>
                  </a:lnTo>
                  <a:lnTo>
                    <a:pt x="304" y="86"/>
                  </a:lnTo>
                  <a:lnTo>
                    <a:pt x="314" y="90"/>
                  </a:lnTo>
                  <a:lnTo>
                    <a:pt x="314" y="98"/>
                  </a:lnTo>
                  <a:lnTo>
                    <a:pt x="319" y="98"/>
                  </a:lnTo>
                  <a:lnTo>
                    <a:pt x="323" y="98"/>
                  </a:lnTo>
                  <a:lnTo>
                    <a:pt x="332" y="100"/>
                  </a:lnTo>
                  <a:lnTo>
                    <a:pt x="338" y="111"/>
                  </a:lnTo>
                  <a:lnTo>
                    <a:pt x="328" y="111"/>
                  </a:lnTo>
                  <a:lnTo>
                    <a:pt x="319" y="117"/>
                  </a:lnTo>
                  <a:lnTo>
                    <a:pt x="328" y="117"/>
                  </a:lnTo>
                  <a:lnTo>
                    <a:pt x="335" y="117"/>
                  </a:lnTo>
                  <a:lnTo>
                    <a:pt x="338" y="117"/>
                  </a:lnTo>
                  <a:lnTo>
                    <a:pt x="344" y="123"/>
                  </a:lnTo>
                  <a:lnTo>
                    <a:pt x="333" y="126"/>
                  </a:lnTo>
                  <a:lnTo>
                    <a:pt x="326" y="135"/>
                  </a:lnTo>
                  <a:lnTo>
                    <a:pt x="332" y="136"/>
                  </a:lnTo>
                  <a:lnTo>
                    <a:pt x="340" y="138"/>
                  </a:lnTo>
                  <a:lnTo>
                    <a:pt x="342" y="145"/>
                  </a:lnTo>
                  <a:lnTo>
                    <a:pt x="349" y="150"/>
                  </a:lnTo>
                  <a:lnTo>
                    <a:pt x="357" y="153"/>
                  </a:lnTo>
                  <a:lnTo>
                    <a:pt x="366" y="157"/>
                  </a:lnTo>
                  <a:lnTo>
                    <a:pt x="368" y="167"/>
                  </a:lnTo>
                  <a:lnTo>
                    <a:pt x="376" y="174"/>
                  </a:lnTo>
                  <a:lnTo>
                    <a:pt x="388" y="171"/>
                  </a:lnTo>
                  <a:lnTo>
                    <a:pt x="395" y="176"/>
                  </a:lnTo>
                  <a:lnTo>
                    <a:pt x="399" y="178"/>
                  </a:lnTo>
                  <a:lnTo>
                    <a:pt x="404" y="179"/>
                  </a:lnTo>
                  <a:lnTo>
                    <a:pt x="414" y="181"/>
                  </a:lnTo>
                  <a:lnTo>
                    <a:pt x="418" y="191"/>
                  </a:lnTo>
                  <a:lnTo>
                    <a:pt x="412" y="196"/>
                  </a:lnTo>
                  <a:lnTo>
                    <a:pt x="402" y="198"/>
                  </a:lnTo>
                  <a:lnTo>
                    <a:pt x="402" y="203"/>
                  </a:lnTo>
                  <a:lnTo>
                    <a:pt x="402" y="205"/>
                  </a:lnTo>
                  <a:lnTo>
                    <a:pt x="399" y="209"/>
                  </a:lnTo>
                  <a:lnTo>
                    <a:pt x="392" y="2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4" name="Freeform 333"/>
            <p:cNvSpPr>
              <a:spLocks/>
            </p:cNvSpPr>
            <p:nvPr/>
          </p:nvSpPr>
          <p:spPr bwMode="auto">
            <a:xfrm>
              <a:off x="2516982" y="2320925"/>
              <a:ext cx="19050" cy="11112"/>
            </a:xfrm>
            <a:custGeom>
              <a:avLst/>
              <a:gdLst/>
              <a:ahLst/>
              <a:cxnLst>
                <a:cxn ang="0">
                  <a:pos x="12" y="5"/>
                </a:cxn>
                <a:cxn ang="0">
                  <a:pos x="5" y="7"/>
                </a:cxn>
                <a:cxn ang="0">
                  <a:pos x="0" y="5"/>
                </a:cxn>
                <a:cxn ang="0">
                  <a:pos x="5" y="0"/>
                </a:cxn>
                <a:cxn ang="0">
                  <a:pos x="12" y="5"/>
                </a:cxn>
              </a:cxnLst>
              <a:rect l="0" t="0" r="r" b="b"/>
              <a:pathLst>
                <a:path w="12" h="7">
                  <a:moveTo>
                    <a:pt x="12" y="5"/>
                  </a:moveTo>
                  <a:lnTo>
                    <a:pt x="5" y="7"/>
                  </a:lnTo>
                  <a:lnTo>
                    <a:pt x="0" y="5"/>
                  </a:lnTo>
                  <a:lnTo>
                    <a:pt x="5" y="0"/>
                  </a:lnTo>
                  <a:lnTo>
                    <a:pt x="12"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5" name="Freeform 334"/>
            <p:cNvSpPr>
              <a:spLocks/>
            </p:cNvSpPr>
            <p:nvPr/>
          </p:nvSpPr>
          <p:spPr bwMode="auto">
            <a:xfrm>
              <a:off x="2382044" y="2230438"/>
              <a:ext cx="14288" cy="11112"/>
            </a:xfrm>
            <a:custGeom>
              <a:avLst/>
              <a:gdLst/>
              <a:ahLst/>
              <a:cxnLst>
                <a:cxn ang="0">
                  <a:pos x="0" y="0"/>
                </a:cxn>
                <a:cxn ang="0">
                  <a:pos x="4" y="0"/>
                </a:cxn>
                <a:cxn ang="0">
                  <a:pos x="9" y="7"/>
                </a:cxn>
                <a:cxn ang="0">
                  <a:pos x="2" y="4"/>
                </a:cxn>
                <a:cxn ang="0">
                  <a:pos x="0" y="0"/>
                </a:cxn>
              </a:cxnLst>
              <a:rect l="0" t="0" r="r" b="b"/>
              <a:pathLst>
                <a:path w="9" h="7">
                  <a:moveTo>
                    <a:pt x="0" y="0"/>
                  </a:moveTo>
                  <a:lnTo>
                    <a:pt x="4" y="0"/>
                  </a:lnTo>
                  <a:lnTo>
                    <a:pt x="9" y="7"/>
                  </a:lnTo>
                  <a:lnTo>
                    <a:pt x="2" y="4"/>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6" name="Freeform 335"/>
            <p:cNvSpPr>
              <a:spLocks/>
            </p:cNvSpPr>
            <p:nvPr/>
          </p:nvSpPr>
          <p:spPr bwMode="auto">
            <a:xfrm>
              <a:off x="2204244" y="1428750"/>
              <a:ext cx="704850" cy="368300"/>
            </a:xfrm>
            <a:custGeom>
              <a:avLst/>
              <a:gdLst/>
              <a:ahLst/>
              <a:cxnLst>
                <a:cxn ang="0">
                  <a:pos x="394" y="5"/>
                </a:cxn>
                <a:cxn ang="0">
                  <a:pos x="412" y="17"/>
                </a:cxn>
                <a:cxn ang="0">
                  <a:pos x="444" y="30"/>
                </a:cxn>
                <a:cxn ang="0">
                  <a:pos x="398" y="48"/>
                </a:cxn>
                <a:cxn ang="0">
                  <a:pos x="360" y="56"/>
                </a:cxn>
                <a:cxn ang="0">
                  <a:pos x="398" y="58"/>
                </a:cxn>
                <a:cxn ang="0">
                  <a:pos x="339" y="84"/>
                </a:cxn>
                <a:cxn ang="0">
                  <a:pos x="293" y="122"/>
                </a:cxn>
                <a:cxn ang="0">
                  <a:pos x="234" y="134"/>
                </a:cxn>
                <a:cxn ang="0">
                  <a:pos x="241" y="147"/>
                </a:cxn>
                <a:cxn ang="0">
                  <a:pos x="212" y="178"/>
                </a:cxn>
                <a:cxn ang="0">
                  <a:pos x="202" y="182"/>
                </a:cxn>
                <a:cxn ang="0">
                  <a:pos x="185" y="201"/>
                </a:cxn>
                <a:cxn ang="0">
                  <a:pos x="198" y="209"/>
                </a:cxn>
                <a:cxn ang="0">
                  <a:pos x="172" y="228"/>
                </a:cxn>
                <a:cxn ang="0">
                  <a:pos x="135" y="225"/>
                </a:cxn>
                <a:cxn ang="0">
                  <a:pos x="100" y="227"/>
                </a:cxn>
                <a:cxn ang="0">
                  <a:pos x="56" y="223"/>
                </a:cxn>
                <a:cxn ang="0">
                  <a:pos x="33" y="221"/>
                </a:cxn>
                <a:cxn ang="0">
                  <a:pos x="57" y="202"/>
                </a:cxn>
                <a:cxn ang="0">
                  <a:pos x="57" y="180"/>
                </a:cxn>
                <a:cxn ang="0">
                  <a:pos x="90" y="189"/>
                </a:cxn>
                <a:cxn ang="0">
                  <a:pos x="92" y="182"/>
                </a:cxn>
                <a:cxn ang="0">
                  <a:pos x="73" y="170"/>
                </a:cxn>
                <a:cxn ang="0">
                  <a:pos x="69" y="154"/>
                </a:cxn>
                <a:cxn ang="0">
                  <a:pos x="104" y="142"/>
                </a:cxn>
                <a:cxn ang="0">
                  <a:pos x="78" y="115"/>
                </a:cxn>
                <a:cxn ang="0">
                  <a:pos x="78" y="104"/>
                </a:cxn>
                <a:cxn ang="0">
                  <a:pos x="95" y="99"/>
                </a:cxn>
                <a:cxn ang="0">
                  <a:pos x="133" y="115"/>
                </a:cxn>
                <a:cxn ang="0">
                  <a:pos x="126" y="106"/>
                </a:cxn>
                <a:cxn ang="0">
                  <a:pos x="154" y="98"/>
                </a:cxn>
                <a:cxn ang="0">
                  <a:pos x="162" y="87"/>
                </a:cxn>
                <a:cxn ang="0">
                  <a:pos x="121" y="92"/>
                </a:cxn>
                <a:cxn ang="0">
                  <a:pos x="88" y="92"/>
                </a:cxn>
                <a:cxn ang="0">
                  <a:pos x="66" y="91"/>
                </a:cxn>
                <a:cxn ang="0">
                  <a:pos x="38" y="80"/>
                </a:cxn>
                <a:cxn ang="0">
                  <a:pos x="28" y="75"/>
                </a:cxn>
                <a:cxn ang="0">
                  <a:pos x="59" y="60"/>
                </a:cxn>
                <a:cxn ang="0">
                  <a:pos x="28" y="67"/>
                </a:cxn>
                <a:cxn ang="0">
                  <a:pos x="33" y="55"/>
                </a:cxn>
                <a:cxn ang="0">
                  <a:pos x="6" y="58"/>
                </a:cxn>
                <a:cxn ang="0">
                  <a:pos x="37" y="39"/>
                </a:cxn>
                <a:cxn ang="0">
                  <a:pos x="64" y="37"/>
                </a:cxn>
                <a:cxn ang="0">
                  <a:pos x="80" y="24"/>
                </a:cxn>
                <a:cxn ang="0">
                  <a:pos x="112" y="32"/>
                </a:cxn>
                <a:cxn ang="0">
                  <a:pos x="135" y="13"/>
                </a:cxn>
                <a:cxn ang="0">
                  <a:pos x="160" y="5"/>
                </a:cxn>
                <a:cxn ang="0">
                  <a:pos x="202" y="5"/>
                </a:cxn>
                <a:cxn ang="0">
                  <a:pos x="228" y="1"/>
                </a:cxn>
                <a:cxn ang="0">
                  <a:pos x="258" y="3"/>
                </a:cxn>
                <a:cxn ang="0">
                  <a:pos x="289" y="3"/>
                </a:cxn>
                <a:cxn ang="0">
                  <a:pos x="319" y="1"/>
                </a:cxn>
                <a:cxn ang="0">
                  <a:pos x="357" y="6"/>
                </a:cxn>
              </a:cxnLst>
              <a:rect l="0" t="0" r="r" b="b"/>
              <a:pathLst>
                <a:path w="444" h="232">
                  <a:moveTo>
                    <a:pt x="363" y="12"/>
                  </a:moveTo>
                  <a:lnTo>
                    <a:pt x="358" y="13"/>
                  </a:lnTo>
                  <a:lnTo>
                    <a:pt x="353" y="17"/>
                  </a:lnTo>
                  <a:lnTo>
                    <a:pt x="394" y="5"/>
                  </a:lnTo>
                  <a:lnTo>
                    <a:pt x="398" y="6"/>
                  </a:lnTo>
                  <a:lnTo>
                    <a:pt x="403" y="8"/>
                  </a:lnTo>
                  <a:lnTo>
                    <a:pt x="406" y="12"/>
                  </a:lnTo>
                  <a:lnTo>
                    <a:pt x="412" y="17"/>
                  </a:lnTo>
                  <a:lnTo>
                    <a:pt x="418" y="18"/>
                  </a:lnTo>
                  <a:lnTo>
                    <a:pt x="430" y="22"/>
                  </a:lnTo>
                  <a:lnTo>
                    <a:pt x="439" y="24"/>
                  </a:lnTo>
                  <a:lnTo>
                    <a:pt x="444" y="30"/>
                  </a:lnTo>
                  <a:lnTo>
                    <a:pt x="439" y="36"/>
                  </a:lnTo>
                  <a:lnTo>
                    <a:pt x="432" y="37"/>
                  </a:lnTo>
                  <a:lnTo>
                    <a:pt x="415" y="44"/>
                  </a:lnTo>
                  <a:lnTo>
                    <a:pt x="398" y="48"/>
                  </a:lnTo>
                  <a:lnTo>
                    <a:pt x="387" y="48"/>
                  </a:lnTo>
                  <a:lnTo>
                    <a:pt x="379" y="49"/>
                  </a:lnTo>
                  <a:lnTo>
                    <a:pt x="369" y="51"/>
                  </a:lnTo>
                  <a:lnTo>
                    <a:pt x="360" y="56"/>
                  </a:lnTo>
                  <a:lnTo>
                    <a:pt x="365" y="56"/>
                  </a:lnTo>
                  <a:lnTo>
                    <a:pt x="375" y="58"/>
                  </a:lnTo>
                  <a:lnTo>
                    <a:pt x="386" y="58"/>
                  </a:lnTo>
                  <a:lnTo>
                    <a:pt x="398" y="58"/>
                  </a:lnTo>
                  <a:lnTo>
                    <a:pt x="384" y="65"/>
                  </a:lnTo>
                  <a:lnTo>
                    <a:pt x="370" y="72"/>
                  </a:lnTo>
                  <a:lnTo>
                    <a:pt x="353" y="77"/>
                  </a:lnTo>
                  <a:lnTo>
                    <a:pt x="339" y="84"/>
                  </a:lnTo>
                  <a:lnTo>
                    <a:pt x="324" y="89"/>
                  </a:lnTo>
                  <a:lnTo>
                    <a:pt x="314" y="99"/>
                  </a:lnTo>
                  <a:lnTo>
                    <a:pt x="303" y="110"/>
                  </a:lnTo>
                  <a:lnTo>
                    <a:pt x="293" y="122"/>
                  </a:lnTo>
                  <a:lnTo>
                    <a:pt x="279" y="122"/>
                  </a:lnTo>
                  <a:lnTo>
                    <a:pt x="267" y="123"/>
                  </a:lnTo>
                  <a:lnTo>
                    <a:pt x="248" y="127"/>
                  </a:lnTo>
                  <a:lnTo>
                    <a:pt x="234" y="134"/>
                  </a:lnTo>
                  <a:lnTo>
                    <a:pt x="248" y="134"/>
                  </a:lnTo>
                  <a:lnTo>
                    <a:pt x="245" y="142"/>
                  </a:lnTo>
                  <a:lnTo>
                    <a:pt x="234" y="144"/>
                  </a:lnTo>
                  <a:lnTo>
                    <a:pt x="241" y="147"/>
                  </a:lnTo>
                  <a:lnTo>
                    <a:pt x="248" y="156"/>
                  </a:lnTo>
                  <a:lnTo>
                    <a:pt x="236" y="166"/>
                  </a:lnTo>
                  <a:lnTo>
                    <a:pt x="226" y="178"/>
                  </a:lnTo>
                  <a:lnTo>
                    <a:pt x="212" y="178"/>
                  </a:lnTo>
                  <a:lnTo>
                    <a:pt x="205" y="178"/>
                  </a:lnTo>
                  <a:lnTo>
                    <a:pt x="202" y="178"/>
                  </a:lnTo>
                  <a:lnTo>
                    <a:pt x="200" y="178"/>
                  </a:lnTo>
                  <a:lnTo>
                    <a:pt x="202" y="182"/>
                  </a:lnTo>
                  <a:lnTo>
                    <a:pt x="203" y="187"/>
                  </a:lnTo>
                  <a:lnTo>
                    <a:pt x="200" y="194"/>
                  </a:lnTo>
                  <a:lnTo>
                    <a:pt x="193" y="197"/>
                  </a:lnTo>
                  <a:lnTo>
                    <a:pt x="185" y="201"/>
                  </a:lnTo>
                  <a:lnTo>
                    <a:pt x="183" y="209"/>
                  </a:lnTo>
                  <a:lnTo>
                    <a:pt x="190" y="209"/>
                  </a:lnTo>
                  <a:lnTo>
                    <a:pt x="195" y="209"/>
                  </a:lnTo>
                  <a:lnTo>
                    <a:pt x="198" y="209"/>
                  </a:lnTo>
                  <a:lnTo>
                    <a:pt x="203" y="214"/>
                  </a:lnTo>
                  <a:lnTo>
                    <a:pt x="197" y="220"/>
                  </a:lnTo>
                  <a:lnTo>
                    <a:pt x="186" y="225"/>
                  </a:lnTo>
                  <a:lnTo>
                    <a:pt x="172" y="228"/>
                  </a:lnTo>
                  <a:lnTo>
                    <a:pt x="162" y="232"/>
                  </a:lnTo>
                  <a:lnTo>
                    <a:pt x="152" y="228"/>
                  </a:lnTo>
                  <a:lnTo>
                    <a:pt x="145" y="225"/>
                  </a:lnTo>
                  <a:lnTo>
                    <a:pt x="135" y="225"/>
                  </a:lnTo>
                  <a:lnTo>
                    <a:pt x="126" y="225"/>
                  </a:lnTo>
                  <a:lnTo>
                    <a:pt x="116" y="225"/>
                  </a:lnTo>
                  <a:lnTo>
                    <a:pt x="107" y="225"/>
                  </a:lnTo>
                  <a:lnTo>
                    <a:pt x="100" y="227"/>
                  </a:lnTo>
                  <a:lnTo>
                    <a:pt x="92" y="230"/>
                  </a:lnTo>
                  <a:lnTo>
                    <a:pt x="80" y="228"/>
                  </a:lnTo>
                  <a:lnTo>
                    <a:pt x="68" y="227"/>
                  </a:lnTo>
                  <a:lnTo>
                    <a:pt x="56" y="223"/>
                  </a:lnTo>
                  <a:lnTo>
                    <a:pt x="43" y="220"/>
                  </a:lnTo>
                  <a:lnTo>
                    <a:pt x="40" y="221"/>
                  </a:lnTo>
                  <a:lnTo>
                    <a:pt x="38" y="225"/>
                  </a:lnTo>
                  <a:lnTo>
                    <a:pt x="33" y="221"/>
                  </a:lnTo>
                  <a:lnTo>
                    <a:pt x="33" y="220"/>
                  </a:lnTo>
                  <a:lnTo>
                    <a:pt x="37" y="208"/>
                  </a:lnTo>
                  <a:lnTo>
                    <a:pt x="47" y="204"/>
                  </a:lnTo>
                  <a:lnTo>
                    <a:pt x="57" y="202"/>
                  </a:lnTo>
                  <a:lnTo>
                    <a:pt x="69" y="201"/>
                  </a:lnTo>
                  <a:lnTo>
                    <a:pt x="59" y="194"/>
                  </a:lnTo>
                  <a:lnTo>
                    <a:pt x="54" y="185"/>
                  </a:lnTo>
                  <a:lnTo>
                    <a:pt x="57" y="180"/>
                  </a:lnTo>
                  <a:lnTo>
                    <a:pt x="66" y="180"/>
                  </a:lnTo>
                  <a:lnTo>
                    <a:pt x="74" y="180"/>
                  </a:lnTo>
                  <a:lnTo>
                    <a:pt x="83" y="184"/>
                  </a:lnTo>
                  <a:lnTo>
                    <a:pt x="90" y="189"/>
                  </a:lnTo>
                  <a:lnTo>
                    <a:pt x="97" y="194"/>
                  </a:lnTo>
                  <a:lnTo>
                    <a:pt x="107" y="194"/>
                  </a:lnTo>
                  <a:lnTo>
                    <a:pt x="99" y="187"/>
                  </a:lnTo>
                  <a:lnTo>
                    <a:pt x="92" y="182"/>
                  </a:lnTo>
                  <a:lnTo>
                    <a:pt x="85" y="175"/>
                  </a:lnTo>
                  <a:lnTo>
                    <a:pt x="83" y="168"/>
                  </a:lnTo>
                  <a:lnTo>
                    <a:pt x="76" y="168"/>
                  </a:lnTo>
                  <a:lnTo>
                    <a:pt x="73" y="170"/>
                  </a:lnTo>
                  <a:lnTo>
                    <a:pt x="71" y="171"/>
                  </a:lnTo>
                  <a:lnTo>
                    <a:pt x="64" y="171"/>
                  </a:lnTo>
                  <a:lnTo>
                    <a:pt x="64" y="166"/>
                  </a:lnTo>
                  <a:lnTo>
                    <a:pt x="69" y="154"/>
                  </a:lnTo>
                  <a:lnTo>
                    <a:pt x="78" y="149"/>
                  </a:lnTo>
                  <a:lnTo>
                    <a:pt x="86" y="147"/>
                  </a:lnTo>
                  <a:lnTo>
                    <a:pt x="97" y="146"/>
                  </a:lnTo>
                  <a:lnTo>
                    <a:pt x="104" y="142"/>
                  </a:lnTo>
                  <a:lnTo>
                    <a:pt x="107" y="135"/>
                  </a:lnTo>
                  <a:lnTo>
                    <a:pt x="100" y="125"/>
                  </a:lnTo>
                  <a:lnTo>
                    <a:pt x="90" y="120"/>
                  </a:lnTo>
                  <a:lnTo>
                    <a:pt x="78" y="115"/>
                  </a:lnTo>
                  <a:lnTo>
                    <a:pt x="73" y="110"/>
                  </a:lnTo>
                  <a:lnTo>
                    <a:pt x="76" y="106"/>
                  </a:lnTo>
                  <a:lnTo>
                    <a:pt x="85" y="106"/>
                  </a:lnTo>
                  <a:lnTo>
                    <a:pt x="78" y="104"/>
                  </a:lnTo>
                  <a:lnTo>
                    <a:pt x="78" y="101"/>
                  </a:lnTo>
                  <a:lnTo>
                    <a:pt x="80" y="99"/>
                  </a:lnTo>
                  <a:lnTo>
                    <a:pt x="85" y="101"/>
                  </a:lnTo>
                  <a:lnTo>
                    <a:pt x="95" y="99"/>
                  </a:lnTo>
                  <a:lnTo>
                    <a:pt x="112" y="101"/>
                  </a:lnTo>
                  <a:lnTo>
                    <a:pt x="119" y="104"/>
                  </a:lnTo>
                  <a:lnTo>
                    <a:pt x="126" y="111"/>
                  </a:lnTo>
                  <a:lnTo>
                    <a:pt x="133" y="115"/>
                  </a:lnTo>
                  <a:lnTo>
                    <a:pt x="143" y="118"/>
                  </a:lnTo>
                  <a:lnTo>
                    <a:pt x="138" y="113"/>
                  </a:lnTo>
                  <a:lnTo>
                    <a:pt x="131" y="110"/>
                  </a:lnTo>
                  <a:lnTo>
                    <a:pt x="126" y="106"/>
                  </a:lnTo>
                  <a:lnTo>
                    <a:pt x="124" y="103"/>
                  </a:lnTo>
                  <a:lnTo>
                    <a:pt x="124" y="99"/>
                  </a:lnTo>
                  <a:lnTo>
                    <a:pt x="128" y="98"/>
                  </a:lnTo>
                  <a:lnTo>
                    <a:pt x="154" y="98"/>
                  </a:lnTo>
                  <a:lnTo>
                    <a:pt x="166" y="91"/>
                  </a:lnTo>
                  <a:lnTo>
                    <a:pt x="178" y="84"/>
                  </a:lnTo>
                  <a:lnTo>
                    <a:pt x="171" y="84"/>
                  </a:lnTo>
                  <a:lnTo>
                    <a:pt x="162" y="87"/>
                  </a:lnTo>
                  <a:lnTo>
                    <a:pt x="154" y="92"/>
                  </a:lnTo>
                  <a:lnTo>
                    <a:pt x="142" y="94"/>
                  </a:lnTo>
                  <a:lnTo>
                    <a:pt x="131" y="96"/>
                  </a:lnTo>
                  <a:lnTo>
                    <a:pt x="121" y="92"/>
                  </a:lnTo>
                  <a:lnTo>
                    <a:pt x="114" y="91"/>
                  </a:lnTo>
                  <a:lnTo>
                    <a:pt x="109" y="92"/>
                  </a:lnTo>
                  <a:lnTo>
                    <a:pt x="104" y="96"/>
                  </a:lnTo>
                  <a:lnTo>
                    <a:pt x="88" y="92"/>
                  </a:lnTo>
                  <a:lnTo>
                    <a:pt x="83" y="86"/>
                  </a:lnTo>
                  <a:lnTo>
                    <a:pt x="78" y="86"/>
                  </a:lnTo>
                  <a:lnTo>
                    <a:pt x="71" y="89"/>
                  </a:lnTo>
                  <a:lnTo>
                    <a:pt x="66" y="91"/>
                  </a:lnTo>
                  <a:lnTo>
                    <a:pt x="57" y="89"/>
                  </a:lnTo>
                  <a:lnTo>
                    <a:pt x="49" y="87"/>
                  </a:lnTo>
                  <a:lnTo>
                    <a:pt x="42" y="84"/>
                  </a:lnTo>
                  <a:lnTo>
                    <a:pt x="38" y="80"/>
                  </a:lnTo>
                  <a:lnTo>
                    <a:pt x="43" y="77"/>
                  </a:lnTo>
                  <a:lnTo>
                    <a:pt x="52" y="75"/>
                  </a:lnTo>
                  <a:lnTo>
                    <a:pt x="37" y="75"/>
                  </a:lnTo>
                  <a:lnTo>
                    <a:pt x="28" y="75"/>
                  </a:lnTo>
                  <a:lnTo>
                    <a:pt x="31" y="67"/>
                  </a:lnTo>
                  <a:lnTo>
                    <a:pt x="40" y="63"/>
                  </a:lnTo>
                  <a:lnTo>
                    <a:pt x="49" y="61"/>
                  </a:lnTo>
                  <a:lnTo>
                    <a:pt x="59" y="60"/>
                  </a:lnTo>
                  <a:lnTo>
                    <a:pt x="54" y="58"/>
                  </a:lnTo>
                  <a:lnTo>
                    <a:pt x="49" y="58"/>
                  </a:lnTo>
                  <a:lnTo>
                    <a:pt x="38" y="61"/>
                  </a:lnTo>
                  <a:lnTo>
                    <a:pt x="28" y="67"/>
                  </a:lnTo>
                  <a:lnTo>
                    <a:pt x="23" y="65"/>
                  </a:lnTo>
                  <a:lnTo>
                    <a:pt x="19" y="63"/>
                  </a:lnTo>
                  <a:lnTo>
                    <a:pt x="26" y="56"/>
                  </a:lnTo>
                  <a:lnTo>
                    <a:pt x="33" y="55"/>
                  </a:lnTo>
                  <a:lnTo>
                    <a:pt x="19" y="55"/>
                  </a:lnTo>
                  <a:lnTo>
                    <a:pt x="14" y="56"/>
                  </a:lnTo>
                  <a:lnTo>
                    <a:pt x="11" y="58"/>
                  </a:lnTo>
                  <a:lnTo>
                    <a:pt x="6" y="58"/>
                  </a:lnTo>
                  <a:lnTo>
                    <a:pt x="0" y="58"/>
                  </a:lnTo>
                  <a:lnTo>
                    <a:pt x="6" y="48"/>
                  </a:lnTo>
                  <a:lnTo>
                    <a:pt x="19" y="43"/>
                  </a:lnTo>
                  <a:lnTo>
                    <a:pt x="37" y="39"/>
                  </a:lnTo>
                  <a:lnTo>
                    <a:pt x="50" y="39"/>
                  </a:lnTo>
                  <a:lnTo>
                    <a:pt x="57" y="39"/>
                  </a:lnTo>
                  <a:lnTo>
                    <a:pt x="62" y="39"/>
                  </a:lnTo>
                  <a:lnTo>
                    <a:pt x="64" y="37"/>
                  </a:lnTo>
                  <a:lnTo>
                    <a:pt x="66" y="36"/>
                  </a:lnTo>
                  <a:lnTo>
                    <a:pt x="73" y="32"/>
                  </a:lnTo>
                  <a:lnTo>
                    <a:pt x="78" y="29"/>
                  </a:lnTo>
                  <a:lnTo>
                    <a:pt x="80" y="24"/>
                  </a:lnTo>
                  <a:lnTo>
                    <a:pt x="86" y="24"/>
                  </a:lnTo>
                  <a:lnTo>
                    <a:pt x="93" y="24"/>
                  </a:lnTo>
                  <a:lnTo>
                    <a:pt x="104" y="29"/>
                  </a:lnTo>
                  <a:lnTo>
                    <a:pt x="112" y="32"/>
                  </a:lnTo>
                  <a:lnTo>
                    <a:pt x="121" y="36"/>
                  </a:lnTo>
                  <a:lnTo>
                    <a:pt x="123" y="25"/>
                  </a:lnTo>
                  <a:lnTo>
                    <a:pt x="128" y="18"/>
                  </a:lnTo>
                  <a:lnTo>
                    <a:pt x="135" y="13"/>
                  </a:lnTo>
                  <a:lnTo>
                    <a:pt x="145" y="13"/>
                  </a:lnTo>
                  <a:lnTo>
                    <a:pt x="150" y="13"/>
                  </a:lnTo>
                  <a:lnTo>
                    <a:pt x="155" y="12"/>
                  </a:lnTo>
                  <a:lnTo>
                    <a:pt x="160" y="5"/>
                  </a:lnTo>
                  <a:lnTo>
                    <a:pt x="167" y="5"/>
                  </a:lnTo>
                  <a:lnTo>
                    <a:pt x="183" y="5"/>
                  </a:lnTo>
                  <a:lnTo>
                    <a:pt x="197" y="5"/>
                  </a:lnTo>
                  <a:lnTo>
                    <a:pt x="202" y="5"/>
                  </a:lnTo>
                  <a:lnTo>
                    <a:pt x="209" y="5"/>
                  </a:lnTo>
                  <a:lnTo>
                    <a:pt x="215" y="5"/>
                  </a:lnTo>
                  <a:lnTo>
                    <a:pt x="226" y="5"/>
                  </a:lnTo>
                  <a:lnTo>
                    <a:pt x="228" y="1"/>
                  </a:lnTo>
                  <a:lnTo>
                    <a:pt x="233" y="1"/>
                  </a:lnTo>
                  <a:lnTo>
                    <a:pt x="241" y="5"/>
                  </a:lnTo>
                  <a:lnTo>
                    <a:pt x="252" y="8"/>
                  </a:lnTo>
                  <a:lnTo>
                    <a:pt x="258" y="3"/>
                  </a:lnTo>
                  <a:lnTo>
                    <a:pt x="267" y="0"/>
                  </a:lnTo>
                  <a:lnTo>
                    <a:pt x="274" y="1"/>
                  </a:lnTo>
                  <a:lnTo>
                    <a:pt x="283" y="3"/>
                  </a:lnTo>
                  <a:lnTo>
                    <a:pt x="289" y="3"/>
                  </a:lnTo>
                  <a:lnTo>
                    <a:pt x="296" y="3"/>
                  </a:lnTo>
                  <a:lnTo>
                    <a:pt x="300" y="1"/>
                  </a:lnTo>
                  <a:lnTo>
                    <a:pt x="308" y="1"/>
                  </a:lnTo>
                  <a:lnTo>
                    <a:pt x="319" y="1"/>
                  </a:lnTo>
                  <a:lnTo>
                    <a:pt x="329" y="3"/>
                  </a:lnTo>
                  <a:lnTo>
                    <a:pt x="339" y="3"/>
                  </a:lnTo>
                  <a:lnTo>
                    <a:pt x="350" y="5"/>
                  </a:lnTo>
                  <a:lnTo>
                    <a:pt x="357" y="6"/>
                  </a:lnTo>
                  <a:lnTo>
                    <a:pt x="363"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7" name="Freeform 336"/>
            <p:cNvSpPr>
              <a:spLocks/>
            </p:cNvSpPr>
            <p:nvPr/>
          </p:nvSpPr>
          <p:spPr bwMode="auto">
            <a:xfrm>
              <a:off x="2647157" y="1392238"/>
              <a:ext cx="1381125" cy="1047750"/>
            </a:xfrm>
            <a:custGeom>
              <a:avLst/>
              <a:gdLst/>
              <a:ahLst/>
              <a:cxnLst>
                <a:cxn ang="0">
                  <a:pos x="322" y="427"/>
                </a:cxn>
                <a:cxn ang="0">
                  <a:pos x="291" y="409"/>
                </a:cxn>
                <a:cxn ang="0">
                  <a:pos x="275" y="377"/>
                </a:cxn>
                <a:cxn ang="0">
                  <a:pos x="255" y="348"/>
                </a:cxn>
                <a:cxn ang="0">
                  <a:pos x="193" y="265"/>
                </a:cxn>
                <a:cxn ang="0">
                  <a:pos x="108" y="258"/>
                </a:cxn>
                <a:cxn ang="0">
                  <a:pos x="86" y="262"/>
                </a:cxn>
                <a:cxn ang="0">
                  <a:pos x="59" y="241"/>
                </a:cxn>
                <a:cxn ang="0">
                  <a:pos x="43" y="222"/>
                </a:cxn>
                <a:cxn ang="0">
                  <a:pos x="74" y="207"/>
                </a:cxn>
                <a:cxn ang="0">
                  <a:pos x="7" y="194"/>
                </a:cxn>
                <a:cxn ang="0">
                  <a:pos x="53" y="165"/>
                </a:cxn>
                <a:cxn ang="0">
                  <a:pos x="100" y="133"/>
                </a:cxn>
                <a:cxn ang="0">
                  <a:pos x="110" y="103"/>
                </a:cxn>
                <a:cxn ang="0">
                  <a:pos x="157" y="71"/>
                </a:cxn>
                <a:cxn ang="0">
                  <a:pos x="232" y="52"/>
                </a:cxn>
                <a:cxn ang="0">
                  <a:pos x="270" y="59"/>
                </a:cxn>
                <a:cxn ang="0">
                  <a:pos x="305" y="55"/>
                </a:cxn>
                <a:cxn ang="0">
                  <a:pos x="361" y="60"/>
                </a:cxn>
                <a:cxn ang="0">
                  <a:pos x="363" y="35"/>
                </a:cxn>
                <a:cxn ang="0">
                  <a:pos x="396" y="17"/>
                </a:cxn>
                <a:cxn ang="0">
                  <a:pos x="470" y="14"/>
                </a:cxn>
                <a:cxn ang="0">
                  <a:pos x="549" y="0"/>
                </a:cxn>
                <a:cxn ang="0">
                  <a:pos x="614" y="0"/>
                </a:cxn>
                <a:cxn ang="0">
                  <a:pos x="700" y="29"/>
                </a:cxn>
                <a:cxn ang="0">
                  <a:pos x="683" y="55"/>
                </a:cxn>
                <a:cxn ang="0">
                  <a:pos x="655" y="59"/>
                </a:cxn>
                <a:cxn ang="0">
                  <a:pos x="666" y="81"/>
                </a:cxn>
                <a:cxn ang="0">
                  <a:pos x="710" y="95"/>
                </a:cxn>
                <a:cxn ang="0">
                  <a:pos x="750" y="74"/>
                </a:cxn>
                <a:cxn ang="0">
                  <a:pos x="805" y="66"/>
                </a:cxn>
                <a:cxn ang="0">
                  <a:pos x="870" y="76"/>
                </a:cxn>
                <a:cxn ang="0">
                  <a:pos x="812" y="109"/>
                </a:cxn>
                <a:cxn ang="0">
                  <a:pos x="795" y="131"/>
                </a:cxn>
                <a:cxn ang="0">
                  <a:pos x="747" y="182"/>
                </a:cxn>
                <a:cxn ang="0">
                  <a:pos x="769" y="207"/>
                </a:cxn>
                <a:cxn ang="0">
                  <a:pos x="764" y="232"/>
                </a:cxn>
                <a:cxn ang="0">
                  <a:pos x="769" y="270"/>
                </a:cxn>
                <a:cxn ang="0">
                  <a:pos x="767" y="296"/>
                </a:cxn>
                <a:cxn ang="0">
                  <a:pos x="741" y="330"/>
                </a:cxn>
                <a:cxn ang="0">
                  <a:pos x="721" y="337"/>
                </a:cxn>
                <a:cxn ang="0">
                  <a:pos x="700" y="348"/>
                </a:cxn>
                <a:cxn ang="0">
                  <a:pos x="735" y="385"/>
                </a:cxn>
                <a:cxn ang="0">
                  <a:pos x="698" y="389"/>
                </a:cxn>
                <a:cxn ang="0">
                  <a:pos x="674" y="404"/>
                </a:cxn>
                <a:cxn ang="0">
                  <a:pos x="724" y="420"/>
                </a:cxn>
                <a:cxn ang="0">
                  <a:pos x="673" y="456"/>
                </a:cxn>
                <a:cxn ang="0">
                  <a:pos x="587" y="476"/>
                </a:cxn>
                <a:cxn ang="0">
                  <a:pos x="518" y="526"/>
                </a:cxn>
                <a:cxn ang="0">
                  <a:pos x="464" y="542"/>
                </a:cxn>
                <a:cxn ang="0">
                  <a:pos x="464" y="575"/>
                </a:cxn>
                <a:cxn ang="0">
                  <a:pos x="434" y="635"/>
                </a:cxn>
                <a:cxn ang="0">
                  <a:pos x="406" y="659"/>
                </a:cxn>
                <a:cxn ang="0">
                  <a:pos x="353" y="633"/>
                </a:cxn>
                <a:cxn ang="0">
                  <a:pos x="310" y="573"/>
                </a:cxn>
                <a:cxn ang="0">
                  <a:pos x="289" y="537"/>
                </a:cxn>
                <a:cxn ang="0">
                  <a:pos x="272" y="504"/>
                </a:cxn>
              </a:cxnLst>
              <a:rect l="0" t="0" r="r" b="b"/>
              <a:pathLst>
                <a:path w="870" h="660">
                  <a:moveTo>
                    <a:pt x="292" y="463"/>
                  </a:moveTo>
                  <a:lnTo>
                    <a:pt x="299" y="459"/>
                  </a:lnTo>
                  <a:lnTo>
                    <a:pt x="306" y="463"/>
                  </a:lnTo>
                  <a:lnTo>
                    <a:pt x="308" y="451"/>
                  </a:lnTo>
                  <a:lnTo>
                    <a:pt x="313" y="444"/>
                  </a:lnTo>
                  <a:lnTo>
                    <a:pt x="317" y="435"/>
                  </a:lnTo>
                  <a:lnTo>
                    <a:pt x="322" y="427"/>
                  </a:lnTo>
                  <a:lnTo>
                    <a:pt x="306" y="421"/>
                  </a:lnTo>
                  <a:lnTo>
                    <a:pt x="289" y="418"/>
                  </a:lnTo>
                  <a:lnTo>
                    <a:pt x="274" y="413"/>
                  </a:lnTo>
                  <a:lnTo>
                    <a:pt x="267" y="406"/>
                  </a:lnTo>
                  <a:lnTo>
                    <a:pt x="272" y="404"/>
                  </a:lnTo>
                  <a:lnTo>
                    <a:pt x="277" y="406"/>
                  </a:lnTo>
                  <a:lnTo>
                    <a:pt x="291" y="409"/>
                  </a:lnTo>
                  <a:lnTo>
                    <a:pt x="306" y="413"/>
                  </a:lnTo>
                  <a:lnTo>
                    <a:pt x="310" y="409"/>
                  </a:lnTo>
                  <a:lnTo>
                    <a:pt x="311" y="406"/>
                  </a:lnTo>
                  <a:lnTo>
                    <a:pt x="299" y="397"/>
                  </a:lnTo>
                  <a:lnTo>
                    <a:pt x="292" y="389"/>
                  </a:lnTo>
                  <a:lnTo>
                    <a:pt x="286" y="380"/>
                  </a:lnTo>
                  <a:lnTo>
                    <a:pt x="275" y="377"/>
                  </a:lnTo>
                  <a:lnTo>
                    <a:pt x="268" y="380"/>
                  </a:lnTo>
                  <a:lnTo>
                    <a:pt x="262" y="385"/>
                  </a:lnTo>
                  <a:lnTo>
                    <a:pt x="251" y="384"/>
                  </a:lnTo>
                  <a:lnTo>
                    <a:pt x="248" y="377"/>
                  </a:lnTo>
                  <a:lnTo>
                    <a:pt x="253" y="365"/>
                  </a:lnTo>
                  <a:lnTo>
                    <a:pt x="260" y="354"/>
                  </a:lnTo>
                  <a:lnTo>
                    <a:pt x="255" y="348"/>
                  </a:lnTo>
                  <a:lnTo>
                    <a:pt x="248" y="346"/>
                  </a:lnTo>
                  <a:lnTo>
                    <a:pt x="248" y="339"/>
                  </a:lnTo>
                  <a:lnTo>
                    <a:pt x="239" y="322"/>
                  </a:lnTo>
                  <a:lnTo>
                    <a:pt x="231" y="305"/>
                  </a:lnTo>
                  <a:lnTo>
                    <a:pt x="220" y="289"/>
                  </a:lnTo>
                  <a:lnTo>
                    <a:pt x="210" y="277"/>
                  </a:lnTo>
                  <a:lnTo>
                    <a:pt x="193" y="265"/>
                  </a:lnTo>
                  <a:lnTo>
                    <a:pt x="177" y="258"/>
                  </a:lnTo>
                  <a:lnTo>
                    <a:pt x="160" y="251"/>
                  </a:lnTo>
                  <a:lnTo>
                    <a:pt x="141" y="251"/>
                  </a:lnTo>
                  <a:lnTo>
                    <a:pt x="131" y="251"/>
                  </a:lnTo>
                  <a:lnTo>
                    <a:pt x="126" y="251"/>
                  </a:lnTo>
                  <a:lnTo>
                    <a:pt x="117" y="255"/>
                  </a:lnTo>
                  <a:lnTo>
                    <a:pt x="108" y="258"/>
                  </a:lnTo>
                  <a:lnTo>
                    <a:pt x="102" y="255"/>
                  </a:lnTo>
                  <a:lnTo>
                    <a:pt x="95" y="253"/>
                  </a:lnTo>
                  <a:lnTo>
                    <a:pt x="86" y="253"/>
                  </a:lnTo>
                  <a:lnTo>
                    <a:pt x="84" y="256"/>
                  </a:lnTo>
                  <a:lnTo>
                    <a:pt x="86" y="258"/>
                  </a:lnTo>
                  <a:lnTo>
                    <a:pt x="90" y="260"/>
                  </a:lnTo>
                  <a:lnTo>
                    <a:pt x="86" y="262"/>
                  </a:lnTo>
                  <a:lnTo>
                    <a:pt x="83" y="262"/>
                  </a:lnTo>
                  <a:lnTo>
                    <a:pt x="72" y="260"/>
                  </a:lnTo>
                  <a:lnTo>
                    <a:pt x="64" y="258"/>
                  </a:lnTo>
                  <a:lnTo>
                    <a:pt x="53" y="253"/>
                  </a:lnTo>
                  <a:lnTo>
                    <a:pt x="50" y="250"/>
                  </a:lnTo>
                  <a:lnTo>
                    <a:pt x="53" y="244"/>
                  </a:lnTo>
                  <a:lnTo>
                    <a:pt x="59" y="241"/>
                  </a:lnTo>
                  <a:lnTo>
                    <a:pt x="48" y="234"/>
                  </a:lnTo>
                  <a:lnTo>
                    <a:pt x="40" y="232"/>
                  </a:lnTo>
                  <a:lnTo>
                    <a:pt x="29" y="232"/>
                  </a:lnTo>
                  <a:lnTo>
                    <a:pt x="21" y="232"/>
                  </a:lnTo>
                  <a:lnTo>
                    <a:pt x="28" y="224"/>
                  </a:lnTo>
                  <a:lnTo>
                    <a:pt x="36" y="222"/>
                  </a:lnTo>
                  <a:lnTo>
                    <a:pt x="43" y="222"/>
                  </a:lnTo>
                  <a:lnTo>
                    <a:pt x="50" y="222"/>
                  </a:lnTo>
                  <a:lnTo>
                    <a:pt x="53" y="220"/>
                  </a:lnTo>
                  <a:lnTo>
                    <a:pt x="59" y="219"/>
                  </a:lnTo>
                  <a:lnTo>
                    <a:pt x="88" y="219"/>
                  </a:lnTo>
                  <a:lnTo>
                    <a:pt x="91" y="212"/>
                  </a:lnTo>
                  <a:lnTo>
                    <a:pt x="95" y="207"/>
                  </a:lnTo>
                  <a:lnTo>
                    <a:pt x="74" y="207"/>
                  </a:lnTo>
                  <a:lnTo>
                    <a:pt x="71" y="210"/>
                  </a:lnTo>
                  <a:lnTo>
                    <a:pt x="69" y="212"/>
                  </a:lnTo>
                  <a:lnTo>
                    <a:pt x="59" y="212"/>
                  </a:lnTo>
                  <a:lnTo>
                    <a:pt x="50" y="212"/>
                  </a:lnTo>
                  <a:lnTo>
                    <a:pt x="40" y="208"/>
                  </a:lnTo>
                  <a:lnTo>
                    <a:pt x="24" y="203"/>
                  </a:lnTo>
                  <a:lnTo>
                    <a:pt x="7" y="194"/>
                  </a:lnTo>
                  <a:lnTo>
                    <a:pt x="0" y="189"/>
                  </a:lnTo>
                  <a:lnTo>
                    <a:pt x="2" y="181"/>
                  </a:lnTo>
                  <a:lnTo>
                    <a:pt x="9" y="177"/>
                  </a:lnTo>
                  <a:lnTo>
                    <a:pt x="19" y="177"/>
                  </a:lnTo>
                  <a:lnTo>
                    <a:pt x="29" y="177"/>
                  </a:lnTo>
                  <a:lnTo>
                    <a:pt x="40" y="170"/>
                  </a:lnTo>
                  <a:lnTo>
                    <a:pt x="53" y="165"/>
                  </a:lnTo>
                  <a:lnTo>
                    <a:pt x="64" y="162"/>
                  </a:lnTo>
                  <a:lnTo>
                    <a:pt x="74" y="164"/>
                  </a:lnTo>
                  <a:lnTo>
                    <a:pt x="84" y="162"/>
                  </a:lnTo>
                  <a:lnTo>
                    <a:pt x="96" y="162"/>
                  </a:lnTo>
                  <a:lnTo>
                    <a:pt x="105" y="150"/>
                  </a:lnTo>
                  <a:lnTo>
                    <a:pt x="110" y="134"/>
                  </a:lnTo>
                  <a:lnTo>
                    <a:pt x="100" y="133"/>
                  </a:lnTo>
                  <a:lnTo>
                    <a:pt x="88" y="131"/>
                  </a:lnTo>
                  <a:lnTo>
                    <a:pt x="76" y="129"/>
                  </a:lnTo>
                  <a:lnTo>
                    <a:pt x="72" y="124"/>
                  </a:lnTo>
                  <a:lnTo>
                    <a:pt x="76" y="117"/>
                  </a:lnTo>
                  <a:lnTo>
                    <a:pt x="83" y="117"/>
                  </a:lnTo>
                  <a:lnTo>
                    <a:pt x="95" y="110"/>
                  </a:lnTo>
                  <a:lnTo>
                    <a:pt x="110" y="103"/>
                  </a:lnTo>
                  <a:lnTo>
                    <a:pt x="122" y="95"/>
                  </a:lnTo>
                  <a:lnTo>
                    <a:pt x="133" y="88"/>
                  </a:lnTo>
                  <a:lnTo>
                    <a:pt x="138" y="91"/>
                  </a:lnTo>
                  <a:lnTo>
                    <a:pt x="146" y="93"/>
                  </a:lnTo>
                  <a:lnTo>
                    <a:pt x="153" y="88"/>
                  </a:lnTo>
                  <a:lnTo>
                    <a:pt x="155" y="79"/>
                  </a:lnTo>
                  <a:lnTo>
                    <a:pt x="157" y="71"/>
                  </a:lnTo>
                  <a:lnTo>
                    <a:pt x="165" y="67"/>
                  </a:lnTo>
                  <a:lnTo>
                    <a:pt x="177" y="64"/>
                  </a:lnTo>
                  <a:lnTo>
                    <a:pt x="189" y="62"/>
                  </a:lnTo>
                  <a:lnTo>
                    <a:pt x="200" y="60"/>
                  </a:lnTo>
                  <a:lnTo>
                    <a:pt x="213" y="60"/>
                  </a:lnTo>
                  <a:lnTo>
                    <a:pt x="222" y="55"/>
                  </a:lnTo>
                  <a:lnTo>
                    <a:pt x="232" y="52"/>
                  </a:lnTo>
                  <a:lnTo>
                    <a:pt x="241" y="48"/>
                  </a:lnTo>
                  <a:lnTo>
                    <a:pt x="251" y="48"/>
                  </a:lnTo>
                  <a:lnTo>
                    <a:pt x="256" y="50"/>
                  </a:lnTo>
                  <a:lnTo>
                    <a:pt x="262" y="55"/>
                  </a:lnTo>
                  <a:lnTo>
                    <a:pt x="265" y="60"/>
                  </a:lnTo>
                  <a:lnTo>
                    <a:pt x="272" y="64"/>
                  </a:lnTo>
                  <a:lnTo>
                    <a:pt x="270" y="59"/>
                  </a:lnTo>
                  <a:lnTo>
                    <a:pt x="270" y="53"/>
                  </a:lnTo>
                  <a:lnTo>
                    <a:pt x="275" y="48"/>
                  </a:lnTo>
                  <a:lnTo>
                    <a:pt x="284" y="55"/>
                  </a:lnTo>
                  <a:lnTo>
                    <a:pt x="299" y="60"/>
                  </a:lnTo>
                  <a:lnTo>
                    <a:pt x="303" y="60"/>
                  </a:lnTo>
                  <a:lnTo>
                    <a:pt x="306" y="60"/>
                  </a:lnTo>
                  <a:lnTo>
                    <a:pt x="305" y="55"/>
                  </a:lnTo>
                  <a:lnTo>
                    <a:pt x="303" y="50"/>
                  </a:lnTo>
                  <a:lnTo>
                    <a:pt x="306" y="43"/>
                  </a:lnTo>
                  <a:lnTo>
                    <a:pt x="315" y="43"/>
                  </a:lnTo>
                  <a:lnTo>
                    <a:pt x="329" y="43"/>
                  </a:lnTo>
                  <a:lnTo>
                    <a:pt x="341" y="48"/>
                  </a:lnTo>
                  <a:lnTo>
                    <a:pt x="351" y="53"/>
                  </a:lnTo>
                  <a:lnTo>
                    <a:pt x="361" y="60"/>
                  </a:lnTo>
                  <a:lnTo>
                    <a:pt x="384" y="60"/>
                  </a:lnTo>
                  <a:lnTo>
                    <a:pt x="373" y="55"/>
                  </a:lnTo>
                  <a:lnTo>
                    <a:pt x="365" y="52"/>
                  </a:lnTo>
                  <a:lnTo>
                    <a:pt x="356" y="45"/>
                  </a:lnTo>
                  <a:lnTo>
                    <a:pt x="354" y="40"/>
                  </a:lnTo>
                  <a:lnTo>
                    <a:pt x="356" y="35"/>
                  </a:lnTo>
                  <a:lnTo>
                    <a:pt x="363" y="35"/>
                  </a:lnTo>
                  <a:lnTo>
                    <a:pt x="370" y="35"/>
                  </a:lnTo>
                  <a:lnTo>
                    <a:pt x="375" y="35"/>
                  </a:lnTo>
                  <a:lnTo>
                    <a:pt x="370" y="31"/>
                  </a:lnTo>
                  <a:lnTo>
                    <a:pt x="365" y="28"/>
                  </a:lnTo>
                  <a:lnTo>
                    <a:pt x="375" y="23"/>
                  </a:lnTo>
                  <a:lnTo>
                    <a:pt x="385" y="19"/>
                  </a:lnTo>
                  <a:lnTo>
                    <a:pt x="396" y="17"/>
                  </a:lnTo>
                  <a:lnTo>
                    <a:pt x="408" y="17"/>
                  </a:lnTo>
                  <a:lnTo>
                    <a:pt x="423" y="16"/>
                  </a:lnTo>
                  <a:lnTo>
                    <a:pt x="440" y="21"/>
                  </a:lnTo>
                  <a:lnTo>
                    <a:pt x="451" y="21"/>
                  </a:lnTo>
                  <a:lnTo>
                    <a:pt x="451" y="14"/>
                  </a:lnTo>
                  <a:lnTo>
                    <a:pt x="459" y="14"/>
                  </a:lnTo>
                  <a:lnTo>
                    <a:pt x="470" y="14"/>
                  </a:lnTo>
                  <a:lnTo>
                    <a:pt x="487" y="11"/>
                  </a:lnTo>
                  <a:lnTo>
                    <a:pt x="504" y="7"/>
                  </a:lnTo>
                  <a:lnTo>
                    <a:pt x="511" y="4"/>
                  </a:lnTo>
                  <a:lnTo>
                    <a:pt x="521" y="2"/>
                  </a:lnTo>
                  <a:lnTo>
                    <a:pt x="530" y="0"/>
                  </a:lnTo>
                  <a:lnTo>
                    <a:pt x="540" y="0"/>
                  </a:lnTo>
                  <a:lnTo>
                    <a:pt x="549" y="0"/>
                  </a:lnTo>
                  <a:lnTo>
                    <a:pt x="559" y="0"/>
                  </a:lnTo>
                  <a:lnTo>
                    <a:pt x="568" y="0"/>
                  </a:lnTo>
                  <a:lnTo>
                    <a:pt x="578" y="0"/>
                  </a:lnTo>
                  <a:lnTo>
                    <a:pt x="585" y="0"/>
                  </a:lnTo>
                  <a:lnTo>
                    <a:pt x="595" y="0"/>
                  </a:lnTo>
                  <a:lnTo>
                    <a:pt x="604" y="0"/>
                  </a:lnTo>
                  <a:lnTo>
                    <a:pt x="614" y="0"/>
                  </a:lnTo>
                  <a:lnTo>
                    <a:pt x="623" y="0"/>
                  </a:lnTo>
                  <a:lnTo>
                    <a:pt x="633" y="2"/>
                  </a:lnTo>
                  <a:lnTo>
                    <a:pt x="643" y="5"/>
                  </a:lnTo>
                  <a:lnTo>
                    <a:pt x="654" y="11"/>
                  </a:lnTo>
                  <a:lnTo>
                    <a:pt x="671" y="19"/>
                  </a:lnTo>
                  <a:lnTo>
                    <a:pt x="690" y="29"/>
                  </a:lnTo>
                  <a:lnTo>
                    <a:pt x="700" y="29"/>
                  </a:lnTo>
                  <a:lnTo>
                    <a:pt x="712" y="31"/>
                  </a:lnTo>
                  <a:lnTo>
                    <a:pt x="722" y="33"/>
                  </a:lnTo>
                  <a:lnTo>
                    <a:pt x="735" y="35"/>
                  </a:lnTo>
                  <a:lnTo>
                    <a:pt x="726" y="43"/>
                  </a:lnTo>
                  <a:lnTo>
                    <a:pt x="712" y="48"/>
                  </a:lnTo>
                  <a:lnTo>
                    <a:pt x="695" y="52"/>
                  </a:lnTo>
                  <a:lnTo>
                    <a:pt x="683" y="55"/>
                  </a:lnTo>
                  <a:lnTo>
                    <a:pt x="571" y="60"/>
                  </a:lnTo>
                  <a:lnTo>
                    <a:pt x="576" y="60"/>
                  </a:lnTo>
                  <a:lnTo>
                    <a:pt x="588" y="62"/>
                  </a:lnTo>
                  <a:lnTo>
                    <a:pt x="604" y="60"/>
                  </a:lnTo>
                  <a:lnTo>
                    <a:pt x="623" y="60"/>
                  </a:lnTo>
                  <a:lnTo>
                    <a:pt x="638" y="59"/>
                  </a:lnTo>
                  <a:lnTo>
                    <a:pt x="655" y="59"/>
                  </a:lnTo>
                  <a:lnTo>
                    <a:pt x="666" y="59"/>
                  </a:lnTo>
                  <a:lnTo>
                    <a:pt x="674" y="60"/>
                  </a:lnTo>
                  <a:lnTo>
                    <a:pt x="669" y="66"/>
                  </a:lnTo>
                  <a:lnTo>
                    <a:pt x="662" y="74"/>
                  </a:lnTo>
                  <a:lnTo>
                    <a:pt x="655" y="83"/>
                  </a:lnTo>
                  <a:lnTo>
                    <a:pt x="655" y="86"/>
                  </a:lnTo>
                  <a:lnTo>
                    <a:pt x="666" y="81"/>
                  </a:lnTo>
                  <a:lnTo>
                    <a:pt x="683" y="71"/>
                  </a:lnTo>
                  <a:lnTo>
                    <a:pt x="700" y="60"/>
                  </a:lnTo>
                  <a:lnTo>
                    <a:pt x="716" y="57"/>
                  </a:lnTo>
                  <a:lnTo>
                    <a:pt x="724" y="62"/>
                  </a:lnTo>
                  <a:lnTo>
                    <a:pt x="728" y="72"/>
                  </a:lnTo>
                  <a:lnTo>
                    <a:pt x="721" y="79"/>
                  </a:lnTo>
                  <a:lnTo>
                    <a:pt x="710" y="95"/>
                  </a:lnTo>
                  <a:lnTo>
                    <a:pt x="698" y="107"/>
                  </a:lnTo>
                  <a:lnTo>
                    <a:pt x="693" y="117"/>
                  </a:lnTo>
                  <a:lnTo>
                    <a:pt x="704" y="109"/>
                  </a:lnTo>
                  <a:lnTo>
                    <a:pt x="719" y="95"/>
                  </a:lnTo>
                  <a:lnTo>
                    <a:pt x="731" y="81"/>
                  </a:lnTo>
                  <a:lnTo>
                    <a:pt x="741" y="74"/>
                  </a:lnTo>
                  <a:lnTo>
                    <a:pt x="750" y="74"/>
                  </a:lnTo>
                  <a:lnTo>
                    <a:pt x="762" y="74"/>
                  </a:lnTo>
                  <a:lnTo>
                    <a:pt x="771" y="74"/>
                  </a:lnTo>
                  <a:lnTo>
                    <a:pt x="774" y="74"/>
                  </a:lnTo>
                  <a:lnTo>
                    <a:pt x="779" y="74"/>
                  </a:lnTo>
                  <a:lnTo>
                    <a:pt x="786" y="76"/>
                  </a:lnTo>
                  <a:lnTo>
                    <a:pt x="795" y="69"/>
                  </a:lnTo>
                  <a:lnTo>
                    <a:pt x="805" y="66"/>
                  </a:lnTo>
                  <a:lnTo>
                    <a:pt x="829" y="66"/>
                  </a:lnTo>
                  <a:lnTo>
                    <a:pt x="833" y="59"/>
                  </a:lnTo>
                  <a:lnTo>
                    <a:pt x="839" y="59"/>
                  </a:lnTo>
                  <a:lnTo>
                    <a:pt x="846" y="59"/>
                  </a:lnTo>
                  <a:lnTo>
                    <a:pt x="857" y="64"/>
                  </a:lnTo>
                  <a:lnTo>
                    <a:pt x="865" y="69"/>
                  </a:lnTo>
                  <a:lnTo>
                    <a:pt x="870" y="76"/>
                  </a:lnTo>
                  <a:lnTo>
                    <a:pt x="864" y="83"/>
                  </a:lnTo>
                  <a:lnTo>
                    <a:pt x="858" y="88"/>
                  </a:lnTo>
                  <a:lnTo>
                    <a:pt x="846" y="91"/>
                  </a:lnTo>
                  <a:lnTo>
                    <a:pt x="834" y="100"/>
                  </a:lnTo>
                  <a:lnTo>
                    <a:pt x="822" y="105"/>
                  </a:lnTo>
                  <a:lnTo>
                    <a:pt x="807" y="109"/>
                  </a:lnTo>
                  <a:lnTo>
                    <a:pt x="812" y="109"/>
                  </a:lnTo>
                  <a:lnTo>
                    <a:pt x="817" y="109"/>
                  </a:lnTo>
                  <a:lnTo>
                    <a:pt x="814" y="115"/>
                  </a:lnTo>
                  <a:lnTo>
                    <a:pt x="808" y="121"/>
                  </a:lnTo>
                  <a:lnTo>
                    <a:pt x="800" y="122"/>
                  </a:lnTo>
                  <a:lnTo>
                    <a:pt x="795" y="124"/>
                  </a:lnTo>
                  <a:lnTo>
                    <a:pt x="795" y="127"/>
                  </a:lnTo>
                  <a:lnTo>
                    <a:pt x="795" y="131"/>
                  </a:lnTo>
                  <a:lnTo>
                    <a:pt x="786" y="139"/>
                  </a:lnTo>
                  <a:lnTo>
                    <a:pt x="772" y="143"/>
                  </a:lnTo>
                  <a:lnTo>
                    <a:pt x="772" y="148"/>
                  </a:lnTo>
                  <a:lnTo>
                    <a:pt x="772" y="152"/>
                  </a:lnTo>
                  <a:lnTo>
                    <a:pt x="765" y="162"/>
                  </a:lnTo>
                  <a:lnTo>
                    <a:pt x="752" y="172"/>
                  </a:lnTo>
                  <a:lnTo>
                    <a:pt x="747" y="182"/>
                  </a:lnTo>
                  <a:lnTo>
                    <a:pt x="743" y="194"/>
                  </a:lnTo>
                  <a:lnTo>
                    <a:pt x="750" y="194"/>
                  </a:lnTo>
                  <a:lnTo>
                    <a:pt x="759" y="194"/>
                  </a:lnTo>
                  <a:lnTo>
                    <a:pt x="769" y="196"/>
                  </a:lnTo>
                  <a:lnTo>
                    <a:pt x="779" y="203"/>
                  </a:lnTo>
                  <a:lnTo>
                    <a:pt x="774" y="205"/>
                  </a:lnTo>
                  <a:lnTo>
                    <a:pt x="769" y="207"/>
                  </a:lnTo>
                  <a:lnTo>
                    <a:pt x="772" y="210"/>
                  </a:lnTo>
                  <a:lnTo>
                    <a:pt x="781" y="213"/>
                  </a:lnTo>
                  <a:lnTo>
                    <a:pt x="788" y="217"/>
                  </a:lnTo>
                  <a:lnTo>
                    <a:pt x="791" y="225"/>
                  </a:lnTo>
                  <a:lnTo>
                    <a:pt x="786" y="231"/>
                  </a:lnTo>
                  <a:lnTo>
                    <a:pt x="776" y="232"/>
                  </a:lnTo>
                  <a:lnTo>
                    <a:pt x="764" y="232"/>
                  </a:lnTo>
                  <a:lnTo>
                    <a:pt x="755" y="232"/>
                  </a:lnTo>
                  <a:lnTo>
                    <a:pt x="748" y="234"/>
                  </a:lnTo>
                  <a:lnTo>
                    <a:pt x="747" y="239"/>
                  </a:lnTo>
                  <a:lnTo>
                    <a:pt x="752" y="246"/>
                  </a:lnTo>
                  <a:lnTo>
                    <a:pt x="762" y="248"/>
                  </a:lnTo>
                  <a:lnTo>
                    <a:pt x="765" y="260"/>
                  </a:lnTo>
                  <a:lnTo>
                    <a:pt x="769" y="270"/>
                  </a:lnTo>
                  <a:lnTo>
                    <a:pt x="767" y="275"/>
                  </a:lnTo>
                  <a:lnTo>
                    <a:pt x="769" y="280"/>
                  </a:lnTo>
                  <a:lnTo>
                    <a:pt x="759" y="280"/>
                  </a:lnTo>
                  <a:lnTo>
                    <a:pt x="753" y="287"/>
                  </a:lnTo>
                  <a:lnTo>
                    <a:pt x="755" y="291"/>
                  </a:lnTo>
                  <a:lnTo>
                    <a:pt x="760" y="294"/>
                  </a:lnTo>
                  <a:lnTo>
                    <a:pt x="767" y="296"/>
                  </a:lnTo>
                  <a:lnTo>
                    <a:pt x="774" y="298"/>
                  </a:lnTo>
                  <a:lnTo>
                    <a:pt x="764" y="306"/>
                  </a:lnTo>
                  <a:lnTo>
                    <a:pt x="752" y="311"/>
                  </a:lnTo>
                  <a:lnTo>
                    <a:pt x="752" y="315"/>
                  </a:lnTo>
                  <a:lnTo>
                    <a:pt x="755" y="320"/>
                  </a:lnTo>
                  <a:lnTo>
                    <a:pt x="748" y="327"/>
                  </a:lnTo>
                  <a:lnTo>
                    <a:pt x="741" y="330"/>
                  </a:lnTo>
                  <a:lnTo>
                    <a:pt x="733" y="332"/>
                  </a:lnTo>
                  <a:lnTo>
                    <a:pt x="728" y="339"/>
                  </a:lnTo>
                  <a:lnTo>
                    <a:pt x="719" y="332"/>
                  </a:lnTo>
                  <a:lnTo>
                    <a:pt x="712" y="327"/>
                  </a:lnTo>
                  <a:lnTo>
                    <a:pt x="705" y="327"/>
                  </a:lnTo>
                  <a:lnTo>
                    <a:pt x="710" y="334"/>
                  </a:lnTo>
                  <a:lnTo>
                    <a:pt x="721" y="337"/>
                  </a:lnTo>
                  <a:lnTo>
                    <a:pt x="728" y="341"/>
                  </a:lnTo>
                  <a:lnTo>
                    <a:pt x="733" y="349"/>
                  </a:lnTo>
                  <a:lnTo>
                    <a:pt x="731" y="360"/>
                  </a:lnTo>
                  <a:lnTo>
                    <a:pt x="726" y="365"/>
                  </a:lnTo>
                  <a:lnTo>
                    <a:pt x="717" y="361"/>
                  </a:lnTo>
                  <a:lnTo>
                    <a:pt x="709" y="356"/>
                  </a:lnTo>
                  <a:lnTo>
                    <a:pt x="700" y="348"/>
                  </a:lnTo>
                  <a:lnTo>
                    <a:pt x="697" y="341"/>
                  </a:lnTo>
                  <a:lnTo>
                    <a:pt x="692" y="341"/>
                  </a:lnTo>
                  <a:lnTo>
                    <a:pt x="692" y="349"/>
                  </a:lnTo>
                  <a:lnTo>
                    <a:pt x="705" y="360"/>
                  </a:lnTo>
                  <a:lnTo>
                    <a:pt x="722" y="372"/>
                  </a:lnTo>
                  <a:lnTo>
                    <a:pt x="728" y="377"/>
                  </a:lnTo>
                  <a:lnTo>
                    <a:pt x="735" y="385"/>
                  </a:lnTo>
                  <a:lnTo>
                    <a:pt x="738" y="392"/>
                  </a:lnTo>
                  <a:lnTo>
                    <a:pt x="741" y="404"/>
                  </a:lnTo>
                  <a:lnTo>
                    <a:pt x="736" y="409"/>
                  </a:lnTo>
                  <a:lnTo>
                    <a:pt x="728" y="411"/>
                  </a:lnTo>
                  <a:lnTo>
                    <a:pt x="714" y="406"/>
                  </a:lnTo>
                  <a:lnTo>
                    <a:pt x="705" y="397"/>
                  </a:lnTo>
                  <a:lnTo>
                    <a:pt x="698" y="389"/>
                  </a:lnTo>
                  <a:lnTo>
                    <a:pt x="688" y="385"/>
                  </a:lnTo>
                  <a:lnTo>
                    <a:pt x="685" y="385"/>
                  </a:lnTo>
                  <a:lnTo>
                    <a:pt x="681" y="385"/>
                  </a:lnTo>
                  <a:lnTo>
                    <a:pt x="683" y="392"/>
                  </a:lnTo>
                  <a:lnTo>
                    <a:pt x="686" y="397"/>
                  </a:lnTo>
                  <a:lnTo>
                    <a:pt x="681" y="403"/>
                  </a:lnTo>
                  <a:lnTo>
                    <a:pt x="674" y="404"/>
                  </a:lnTo>
                  <a:lnTo>
                    <a:pt x="674" y="408"/>
                  </a:lnTo>
                  <a:lnTo>
                    <a:pt x="681" y="411"/>
                  </a:lnTo>
                  <a:lnTo>
                    <a:pt x="688" y="413"/>
                  </a:lnTo>
                  <a:lnTo>
                    <a:pt x="698" y="416"/>
                  </a:lnTo>
                  <a:lnTo>
                    <a:pt x="707" y="416"/>
                  </a:lnTo>
                  <a:lnTo>
                    <a:pt x="717" y="418"/>
                  </a:lnTo>
                  <a:lnTo>
                    <a:pt x="724" y="420"/>
                  </a:lnTo>
                  <a:lnTo>
                    <a:pt x="731" y="421"/>
                  </a:lnTo>
                  <a:lnTo>
                    <a:pt x="719" y="427"/>
                  </a:lnTo>
                  <a:lnTo>
                    <a:pt x="709" y="432"/>
                  </a:lnTo>
                  <a:lnTo>
                    <a:pt x="697" y="435"/>
                  </a:lnTo>
                  <a:lnTo>
                    <a:pt x="688" y="444"/>
                  </a:lnTo>
                  <a:lnTo>
                    <a:pt x="679" y="449"/>
                  </a:lnTo>
                  <a:lnTo>
                    <a:pt x="673" y="456"/>
                  </a:lnTo>
                  <a:lnTo>
                    <a:pt x="657" y="458"/>
                  </a:lnTo>
                  <a:lnTo>
                    <a:pt x="645" y="459"/>
                  </a:lnTo>
                  <a:lnTo>
                    <a:pt x="633" y="461"/>
                  </a:lnTo>
                  <a:lnTo>
                    <a:pt x="619" y="468"/>
                  </a:lnTo>
                  <a:lnTo>
                    <a:pt x="597" y="468"/>
                  </a:lnTo>
                  <a:lnTo>
                    <a:pt x="588" y="471"/>
                  </a:lnTo>
                  <a:lnTo>
                    <a:pt x="587" y="476"/>
                  </a:lnTo>
                  <a:lnTo>
                    <a:pt x="573" y="485"/>
                  </a:lnTo>
                  <a:lnTo>
                    <a:pt x="563" y="497"/>
                  </a:lnTo>
                  <a:lnTo>
                    <a:pt x="556" y="511"/>
                  </a:lnTo>
                  <a:lnTo>
                    <a:pt x="545" y="516"/>
                  </a:lnTo>
                  <a:lnTo>
                    <a:pt x="537" y="518"/>
                  </a:lnTo>
                  <a:lnTo>
                    <a:pt x="526" y="519"/>
                  </a:lnTo>
                  <a:lnTo>
                    <a:pt x="518" y="526"/>
                  </a:lnTo>
                  <a:lnTo>
                    <a:pt x="509" y="526"/>
                  </a:lnTo>
                  <a:lnTo>
                    <a:pt x="509" y="516"/>
                  </a:lnTo>
                  <a:lnTo>
                    <a:pt x="502" y="521"/>
                  </a:lnTo>
                  <a:lnTo>
                    <a:pt x="499" y="528"/>
                  </a:lnTo>
                  <a:lnTo>
                    <a:pt x="487" y="533"/>
                  </a:lnTo>
                  <a:lnTo>
                    <a:pt x="475" y="537"/>
                  </a:lnTo>
                  <a:lnTo>
                    <a:pt x="464" y="542"/>
                  </a:lnTo>
                  <a:lnTo>
                    <a:pt x="461" y="552"/>
                  </a:lnTo>
                  <a:lnTo>
                    <a:pt x="461" y="554"/>
                  </a:lnTo>
                  <a:lnTo>
                    <a:pt x="463" y="557"/>
                  </a:lnTo>
                  <a:lnTo>
                    <a:pt x="459" y="559"/>
                  </a:lnTo>
                  <a:lnTo>
                    <a:pt x="459" y="562"/>
                  </a:lnTo>
                  <a:lnTo>
                    <a:pt x="461" y="568"/>
                  </a:lnTo>
                  <a:lnTo>
                    <a:pt x="464" y="575"/>
                  </a:lnTo>
                  <a:lnTo>
                    <a:pt x="459" y="583"/>
                  </a:lnTo>
                  <a:lnTo>
                    <a:pt x="452" y="588"/>
                  </a:lnTo>
                  <a:lnTo>
                    <a:pt x="444" y="592"/>
                  </a:lnTo>
                  <a:lnTo>
                    <a:pt x="442" y="600"/>
                  </a:lnTo>
                  <a:lnTo>
                    <a:pt x="440" y="616"/>
                  </a:lnTo>
                  <a:lnTo>
                    <a:pt x="442" y="628"/>
                  </a:lnTo>
                  <a:lnTo>
                    <a:pt x="434" y="635"/>
                  </a:lnTo>
                  <a:lnTo>
                    <a:pt x="432" y="647"/>
                  </a:lnTo>
                  <a:lnTo>
                    <a:pt x="428" y="655"/>
                  </a:lnTo>
                  <a:lnTo>
                    <a:pt x="421" y="660"/>
                  </a:lnTo>
                  <a:lnTo>
                    <a:pt x="416" y="659"/>
                  </a:lnTo>
                  <a:lnTo>
                    <a:pt x="416" y="655"/>
                  </a:lnTo>
                  <a:lnTo>
                    <a:pt x="409" y="657"/>
                  </a:lnTo>
                  <a:lnTo>
                    <a:pt x="406" y="659"/>
                  </a:lnTo>
                  <a:lnTo>
                    <a:pt x="397" y="654"/>
                  </a:lnTo>
                  <a:lnTo>
                    <a:pt x="392" y="647"/>
                  </a:lnTo>
                  <a:lnTo>
                    <a:pt x="387" y="638"/>
                  </a:lnTo>
                  <a:lnTo>
                    <a:pt x="382" y="636"/>
                  </a:lnTo>
                  <a:lnTo>
                    <a:pt x="370" y="638"/>
                  </a:lnTo>
                  <a:lnTo>
                    <a:pt x="360" y="643"/>
                  </a:lnTo>
                  <a:lnTo>
                    <a:pt x="353" y="633"/>
                  </a:lnTo>
                  <a:lnTo>
                    <a:pt x="344" y="628"/>
                  </a:lnTo>
                  <a:lnTo>
                    <a:pt x="341" y="623"/>
                  </a:lnTo>
                  <a:lnTo>
                    <a:pt x="341" y="619"/>
                  </a:lnTo>
                  <a:lnTo>
                    <a:pt x="330" y="609"/>
                  </a:lnTo>
                  <a:lnTo>
                    <a:pt x="320" y="599"/>
                  </a:lnTo>
                  <a:lnTo>
                    <a:pt x="311" y="585"/>
                  </a:lnTo>
                  <a:lnTo>
                    <a:pt x="310" y="573"/>
                  </a:lnTo>
                  <a:lnTo>
                    <a:pt x="311" y="566"/>
                  </a:lnTo>
                  <a:lnTo>
                    <a:pt x="318" y="562"/>
                  </a:lnTo>
                  <a:lnTo>
                    <a:pt x="308" y="559"/>
                  </a:lnTo>
                  <a:lnTo>
                    <a:pt x="299" y="562"/>
                  </a:lnTo>
                  <a:lnTo>
                    <a:pt x="296" y="554"/>
                  </a:lnTo>
                  <a:lnTo>
                    <a:pt x="294" y="545"/>
                  </a:lnTo>
                  <a:lnTo>
                    <a:pt x="289" y="537"/>
                  </a:lnTo>
                  <a:lnTo>
                    <a:pt x="284" y="532"/>
                  </a:lnTo>
                  <a:lnTo>
                    <a:pt x="279" y="523"/>
                  </a:lnTo>
                  <a:lnTo>
                    <a:pt x="277" y="516"/>
                  </a:lnTo>
                  <a:lnTo>
                    <a:pt x="279" y="509"/>
                  </a:lnTo>
                  <a:lnTo>
                    <a:pt x="282" y="504"/>
                  </a:lnTo>
                  <a:lnTo>
                    <a:pt x="277" y="501"/>
                  </a:lnTo>
                  <a:lnTo>
                    <a:pt x="272" y="504"/>
                  </a:lnTo>
                  <a:lnTo>
                    <a:pt x="272" y="492"/>
                  </a:lnTo>
                  <a:lnTo>
                    <a:pt x="280" y="476"/>
                  </a:lnTo>
                  <a:lnTo>
                    <a:pt x="292" y="464"/>
                  </a:lnTo>
                  <a:lnTo>
                    <a:pt x="292" y="46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8" name="Freeform 337"/>
            <p:cNvSpPr>
              <a:spLocks/>
            </p:cNvSpPr>
            <p:nvPr/>
          </p:nvSpPr>
          <p:spPr bwMode="auto">
            <a:xfrm>
              <a:off x="3056732" y="2052638"/>
              <a:ext cx="68263" cy="44450"/>
            </a:xfrm>
            <a:custGeom>
              <a:avLst/>
              <a:gdLst/>
              <a:ahLst/>
              <a:cxnLst>
                <a:cxn ang="0">
                  <a:pos x="10" y="28"/>
                </a:cxn>
                <a:cxn ang="0">
                  <a:pos x="4" y="21"/>
                </a:cxn>
                <a:cxn ang="0">
                  <a:pos x="0" y="9"/>
                </a:cxn>
                <a:cxn ang="0">
                  <a:pos x="4" y="2"/>
                </a:cxn>
                <a:cxn ang="0">
                  <a:pos x="12" y="0"/>
                </a:cxn>
                <a:cxn ang="0">
                  <a:pos x="19" y="2"/>
                </a:cxn>
                <a:cxn ang="0">
                  <a:pos x="26" y="7"/>
                </a:cxn>
                <a:cxn ang="0">
                  <a:pos x="33" y="12"/>
                </a:cxn>
                <a:cxn ang="0">
                  <a:pos x="43" y="18"/>
                </a:cxn>
                <a:cxn ang="0">
                  <a:pos x="34" y="24"/>
                </a:cxn>
                <a:cxn ang="0">
                  <a:pos x="22" y="28"/>
                </a:cxn>
                <a:cxn ang="0">
                  <a:pos x="10" y="28"/>
                </a:cxn>
              </a:cxnLst>
              <a:rect l="0" t="0" r="r" b="b"/>
              <a:pathLst>
                <a:path w="43" h="28">
                  <a:moveTo>
                    <a:pt x="10" y="28"/>
                  </a:moveTo>
                  <a:lnTo>
                    <a:pt x="4" y="21"/>
                  </a:lnTo>
                  <a:lnTo>
                    <a:pt x="0" y="9"/>
                  </a:lnTo>
                  <a:lnTo>
                    <a:pt x="4" y="2"/>
                  </a:lnTo>
                  <a:lnTo>
                    <a:pt x="12" y="0"/>
                  </a:lnTo>
                  <a:lnTo>
                    <a:pt x="19" y="2"/>
                  </a:lnTo>
                  <a:lnTo>
                    <a:pt x="26" y="7"/>
                  </a:lnTo>
                  <a:lnTo>
                    <a:pt x="33" y="12"/>
                  </a:lnTo>
                  <a:lnTo>
                    <a:pt x="43" y="18"/>
                  </a:lnTo>
                  <a:lnTo>
                    <a:pt x="34" y="24"/>
                  </a:lnTo>
                  <a:lnTo>
                    <a:pt x="22" y="28"/>
                  </a:lnTo>
                  <a:lnTo>
                    <a:pt x="10" y="2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69" name="Freeform 338"/>
            <p:cNvSpPr>
              <a:spLocks/>
            </p:cNvSpPr>
            <p:nvPr/>
          </p:nvSpPr>
          <p:spPr bwMode="auto">
            <a:xfrm>
              <a:off x="3882232" y="1827213"/>
              <a:ext cx="34925" cy="20637"/>
            </a:xfrm>
            <a:custGeom>
              <a:avLst/>
              <a:gdLst/>
              <a:ahLst/>
              <a:cxnLst>
                <a:cxn ang="0">
                  <a:pos x="6" y="13"/>
                </a:cxn>
                <a:cxn ang="0">
                  <a:pos x="1" y="10"/>
                </a:cxn>
                <a:cxn ang="0">
                  <a:pos x="0" y="6"/>
                </a:cxn>
                <a:cxn ang="0">
                  <a:pos x="1" y="1"/>
                </a:cxn>
                <a:cxn ang="0">
                  <a:pos x="5" y="0"/>
                </a:cxn>
                <a:cxn ang="0">
                  <a:pos x="13" y="0"/>
                </a:cxn>
                <a:cxn ang="0">
                  <a:pos x="13" y="3"/>
                </a:cxn>
                <a:cxn ang="0">
                  <a:pos x="13" y="6"/>
                </a:cxn>
                <a:cxn ang="0">
                  <a:pos x="22" y="6"/>
                </a:cxn>
                <a:cxn ang="0">
                  <a:pos x="15" y="10"/>
                </a:cxn>
                <a:cxn ang="0">
                  <a:pos x="6" y="13"/>
                </a:cxn>
              </a:cxnLst>
              <a:rect l="0" t="0" r="r" b="b"/>
              <a:pathLst>
                <a:path w="22" h="13">
                  <a:moveTo>
                    <a:pt x="6" y="13"/>
                  </a:moveTo>
                  <a:lnTo>
                    <a:pt x="1" y="10"/>
                  </a:lnTo>
                  <a:lnTo>
                    <a:pt x="0" y="6"/>
                  </a:lnTo>
                  <a:lnTo>
                    <a:pt x="1" y="1"/>
                  </a:lnTo>
                  <a:lnTo>
                    <a:pt x="5" y="0"/>
                  </a:lnTo>
                  <a:lnTo>
                    <a:pt x="13" y="0"/>
                  </a:lnTo>
                  <a:lnTo>
                    <a:pt x="13" y="3"/>
                  </a:lnTo>
                  <a:lnTo>
                    <a:pt x="13" y="6"/>
                  </a:lnTo>
                  <a:lnTo>
                    <a:pt x="22" y="6"/>
                  </a:lnTo>
                  <a:lnTo>
                    <a:pt x="15" y="10"/>
                  </a:lnTo>
                  <a:lnTo>
                    <a:pt x="6"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0" name="Freeform 339"/>
            <p:cNvSpPr>
              <a:spLocks/>
            </p:cNvSpPr>
            <p:nvPr/>
          </p:nvSpPr>
          <p:spPr bwMode="auto">
            <a:xfrm>
              <a:off x="2958307" y="2716213"/>
              <a:ext cx="150813" cy="147637"/>
            </a:xfrm>
            <a:custGeom>
              <a:avLst/>
              <a:gdLst/>
              <a:ahLst/>
              <a:cxnLst>
                <a:cxn ang="0">
                  <a:pos x="2" y="74"/>
                </a:cxn>
                <a:cxn ang="0">
                  <a:pos x="4" y="67"/>
                </a:cxn>
                <a:cxn ang="0">
                  <a:pos x="9" y="60"/>
                </a:cxn>
                <a:cxn ang="0">
                  <a:pos x="5" y="59"/>
                </a:cxn>
                <a:cxn ang="0">
                  <a:pos x="21" y="38"/>
                </a:cxn>
                <a:cxn ang="0">
                  <a:pos x="33" y="16"/>
                </a:cxn>
                <a:cxn ang="0">
                  <a:pos x="48" y="0"/>
                </a:cxn>
                <a:cxn ang="0">
                  <a:pos x="52" y="5"/>
                </a:cxn>
                <a:cxn ang="0">
                  <a:pos x="38" y="31"/>
                </a:cxn>
                <a:cxn ang="0">
                  <a:pos x="41" y="35"/>
                </a:cxn>
                <a:cxn ang="0">
                  <a:pos x="48" y="33"/>
                </a:cxn>
                <a:cxn ang="0">
                  <a:pos x="52" y="38"/>
                </a:cxn>
                <a:cxn ang="0">
                  <a:pos x="60" y="41"/>
                </a:cxn>
                <a:cxn ang="0">
                  <a:pos x="60" y="45"/>
                </a:cxn>
                <a:cxn ang="0">
                  <a:pos x="74" y="43"/>
                </a:cxn>
                <a:cxn ang="0">
                  <a:pos x="81" y="48"/>
                </a:cxn>
                <a:cxn ang="0">
                  <a:pos x="83" y="59"/>
                </a:cxn>
                <a:cxn ang="0">
                  <a:pos x="83" y="62"/>
                </a:cxn>
                <a:cxn ang="0">
                  <a:pos x="83" y="69"/>
                </a:cxn>
                <a:cxn ang="0">
                  <a:pos x="88" y="72"/>
                </a:cxn>
                <a:cxn ang="0">
                  <a:pos x="93" y="76"/>
                </a:cxn>
                <a:cxn ang="0">
                  <a:pos x="91" y="90"/>
                </a:cxn>
                <a:cxn ang="0">
                  <a:pos x="83" y="90"/>
                </a:cxn>
                <a:cxn ang="0">
                  <a:pos x="79" y="86"/>
                </a:cxn>
                <a:cxn ang="0">
                  <a:pos x="74" y="79"/>
                </a:cxn>
                <a:cxn ang="0">
                  <a:pos x="66" y="81"/>
                </a:cxn>
                <a:cxn ang="0">
                  <a:pos x="55" y="86"/>
                </a:cxn>
                <a:cxn ang="0">
                  <a:pos x="60" y="78"/>
                </a:cxn>
                <a:cxn ang="0">
                  <a:pos x="47" y="76"/>
                </a:cxn>
                <a:cxn ang="0">
                  <a:pos x="36" y="79"/>
                </a:cxn>
                <a:cxn ang="0">
                  <a:pos x="21" y="76"/>
                </a:cxn>
                <a:cxn ang="0">
                  <a:pos x="5" y="78"/>
                </a:cxn>
              </a:cxnLst>
              <a:rect l="0" t="0" r="r" b="b"/>
              <a:pathLst>
                <a:path w="95" h="93">
                  <a:moveTo>
                    <a:pt x="5" y="78"/>
                  </a:moveTo>
                  <a:lnTo>
                    <a:pt x="2" y="74"/>
                  </a:lnTo>
                  <a:lnTo>
                    <a:pt x="0" y="72"/>
                  </a:lnTo>
                  <a:lnTo>
                    <a:pt x="4" y="67"/>
                  </a:lnTo>
                  <a:lnTo>
                    <a:pt x="9" y="64"/>
                  </a:lnTo>
                  <a:lnTo>
                    <a:pt x="9" y="60"/>
                  </a:lnTo>
                  <a:lnTo>
                    <a:pt x="7" y="59"/>
                  </a:lnTo>
                  <a:lnTo>
                    <a:pt x="5" y="59"/>
                  </a:lnTo>
                  <a:lnTo>
                    <a:pt x="14" y="48"/>
                  </a:lnTo>
                  <a:lnTo>
                    <a:pt x="21" y="38"/>
                  </a:lnTo>
                  <a:lnTo>
                    <a:pt x="26" y="24"/>
                  </a:lnTo>
                  <a:lnTo>
                    <a:pt x="33" y="16"/>
                  </a:lnTo>
                  <a:lnTo>
                    <a:pt x="38" y="5"/>
                  </a:lnTo>
                  <a:lnTo>
                    <a:pt x="48" y="0"/>
                  </a:lnTo>
                  <a:lnTo>
                    <a:pt x="50" y="2"/>
                  </a:lnTo>
                  <a:lnTo>
                    <a:pt x="52" y="5"/>
                  </a:lnTo>
                  <a:lnTo>
                    <a:pt x="45" y="19"/>
                  </a:lnTo>
                  <a:lnTo>
                    <a:pt x="38" y="31"/>
                  </a:lnTo>
                  <a:lnTo>
                    <a:pt x="38" y="36"/>
                  </a:lnTo>
                  <a:lnTo>
                    <a:pt x="41" y="35"/>
                  </a:lnTo>
                  <a:lnTo>
                    <a:pt x="45" y="33"/>
                  </a:lnTo>
                  <a:lnTo>
                    <a:pt x="48" y="33"/>
                  </a:lnTo>
                  <a:lnTo>
                    <a:pt x="53" y="35"/>
                  </a:lnTo>
                  <a:lnTo>
                    <a:pt x="52" y="38"/>
                  </a:lnTo>
                  <a:lnTo>
                    <a:pt x="52" y="41"/>
                  </a:lnTo>
                  <a:lnTo>
                    <a:pt x="60" y="41"/>
                  </a:lnTo>
                  <a:lnTo>
                    <a:pt x="60" y="43"/>
                  </a:lnTo>
                  <a:lnTo>
                    <a:pt x="60" y="45"/>
                  </a:lnTo>
                  <a:lnTo>
                    <a:pt x="66" y="43"/>
                  </a:lnTo>
                  <a:lnTo>
                    <a:pt x="74" y="43"/>
                  </a:lnTo>
                  <a:lnTo>
                    <a:pt x="81" y="43"/>
                  </a:lnTo>
                  <a:lnTo>
                    <a:pt x="81" y="48"/>
                  </a:lnTo>
                  <a:lnTo>
                    <a:pt x="81" y="59"/>
                  </a:lnTo>
                  <a:lnTo>
                    <a:pt x="83" y="59"/>
                  </a:lnTo>
                  <a:lnTo>
                    <a:pt x="86" y="59"/>
                  </a:lnTo>
                  <a:lnTo>
                    <a:pt x="83" y="62"/>
                  </a:lnTo>
                  <a:lnTo>
                    <a:pt x="81" y="65"/>
                  </a:lnTo>
                  <a:lnTo>
                    <a:pt x="83" y="69"/>
                  </a:lnTo>
                  <a:lnTo>
                    <a:pt x="84" y="74"/>
                  </a:lnTo>
                  <a:lnTo>
                    <a:pt x="88" y="72"/>
                  </a:lnTo>
                  <a:lnTo>
                    <a:pt x="91" y="71"/>
                  </a:lnTo>
                  <a:lnTo>
                    <a:pt x="93" y="76"/>
                  </a:lnTo>
                  <a:lnTo>
                    <a:pt x="95" y="81"/>
                  </a:lnTo>
                  <a:lnTo>
                    <a:pt x="91" y="90"/>
                  </a:lnTo>
                  <a:lnTo>
                    <a:pt x="86" y="93"/>
                  </a:lnTo>
                  <a:lnTo>
                    <a:pt x="83" y="90"/>
                  </a:lnTo>
                  <a:lnTo>
                    <a:pt x="83" y="88"/>
                  </a:lnTo>
                  <a:lnTo>
                    <a:pt x="79" y="86"/>
                  </a:lnTo>
                  <a:lnTo>
                    <a:pt x="78" y="86"/>
                  </a:lnTo>
                  <a:lnTo>
                    <a:pt x="74" y="79"/>
                  </a:lnTo>
                  <a:lnTo>
                    <a:pt x="72" y="72"/>
                  </a:lnTo>
                  <a:lnTo>
                    <a:pt x="66" y="81"/>
                  </a:lnTo>
                  <a:lnTo>
                    <a:pt x="59" y="86"/>
                  </a:lnTo>
                  <a:lnTo>
                    <a:pt x="55" y="86"/>
                  </a:lnTo>
                  <a:lnTo>
                    <a:pt x="57" y="81"/>
                  </a:lnTo>
                  <a:lnTo>
                    <a:pt x="60" y="78"/>
                  </a:lnTo>
                  <a:lnTo>
                    <a:pt x="52" y="78"/>
                  </a:lnTo>
                  <a:lnTo>
                    <a:pt x="47" y="76"/>
                  </a:lnTo>
                  <a:lnTo>
                    <a:pt x="41" y="78"/>
                  </a:lnTo>
                  <a:lnTo>
                    <a:pt x="36" y="79"/>
                  </a:lnTo>
                  <a:lnTo>
                    <a:pt x="28" y="78"/>
                  </a:lnTo>
                  <a:lnTo>
                    <a:pt x="21" y="76"/>
                  </a:lnTo>
                  <a:lnTo>
                    <a:pt x="12" y="76"/>
                  </a:lnTo>
                  <a:lnTo>
                    <a:pt x="5" y="78"/>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1" name="Freeform 340"/>
            <p:cNvSpPr>
              <a:spLocks/>
            </p:cNvSpPr>
            <p:nvPr/>
          </p:nvSpPr>
          <p:spPr bwMode="auto">
            <a:xfrm>
              <a:off x="7455694" y="1779588"/>
              <a:ext cx="177800" cy="68262"/>
            </a:xfrm>
            <a:custGeom>
              <a:avLst/>
              <a:gdLst/>
              <a:ahLst/>
              <a:cxnLst>
                <a:cxn ang="0">
                  <a:pos x="89" y="33"/>
                </a:cxn>
                <a:cxn ang="0">
                  <a:pos x="82" y="35"/>
                </a:cxn>
                <a:cxn ang="0">
                  <a:pos x="76" y="38"/>
                </a:cxn>
                <a:cxn ang="0">
                  <a:pos x="70" y="35"/>
                </a:cxn>
                <a:cxn ang="0">
                  <a:pos x="67" y="33"/>
                </a:cxn>
                <a:cxn ang="0">
                  <a:pos x="62" y="35"/>
                </a:cxn>
                <a:cxn ang="0">
                  <a:pos x="57" y="36"/>
                </a:cxn>
                <a:cxn ang="0">
                  <a:pos x="52" y="38"/>
                </a:cxn>
                <a:cxn ang="0">
                  <a:pos x="46" y="42"/>
                </a:cxn>
                <a:cxn ang="0">
                  <a:pos x="39" y="40"/>
                </a:cxn>
                <a:cxn ang="0">
                  <a:pos x="36" y="36"/>
                </a:cxn>
                <a:cxn ang="0">
                  <a:pos x="31" y="40"/>
                </a:cxn>
                <a:cxn ang="0">
                  <a:pos x="26" y="43"/>
                </a:cxn>
                <a:cxn ang="0">
                  <a:pos x="15" y="40"/>
                </a:cxn>
                <a:cxn ang="0">
                  <a:pos x="7" y="36"/>
                </a:cxn>
                <a:cxn ang="0">
                  <a:pos x="0" y="28"/>
                </a:cxn>
                <a:cxn ang="0">
                  <a:pos x="0" y="21"/>
                </a:cxn>
                <a:cxn ang="0">
                  <a:pos x="7" y="6"/>
                </a:cxn>
                <a:cxn ang="0">
                  <a:pos x="22" y="0"/>
                </a:cxn>
                <a:cxn ang="0">
                  <a:pos x="31" y="2"/>
                </a:cxn>
                <a:cxn ang="0">
                  <a:pos x="38" y="9"/>
                </a:cxn>
                <a:cxn ang="0">
                  <a:pos x="43" y="14"/>
                </a:cxn>
                <a:cxn ang="0">
                  <a:pos x="53" y="18"/>
                </a:cxn>
                <a:cxn ang="0">
                  <a:pos x="55" y="7"/>
                </a:cxn>
                <a:cxn ang="0">
                  <a:pos x="62" y="4"/>
                </a:cxn>
                <a:cxn ang="0">
                  <a:pos x="70" y="4"/>
                </a:cxn>
                <a:cxn ang="0">
                  <a:pos x="86" y="9"/>
                </a:cxn>
                <a:cxn ang="0">
                  <a:pos x="100" y="12"/>
                </a:cxn>
                <a:cxn ang="0">
                  <a:pos x="112" y="18"/>
                </a:cxn>
                <a:cxn ang="0">
                  <a:pos x="107" y="26"/>
                </a:cxn>
                <a:cxn ang="0">
                  <a:pos x="103" y="33"/>
                </a:cxn>
                <a:cxn ang="0">
                  <a:pos x="89" y="33"/>
                </a:cxn>
              </a:cxnLst>
              <a:rect l="0" t="0" r="r" b="b"/>
              <a:pathLst>
                <a:path w="112" h="43">
                  <a:moveTo>
                    <a:pt x="89" y="33"/>
                  </a:moveTo>
                  <a:lnTo>
                    <a:pt x="82" y="35"/>
                  </a:lnTo>
                  <a:lnTo>
                    <a:pt x="76" y="38"/>
                  </a:lnTo>
                  <a:lnTo>
                    <a:pt x="70" y="35"/>
                  </a:lnTo>
                  <a:lnTo>
                    <a:pt x="67" y="33"/>
                  </a:lnTo>
                  <a:lnTo>
                    <a:pt x="62" y="35"/>
                  </a:lnTo>
                  <a:lnTo>
                    <a:pt x="57" y="36"/>
                  </a:lnTo>
                  <a:lnTo>
                    <a:pt x="52" y="38"/>
                  </a:lnTo>
                  <a:lnTo>
                    <a:pt x="46" y="42"/>
                  </a:lnTo>
                  <a:lnTo>
                    <a:pt x="39" y="40"/>
                  </a:lnTo>
                  <a:lnTo>
                    <a:pt x="36" y="36"/>
                  </a:lnTo>
                  <a:lnTo>
                    <a:pt x="31" y="40"/>
                  </a:lnTo>
                  <a:lnTo>
                    <a:pt x="26" y="43"/>
                  </a:lnTo>
                  <a:lnTo>
                    <a:pt x="15" y="40"/>
                  </a:lnTo>
                  <a:lnTo>
                    <a:pt x="7" y="36"/>
                  </a:lnTo>
                  <a:lnTo>
                    <a:pt x="0" y="28"/>
                  </a:lnTo>
                  <a:lnTo>
                    <a:pt x="0" y="21"/>
                  </a:lnTo>
                  <a:lnTo>
                    <a:pt x="7" y="6"/>
                  </a:lnTo>
                  <a:lnTo>
                    <a:pt x="22" y="0"/>
                  </a:lnTo>
                  <a:lnTo>
                    <a:pt x="31" y="2"/>
                  </a:lnTo>
                  <a:lnTo>
                    <a:pt x="38" y="9"/>
                  </a:lnTo>
                  <a:lnTo>
                    <a:pt x="43" y="14"/>
                  </a:lnTo>
                  <a:lnTo>
                    <a:pt x="53" y="18"/>
                  </a:lnTo>
                  <a:lnTo>
                    <a:pt x="55" y="7"/>
                  </a:lnTo>
                  <a:lnTo>
                    <a:pt x="62" y="4"/>
                  </a:lnTo>
                  <a:lnTo>
                    <a:pt x="70" y="4"/>
                  </a:lnTo>
                  <a:lnTo>
                    <a:pt x="86" y="9"/>
                  </a:lnTo>
                  <a:lnTo>
                    <a:pt x="100" y="12"/>
                  </a:lnTo>
                  <a:lnTo>
                    <a:pt x="112" y="18"/>
                  </a:lnTo>
                  <a:lnTo>
                    <a:pt x="107" y="26"/>
                  </a:lnTo>
                  <a:lnTo>
                    <a:pt x="103" y="33"/>
                  </a:lnTo>
                  <a:lnTo>
                    <a:pt x="89" y="3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2" name="Freeform 341"/>
            <p:cNvSpPr>
              <a:spLocks/>
            </p:cNvSpPr>
            <p:nvPr/>
          </p:nvSpPr>
          <p:spPr bwMode="auto">
            <a:xfrm>
              <a:off x="1629569" y="3248025"/>
              <a:ext cx="919163" cy="617537"/>
            </a:xfrm>
            <a:custGeom>
              <a:avLst/>
              <a:gdLst/>
              <a:ahLst/>
              <a:cxnLst>
                <a:cxn ang="0">
                  <a:pos x="283" y="123"/>
                </a:cxn>
                <a:cxn ang="0">
                  <a:pos x="285" y="171"/>
                </a:cxn>
                <a:cxn ang="0">
                  <a:pos x="299" y="198"/>
                </a:cxn>
                <a:cxn ang="0">
                  <a:pos x="330" y="226"/>
                </a:cxn>
                <a:cxn ang="0">
                  <a:pos x="368" y="222"/>
                </a:cxn>
                <a:cxn ang="0">
                  <a:pos x="387" y="193"/>
                </a:cxn>
                <a:cxn ang="0">
                  <a:pos x="416" y="174"/>
                </a:cxn>
                <a:cxn ang="0">
                  <a:pos x="438" y="176"/>
                </a:cxn>
                <a:cxn ang="0">
                  <a:pos x="430" y="207"/>
                </a:cxn>
                <a:cxn ang="0">
                  <a:pos x="421" y="221"/>
                </a:cxn>
                <a:cxn ang="0">
                  <a:pos x="414" y="250"/>
                </a:cxn>
                <a:cxn ang="0">
                  <a:pos x="416" y="262"/>
                </a:cxn>
                <a:cxn ang="0">
                  <a:pos x="464" y="260"/>
                </a:cxn>
                <a:cxn ang="0">
                  <a:pos x="488" y="277"/>
                </a:cxn>
                <a:cxn ang="0">
                  <a:pos x="485" y="331"/>
                </a:cxn>
                <a:cxn ang="0">
                  <a:pos x="519" y="363"/>
                </a:cxn>
                <a:cxn ang="0">
                  <a:pos x="565" y="358"/>
                </a:cxn>
                <a:cxn ang="0">
                  <a:pos x="565" y="380"/>
                </a:cxn>
                <a:cxn ang="0">
                  <a:pos x="564" y="372"/>
                </a:cxn>
                <a:cxn ang="0">
                  <a:pos x="540" y="368"/>
                </a:cxn>
                <a:cxn ang="0">
                  <a:pos x="536" y="380"/>
                </a:cxn>
                <a:cxn ang="0">
                  <a:pos x="512" y="375"/>
                </a:cxn>
                <a:cxn ang="0">
                  <a:pos x="488" y="367"/>
                </a:cxn>
                <a:cxn ang="0">
                  <a:pos x="467" y="346"/>
                </a:cxn>
                <a:cxn ang="0">
                  <a:pos x="461" y="351"/>
                </a:cxn>
                <a:cxn ang="0">
                  <a:pos x="448" y="324"/>
                </a:cxn>
                <a:cxn ang="0">
                  <a:pos x="426" y="298"/>
                </a:cxn>
                <a:cxn ang="0">
                  <a:pos x="395" y="293"/>
                </a:cxn>
                <a:cxn ang="0">
                  <a:pos x="350" y="270"/>
                </a:cxn>
                <a:cxn ang="0">
                  <a:pos x="328" y="255"/>
                </a:cxn>
                <a:cxn ang="0">
                  <a:pos x="297" y="262"/>
                </a:cxn>
                <a:cxn ang="0">
                  <a:pos x="275" y="257"/>
                </a:cxn>
                <a:cxn ang="0">
                  <a:pos x="246" y="243"/>
                </a:cxn>
                <a:cxn ang="0">
                  <a:pos x="215" y="229"/>
                </a:cxn>
                <a:cxn ang="0">
                  <a:pos x="192" y="219"/>
                </a:cxn>
                <a:cxn ang="0">
                  <a:pos x="172" y="203"/>
                </a:cxn>
                <a:cxn ang="0">
                  <a:pos x="172" y="176"/>
                </a:cxn>
                <a:cxn ang="0">
                  <a:pos x="144" y="135"/>
                </a:cxn>
                <a:cxn ang="0">
                  <a:pos x="115" y="107"/>
                </a:cxn>
                <a:cxn ang="0">
                  <a:pos x="96" y="83"/>
                </a:cxn>
                <a:cxn ang="0">
                  <a:pos x="79" y="68"/>
                </a:cxn>
                <a:cxn ang="0">
                  <a:pos x="58" y="31"/>
                </a:cxn>
                <a:cxn ang="0">
                  <a:pos x="31" y="18"/>
                </a:cxn>
                <a:cxn ang="0">
                  <a:pos x="48" y="54"/>
                </a:cxn>
                <a:cxn ang="0">
                  <a:pos x="75" y="95"/>
                </a:cxn>
                <a:cxn ang="0">
                  <a:pos x="92" y="133"/>
                </a:cxn>
                <a:cxn ang="0">
                  <a:pos x="108" y="153"/>
                </a:cxn>
                <a:cxn ang="0">
                  <a:pos x="86" y="138"/>
                </a:cxn>
                <a:cxn ang="0">
                  <a:pos x="74" y="112"/>
                </a:cxn>
                <a:cxn ang="0">
                  <a:pos x="36" y="83"/>
                </a:cxn>
                <a:cxn ang="0">
                  <a:pos x="20" y="50"/>
                </a:cxn>
                <a:cxn ang="0">
                  <a:pos x="12" y="26"/>
                </a:cxn>
                <a:cxn ang="0">
                  <a:pos x="32" y="0"/>
                </a:cxn>
                <a:cxn ang="0">
                  <a:pos x="139" y="11"/>
                </a:cxn>
                <a:cxn ang="0">
                  <a:pos x="173" y="33"/>
                </a:cxn>
                <a:cxn ang="0">
                  <a:pos x="197" y="57"/>
                </a:cxn>
                <a:cxn ang="0">
                  <a:pos x="215" y="42"/>
                </a:cxn>
                <a:cxn ang="0">
                  <a:pos x="242" y="62"/>
                </a:cxn>
                <a:cxn ang="0">
                  <a:pos x="261" y="97"/>
                </a:cxn>
                <a:cxn ang="0">
                  <a:pos x="283" y="98"/>
                </a:cxn>
              </a:cxnLst>
              <a:rect l="0" t="0" r="r" b="b"/>
              <a:pathLst>
                <a:path w="579" h="389">
                  <a:moveTo>
                    <a:pt x="285" y="104"/>
                  </a:moveTo>
                  <a:lnTo>
                    <a:pt x="285" y="107"/>
                  </a:lnTo>
                  <a:lnTo>
                    <a:pt x="287" y="112"/>
                  </a:lnTo>
                  <a:lnTo>
                    <a:pt x="283" y="123"/>
                  </a:lnTo>
                  <a:lnTo>
                    <a:pt x="282" y="133"/>
                  </a:lnTo>
                  <a:lnTo>
                    <a:pt x="282" y="162"/>
                  </a:lnTo>
                  <a:lnTo>
                    <a:pt x="282" y="166"/>
                  </a:lnTo>
                  <a:lnTo>
                    <a:pt x="285" y="171"/>
                  </a:lnTo>
                  <a:lnTo>
                    <a:pt x="285" y="176"/>
                  </a:lnTo>
                  <a:lnTo>
                    <a:pt x="287" y="183"/>
                  </a:lnTo>
                  <a:lnTo>
                    <a:pt x="292" y="190"/>
                  </a:lnTo>
                  <a:lnTo>
                    <a:pt x="299" y="198"/>
                  </a:lnTo>
                  <a:lnTo>
                    <a:pt x="309" y="210"/>
                  </a:lnTo>
                  <a:lnTo>
                    <a:pt x="321" y="221"/>
                  </a:lnTo>
                  <a:lnTo>
                    <a:pt x="325" y="222"/>
                  </a:lnTo>
                  <a:lnTo>
                    <a:pt x="330" y="226"/>
                  </a:lnTo>
                  <a:lnTo>
                    <a:pt x="344" y="222"/>
                  </a:lnTo>
                  <a:lnTo>
                    <a:pt x="359" y="219"/>
                  </a:lnTo>
                  <a:lnTo>
                    <a:pt x="364" y="221"/>
                  </a:lnTo>
                  <a:lnTo>
                    <a:pt x="368" y="222"/>
                  </a:lnTo>
                  <a:lnTo>
                    <a:pt x="373" y="217"/>
                  </a:lnTo>
                  <a:lnTo>
                    <a:pt x="375" y="214"/>
                  </a:lnTo>
                  <a:lnTo>
                    <a:pt x="381" y="203"/>
                  </a:lnTo>
                  <a:lnTo>
                    <a:pt x="387" y="193"/>
                  </a:lnTo>
                  <a:lnTo>
                    <a:pt x="388" y="183"/>
                  </a:lnTo>
                  <a:lnTo>
                    <a:pt x="395" y="178"/>
                  </a:lnTo>
                  <a:lnTo>
                    <a:pt x="404" y="174"/>
                  </a:lnTo>
                  <a:lnTo>
                    <a:pt x="416" y="174"/>
                  </a:lnTo>
                  <a:lnTo>
                    <a:pt x="421" y="174"/>
                  </a:lnTo>
                  <a:lnTo>
                    <a:pt x="426" y="176"/>
                  </a:lnTo>
                  <a:lnTo>
                    <a:pt x="431" y="176"/>
                  </a:lnTo>
                  <a:lnTo>
                    <a:pt x="438" y="176"/>
                  </a:lnTo>
                  <a:lnTo>
                    <a:pt x="438" y="178"/>
                  </a:lnTo>
                  <a:lnTo>
                    <a:pt x="438" y="181"/>
                  </a:lnTo>
                  <a:lnTo>
                    <a:pt x="433" y="191"/>
                  </a:lnTo>
                  <a:lnTo>
                    <a:pt x="430" y="207"/>
                  </a:lnTo>
                  <a:lnTo>
                    <a:pt x="426" y="215"/>
                  </a:lnTo>
                  <a:lnTo>
                    <a:pt x="423" y="224"/>
                  </a:lnTo>
                  <a:lnTo>
                    <a:pt x="423" y="221"/>
                  </a:lnTo>
                  <a:lnTo>
                    <a:pt x="421" y="221"/>
                  </a:lnTo>
                  <a:lnTo>
                    <a:pt x="419" y="221"/>
                  </a:lnTo>
                  <a:lnTo>
                    <a:pt x="419" y="231"/>
                  </a:lnTo>
                  <a:lnTo>
                    <a:pt x="419" y="245"/>
                  </a:lnTo>
                  <a:lnTo>
                    <a:pt x="414" y="250"/>
                  </a:lnTo>
                  <a:lnTo>
                    <a:pt x="411" y="255"/>
                  </a:lnTo>
                  <a:lnTo>
                    <a:pt x="411" y="257"/>
                  </a:lnTo>
                  <a:lnTo>
                    <a:pt x="411" y="260"/>
                  </a:lnTo>
                  <a:lnTo>
                    <a:pt x="416" y="262"/>
                  </a:lnTo>
                  <a:lnTo>
                    <a:pt x="428" y="260"/>
                  </a:lnTo>
                  <a:lnTo>
                    <a:pt x="440" y="260"/>
                  </a:lnTo>
                  <a:lnTo>
                    <a:pt x="450" y="260"/>
                  </a:lnTo>
                  <a:lnTo>
                    <a:pt x="464" y="260"/>
                  </a:lnTo>
                  <a:lnTo>
                    <a:pt x="476" y="264"/>
                  </a:lnTo>
                  <a:lnTo>
                    <a:pt x="488" y="270"/>
                  </a:lnTo>
                  <a:lnTo>
                    <a:pt x="488" y="274"/>
                  </a:lnTo>
                  <a:lnTo>
                    <a:pt x="488" y="277"/>
                  </a:lnTo>
                  <a:lnTo>
                    <a:pt x="486" y="288"/>
                  </a:lnTo>
                  <a:lnTo>
                    <a:pt x="485" y="300"/>
                  </a:lnTo>
                  <a:lnTo>
                    <a:pt x="485" y="317"/>
                  </a:lnTo>
                  <a:lnTo>
                    <a:pt x="485" y="331"/>
                  </a:lnTo>
                  <a:lnTo>
                    <a:pt x="491" y="343"/>
                  </a:lnTo>
                  <a:lnTo>
                    <a:pt x="504" y="351"/>
                  </a:lnTo>
                  <a:lnTo>
                    <a:pt x="509" y="356"/>
                  </a:lnTo>
                  <a:lnTo>
                    <a:pt x="519" y="363"/>
                  </a:lnTo>
                  <a:lnTo>
                    <a:pt x="534" y="358"/>
                  </a:lnTo>
                  <a:lnTo>
                    <a:pt x="550" y="353"/>
                  </a:lnTo>
                  <a:lnTo>
                    <a:pt x="559" y="353"/>
                  </a:lnTo>
                  <a:lnTo>
                    <a:pt x="565" y="358"/>
                  </a:lnTo>
                  <a:lnTo>
                    <a:pt x="572" y="363"/>
                  </a:lnTo>
                  <a:lnTo>
                    <a:pt x="579" y="368"/>
                  </a:lnTo>
                  <a:lnTo>
                    <a:pt x="572" y="375"/>
                  </a:lnTo>
                  <a:lnTo>
                    <a:pt x="565" y="380"/>
                  </a:lnTo>
                  <a:lnTo>
                    <a:pt x="562" y="379"/>
                  </a:lnTo>
                  <a:lnTo>
                    <a:pt x="560" y="377"/>
                  </a:lnTo>
                  <a:lnTo>
                    <a:pt x="560" y="374"/>
                  </a:lnTo>
                  <a:lnTo>
                    <a:pt x="564" y="372"/>
                  </a:lnTo>
                  <a:lnTo>
                    <a:pt x="557" y="367"/>
                  </a:lnTo>
                  <a:lnTo>
                    <a:pt x="550" y="363"/>
                  </a:lnTo>
                  <a:lnTo>
                    <a:pt x="545" y="363"/>
                  </a:lnTo>
                  <a:lnTo>
                    <a:pt x="540" y="368"/>
                  </a:lnTo>
                  <a:lnTo>
                    <a:pt x="534" y="372"/>
                  </a:lnTo>
                  <a:lnTo>
                    <a:pt x="533" y="375"/>
                  </a:lnTo>
                  <a:lnTo>
                    <a:pt x="534" y="379"/>
                  </a:lnTo>
                  <a:lnTo>
                    <a:pt x="536" y="380"/>
                  </a:lnTo>
                  <a:lnTo>
                    <a:pt x="533" y="386"/>
                  </a:lnTo>
                  <a:lnTo>
                    <a:pt x="529" y="389"/>
                  </a:lnTo>
                  <a:lnTo>
                    <a:pt x="517" y="382"/>
                  </a:lnTo>
                  <a:lnTo>
                    <a:pt x="512" y="375"/>
                  </a:lnTo>
                  <a:lnTo>
                    <a:pt x="504" y="372"/>
                  </a:lnTo>
                  <a:lnTo>
                    <a:pt x="497" y="374"/>
                  </a:lnTo>
                  <a:lnTo>
                    <a:pt x="495" y="372"/>
                  </a:lnTo>
                  <a:lnTo>
                    <a:pt x="488" y="367"/>
                  </a:lnTo>
                  <a:lnTo>
                    <a:pt x="485" y="360"/>
                  </a:lnTo>
                  <a:lnTo>
                    <a:pt x="479" y="355"/>
                  </a:lnTo>
                  <a:lnTo>
                    <a:pt x="474" y="351"/>
                  </a:lnTo>
                  <a:lnTo>
                    <a:pt x="467" y="346"/>
                  </a:lnTo>
                  <a:lnTo>
                    <a:pt x="466" y="346"/>
                  </a:lnTo>
                  <a:lnTo>
                    <a:pt x="466" y="348"/>
                  </a:lnTo>
                  <a:lnTo>
                    <a:pt x="466" y="351"/>
                  </a:lnTo>
                  <a:lnTo>
                    <a:pt x="461" y="351"/>
                  </a:lnTo>
                  <a:lnTo>
                    <a:pt x="455" y="341"/>
                  </a:lnTo>
                  <a:lnTo>
                    <a:pt x="455" y="332"/>
                  </a:lnTo>
                  <a:lnTo>
                    <a:pt x="452" y="325"/>
                  </a:lnTo>
                  <a:lnTo>
                    <a:pt x="448" y="324"/>
                  </a:lnTo>
                  <a:lnTo>
                    <a:pt x="436" y="312"/>
                  </a:lnTo>
                  <a:lnTo>
                    <a:pt x="430" y="298"/>
                  </a:lnTo>
                  <a:lnTo>
                    <a:pt x="428" y="298"/>
                  </a:lnTo>
                  <a:lnTo>
                    <a:pt x="426" y="298"/>
                  </a:lnTo>
                  <a:lnTo>
                    <a:pt x="421" y="300"/>
                  </a:lnTo>
                  <a:lnTo>
                    <a:pt x="418" y="301"/>
                  </a:lnTo>
                  <a:lnTo>
                    <a:pt x="404" y="296"/>
                  </a:lnTo>
                  <a:lnTo>
                    <a:pt x="395" y="293"/>
                  </a:lnTo>
                  <a:lnTo>
                    <a:pt x="381" y="288"/>
                  </a:lnTo>
                  <a:lnTo>
                    <a:pt x="369" y="286"/>
                  </a:lnTo>
                  <a:lnTo>
                    <a:pt x="357" y="277"/>
                  </a:lnTo>
                  <a:lnTo>
                    <a:pt x="350" y="270"/>
                  </a:lnTo>
                  <a:lnTo>
                    <a:pt x="344" y="264"/>
                  </a:lnTo>
                  <a:lnTo>
                    <a:pt x="337" y="258"/>
                  </a:lnTo>
                  <a:lnTo>
                    <a:pt x="333" y="258"/>
                  </a:lnTo>
                  <a:lnTo>
                    <a:pt x="328" y="255"/>
                  </a:lnTo>
                  <a:lnTo>
                    <a:pt x="323" y="255"/>
                  </a:lnTo>
                  <a:lnTo>
                    <a:pt x="313" y="260"/>
                  </a:lnTo>
                  <a:lnTo>
                    <a:pt x="304" y="265"/>
                  </a:lnTo>
                  <a:lnTo>
                    <a:pt x="297" y="262"/>
                  </a:lnTo>
                  <a:lnTo>
                    <a:pt x="294" y="260"/>
                  </a:lnTo>
                  <a:lnTo>
                    <a:pt x="287" y="258"/>
                  </a:lnTo>
                  <a:lnTo>
                    <a:pt x="282" y="260"/>
                  </a:lnTo>
                  <a:lnTo>
                    <a:pt x="275" y="257"/>
                  </a:lnTo>
                  <a:lnTo>
                    <a:pt x="266" y="253"/>
                  </a:lnTo>
                  <a:lnTo>
                    <a:pt x="258" y="248"/>
                  </a:lnTo>
                  <a:lnTo>
                    <a:pt x="252" y="245"/>
                  </a:lnTo>
                  <a:lnTo>
                    <a:pt x="246" y="243"/>
                  </a:lnTo>
                  <a:lnTo>
                    <a:pt x="239" y="245"/>
                  </a:lnTo>
                  <a:lnTo>
                    <a:pt x="230" y="238"/>
                  </a:lnTo>
                  <a:lnTo>
                    <a:pt x="223" y="233"/>
                  </a:lnTo>
                  <a:lnTo>
                    <a:pt x="215" y="229"/>
                  </a:lnTo>
                  <a:lnTo>
                    <a:pt x="206" y="227"/>
                  </a:lnTo>
                  <a:lnTo>
                    <a:pt x="203" y="226"/>
                  </a:lnTo>
                  <a:lnTo>
                    <a:pt x="201" y="224"/>
                  </a:lnTo>
                  <a:lnTo>
                    <a:pt x="192" y="219"/>
                  </a:lnTo>
                  <a:lnTo>
                    <a:pt x="185" y="215"/>
                  </a:lnTo>
                  <a:lnTo>
                    <a:pt x="178" y="210"/>
                  </a:lnTo>
                  <a:lnTo>
                    <a:pt x="177" y="207"/>
                  </a:lnTo>
                  <a:lnTo>
                    <a:pt x="172" y="203"/>
                  </a:lnTo>
                  <a:lnTo>
                    <a:pt x="170" y="196"/>
                  </a:lnTo>
                  <a:lnTo>
                    <a:pt x="172" y="190"/>
                  </a:lnTo>
                  <a:lnTo>
                    <a:pt x="175" y="183"/>
                  </a:lnTo>
                  <a:lnTo>
                    <a:pt x="172" y="176"/>
                  </a:lnTo>
                  <a:lnTo>
                    <a:pt x="170" y="171"/>
                  </a:lnTo>
                  <a:lnTo>
                    <a:pt x="161" y="157"/>
                  </a:lnTo>
                  <a:lnTo>
                    <a:pt x="153" y="147"/>
                  </a:lnTo>
                  <a:lnTo>
                    <a:pt x="144" y="135"/>
                  </a:lnTo>
                  <a:lnTo>
                    <a:pt x="135" y="128"/>
                  </a:lnTo>
                  <a:lnTo>
                    <a:pt x="125" y="121"/>
                  </a:lnTo>
                  <a:lnTo>
                    <a:pt x="117" y="116"/>
                  </a:lnTo>
                  <a:lnTo>
                    <a:pt x="115" y="107"/>
                  </a:lnTo>
                  <a:lnTo>
                    <a:pt x="113" y="100"/>
                  </a:lnTo>
                  <a:lnTo>
                    <a:pt x="108" y="93"/>
                  </a:lnTo>
                  <a:lnTo>
                    <a:pt x="101" y="90"/>
                  </a:lnTo>
                  <a:lnTo>
                    <a:pt x="96" y="83"/>
                  </a:lnTo>
                  <a:lnTo>
                    <a:pt x="94" y="78"/>
                  </a:lnTo>
                  <a:lnTo>
                    <a:pt x="89" y="76"/>
                  </a:lnTo>
                  <a:lnTo>
                    <a:pt x="87" y="78"/>
                  </a:lnTo>
                  <a:lnTo>
                    <a:pt x="79" y="68"/>
                  </a:lnTo>
                  <a:lnTo>
                    <a:pt x="70" y="61"/>
                  </a:lnTo>
                  <a:lnTo>
                    <a:pt x="67" y="50"/>
                  </a:lnTo>
                  <a:lnTo>
                    <a:pt x="63" y="42"/>
                  </a:lnTo>
                  <a:lnTo>
                    <a:pt x="58" y="31"/>
                  </a:lnTo>
                  <a:lnTo>
                    <a:pt x="56" y="25"/>
                  </a:lnTo>
                  <a:lnTo>
                    <a:pt x="43" y="19"/>
                  </a:lnTo>
                  <a:lnTo>
                    <a:pt x="32" y="14"/>
                  </a:lnTo>
                  <a:lnTo>
                    <a:pt x="31" y="18"/>
                  </a:lnTo>
                  <a:lnTo>
                    <a:pt x="31" y="21"/>
                  </a:lnTo>
                  <a:lnTo>
                    <a:pt x="32" y="33"/>
                  </a:lnTo>
                  <a:lnTo>
                    <a:pt x="41" y="47"/>
                  </a:lnTo>
                  <a:lnTo>
                    <a:pt x="48" y="54"/>
                  </a:lnTo>
                  <a:lnTo>
                    <a:pt x="56" y="61"/>
                  </a:lnTo>
                  <a:lnTo>
                    <a:pt x="61" y="69"/>
                  </a:lnTo>
                  <a:lnTo>
                    <a:pt x="67" y="81"/>
                  </a:lnTo>
                  <a:lnTo>
                    <a:pt x="75" y="95"/>
                  </a:lnTo>
                  <a:lnTo>
                    <a:pt x="84" y="109"/>
                  </a:lnTo>
                  <a:lnTo>
                    <a:pt x="86" y="117"/>
                  </a:lnTo>
                  <a:lnTo>
                    <a:pt x="89" y="126"/>
                  </a:lnTo>
                  <a:lnTo>
                    <a:pt x="92" y="133"/>
                  </a:lnTo>
                  <a:lnTo>
                    <a:pt x="99" y="140"/>
                  </a:lnTo>
                  <a:lnTo>
                    <a:pt x="106" y="141"/>
                  </a:lnTo>
                  <a:lnTo>
                    <a:pt x="110" y="148"/>
                  </a:lnTo>
                  <a:lnTo>
                    <a:pt x="108" y="153"/>
                  </a:lnTo>
                  <a:lnTo>
                    <a:pt x="106" y="157"/>
                  </a:lnTo>
                  <a:lnTo>
                    <a:pt x="101" y="150"/>
                  </a:lnTo>
                  <a:lnTo>
                    <a:pt x="98" y="145"/>
                  </a:lnTo>
                  <a:lnTo>
                    <a:pt x="86" y="138"/>
                  </a:lnTo>
                  <a:lnTo>
                    <a:pt x="79" y="129"/>
                  </a:lnTo>
                  <a:lnTo>
                    <a:pt x="75" y="128"/>
                  </a:lnTo>
                  <a:lnTo>
                    <a:pt x="74" y="126"/>
                  </a:lnTo>
                  <a:lnTo>
                    <a:pt x="74" y="112"/>
                  </a:lnTo>
                  <a:lnTo>
                    <a:pt x="65" y="104"/>
                  </a:lnTo>
                  <a:lnTo>
                    <a:pt x="58" y="97"/>
                  </a:lnTo>
                  <a:lnTo>
                    <a:pt x="46" y="88"/>
                  </a:lnTo>
                  <a:lnTo>
                    <a:pt x="36" y="83"/>
                  </a:lnTo>
                  <a:lnTo>
                    <a:pt x="43" y="83"/>
                  </a:lnTo>
                  <a:lnTo>
                    <a:pt x="46" y="78"/>
                  </a:lnTo>
                  <a:lnTo>
                    <a:pt x="32" y="62"/>
                  </a:lnTo>
                  <a:lnTo>
                    <a:pt x="20" y="50"/>
                  </a:lnTo>
                  <a:lnTo>
                    <a:pt x="15" y="45"/>
                  </a:lnTo>
                  <a:lnTo>
                    <a:pt x="15" y="38"/>
                  </a:lnTo>
                  <a:lnTo>
                    <a:pt x="13" y="31"/>
                  </a:lnTo>
                  <a:lnTo>
                    <a:pt x="12" y="26"/>
                  </a:lnTo>
                  <a:lnTo>
                    <a:pt x="5" y="14"/>
                  </a:lnTo>
                  <a:lnTo>
                    <a:pt x="0" y="4"/>
                  </a:lnTo>
                  <a:lnTo>
                    <a:pt x="0" y="0"/>
                  </a:lnTo>
                  <a:lnTo>
                    <a:pt x="32" y="0"/>
                  </a:lnTo>
                  <a:lnTo>
                    <a:pt x="87" y="18"/>
                  </a:lnTo>
                  <a:lnTo>
                    <a:pt x="129" y="18"/>
                  </a:lnTo>
                  <a:lnTo>
                    <a:pt x="129" y="11"/>
                  </a:lnTo>
                  <a:lnTo>
                    <a:pt x="139" y="11"/>
                  </a:lnTo>
                  <a:lnTo>
                    <a:pt x="149" y="12"/>
                  </a:lnTo>
                  <a:lnTo>
                    <a:pt x="160" y="18"/>
                  </a:lnTo>
                  <a:lnTo>
                    <a:pt x="166" y="23"/>
                  </a:lnTo>
                  <a:lnTo>
                    <a:pt x="173" y="33"/>
                  </a:lnTo>
                  <a:lnTo>
                    <a:pt x="177" y="38"/>
                  </a:lnTo>
                  <a:lnTo>
                    <a:pt x="182" y="47"/>
                  </a:lnTo>
                  <a:lnTo>
                    <a:pt x="189" y="54"/>
                  </a:lnTo>
                  <a:lnTo>
                    <a:pt x="197" y="57"/>
                  </a:lnTo>
                  <a:lnTo>
                    <a:pt x="201" y="54"/>
                  </a:lnTo>
                  <a:lnTo>
                    <a:pt x="204" y="49"/>
                  </a:lnTo>
                  <a:lnTo>
                    <a:pt x="208" y="43"/>
                  </a:lnTo>
                  <a:lnTo>
                    <a:pt x="215" y="42"/>
                  </a:lnTo>
                  <a:lnTo>
                    <a:pt x="223" y="42"/>
                  </a:lnTo>
                  <a:lnTo>
                    <a:pt x="232" y="47"/>
                  </a:lnTo>
                  <a:lnTo>
                    <a:pt x="237" y="52"/>
                  </a:lnTo>
                  <a:lnTo>
                    <a:pt x="242" y="62"/>
                  </a:lnTo>
                  <a:lnTo>
                    <a:pt x="246" y="71"/>
                  </a:lnTo>
                  <a:lnTo>
                    <a:pt x="249" y="80"/>
                  </a:lnTo>
                  <a:lnTo>
                    <a:pt x="254" y="88"/>
                  </a:lnTo>
                  <a:lnTo>
                    <a:pt x="261" y="97"/>
                  </a:lnTo>
                  <a:lnTo>
                    <a:pt x="270" y="100"/>
                  </a:lnTo>
                  <a:lnTo>
                    <a:pt x="285" y="104"/>
                  </a:lnTo>
                  <a:lnTo>
                    <a:pt x="283" y="100"/>
                  </a:lnTo>
                  <a:lnTo>
                    <a:pt x="283" y="98"/>
                  </a:lnTo>
                  <a:lnTo>
                    <a:pt x="285" y="10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3" name="Freeform 342"/>
            <p:cNvSpPr>
              <a:spLocks/>
            </p:cNvSpPr>
            <p:nvPr/>
          </p:nvSpPr>
          <p:spPr bwMode="auto">
            <a:xfrm>
              <a:off x="2437607" y="2673350"/>
              <a:ext cx="26988" cy="12700"/>
            </a:xfrm>
            <a:custGeom>
              <a:avLst/>
              <a:gdLst/>
              <a:ahLst/>
              <a:cxnLst>
                <a:cxn ang="0">
                  <a:pos x="0" y="0"/>
                </a:cxn>
                <a:cxn ang="0">
                  <a:pos x="10" y="1"/>
                </a:cxn>
                <a:cxn ang="0">
                  <a:pos x="17" y="8"/>
                </a:cxn>
                <a:cxn ang="0">
                  <a:pos x="15" y="8"/>
                </a:cxn>
                <a:cxn ang="0">
                  <a:pos x="13" y="8"/>
                </a:cxn>
                <a:cxn ang="0">
                  <a:pos x="5" y="7"/>
                </a:cxn>
                <a:cxn ang="0">
                  <a:pos x="0" y="3"/>
                </a:cxn>
                <a:cxn ang="0">
                  <a:pos x="0" y="0"/>
                </a:cxn>
              </a:cxnLst>
              <a:rect l="0" t="0" r="r" b="b"/>
              <a:pathLst>
                <a:path w="17" h="8">
                  <a:moveTo>
                    <a:pt x="0" y="0"/>
                  </a:moveTo>
                  <a:lnTo>
                    <a:pt x="10" y="1"/>
                  </a:lnTo>
                  <a:lnTo>
                    <a:pt x="17" y="8"/>
                  </a:lnTo>
                  <a:lnTo>
                    <a:pt x="15" y="8"/>
                  </a:lnTo>
                  <a:lnTo>
                    <a:pt x="13" y="8"/>
                  </a:lnTo>
                  <a:lnTo>
                    <a:pt x="5" y="7"/>
                  </a:lnTo>
                  <a:lnTo>
                    <a:pt x="0" y="3"/>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4" name="Freeform 343"/>
            <p:cNvSpPr>
              <a:spLocks/>
            </p:cNvSpPr>
            <p:nvPr/>
          </p:nvSpPr>
          <p:spPr bwMode="auto">
            <a:xfrm>
              <a:off x="1372394" y="2749550"/>
              <a:ext cx="109538" cy="68262"/>
            </a:xfrm>
            <a:custGeom>
              <a:avLst/>
              <a:gdLst/>
              <a:ahLst/>
              <a:cxnLst>
                <a:cxn ang="0">
                  <a:pos x="0" y="2"/>
                </a:cxn>
                <a:cxn ang="0">
                  <a:pos x="3" y="0"/>
                </a:cxn>
                <a:cxn ang="0">
                  <a:pos x="7" y="0"/>
                </a:cxn>
                <a:cxn ang="0">
                  <a:pos x="14" y="2"/>
                </a:cxn>
                <a:cxn ang="0">
                  <a:pos x="21" y="7"/>
                </a:cxn>
                <a:cxn ang="0">
                  <a:pos x="34" y="12"/>
                </a:cxn>
                <a:cxn ang="0">
                  <a:pos x="46" y="20"/>
                </a:cxn>
                <a:cxn ang="0">
                  <a:pos x="57" y="29"/>
                </a:cxn>
                <a:cxn ang="0">
                  <a:pos x="69" y="39"/>
                </a:cxn>
                <a:cxn ang="0">
                  <a:pos x="69" y="43"/>
                </a:cxn>
                <a:cxn ang="0">
                  <a:pos x="65" y="43"/>
                </a:cxn>
                <a:cxn ang="0">
                  <a:pos x="64" y="43"/>
                </a:cxn>
                <a:cxn ang="0">
                  <a:pos x="53" y="39"/>
                </a:cxn>
                <a:cxn ang="0">
                  <a:pos x="43" y="34"/>
                </a:cxn>
                <a:cxn ang="0">
                  <a:pos x="33" y="27"/>
                </a:cxn>
                <a:cxn ang="0">
                  <a:pos x="26" y="24"/>
                </a:cxn>
                <a:cxn ang="0">
                  <a:pos x="27" y="20"/>
                </a:cxn>
                <a:cxn ang="0">
                  <a:pos x="31" y="19"/>
                </a:cxn>
                <a:cxn ang="0">
                  <a:pos x="22" y="17"/>
                </a:cxn>
                <a:cxn ang="0">
                  <a:pos x="14" y="15"/>
                </a:cxn>
                <a:cxn ang="0">
                  <a:pos x="7" y="12"/>
                </a:cxn>
                <a:cxn ang="0">
                  <a:pos x="5" y="8"/>
                </a:cxn>
                <a:cxn ang="0">
                  <a:pos x="7" y="5"/>
                </a:cxn>
                <a:cxn ang="0">
                  <a:pos x="10" y="3"/>
                </a:cxn>
                <a:cxn ang="0">
                  <a:pos x="3" y="2"/>
                </a:cxn>
                <a:cxn ang="0">
                  <a:pos x="2" y="2"/>
                </a:cxn>
                <a:cxn ang="0">
                  <a:pos x="0" y="2"/>
                </a:cxn>
              </a:cxnLst>
              <a:rect l="0" t="0" r="r" b="b"/>
              <a:pathLst>
                <a:path w="69" h="43">
                  <a:moveTo>
                    <a:pt x="0" y="2"/>
                  </a:moveTo>
                  <a:lnTo>
                    <a:pt x="3" y="0"/>
                  </a:lnTo>
                  <a:lnTo>
                    <a:pt x="7" y="0"/>
                  </a:lnTo>
                  <a:lnTo>
                    <a:pt x="14" y="2"/>
                  </a:lnTo>
                  <a:lnTo>
                    <a:pt x="21" y="7"/>
                  </a:lnTo>
                  <a:lnTo>
                    <a:pt x="34" y="12"/>
                  </a:lnTo>
                  <a:lnTo>
                    <a:pt x="46" y="20"/>
                  </a:lnTo>
                  <a:lnTo>
                    <a:pt x="57" y="29"/>
                  </a:lnTo>
                  <a:lnTo>
                    <a:pt x="69" y="39"/>
                  </a:lnTo>
                  <a:lnTo>
                    <a:pt x="69" y="43"/>
                  </a:lnTo>
                  <a:lnTo>
                    <a:pt x="65" y="43"/>
                  </a:lnTo>
                  <a:lnTo>
                    <a:pt x="64" y="43"/>
                  </a:lnTo>
                  <a:lnTo>
                    <a:pt x="53" y="39"/>
                  </a:lnTo>
                  <a:lnTo>
                    <a:pt x="43" y="34"/>
                  </a:lnTo>
                  <a:lnTo>
                    <a:pt x="33" y="27"/>
                  </a:lnTo>
                  <a:lnTo>
                    <a:pt x="26" y="24"/>
                  </a:lnTo>
                  <a:lnTo>
                    <a:pt x="27" y="20"/>
                  </a:lnTo>
                  <a:lnTo>
                    <a:pt x="31" y="19"/>
                  </a:lnTo>
                  <a:lnTo>
                    <a:pt x="22" y="17"/>
                  </a:lnTo>
                  <a:lnTo>
                    <a:pt x="14" y="15"/>
                  </a:lnTo>
                  <a:lnTo>
                    <a:pt x="7" y="12"/>
                  </a:lnTo>
                  <a:lnTo>
                    <a:pt x="5" y="8"/>
                  </a:lnTo>
                  <a:lnTo>
                    <a:pt x="7" y="5"/>
                  </a:lnTo>
                  <a:lnTo>
                    <a:pt x="10" y="3"/>
                  </a:lnTo>
                  <a:lnTo>
                    <a:pt x="3" y="2"/>
                  </a:lnTo>
                  <a:lnTo>
                    <a:pt x="2" y="2"/>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5" name="Freeform 344"/>
            <p:cNvSpPr>
              <a:spLocks/>
            </p:cNvSpPr>
            <p:nvPr/>
          </p:nvSpPr>
          <p:spPr bwMode="auto">
            <a:xfrm>
              <a:off x="1262857" y="2647950"/>
              <a:ext cx="33338" cy="55562"/>
            </a:xfrm>
            <a:custGeom>
              <a:avLst/>
              <a:gdLst/>
              <a:ahLst/>
              <a:cxnLst>
                <a:cxn ang="0">
                  <a:pos x="7" y="12"/>
                </a:cxn>
                <a:cxn ang="0">
                  <a:pos x="4" y="9"/>
                </a:cxn>
                <a:cxn ang="0">
                  <a:pos x="0" y="4"/>
                </a:cxn>
                <a:cxn ang="0">
                  <a:pos x="0" y="0"/>
                </a:cxn>
                <a:cxn ang="0">
                  <a:pos x="5" y="0"/>
                </a:cxn>
                <a:cxn ang="0">
                  <a:pos x="12" y="4"/>
                </a:cxn>
                <a:cxn ang="0">
                  <a:pos x="9" y="5"/>
                </a:cxn>
                <a:cxn ang="0">
                  <a:pos x="9" y="9"/>
                </a:cxn>
                <a:cxn ang="0">
                  <a:pos x="14" y="5"/>
                </a:cxn>
                <a:cxn ang="0">
                  <a:pos x="16" y="2"/>
                </a:cxn>
                <a:cxn ang="0">
                  <a:pos x="16" y="7"/>
                </a:cxn>
                <a:cxn ang="0">
                  <a:pos x="16" y="14"/>
                </a:cxn>
                <a:cxn ang="0">
                  <a:pos x="17" y="16"/>
                </a:cxn>
                <a:cxn ang="0">
                  <a:pos x="19" y="19"/>
                </a:cxn>
                <a:cxn ang="0">
                  <a:pos x="17" y="21"/>
                </a:cxn>
                <a:cxn ang="0">
                  <a:pos x="16" y="24"/>
                </a:cxn>
                <a:cxn ang="0">
                  <a:pos x="19" y="29"/>
                </a:cxn>
                <a:cxn ang="0">
                  <a:pos x="21" y="35"/>
                </a:cxn>
                <a:cxn ang="0">
                  <a:pos x="14" y="31"/>
                </a:cxn>
                <a:cxn ang="0">
                  <a:pos x="14" y="24"/>
                </a:cxn>
                <a:cxn ang="0">
                  <a:pos x="14" y="21"/>
                </a:cxn>
                <a:cxn ang="0">
                  <a:pos x="16" y="19"/>
                </a:cxn>
                <a:cxn ang="0">
                  <a:pos x="10" y="14"/>
                </a:cxn>
                <a:cxn ang="0">
                  <a:pos x="7" y="12"/>
                </a:cxn>
              </a:cxnLst>
              <a:rect l="0" t="0" r="r" b="b"/>
              <a:pathLst>
                <a:path w="21" h="35">
                  <a:moveTo>
                    <a:pt x="7" y="12"/>
                  </a:moveTo>
                  <a:lnTo>
                    <a:pt x="4" y="9"/>
                  </a:lnTo>
                  <a:lnTo>
                    <a:pt x="0" y="4"/>
                  </a:lnTo>
                  <a:lnTo>
                    <a:pt x="0" y="0"/>
                  </a:lnTo>
                  <a:lnTo>
                    <a:pt x="5" y="0"/>
                  </a:lnTo>
                  <a:lnTo>
                    <a:pt x="12" y="4"/>
                  </a:lnTo>
                  <a:lnTo>
                    <a:pt x="9" y="5"/>
                  </a:lnTo>
                  <a:lnTo>
                    <a:pt x="9" y="9"/>
                  </a:lnTo>
                  <a:lnTo>
                    <a:pt x="14" y="5"/>
                  </a:lnTo>
                  <a:lnTo>
                    <a:pt x="16" y="2"/>
                  </a:lnTo>
                  <a:lnTo>
                    <a:pt x="16" y="7"/>
                  </a:lnTo>
                  <a:lnTo>
                    <a:pt x="16" y="14"/>
                  </a:lnTo>
                  <a:lnTo>
                    <a:pt x="17" y="16"/>
                  </a:lnTo>
                  <a:lnTo>
                    <a:pt x="19" y="19"/>
                  </a:lnTo>
                  <a:lnTo>
                    <a:pt x="17" y="21"/>
                  </a:lnTo>
                  <a:lnTo>
                    <a:pt x="16" y="24"/>
                  </a:lnTo>
                  <a:lnTo>
                    <a:pt x="19" y="29"/>
                  </a:lnTo>
                  <a:lnTo>
                    <a:pt x="21" y="35"/>
                  </a:lnTo>
                  <a:lnTo>
                    <a:pt x="14" y="31"/>
                  </a:lnTo>
                  <a:lnTo>
                    <a:pt x="14" y="24"/>
                  </a:lnTo>
                  <a:lnTo>
                    <a:pt x="14" y="21"/>
                  </a:lnTo>
                  <a:lnTo>
                    <a:pt x="16" y="19"/>
                  </a:lnTo>
                  <a:lnTo>
                    <a:pt x="10" y="14"/>
                  </a:lnTo>
                  <a:lnTo>
                    <a:pt x="7"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6" name="Freeform 345"/>
            <p:cNvSpPr>
              <a:spLocks/>
            </p:cNvSpPr>
            <p:nvPr/>
          </p:nvSpPr>
          <p:spPr bwMode="auto">
            <a:xfrm>
              <a:off x="772319" y="2525713"/>
              <a:ext cx="47625" cy="31750"/>
            </a:xfrm>
            <a:custGeom>
              <a:avLst/>
              <a:gdLst/>
              <a:ahLst/>
              <a:cxnLst>
                <a:cxn ang="0">
                  <a:pos x="24" y="0"/>
                </a:cxn>
                <a:cxn ang="0">
                  <a:pos x="27" y="0"/>
                </a:cxn>
                <a:cxn ang="0">
                  <a:pos x="30" y="0"/>
                </a:cxn>
                <a:cxn ang="0">
                  <a:pos x="30" y="7"/>
                </a:cxn>
                <a:cxn ang="0">
                  <a:pos x="20" y="12"/>
                </a:cxn>
                <a:cxn ang="0">
                  <a:pos x="10" y="20"/>
                </a:cxn>
                <a:cxn ang="0">
                  <a:pos x="5" y="15"/>
                </a:cxn>
                <a:cxn ang="0">
                  <a:pos x="0" y="14"/>
                </a:cxn>
                <a:cxn ang="0">
                  <a:pos x="0" y="7"/>
                </a:cxn>
                <a:cxn ang="0">
                  <a:pos x="12" y="2"/>
                </a:cxn>
                <a:cxn ang="0">
                  <a:pos x="24" y="0"/>
                </a:cxn>
              </a:cxnLst>
              <a:rect l="0" t="0" r="r" b="b"/>
              <a:pathLst>
                <a:path w="30" h="20">
                  <a:moveTo>
                    <a:pt x="24" y="0"/>
                  </a:moveTo>
                  <a:lnTo>
                    <a:pt x="27" y="0"/>
                  </a:lnTo>
                  <a:lnTo>
                    <a:pt x="30" y="0"/>
                  </a:lnTo>
                  <a:lnTo>
                    <a:pt x="30" y="7"/>
                  </a:lnTo>
                  <a:lnTo>
                    <a:pt x="20" y="12"/>
                  </a:lnTo>
                  <a:lnTo>
                    <a:pt x="10" y="20"/>
                  </a:lnTo>
                  <a:lnTo>
                    <a:pt x="5" y="15"/>
                  </a:lnTo>
                  <a:lnTo>
                    <a:pt x="0" y="14"/>
                  </a:lnTo>
                  <a:lnTo>
                    <a:pt x="0" y="7"/>
                  </a:lnTo>
                  <a:lnTo>
                    <a:pt x="12" y="2"/>
                  </a:lnTo>
                  <a:lnTo>
                    <a:pt x="2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7" name="Freeform 346"/>
            <p:cNvSpPr>
              <a:spLocks/>
            </p:cNvSpPr>
            <p:nvPr/>
          </p:nvSpPr>
          <p:spPr bwMode="auto">
            <a:xfrm>
              <a:off x="4596607" y="3098800"/>
              <a:ext cx="63500" cy="38100"/>
            </a:xfrm>
            <a:custGeom>
              <a:avLst/>
              <a:gdLst/>
              <a:ahLst/>
              <a:cxnLst>
                <a:cxn ang="0">
                  <a:pos x="0" y="2"/>
                </a:cxn>
                <a:cxn ang="0">
                  <a:pos x="0" y="5"/>
                </a:cxn>
                <a:cxn ang="0">
                  <a:pos x="4" y="7"/>
                </a:cxn>
                <a:cxn ang="0">
                  <a:pos x="9" y="8"/>
                </a:cxn>
                <a:cxn ang="0">
                  <a:pos x="19" y="14"/>
                </a:cxn>
                <a:cxn ang="0">
                  <a:pos x="31" y="22"/>
                </a:cxn>
                <a:cxn ang="0">
                  <a:pos x="33" y="22"/>
                </a:cxn>
                <a:cxn ang="0">
                  <a:pos x="35" y="24"/>
                </a:cxn>
                <a:cxn ang="0">
                  <a:pos x="36" y="22"/>
                </a:cxn>
                <a:cxn ang="0">
                  <a:pos x="38" y="21"/>
                </a:cxn>
                <a:cxn ang="0">
                  <a:pos x="36" y="15"/>
                </a:cxn>
                <a:cxn ang="0">
                  <a:pos x="36" y="12"/>
                </a:cxn>
                <a:cxn ang="0">
                  <a:pos x="36" y="8"/>
                </a:cxn>
                <a:cxn ang="0">
                  <a:pos x="38" y="7"/>
                </a:cxn>
                <a:cxn ang="0">
                  <a:pos x="40" y="0"/>
                </a:cxn>
                <a:cxn ang="0">
                  <a:pos x="31" y="2"/>
                </a:cxn>
                <a:cxn ang="0">
                  <a:pos x="22" y="3"/>
                </a:cxn>
                <a:cxn ang="0">
                  <a:pos x="12" y="0"/>
                </a:cxn>
                <a:cxn ang="0">
                  <a:pos x="0" y="2"/>
                </a:cxn>
              </a:cxnLst>
              <a:rect l="0" t="0" r="r" b="b"/>
              <a:pathLst>
                <a:path w="40" h="24">
                  <a:moveTo>
                    <a:pt x="0" y="2"/>
                  </a:moveTo>
                  <a:lnTo>
                    <a:pt x="0" y="5"/>
                  </a:lnTo>
                  <a:lnTo>
                    <a:pt x="4" y="7"/>
                  </a:lnTo>
                  <a:lnTo>
                    <a:pt x="9" y="8"/>
                  </a:lnTo>
                  <a:lnTo>
                    <a:pt x="19" y="14"/>
                  </a:lnTo>
                  <a:lnTo>
                    <a:pt x="31" y="22"/>
                  </a:lnTo>
                  <a:lnTo>
                    <a:pt x="33" y="22"/>
                  </a:lnTo>
                  <a:lnTo>
                    <a:pt x="35" y="24"/>
                  </a:lnTo>
                  <a:lnTo>
                    <a:pt x="36" y="22"/>
                  </a:lnTo>
                  <a:lnTo>
                    <a:pt x="38" y="21"/>
                  </a:lnTo>
                  <a:lnTo>
                    <a:pt x="36" y="15"/>
                  </a:lnTo>
                  <a:lnTo>
                    <a:pt x="36" y="12"/>
                  </a:lnTo>
                  <a:lnTo>
                    <a:pt x="36" y="8"/>
                  </a:lnTo>
                  <a:lnTo>
                    <a:pt x="38" y="7"/>
                  </a:lnTo>
                  <a:lnTo>
                    <a:pt x="40" y="0"/>
                  </a:lnTo>
                  <a:lnTo>
                    <a:pt x="31" y="2"/>
                  </a:lnTo>
                  <a:lnTo>
                    <a:pt x="22" y="3"/>
                  </a:lnTo>
                  <a:lnTo>
                    <a:pt x="12" y="0"/>
                  </a:lnTo>
                  <a:lnTo>
                    <a:pt x="0"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8" name="Freeform 347"/>
            <p:cNvSpPr>
              <a:spLocks/>
            </p:cNvSpPr>
            <p:nvPr/>
          </p:nvSpPr>
          <p:spPr bwMode="auto">
            <a:xfrm>
              <a:off x="4509294" y="2967038"/>
              <a:ext cx="22225" cy="41275"/>
            </a:xfrm>
            <a:custGeom>
              <a:avLst/>
              <a:gdLst/>
              <a:ahLst/>
              <a:cxnLst>
                <a:cxn ang="0">
                  <a:pos x="4" y="6"/>
                </a:cxn>
                <a:cxn ang="0">
                  <a:pos x="7" y="2"/>
                </a:cxn>
                <a:cxn ang="0">
                  <a:pos x="12" y="0"/>
                </a:cxn>
                <a:cxn ang="0">
                  <a:pos x="12" y="4"/>
                </a:cxn>
                <a:cxn ang="0">
                  <a:pos x="14" y="7"/>
                </a:cxn>
                <a:cxn ang="0">
                  <a:pos x="10" y="18"/>
                </a:cxn>
                <a:cxn ang="0">
                  <a:pos x="10" y="26"/>
                </a:cxn>
                <a:cxn ang="0">
                  <a:pos x="5" y="23"/>
                </a:cxn>
                <a:cxn ang="0">
                  <a:pos x="4" y="18"/>
                </a:cxn>
                <a:cxn ang="0">
                  <a:pos x="2" y="11"/>
                </a:cxn>
                <a:cxn ang="0">
                  <a:pos x="0" y="7"/>
                </a:cxn>
                <a:cxn ang="0">
                  <a:pos x="2" y="6"/>
                </a:cxn>
                <a:cxn ang="0">
                  <a:pos x="4" y="6"/>
                </a:cxn>
              </a:cxnLst>
              <a:rect l="0" t="0" r="r" b="b"/>
              <a:pathLst>
                <a:path w="14" h="26">
                  <a:moveTo>
                    <a:pt x="4" y="6"/>
                  </a:moveTo>
                  <a:lnTo>
                    <a:pt x="7" y="2"/>
                  </a:lnTo>
                  <a:lnTo>
                    <a:pt x="12" y="0"/>
                  </a:lnTo>
                  <a:lnTo>
                    <a:pt x="12" y="4"/>
                  </a:lnTo>
                  <a:lnTo>
                    <a:pt x="14" y="7"/>
                  </a:lnTo>
                  <a:lnTo>
                    <a:pt x="10" y="18"/>
                  </a:lnTo>
                  <a:lnTo>
                    <a:pt x="10" y="26"/>
                  </a:lnTo>
                  <a:lnTo>
                    <a:pt x="5" y="23"/>
                  </a:lnTo>
                  <a:lnTo>
                    <a:pt x="4" y="18"/>
                  </a:lnTo>
                  <a:lnTo>
                    <a:pt x="2" y="11"/>
                  </a:lnTo>
                  <a:lnTo>
                    <a:pt x="0" y="7"/>
                  </a:lnTo>
                  <a:lnTo>
                    <a:pt x="2" y="6"/>
                  </a:lnTo>
                  <a:lnTo>
                    <a:pt x="4" y="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79" name="Freeform 348"/>
            <p:cNvSpPr>
              <a:spLocks/>
            </p:cNvSpPr>
            <p:nvPr/>
          </p:nvSpPr>
          <p:spPr bwMode="auto">
            <a:xfrm>
              <a:off x="4504532" y="3016250"/>
              <a:ext cx="31750" cy="60325"/>
            </a:xfrm>
            <a:custGeom>
              <a:avLst/>
              <a:gdLst/>
              <a:ahLst/>
              <a:cxnLst>
                <a:cxn ang="0">
                  <a:pos x="5" y="17"/>
                </a:cxn>
                <a:cxn ang="0">
                  <a:pos x="1" y="11"/>
                </a:cxn>
                <a:cxn ang="0">
                  <a:pos x="0" y="5"/>
                </a:cxn>
                <a:cxn ang="0">
                  <a:pos x="5" y="2"/>
                </a:cxn>
                <a:cxn ang="0">
                  <a:pos x="10" y="0"/>
                </a:cxn>
                <a:cxn ang="0">
                  <a:pos x="13" y="0"/>
                </a:cxn>
                <a:cxn ang="0">
                  <a:pos x="17" y="2"/>
                </a:cxn>
                <a:cxn ang="0">
                  <a:pos x="20" y="12"/>
                </a:cxn>
                <a:cxn ang="0">
                  <a:pos x="20" y="23"/>
                </a:cxn>
                <a:cxn ang="0">
                  <a:pos x="15" y="33"/>
                </a:cxn>
                <a:cxn ang="0">
                  <a:pos x="7" y="38"/>
                </a:cxn>
                <a:cxn ang="0">
                  <a:pos x="1" y="33"/>
                </a:cxn>
                <a:cxn ang="0">
                  <a:pos x="1" y="26"/>
                </a:cxn>
                <a:cxn ang="0">
                  <a:pos x="3" y="21"/>
                </a:cxn>
                <a:cxn ang="0">
                  <a:pos x="5" y="17"/>
                </a:cxn>
              </a:cxnLst>
              <a:rect l="0" t="0" r="r" b="b"/>
              <a:pathLst>
                <a:path w="20" h="38">
                  <a:moveTo>
                    <a:pt x="5" y="17"/>
                  </a:moveTo>
                  <a:lnTo>
                    <a:pt x="1" y="11"/>
                  </a:lnTo>
                  <a:lnTo>
                    <a:pt x="0" y="5"/>
                  </a:lnTo>
                  <a:lnTo>
                    <a:pt x="5" y="2"/>
                  </a:lnTo>
                  <a:lnTo>
                    <a:pt x="10" y="0"/>
                  </a:lnTo>
                  <a:lnTo>
                    <a:pt x="13" y="0"/>
                  </a:lnTo>
                  <a:lnTo>
                    <a:pt x="17" y="2"/>
                  </a:lnTo>
                  <a:lnTo>
                    <a:pt x="20" y="12"/>
                  </a:lnTo>
                  <a:lnTo>
                    <a:pt x="20" y="23"/>
                  </a:lnTo>
                  <a:lnTo>
                    <a:pt x="15" y="33"/>
                  </a:lnTo>
                  <a:lnTo>
                    <a:pt x="7" y="38"/>
                  </a:lnTo>
                  <a:lnTo>
                    <a:pt x="1" y="33"/>
                  </a:lnTo>
                  <a:lnTo>
                    <a:pt x="1" y="26"/>
                  </a:lnTo>
                  <a:lnTo>
                    <a:pt x="3" y="21"/>
                  </a:lnTo>
                  <a:lnTo>
                    <a:pt x="5"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0" name="Freeform 349"/>
            <p:cNvSpPr>
              <a:spLocks/>
            </p:cNvSpPr>
            <p:nvPr/>
          </p:nvSpPr>
          <p:spPr bwMode="auto">
            <a:xfrm>
              <a:off x="4375944" y="3052763"/>
              <a:ext cx="15875" cy="12700"/>
            </a:xfrm>
            <a:custGeom>
              <a:avLst/>
              <a:gdLst/>
              <a:ahLst/>
              <a:cxnLst>
                <a:cxn ang="0">
                  <a:pos x="10" y="5"/>
                </a:cxn>
                <a:cxn ang="0">
                  <a:pos x="7" y="7"/>
                </a:cxn>
                <a:cxn ang="0">
                  <a:pos x="5" y="8"/>
                </a:cxn>
                <a:cxn ang="0">
                  <a:pos x="2" y="5"/>
                </a:cxn>
                <a:cxn ang="0">
                  <a:pos x="0" y="3"/>
                </a:cxn>
                <a:cxn ang="0">
                  <a:pos x="3" y="0"/>
                </a:cxn>
                <a:cxn ang="0">
                  <a:pos x="7" y="0"/>
                </a:cxn>
                <a:cxn ang="0">
                  <a:pos x="8" y="1"/>
                </a:cxn>
                <a:cxn ang="0">
                  <a:pos x="10" y="5"/>
                </a:cxn>
              </a:cxnLst>
              <a:rect l="0" t="0" r="r" b="b"/>
              <a:pathLst>
                <a:path w="10" h="8">
                  <a:moveTo>
                    <a:pt x="10" y="5"/>
                  </a:moveTo>
                  <a:lnTo>
                    <a:pt x="7" y="7"/>
                  </a:lnTo>
                  <a:lnTo>
                    <a:pt x="5" y="8"/>
                  </a:lnTo>
                  <a:lnTo>
                    <a:pt x="2" y="5"/>
                  </a:lnTo>
                  <a:lnTo>
                    <a:pt x="0" y="3"/>
                  </a:lnTo>
                  <a:lnTo>
                    <a:pt x="3" y="0"/>
                  </a:lnTo>
                  <a:lnTo>
                    <a:pt x="7" y="0"/>
                  </a:lnTo>
                  <a:lnTo>
                    <a:pt x="8" y="1"/>
                  </a:lnTo>
                  <a:lnTo>
                    <a:pt x="10"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1" name="Freeform 350"/>
            <p:cNvSpPr>
              <a:spLocks/>
            </p:cNvSpPr>
            <p:nvPr/>
          </p:nvSpPr>
          <p:spPr bwMode="auto">
            <a:xfrm>
              <a:off x="4542632" y="2587625"/>
              <a:ext cx="19050" cy="25400"/>
            </a:xfrm>
            <a:custGeom>
              <a:avLst/>
              <a:gdLst/>
              <a:ahLst/>
              <a:cxnLst>
                <a:cxn ang="0">
                  <a:pos x="10" y="12"/>
                </a:cxn>
                <a:cxn ang="0">
                  <a:pos x="1" y="11"/>
                </a:cxn>
                <a:cxn ang="0">
                  <a:pos x="0" y="5"/>
                </a:cxn>
                <a:cxn ang="0">
                  <a:pos x="0" y="2"/>
                </a:cxn>
                <a:cxn ang="0">
                  <a:pos x="0" y="0"/>
                </a:cxn>
                <a:cxn ang="0">
                  <a:pos x="8" y="0"/>
                </a:cxn>
                <a:cxn ang="0">
                  <a:pos x="10" y="5"/>
                </a:cxn>
                <a:cxn ang="0">
                  <a:pos x="12" y="11"/>
                </a:cxn>
                <a:cxn ang="0">
                  <a:pos x="10" y="14"/>
                </a:cxn>
                <a:cxn ang="0">
                  <a:pos x="10" y="16"/>
                </a:cxn>
                <a:cxn ang="0">
                  <a:pos x="10" y="14"/>
                </a:cxn>
                <a:cxn ang="0">
                  <a:pos x="10" y="12"/>
                </a:cxn>
              </a:cxnLst>
              <a:rect l="0" t="0" r="r" b="b"/>
              <a:pathLst>
                <a:path w="12" h="16">
                  <a:moveTo>
                    <a:pt x="10" y="12"/>
                  </a:moveTo>
                  <a:lnTo>
                    <a:pt x="1" y="11"/>
                  </a:lnTo>
                  <a:lnTo>
                    <a:pt x="0" y="5"/>
                  </a:lnTo>
                  <a:lnTo>
                    <a:pt x="0" y="2"/>
                  </a:lnTo>
                  <a:lnTo>
                    <a:pt x="0" y="0"/>
                  </a:lnTo>
                  <a:lnTo>
                    <a:pt x="8" y="0"/>
                  </a:lnTo>
                  <a:lnTo>
                    <a:pt x="10" y="5"/>
                  </a:lnTo>
                  <a:lnTo>
                    <a:pt x="12" y="11"/>
                  </a:lnTo>
                  <a:lnTo>
                    <a:pt x="10" y="14"/>
                  </a:lnTo>
                  <a:lnTo>
                    <a:pt x="10" y="16"/>
                  </a:lnTo>
                  <a:lnTo>
                    <a:pt x="10" y="14"/>
                  </a:lnTo>
                  <a:lnTo>
                    <a:pt x="10"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2" name="Freeform 351"/>
            <p:cNvSpPr>
              <a:spLocks/>
            </p:cNvSpPr>
            <p:nvPr/>
          </p:nvSpPr>
          <p:spPr bwMode="auto">
            <a:xfrm>
              <a:off x="4566444" y="2566988"/>
              <a:ext cx="36513" cy="50800"/>
            </a:xfrm>
            <a:custGeom>
              <a:avLst/>
              <a:gdLst/>
              <a:ahLst/>
              <a:cxnLst>
                <a:cxn ang="0">
                  <a:pos x="4" y="29"/>
                </a:cxn>
                <a:cxn ang="0">
                  <a:pos x="7" y="25"/>
                </a:cxn>
                <a:cxn ang="0">
                  <a:pos x="11" y="22"/>
                </a:cxn>
                <a:cxn ang="0">
                  <a:pos x="2" y="18"/>
                </a:cxn>
                <a:cxn ang="0">
                  <a:pos x="0" y="15"/>
                </a:cxn>
                <a:cxn ang="0">
                  <a:pos x="2" y="5"/>
                </a:cxn>
                <a:cxn ang="0">
                  <a:pos x="9" y="0"/>
                </a:cxn>
                <a:cxn ang="0">
                  <a:pos x="17" y="1"/>
                </a:cxn>
                <a:cxn ang="0">
                  <a:pos x="23" y="12"/>
                </a:cxn>
                <a:cxn ang="0">
                  <a:pos x="17" y="15"/>
                </a:cxn>
                <a:cxn ang="0">
                  <a:pos x="16" y="22"/>
                </a:cxn>
                <a:cxn ang="0">
                  <a:pos x="12" y="29"/>
                </a:cxn>
                <a:cxn ang="0">
                  <a:pos x="7" y="32"/>
                </a:cxn>
                <a:cxn ang="0">
                  <a:pos x="2" y="31"/>
                </a:cxn>
                <a:cxn ang="0">
                  <a:pos x="0" y="29"/>
                </a:cxn>
                <a:cxn ang="0">
                  <a:pos x="0" y="27"/>
                </a:cxn>
                <a:cxn ang="0">
                  <a:pos x="2" y="27"/>
                </a:cxn>
                <a:cxn ang="0">
                  <a:pos x="4" y="29"/>
                </a:cxn>
              </a:cxnLst>
              <a:rect l="0" t="0" r="r" b="b"/>
              <a:pathLst>
                <a:path w="23" h="32">
                  <a:moveTo>
                    <a:pt x="4" y="29"/>
                  </a:moveTo>
                  <a:lnTo>
                    <a:pt x="7" y="25"/>
                  </a:lnTo>
                  <a:lnTo>
                    <a:pt x="11" y="22"/>
                  </a:lnTo>
                  <a:lnTo>
                    <a:pt x="2" y="18"/>
                  </a:lnTo>
                  <a:lnTo>
                    <a:pt x="0" y="15"/>
                  </a:lnTo>
                  <a:lnTo>
                    <a:pt x="2" y="5"/>
                  </a:lnTo>
                  <a:lnTo>
                    <a:pt x="9" y="0"/>
                  </a:lnTo>
                  <a:lnTo>
                    <a:pt x="17" y="1"/>
                  </a:lnTo>
                  <a:lnTo>
                    <a:pt x="23" y="12"/>
                  </a:lnTo>
                  <a:lnTo>
                    <a:pt x="17" y="15"/>
                  </a:lnTo>
                  <a:lnTo>
                    <a:pt x="16" y="22"/>
                  </a:lnTo>
                  <a:lnTo>
                    <a:pt x="12" y="29"/>
                  </a:lnTo>
                  <a:lnTo>
                    <a:pt x="7" y="32"/>
                  </a:lnTo>
                  <a:lnTo>
                    <a:pt x="2" y="31"/>
                  </a:lnTo>
                  <a:lnTo>
                    <a:pt x="0" y="29"/>
                  </a:lnTo>
                  <a:lnTo>
                    <a:pt x="0" y="27"/>
                  </a:lnTo>
                  <a:lnTo>
                    <a:pt x="2" y="27"/>
                  </a:lnTo>
                  <a:lnTo>
                    <a:pt x="4" y="29"/>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3" name="Freeform 352"/>
            <p:cNvSpPr>
              <a:spLocks/>
            </p:cNvSpPr>
            <p:nvPr/>
          </p:nvSpPr>
          <p:spPr bwMode="auto">
            <a:xfrm>
              <a:off x="4725194" y="2506663"/>
              <a:ext cx="19050" cy="30162"/>
            </a:xfrm>
            <a:custGeom>
              <a:avLst/>
              <a:gdLst/>
              <a:ahLst/>
              <a:cxnLst>
                <a:cxn ang="0">
                  <a:pos x="9" y="7"/>
                </a:cxn>
                <a:cxn ang="0">
                  <a:pos x="5" y="12"/>
                </a:cxn>
                <a:cxn ang="0">
                  <a:pos x="2" y="19"/>
                </a:cxn>
                <a:cxn ang="0">
                  <a:pos x="0" y="15"/>
                </a:cxn>
                <a:cxn ang="0">
                  <a:pos x="2" y="14"/>
                </a:cxn>
                <a:cxn ang="0">
                  <a:pos x="3" y="5"/>
                </a:cxn>
                <a:cxn ang="0">
                  <a:pos x="12" y="0"/>
                </a:cxn>
                <a:cxn ang="0">
                  <a:pos x="10" y="3"/>
                </a:cxn>
                <a:cxn ang="0">
                  <a:pos x="9" y="7"/>
                </a:cxn>
              </a:cxnLst>
              <a:rect l="0" t="0" r="r" b="b"/>
              <a:pathLst>
                <a:path w="12" h="19">
                  <a:moveTo>
                    <a:pt x="9" y="7"/>
                  </a:moveTo>
                  <a:lnTo>
                    <a:pt x="5" y="12"/>
                  </a:lnTo>
                  <a:lnTo>
                    <a:pt x="2" y="19"/>
                  </a:lnTo>
                  <a:lnTo>
                    <a:pt x="0" y="15"/>
                  </a:lnTo>
                  <a:lnTo>
                    <a:pt x="2" y="14"/>
                  </a:lnTo>
                  <a:lnTo>
                    <a:pt x="3" y="5"/>
                  </a:lnTo>
                  <a:lnTo>
                    <a:pt x="12" y="0"/>
                  </a:lnTo>
                  <a:lnTo>
                    <a:pt x="10" y="3"/>
                  </a:lnTo>
                  <a:lnTo>
                    <a:pt x="9"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4" name="Freeform 353"/>
            <p:cNvSpPr>
              <a:spLocks/>
            </p:cNvSpPr>
            <p:nvPr/>
          </p:nvSpPr>
          <p:spPr bwMode="auto">
            <a:xfrm>
              <a:off x="4809332" y="2465388"/>
              <a:ext cx="26988" cy="38100"/>
            </a:xfrm>
            <a:custGeom>
              <a:avLst/>
              <a:gdLst/>
              <a:ahLst/>
              <a:cxnLst>
                <a:cxn ang="0">
                  <a:pos x="14" y="12"/>
                </a:cxn>
                <a:cxn ang="0">
                  <a:pos x="14" y="15"/>
                </a:cxn>
                <a:cxn ang="0">
                  <a:pos x="14" y="19"/>
                </a:cxn>
                <a:cxn ang="0">
                  <a:pos x="9" y="21"/>
                </a:cxn>
                <a:cxn ang="0">
                  <a:pos x="5" y="24"/>
                </a:cxn>
                <a:cxn ang="0">
                  <a:pos x="0" y="21"/>
                </a:cxn>
                <a:cxn ang="0">
                  <a:pos x="0" y="15"/>
                </a:cxn>
                <a:cxn ang="0">
                  <a:pos x="5" y="14"/>
                </a:cxn>
                <a:cxn ang="0">
                  <a:pos x="11" y="12"/>
                </a:cxn>
                <a:cxn ang="0">
                  <a:pos x="9" y="9"/>
                </a:cxn>
                <a:cxn ang="0">
                  <a:pos x="7" y="5"/>
                </a:cxn>
                <a:cxn ang="0">
                  <a:pos x="9" y="2"/>
                </a:cxn>
                <a:cxn ang="0">
                  <a:pos x="12" y="0"/>
                </a:cxn>
                <a:cxn ang="0">
                  <a:pos x="14" y="3"/>
                </a:cxn>
                <a:cxn ang="0">
                  <a:pos x="17" y="5"/>
                </a:cxn>
                <a:cxn ang="0">
                  <a:pos x="16" y="9"/>
                </a:cxn>
                <a:cxn ang="0">
                  <a:pos x="14" y="12"/>
                </a:cxn>
              </a:cxnLst>
              <a:rect l="0" t="0" r="r" b="b"/>
              <a:pathLst>
                <a:path w="17" h="24">
                  <a:moveTo>
                    <a:pt x="14" y="12"/>
                  </a:moveTo>
                  <a:lnTo>
                    <a:pt x="14" y="15"/>
                  </a:lnTo>
                  <a:lnTo>
                    <a:pt x="14" y="19"/>
                  </a:lnTo>
                  <a:lnTo>
                    <a:pt x="9" y="21"/>
                  </a:lnTo>
                  <a:lnTo>
                    <a:pt x="5" y="24"/>
                  </a:lnTo>
                  <a:lnTo>
                    <a:pt x="0" y="21"/>
                  </a:lnTo>
                  <a:lnTo>
                    <a:pt x="0" y="15"/>
                  </a:lnTo>
                  <a:lnTo>
                    <a:pt x="5" y="14"/>
                  </a:lnTo>
                  <a:lnTo>
                    <a:pt x="11" y="12"/>
                  </a:lnTo>
                  <a:lnTo>
                    <a:pt x="9" y="9"/>
                  </a:lnTo>
                  <a:lnTo>
                    <a:pt x="7" y="5"/>
                  </a:lnTo>
                  <a:lnTo>
                    <a:pt x="9" y="2"/>
                  </a:lnTo>
                  <a:lnTo>
                    <a:pt x="12" y="0"/>
                  </a:lnTo>
                  <a:lnTo>
                    <a:pt x="14" y="3"/>
                  </a:lnTo>
                  <a:lnTo>
                    <a:pt x="17" y="5"/>
                  </a:lnTo>
                  <a:lnTo>
                    <a:pt x="16" y="9"/>
                  </a:lnTo>
                  <a:lnTo>
                    <a:pt x="14" y="1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5" name="Freeform 354"/>
            <p:cNvSpPr>
              <a:spLocks/>
            </p:cNvSpPr>
            <p:nvPr/>
          </p:nvSpPr>
          <p:spPr bwMode="auto">
            <a:xfrm>
              <a:off x="4858544" y="3170238"/>
              <a:ext cx="52388" cy="7937"/>
            </a:xfrm>
            <a:custGeom>
              <a:avLst/>
              <a:gdLst/>
              <a:ahLst/>
              <a:cxnLst>
                <a:cxn ang="0">
                  <a:pos x="33" y="5"/>
                </a:cxn>
                <a:cxn ang="0">
                  <a:pos x="24" y="5"/>
                </a:cxn>
                <a:cxn ang="0">
                  <a:pos x="19" y="5"/>
                </a:cxn>
                <a:cxn ang="0">
                  <a:pos x="11" y="3"/>
                </a:cxn>
                <a:cxn ang="0">
                  <a:pos x="0" y="1"/>
                </a:cxn>
                <a:cxn ang="0">
                  <a:pos x="17" y="0"/>
                </a:cxn>
                <a:cxn ang="0">
                  <a:pos x="33" y="5"/>
                </a:cxn>
              </a:cxnLst>
              <a:rect l="0" t="0" r="r" b="b"/>
              <a:pathLst>
                <a:path w="33" h="5">
                  <a:moveTo>
                    <a:pt x="33" y="5"/>
                  </a:moveTo>
                  <a:lnTo>
                    <a:pt x="24" y="5"/>
                  </a:lnTo>
                  <a:lnTo>
                    <a:pt x="19" y="5"/>
                  </a:lnTo>
                  <a:lnTo>
                    <a:pt x="11" y="3"/>
                  </a:lnTo>
                  <a:lnTo>
                    <a:pt x="0" y="1"/>
                  </a:lnTo>
                  <a:lnTo>
                    <a:pt x="17" y="0"/>
                  </a:lnTo>
                  <a:lnTo>
                    <a:pt x="3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6" name="Freeform 355"/>
            <p:cNvSpPr>
              <a:spLocks/>
            </p:cNvSpPr>
            <p:nvPr/>
          </p:nvSpPr>
          <p:spPr bwMode="auto">
            <a:xfrm>
              <a:off x="5052219" y="3160713"/>
              <a:ext cx="49213" cy="25400"/>
            </a:xfrm>
            <a:custGeom>
              <a:avLst/>
              <a:gdLst/>
              <a:ahLst/>
              <a:cxnLst>
                <a:cxn ang="0">
                  <a:pos x="7" y="16"/>
                </a:cxn>
                <a:cxn ang="0">
                  <a:pos x="4" y="14"/>
                </a:cxn>
                <a:cxn ang="0">
                  <a:pos x="0" y="12"/>
                </a:cxn>
                <a:cxn ang="0">
                  <a:pos x="0" y="11"/>
                </a:cxn>
                <a:cxn ang="0">
                  <a:pos x="14" y="4"/>
                </a:cxn>
                <a:cxn ang="0">
                  <a:pos x="31" y="0"/>
                </a:cxn>
                <a:cxn ang="0">
                  <a:pos x="28" y="4"/>
                </a:cxn>
                <a:cxn ang="0">
                  <a:pos x="24" y="6"/>
                </a:cxn>
                <a:cxn ang="0">
                  <a:pos x="23" y="7"/>
                </a:cxn>
                <a:cxn ang="0">
                  <a:pos x="23" y="11"/>
                </a:cxn>
                <a:cxn ang="0">
                  <a:pos x="16" y="14"/>
                </a:cxn>
                <a:cxn ang="0">
                  <a:pos x="7" y="16"/>
                </a:cxn>
              </a:cxnLst>
              <a:rect l="0" t="0" r="r" b="b"/>
              <a:pathLst>
                <a:path w="31" h="16">
                  <a:moveTo>
                    <a:pt x="7" y="16"/>
                  </a:moveTo>
                  <a:lnTo>
                    <a:pt x="4" y="14"/>
                  </a:lnTo>
                  <a:lnTo>
                    <a:pt x="0" y="12"/>
                  </a:lnTo>
                  <a:lnTo>
                    <a:pt x="0" y="11"/>
                  </a:lnTo>
                  <a:lnTo>
                    <a:pt x="14" y="4"/>
                  </a:lnTo>
                  <a:lnTo>
                    <a:pt x="31" y="0"/>
                  </a:lnTo>
                  <a:lnTo>
                    <a:pt x="28" y="4"/>
                  </a:lnTo>
                  <a:lnTo>
                    <a:pt x="24" y="6"/>
                  </a:lnTo>
                  <a:lnTo>
                    <a:pt x="23" y="7"/>
                  </a:lnTo>
                  <a:lnTo>
                    <a:pt x="23" y="11"/>
                  </a:lnTo>
                  <a:lnTo>
                    <a:pt x="16" y="14"/>
                  </a:lnTo>
                  <a:lnTo>
                    <a:pt x="7"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7" name="Freeform 356"/>
            <p:cNvSpPr>
              <a:spLocks/>
            </p:cNvSpPr>
            <p:nvPr/>
          </p:nvSpPr>
          <p:spPr bwMode="auto">
            <a:xfrm>
              <a:off x="5530057" y="3729038"/>
              <a:ext cx="25400" cy="11112"/>
            </a:xfrm>
            <a:custGeom>
              <a:avLst/>
              <a:gdLst/>
              <a:ahLst/>
              <a:cxnLst>
                <a:cxn ang="0">
                  <a:pos x="0" y="4"/>
                </a:cxn>
                <a:cxn ang="0">
                  <a:pos x="4" y="5"/>
                </a:cxn>
                <a:cxn ang="0">
                  <a:pos x="7" y="7"/>
                </a:cxn>
                <a:cxn ang="0">
                  <a:pos x="11" y="4"/>
                </a:cxn>
                <a:cxn ang="0">
                  <a:pos x="16" y="0"/>
                </a:cxn>
                <a:cxn ang="0">
                  <a:pos x="7" y="0"/>
                </a:cxn>
                <a:cxn ang="0">
                  <a:pos x="0" y="4"/>
                </a:cxn>
              </a:cxnLst>
              <a:rect l="0" t="0" r="r" b="b"/>
              <a:pathLst>
                <a:path w="16" h="7">
                  <a:moveTo>
                    <a:pt x="0" y="4"/>
                  </a:moveTo>
                  <a:lnTo>
                    <a:pt x="4" y="5"/>
                  </a:lnTo>
                  <a:lnTo>
                    <a:pt x="7" y="7"/>
                  </a:lnTo>
                  <a:lnTo>
                    <a:pt x="11" y="4"/>
                  </a:lnTo>
                  <a:lnTo>
                    <a:pt x="16" y="0"/>
                  </a:lnTo>
                  <a:lnTo>
                    <a:pt x="7" y="0"/>
                  </a:lnTo>
                  <a:lnTo>
                    <a:pt x="0" y="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8" name="Freeform 357"/>
            <p:cNvSpPr>
              <a:spLocks/>
            </p:cNvSpPr>
            <p:nvPr/>
          </p:nvSpPr>
          <p:spPr bwMode="auto">
            <a:xfrm>
              <a:off x="5407819" y="2081213"/>
              <a:ext cx="49213" cy="34925"/>
            </a:xfrm>
            <a:custGeom>
              <a:avLst/>
              <a:gdLst/>
              <a:ahLst/>
              <a:cxnLst>
                <a:cxn ang="0">
                  <a:pos x="7" y="5"/>
                </a:cxn>
                <a:cxn ang="0">
                  <a:pos x="9" y="1"/>
                </a:cxn>
                <a:cxn ang="0">
                  <a:pos x="12" y="0"/>
                </a:cxn>
                <a:cxn ang="0">
                  <a:pos x="21" y="3"/>
                </a:cxn>
                <a:cxn ang="0">
                  <a:pos x="31" y="6"/>
                </a:cxn>
                <a:cxn ang="0">
                  <a:pos x="31" y="13"/>
                </a:cxn>
                <a:cxn ang="0">
                  <a:pos x="19" y="18"/>
                </a:cxn>
                <a:cxn ang="0">
                  <a:pos x="9" y="22"/>
                </a:cxn>
                <a:cxn ang="0">
                  <a:pos x="2" y="20"/>
                </a:cxn>
                <a:cxn ang="0">
                  <a:pos x="0" y="17"/>
                </a:cxn>
                <a:cxn ang="0">
                  <a:pos x="2" y="10"/>
                </a:cxn>
                <a:cxn ang="0">
                  <a:pos x="7" y="5"/>
                </a:cxn>
              </a:cxnLst>
              <a:rect l="0" t="0" r="r" b="b"/>
              <a:pathLst>
                <a:path w="31" h="22">
                  <a:moveTo>
                    <a:pt x="7" y="5"/>
                  </a:moveTo>
                  <a:lnTo>
                    <a:pt x="9" y="1"/>
                  </a:lnTo>
                  <a:lnTo>
                    <a:pt x="12" y="0"/>
                  </a:lnTo>
                  <a:lnTo>
                    <a:pt x="21" y="3"/>
                  </a:lnTo>
                  <a:lnTo>
                    <a:pt x="31" y="6"/>
                  </a:lnTo>
                  <a:lnTo>
                    <a:pt x="31" y="13"/>
                  </a:lnTo>
                  <a:lnTo>
                    <a:pt x="19" y="18"/>
                  </a:lnTo>
                  <a:lnTo>
                    <a:pt x="9" y="22"/>
                  </a:lnTo>
                  <a:lnTo>
                    <a:pt x="2" y="20"/>
                  </a:lnTo>
                  <a:lnTo>
                    <a:pt x="0" y="17"/>
                  </a:lnTo>
                  <a:lnTo>
                    <a:pt x="2" y="1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89" name="Freeform 358"/>
            <p:cNvSpPr>
              <a:spLocks/>
            </p:cNvSpPr>
            <p:nvPr/>
          </p:nvSpPr>
          <p:spPr bwMode="auto">
            <a:xfrm>
              <a:off x="5647532" y="2047875"/>
              <a:ext cx="41275" cy="26987"/>
            </a:xfrm>
            <a:custGeom>
              <a:avLst/>
              <a:gdLst/>
              <a:ahLst/>
              <a:cxnLst>
                <a:cxn ang="0">
                  <a:pos x="26" y="14"/>
                </a:cxn>
                <a:cxn ang="0">
                  <a:pos x="23" y="17"/>
                </a:cxn>
                <a:cxn ang="0">
                  <a:pos x="19" y="17"/>
                </a:cxn>
                <a:cxn ang="0">
                  <a:pos x="7" y="12"/>
                </a:cxn>
                <a:cxn ang="0">
                  <a:pos x="0" y="5"/>
                </a:cxn>
                <a:cxn ang="0">
                  <a:pos x="4" y="0"/>
                </a:cxn>
                <a:cxn ang="0">
                  <a:pos x="12" y="2"/>
                </a:cxn>
                <a:cxn ang="0">
                  <a:pos x="21" y="5"/>
                </a:cxn>
                <a:cxn ang="0">
                  <a:pos x="26" y="14"/>
                </a:cxn>
              </a:cxnLst>
              <a:rect l="0" t="0" r="r" b="b"/>
              <a:pathLst>
                <a:path w="26" h="17">
                  <a:moveTo>
                    <a:pt x="26" y="14"/>
                  </a:moveTo>
                  <a:lnTo>
                    <a:pt x="23" y="17"/>
                  </a:lnTo>
                  <a:lnTo>
                    <a:pt x="19" y="17"/>
                  </a:lnTo>
                  <a:lnTo>
                    <a:pt x="7" y="12"/>
                  </a:lnTo>
                  <a:lnTo>
                    <a:pt x="0" y="5"/>
                  </a:lnTo>
                  <a:lnTo>
                    <a:pt x="4" y="0"/>
                  </a:lnTo>
                  <a:lnTo>
                    <a:pt x="12" y="2"/>
                  </a:lnTo>
                  <a:lnTo>
                    <a:pt x="21" y="5"/>
                  </a:lnTo>
                  <a:lnTo>
                    <a:pt x="26"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0" name="Freeform 359"/>
            <p:cNvSpPr>
              <a:spLocks/>
            </p:cNvSpPr>
            <p:nvPr/>
          </p:nvSpPr>
          <p:spPr bwMode="auto">
            <a:xfrm>
              <a:off x="5909469" y="1908175"/>
              <a:ext cx="36513" cy="25400"/>
            </a:xfrm>
            <a:custGeom>
              <a:avLst/>
              <a:gdLst/>
              <a:ahLst/>
              <a:cxnLst>
                <a:cxn ang="0">
                  <a:pos x="2" y="16"/>
                </a:cxn>
                <a:cxn ang="0">
                  <a:pos x="12" y="12"/>
                </a:cxn>
                <a:cxn ang="0">
                  <a:pos x="23" y="10"/>
                </a:cxn>
                <a:cxn ang="0">
                  <a:pos x="16" y="4"/>
                </a:cxn>
                <a:cxn ang="0">
                  <a:pos x="11" y="0"/>
                </a:cxn>
                <a:cxn ang="0">
                  <a:pos x="4" y="4"/>
                </a:cxn>
                <a:cxn ang="0">
                  <a:pos x="2" y="10"/>
                </a:cxn>
                <a:cxn ang="0">
                  <a:pos x="0" y="12"/>
                </a:cxn>
                <a:cxn ang="0">
                  <a:pos x="2" y="16"/>
                </a:cxn>
              </a:cxnLst>
              <a:rect l="0" t="0" r="r" b="b"/>
              <a:pathLst>
                <a:path w="23" h="16">
                  <a:moveTo>
                    <a:pt x="2" y="16"/>
                  </a:moveTo>
                  <a:lnTo>
                    <a:pt x="12" y="12"/>
                  </a:lnTo>
                  <a:lnTo>
                    <a:pt x="23" y="10"/>
                  </a:lnTo>
                  <a:lnTo>
                    <a:pt x="16" y="4"/>
                  </a:lnTo>
                  <a:lnTo>
                    <a:pt x="11" y="0"/>
                  </a:lnTo>
                  <a:lnTo>
                    <a:pt x="4" y="4"/>
                  </a:lnTo>
                  <a:lnTo>
                    <a:pt x="2" y="10"/>
                  </a:lnTo>
                  <a:lnTo>
                    <a:pt x="0" y="12"/>
                  </a:lnTo>
                  <a:lnTo>
                    <a:pt x="2" y="16"/>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1" name="Freeform 360"/>
            <p:cNvSpPr>
              <a:spLocks/>
            </p:cNvSpPr>
            <p:nvPr/>
          </p:nvSpPr>
          <p:spPr bwMode="auto">
            <a:xfrm>
              <a:off x="7527132" y="1885950"/>
              <a:ext cx="76200" cy="30162"/>
            </a:xfrm>
            <a:custGeom>
              <a:avLst/>
              <a:gdLst/>
              <a:ahLst/>
              <a:cxnLst>
                <a:cxn ang="0">
                  <a:pos x="0" y="14"/>
                </a:cxn>
                <a:cxn ang="0">
                  <a:pos x="8" y="4"/>
                </a:cxn>
                <a:cxn ang="0">
                  <a:pos x="24" y="0"/>
                </a:cxn>
                <a:cxn ang="0">
                  <a:pos x="32" y="0"/>
                </a:cxn>
                <a:cxn ang="0">
                  <a:pos x="41" y="6"/>
                </a:cxn>
                <a:cxn ang="0">
                  <a:pos x="44" y="11"/>
                </a:cxn>
                <a:cxn ang="0">
                  <a:pos x="48" y="19"/>
                </a:cxn>
                <a:cxn ang="0">
                  <a:pos x="32" y="19"/>
                </a:cxn>
                <a:cxn ang="0">
                  <a:pos x="17" y="14"/>
                </a:cxn>
                <a:cxn ang="0">
                  <a:pos x="1" y="12"/>
                </a:cxn>
                <a:cxn ang="0">
                  <a:pos x="0" y="14"/>
                </a:cxn>
              </a:cxnLst>
              <a:rect l="0" t="0" r="r" b="b"/>
              <a:pathLst>
                <a:path w="48" h="19">
                  <a:moveTo>
                    <a:pt x="0" y="14"/>
                  </a:moveTo>
                  <a:lnTo>
                    <a:pt x="8" y="4"/>
                  </a:lnTo>
                  <a:lnTo>
                    <a:pt x="24" y="0"/>
                  </a:lnTo>
                  <a:lnTo>
                    <a:pt x="32" y="0"/>
                  </a:lnTo>
                  <a:lnTo>
                    <a:pt x="41" y="6"/>
                  </a:lnTo>
                  <a:lnTo>
                    <a:pt x="44" y="11"/>
                  </a:lnTo>
                  <a:lnTo>
                    <a:pt x="48" y="19"/>
                  </a:lnTo>
                  <a:lnTo>
                    <a:pt x="32" y="19"/>
                  </a:lnTo>
                  <a:lnTo>
                    <a:pt x="17" y="14"/>
                  </a:lnTo>
                  <a:lnTo>
                    <a:pt x="1" y="12"/>
                  </a:lnTo>
                  <a:lnTo>
                    <a:pt x="0" y="14"/>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2" name="Freeform 361"/>
            <p:cNvSpPr>
              <a:spLocks/>
            </p:cNvSpPr>
            <p:nvPr/>
          </p:nvSpPr>
          <p:spPr bwMode="auto">
            <a:xfrm>
              <a:off x="7671594" y="1809750"/>
              <a:ext cx="103188" cy="38100"/>
            </a:xfrm>
            <a:custGeom>
              <a:avLst/>
              <a:gdLst/>
              <a:ahLst/>
              <a:cxnLst>
                <a:cxn ang="0">
                  <a:pos x="0" y="0"/>
                </a:cxn>
                <a:cxn ang="0">
                  <a:pos x="2" y="0"/>
                </a:cxn>
                <a:cxn ang="0">
                  <a:pos x="8" y="2"/>
                </a:cxn>
                <a:cxn ang="0">
                  <a:pos x="19" y="4"/>
                </a:cxn>
                <a:cxn ang="0">
                  <a:pos x="29" y="5"/>
                </a:cxn>
                <a:cxn ang="0">
                  <a:pos x="39" y="7"/>
                </a:cxn>
                <a:cxn ang="0">
                  <a:pos x="50" y="9"/>
                </a:cxn>
                <a:cxn ang="0">
                  <a:pos x="55" y="9"/>
                </a:cxn>
                <a:cxn ang="0">
                  <a:pos x="60" y="11"/>
                </a:cxn>
                <a:cxn ang="0">
                  <a:pos x="62" y="12"/>
                </a:cxn>
                <a:cxn ang="0">
                  <a:pos x="65" y="16"/>
                </a:cxn>
                <a:cxn ang="0">
                  <a:pos x="62" y="17"/>
                </a:cxn>
                <a:cxn ang="0">
                  <a:pos x="55" y="21"/>
                </a:cxn>
                <a:cxn ang="0">
                  <a:pos x="48" y="23"/>
                </a:cxn>
                <a:cxn ang="0">
                  <a:pos x="41" y="24"/>
                </a:cxn>
                <a:cxn ang="0">
                  <a:pos x="29" y="23"/>
                </a:cxn>
                <a:cxn ang="0">
                  <a:pos x="17" y="19"/>
                </a:cxn>
                <a:cxn ang="0">
                  <a:pos x="8" y="12"/>
                </a:cxn>
                <a:cxn ang="0">
                  <a:pos x="5" y="5"/>
                </a:cxn>
                <a:cxn ang="0">
                  <a:pos x="0" y="0"/>
                </a:cxn>
              </a:cxnLst>
              <a:rect l="0" t="0" r="r" b="b"/>
              <a:pathLst>
                <a:path w="65" h="24">
                  <a:moveTo>
                    <a:pt x="0" y="0"/>
                  </a:moveTo>
                  <a:lnTo>
                    <a:pt x="2" y="0"/>
                  </a:lnTo>
                  <a:lnTo>
                    <a:pt x="8" y="2"/>
                  </a:lnTo>
                  <a:lnTo>
                    <a:pt x="19" y="4"/>
                  </a:lnTo>
                  <a:lnTo>
                    <a:pt x="29" y="5"/>
                  </a:lnTo>
                  <a:lnTo>
                    <a:pt x="39" y="7"/>
                  </a:lnTo>
                  <a:lnTo>
                    <a:pt x="50" y="9"/>
                  </a:lnTo>
                  <a:lnTo>
                    <a:pt x="55" y="9"/>
                  </a:lnTo>
                  <a:lnTo>
                    <a:pt x="60" y="11"/>
                  </a:lnTo>
                  <a:lnTo>
                    <a:pt x="62" y="12"/>
                  </a:lnTo>
                  <a:lnTo>
                    <a:pt x="65" y="16"/>
                  </a:lnTo>
                  <a:lnTo>
                    <a:pt x="62" y="17"/>
                  </a:lnTo>
                  <a:lnTo>
                    <a:pt x="55" y="21"/>
                  </a:lnTo>
                  <a:lnTo>
                    <a:pt x="48" y="23"/>
                  </a:lnTo>
                  <a:lnTo>
                    <a:pt x="41" y="24"/>
                  </a:lnTo>
                  <a:lnTo>
                    <a:pt x="29" y="23"/>
                  </a:lnTo>
                  <a:lnTo>
                    <a:pt x="17" y="19"/>
                  </a:lnTo>
                  <a:lnTo>
                    <a:pt x="8" y="12"/>
                  </a:lnTo>
                  <a:lnTo>
                    <a:pt x="5" y="5"/>
                  </a:lnTo>
                  <a:lnTo>
                    <a:pt x="0"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3" name="Freeform 362"/>
            <p:cNvSpPr>
              <a:spLocks/>
            </p:cNvSpPr>
            <p:nvPr/>
          </p:nvSpPr>
          <p:spPr bwMode="auto">
            <a:xfrm>
              <a:off x="7523957" y="1865313"/>
              <a:ext cx="22225" cy="20637"/>
            </a:xfrm>
            <a:custGeom>
              <a:avLst/>
              <a:gdLst/>
              <a:ahLst/>
              <a:cxnLst>
                <a:cxn ang="0">
                  <a:pos x="14" y="7"/>
                </a:cxn>
                <a:cxn ang="0">
                  <a:pos x="10" y="10"/>
                </a:cxn>
                <a:cxn ang="0">
                  <a:pos x="7" y="13"/>
                </a:cxn>
                <a:cxn ang="0">
                  <a:pos x="0" y="10"/>
                </a:cxn>
                <a:cxn ang="0">
                  <a:pos x="0" y="7"/>
                </a:cxn>
                <a:cxn ang="0">
                  <a:pos x="2" y="0"/>
                </a:cxn>
                <a:cxn ang="0">
                  <a:pos x="7" y="0"/>
                </a:cxn>
                <a:cxn ang="0">
                  <a:pos x="10" y="1"/>
                </a:cxn>
                <a:cxn ang="0">
                  <a:pos x="14" y="7"/>
                </a:cxn>
              </a:cxnLst>
              <a:rect l="0" t="0" r="r" b="b"/>
              <a:pathLst>
                <a:path w="14" h="13">
                  <a:moveTo>
                    <a:pt x="14" y="7"/>
                  </a:moveTo>
                  <a:lnTo>
                    <a:pt x="10" y="10"/>
                  </a:lnTo>
                  <a:lnTo>
                    <a:pt x="7" y="13"/>
                  </a:lnTo>
                  <a:lnTo>
                    <a:pt x="0" y="10"/>
                  </a:lnTo>
                  <a:lnTo>
                    <a:pt x="0" y="7"/>
                  </a:lnTo>
                  <a:lnTo>
                    <a:pt x="2" y="0"/>
                  </a:lnTo>
                  <a:lnTo>
                    <a:pt x="7" y="0"/>
                  </a:lnTo>
                  <a:lnTo>
                    <a:pt x="10" y="1"/>
                  </a:lnTo>
                  <a:lnTo>
                    <a:pt x="14" y="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4" name="Freeform 363"/>
            <p:cNvSpPr>
              <a:spLocks/>
            </p:cNvSpPr>
            <p:nvPr/>
          </p:nvSpPr>
          <p:spPr bwMode="auto">
            <a:xfrm>
              <a:off x="2840832" y="2768600"/>
              <a:ext cx="57150" cy="26987"/>
            </a:xfrm>
            <a:custGeom>
              <a:avLst/>
              <a:gdLst/>
              <a:ahLst/>
              <a:cxnLst>
                <a:cxn ang="0">
                  <a:pos x="29" y="17"/>
                </a:cxn>
                <a:cxn ang="0">
                  <a:pos x="33" y="15"/>
                </a:cxn>
                <a:cxn ang="0">
                  <a:pos x="36" y="14"/>
                </a:cxn>
                <a:cxn ang="0">
                  <a:pos x="28" y="8"/>
                </a:cxn>
                <a:cxn ang="0">
                  <a:pos x="19" y="3"/>
                </a:cxn>
                <a:cxn ang="0">
                  <a:pos x="9" y="0"/>
                </a:cxn>
                <a:cxn ang="0">
                  <a:pos x="0" y="2"/>
                </a:cxn>
                <a:cxn ang="0">
                  <a:pos x="5" y="5"/>
                </a:cxn>
                <a:cxn ang="0">
                  <a:pos x="14" y="10"/>
                </a:cxn>
                <a:cxn ang="0">
                  <a:pos x="21" y="14"/>
                </a:cxn>
                <a:cxn ang="0">
                  <a:pos x="29" y="17"/>
                </a:cxn>
              </a:cxnLst>
              <a:rect l="0" t="0" r="r" b="b"/>
              <a:pathLst>
                <a:path w="36" h="17">
                  <a:moveTo>
                    <a:pt x="29" y="17"/>
                  </a:moveTo>
                  <a:lnTo>
                    <a:pt x="33" y="15"/>
                  </a:lnTo>
                  <a:lnTo>
                    <a:pt x="36" y="14"/>
                  </a:lnTo>
                  <a:lnTo>
                    <a:pt x="28" y="8"/>
                  </a:lnTo>
                  <a:lnTo>
                    <a:pt x="19" y="3"/>
                  </a:lnTo>
                  <a:lnTo>
                    <a:pt x="9" y="0"/>
                  </a:lnTo>
                  <a:lnTo>
                    <a:pt x="0" y="2"/>
                  </a:lnTo>
                  <a:lnTo>
                    <a:pt x="5" y="5"/>
                  </a:lnTo>
                  <a:lnTo>
                    <a:pt x="14" y="10"/>
                  </a:lnTo>
                  <a:lnTo>
                    <a:pt x="21" y="14"/>
                  </a:lnTo>
                  <a:lnTo>
                    <a:pt x="29" y="17"/>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5" name="Freeform 364"/>
            <p:cNvSpPr>
              <a:spLocks/>
            </p:cNvSpPr>
            <p:nvPr/>
          </p:nvSpPr>
          <p:spPr bwMode="auto">
            <a:xfrm>
              <a:off x="2847182" y="2859088"/>
              <a:ext cx="42863" cy="26987"/>
            </a:xfrm>
            <a:custGeom>
              <a:avLst/>
              <a:gdLst/>
              <a:ahLst/>
              <a:cxnLst>
                <a:cxn ang="0">
                  <a:pos x="1" y="0"/>
                </a:cxn>
                <a:cxn ang="0">
                  <a:pos x="5" y="5"/>
                </a:cxn>
                <a:cxn ang="0">
                  <a:pos x="12" y="8"/>
                </a:cxn>
                <a:cxn ang="0">
                  <a:pos x="27" y="8"/>
                </a:cxn>
                <a:cxn ang="0">
                  <a:pos x="27" y="12"/>
                </a:cxn>
                <a:cxn ang="0">
                  <a:pos x="24" y="13"/>
                </a:cxn>
                <a:cxn ang="0">
                  <a:pos x="20" y="17"/>
                </a:cxn>
                <a:cxn ang="0">
                  <a:pos x="15" y="13"/>
                </a:cxn>
                <a:cxn ang="0">
                  <a:pos x="8" y="10"/>
                </a:cxn>
                <a:cxn ang="0">
                  <a:pos x="1" y="6"/>
                </a:cxn>
                <a:cxn ang="0">
                  <a:pos x="0" y="3"/>
                </a:cxn>
                <a:cxn ang="0">
                  <a:pos x="0" y="0"/>
                </a:cxn>
                <a:cxn ang="0">
                  <a:pos x="1" y="0"/>
                </a:cxn>
              </a:cxnLst>
              <a:rect l="0" t="0" r="r" b="b"/>
              <a:pathLst>
                <a:path w="27" h="17">
                  <a:moveTo>
                    <a:pt x="1" y="0"/>
                  </a:moveTo>
                  <a:lnTo>
                    <a:pt x="5" y="5"/>
                  </a:lnTo>
                  <a:lnTo>
                    <a:pt x="12" y="8"/>
                  </a:lnTo>
                  <a:lnTo>
                    <a:pt x="27" y="8"/>
                  </a:lnTo>
                  <a:lnTo>
                    <a:pt x="27" y="12"/>
                  </a:lnTo>
                  <a:lnTo>
                    <a:pt x="24" y="13"/>
                  </a:lnTo>
                  <a:lnTo>
                    <a:pt x="20" y="17"/>
                  </a:lnTo>
                  <a:lnTo>
                    <a:pt x="15" y="13"/>
                  </a:lnTo>
                  <a:lnTo>
                    <a:pt x="8" y="10"/>
                  </a:lnTo>
                  <a:lnTo>
                    <a:pt x="1" y="6"/>
                  </a:lnTo>
                  <a:lnTo>
                    <a:pt x="0" y="3"/>
                  </a:lnTo>
                  <a:lnTo>
                    <a:pt x="0" y="0"/>
                  </a:lnTo>
                  <a:lnTo>
                    <a:pt x="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6" name="Freeform 365"/>
            <p:cNvSpPr>
              <a:spLocks/>
            </p:cNvSpPr>
            <p:nvPr/>
          </p:nvSpPr>
          <p:spPr bwMode="auto">
            <a:xfrm>
              <a:off x="2909094" y="2859088"/>
              <a:ext cx="33338" cy="38100"/>
            </a:xfrm>
            <a:custGeom>
              <a:avLst/>
              <a:gdLst/>
              <a:ahLst/>
              <a:cxnLst>
                <a:cxn ang="0">
                  <a:pos x="21" y="13"/>
                </a:cxn>
                <a:cxn ang="0">
                  <a:pos x="21" y="17"/>
                </a:cxn>
                <a:cxn ang="0">
                  <a:pos x="16" y="20"/>
                </a:cxn>
                <a:cxn ang="0">
                  <a:pos x="9" y="24"/>
                </a:cxn>
                <a:cxn ang="0">
                  <a:pos x="2" y="20"/>
                </a:cxn>
                <a:cxn ang="0">
                  <a:pos x="0" y="17"/>
                </a:cxn>
                <a:cxn ang="0">
                  <a:pos x="0" y="12"/>
                </a:cxn>
                <a:cxn ang="0">
                  <a:pos x="4" y="8"/>
                </a:cxn>
                <a:cxn ang="0">
                  <a:pos x="7" y="1"/>
                </a:cxn>
                <a:cxn ang="0">
                  <a:pos x="12" y="0"/>
                </a:cxn>
                <a:cxn ang="0">
                  <a:pos x="14" y="1"/>
                </a:cxn>
                <a:cxn ang="0">
                  <a:pos x="16" y="5"/>
                </a:cxn>
                <a:cxn ang="0">
                  <a:pos x="12" y="10"/>
                </a:cxn>
                <a:cxn ang="0">
                  <a:pos x="21" y="13"/>
                </a:cxn>
              </a:cxnLst>
              <a:rect l="0" t="0" r="r" b="b"/>
              <a:pathLst>
                <a:path w="21" h="24">
                  <a:moveTo>
                    <a:pt x="21" y="13"/>
                  </a:moveTo>
                  <a:lnTo>
                    <a:pt x="21" y="17"/>
                  </a:lnTo>
                  <a:lnTo>
                    <a:pt x="16" y="20"/>
                  </a:lnTo>
                  <a:lnTo>
                    <a:pt x="9" y="24"/>
                  </a:lnTo>
                  <a:lnTo>
                    <a:pt x="2" y="20"/>
                  </a:lnTo>
                  <a:lnTo>
                    <a:pt x="0" y="17"/>
                  </a:lnTo>
                  <a:lnTo>
                    <a:pt x="0" y="12"/>
                  </a:lnTo>
                  <a:lnTo>
                    <a:pt x="4" y="8"/>
                  </a:lnTo>
                  <a:lnTo>
                    <a:pt x="7" y="1"/>
                  </a:lnTo>
                  <a:lnTo>
                    <a:pt x="12" y="0"/>
                  </a:lnTo>
                  <a:lnTo>
                    <a:pt x="14" y="1"/>
                  </a:lnTo>
                  <a:lnTo>
                    <a:pt x="16" y="5"/>
                  </a:lnTo>
                  <a:lnTo>
                    <a:pt x="12" y="10"/>
                  </a:lnTo>
                  <a:lnTo>
                    <a:pt x="21" y="13"/>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7" name="Freeform 366"/>
            <p:cNvSpPr>
              <a:spLocks/>
            </p:cNvSpPr>
            <p:nvPr/>
          </p:nvSpPr>
          <p:spPr bwMode="auto">
            <a:xfrm>
              <a:off x="484982" y="2438400"/>
              <a:ext cx="34925" cy="15875"/>
            </a:xfrm>
            <a:custGeom>
              <a:avLst/>
              <a:gdLst/>
              <a:ahLst/>
              <a:cxnLst>
                <a:cxn ang="0">
                  <a:pos x="7" y="5"/>
                </a:cxn>
                <a:cxn ang="0">
                  <a:pos x="9" y="0"/>
                </a:cxn>
                <a:cxn ang="0">
                  <a:pos x="15" y="1"/>
                </a:cxn>
                <a:cxn ang="0">
                  <a:pos x="21" y="3"/>
                </a:cxn>
                <a:cxn ang="0">
                  <a:pos x="22" y="10"/>
                </a:cxn>
                <a:cxn ang="0">
                  <a:pos x="5" y="10"/>
                </a:cxn>
                <a:cxn ang="0">
                  <a:pos x="2" y="7"/>
                </a:cxn>
                <a:cxn ang="0">
                  <a:pos x="0" y="5"/>
                </a:cxn>
                <a:cxn ang="0">
                  <a:pos x="7" y="5"/>
                </a:cxn>
              </a:cxnLst>
              <a:rect l="0" t="0" r="r" b="b"/>
              <a:pathLst>
                <a:path w="22" h="10">
                  <a:moveTo>
                    <a:pt x="7" y="5"/>
                  </a:moveTo>
                  <a:lnTo>
                    <a:pt x="9" y="0"/>
                  </a:lnTo>
                  <a:lnTo>
                    <a:pt x="15" y="1"/>
                  </a:lnTo>
                  <a:lnTo>
                    <a:pt x="21" y="3"/>
                  </a:lnTo>
                  <a:lnTo>
                    <a:pt x="22" y="10"/>
                  </a:lnTo>
                  <a:lnTo>
                    <a:pt x="5" y="10"/>
                  </a:lnTo>
                  <a:lnTo>
                    <a:pt x="2" y="7"/>
                  </a:lnTo>
                  <a:lnTo>
                    <a:pt x="0" y="5"/>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8" name="Freeform 367"/>
            <p:cNvSpPr>
              <a:spLocks/>
            </p:cNvSpPr>
            <p:nvPr/>
          </p:nvSpPr>
          <p:spPr bwMode="auto">
            <a:xfrm>
              <a:off x="751682" y="3579813"/>
              <a:ext cx="20638" cy="15875"/>
            </a:xfrm>
            <a:custGeom>
              <a:avLst/>
              <a:gdLst/>
              <a:ahLst/>
              <a:cxnLst>
                <a:cxn ang="0">
                  <a:pos x="13" y="5"/>
                </a:cxn>
                <a:cxn ang="0">
                  <a:pos x="13" y="8"/>
                </a:cxn>
                <a:cxn ang="0">
                  <a:pos x="6" y="8"/>
                </a:cxn>
                <a:cxn ang="0">
                  <a:pos x="2" y="10"/>
                </a:cxn>
                <a:cxn ang="0">
                  <a:pos x="0" y="8"/>
                </a:cxn>
                <a:cxn ang="0">
                  <a:pos x="0" y="6"/>
                </a:cxn>
                <a:cxn ang="0">
                  <a:pos x="0" y="3"/>
                </a:cxn>
                <a:cxn ang="0">
                  <a:pos x="0" y="0"/>
                </a:cxn>
                <a:cxn ang="0">
                  <a:pos x="6" y="0"/>
                </a:cxn>
                <a:cxn ang="0">
                  <a:pos x="13" y="5"/>
                </a:cxn>
              </a:cxnLst>
              <a:rect l="0" t="0" r="r" b="b"/>
              <a:pathLst>
                <a:path w="13" h="10">
                  <a:moveTo>
                    <a:pt x="13" y="5"/>
                  </a:moveTo>
                  <a:lnTo>
                    <a:pt x="13" y="8"/>
                  </a:lnTo>
                  <a:lnTo>
                    <a:pt x="6" y="8"/>
                  </a:lnTo>
                  <a:lnTo>
                    <a:pt x="2" y="10"/>
                  </a:lnTo>
                  <a:lnTo>
                    <a:pt x="0" y="8"/>
                  </a:lnTo>
                  <a:lnTo>
                    <a:pt x="0" y="6"/>
                  </a:lnTo>
                  <a:lnTo>
                    <a:pt x="0" y="3"/>
                  </a:lnTo>
                  <a:lnTo>
                    <a:pt x="0" y="0"/>
                  </a:lnTo>
                  <a:lnTo>
                    <a:pt x="6" y="0"/>
                  </a:lnTo>
                  <a:lnTo>
                    <a:pt x="13"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299" name="Freeform 368"/>
            <p:cNvSpPr>
              <a:spLocks/>
            </p:cNvSpPr>
            <p:nvPr/>
          </p:nvSpPr>
          <p:spPr bwMode="auto">
            <a:xfrm>
              <a:off x="735807" y="3551238"/>
              <a:ext cx="11113" cy="7937"/>
            </a:xfrm>
            <a:custGeom>
              <a:avLst/>
              <a:gdLst/>
              <a:ahLst/>
              <a:cxnLst>
                <a:cxn ang="0">
                  <a:pos x="7" y="5"/>
                </a:cxn>
                <a:cxn ang="0">
                  <a:pos x="5" y="5"/>
                </a:cxn>
                <a:cxn ang="0">
                  <a:pos x="4" y="5"/>
                </a:cxn>
                <a:cxn ang="0">
                  <a:pos x="2" y="2"/>
                </a:cxn>
                <a:cxn ang="0">
                  <a:pos x="0" y="0"/>
                </a:cxn>
                <a:cxn ang="0">
                  <a:pos x="4" y="0"/>
                </a:cxn>
                <a:cxn ang="0">
                  <a:pos x="7" y="5"/>
                </a:cxn>
              </a:cxnLst>
              <a:rect l="0" t="0" r="r" b="b"/>
              <a:pathLst>
                <a:path w="7" h="5">
                  <a:moveTo>
                    <a:pt x="7" y="5"/>
                  </a:moveTo>
                  <a:lnTo>
                    <a:pt x="5" y="5"/>
                  </a:lnTo>
                  <a:lnTo>
                    <a:pt x="4" y="5"/>
                  </a:lnTo>
                  <a:lnTo>
                    <a:pt x="2" y="2"/>
                  </a:lnTo>
                  <a:lnTo>
                    <a:pt x="0" y="0"/>
                  </a:lnTo>
                  <a:lnTo>
                    <a:pt x="4" y="0"/>
                  </a:lnTo>
                  <a:lnTo>
                    <a:pt x="7" y="5"/>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300" name="Freeform 369"/>
            <p:cNvSpPr>
              <a:spLocks/>
            </p:cNvSpPr>
            <p:nvPr/>
          </p:nvSpPr>
          <p:spPr bwMode="auto">
            <a:xfrm>
              <a:off x="713582" y="3543300"/>
              <a:ext cx="17463" cy="7937"/>
            </a:xfrm>
            <a:custGeom>
              <a:avLst/>
              <a:gdLst/>
              <a:ahLst/>
              <a:cxnLst>
                <a:cxn ang="0">
                  <a:pos x="11" y="0"/>
                </a:cxn>
                <a:cxn ang="0">
                  <a:pos x="7" y="4"/>
                </a:cxn>
                <a:cxn ang="0">
                  <a:pos x="4" y="5"/>
                </a:cxn>
                <a:cxn ang="0">
                  <a:pos x="0" y="2"/>
                </a:cxn>
                <a:cxn ang="0">
                  <a:pos x="0" y="0"/>
                </a:cxn>
                <a:cxn ang="0">
                  <a:pos x="11" y="0"/>
                </a:cxn>
              </a:cxnLst>
              <a:rect l="0" t="0" r="r" b="b"/>
              <a:pathLst>
                <a:path w="11" h="5">
                  <a:moveTo>
                    <a:pt x="11" y="0"/>
                  </a:moveTo>
                  <a:lnTo>
                    <a:pt x="7" y="4"/>
                  </a:lnTo>
                  <a:lnTo>
                    <a:pt x="4" y="5"/>
                  </a:lnTo>
                  <a:lnTo>
                    <a:pt x="0" y="2"/>
                  </a:lnTo>
                  <a:lnTo>
                    <a:pt x="0" y="0"/>
                  </a:lnTo>
                  <a:lnTo>
                    <a:pt x="11"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301" name="Freeform 370"/>
            <p:cNvSpPr>
              <a:spLocks/>
            </p:cNvSpPr>
            <p:nvPr/>
          </p:nvSpPr>
          <p:spPr bwMode="auto">
            <a:xfrm>
              <a:off x="694532" y="3535363"/>
              <a:ext cx="14288" cy="7937"/>
            </a:xfrm>
            <a:custGeom>
              <a:avLst/>
              <a:gdLst/>
              <a:ahLst/>
              <a:cxnLst>
                <a:cxn ang="0">
                  <a:pos x="4" y="0"/>
                </a:cxn>
                <a:cxn ang="0">
                  <a:pos x="6" y="0"/>
                </a:cxn>
                <a:cxn ang="0">
                  <a:pos x="9" y="0"/>
                </a:cxn>
                <a:cxn ang="0">
                  <a:pos x="9" y="2"/>
                </a:cxn>
                <a:cxn ang="0">
                  <a:pos x="7" y="3"/>
                </a:cxn>
                <a:cxn ang="0">
                  <a:pos x="6" y="5"/>
                </a:cxn>
                <a:cxn ang="0">
                  <a:pos x="2" y="3"/>
                </a:cxn>
                <a:cxn ang="0">
                  <a:pos x="0" y="2"/>
                </a:cxn>
                <a:cxn ang="0">
                  <a:pos x="2" y="0"/>
                </a:cxn>
                <a:cxn ang="0">
                  <a:pos x="6" y="0"/>
                </a:cxn>
                <a:cxn ang="0">
                  <a:pos x="4" y="0"/>
                </a:cxn>
              </a:cxnLst>
              <a:rect l="0" t="0" r="r" b="b"/>
              <a:pathLst>
                <a:path w="9" h="5">
                  <a:moveTo>
                    <a:pt x="4" y="0"/>
                  </a:moveTo>
                  <a:lnTo>
                    <a:pt x="6" y="0"/>
                  </a:lnTo>
                  <a:lnTo>
                    <a:pt x="9" y="0"/>
                  </a:lnTo>
                  <a:lnTo>
                    <a:pt x="9" y="2"/>
                  </a:lnTo>
                  <a:lnTo>
                    <a:pt x="7" y="3"/>
                  </a:lnTo>
                  <a:lnTo>
                    <a:pt x="6" y="5"/>
                  </a:lnTo>
                  <a:lnTo>
                    <a:pt x="2" y="3"/>
                  </a:lnTo>
                  <a:lnTo>
                    <a:pt x="0" y="2"/>
                  </a:lnTo>
                  <a:lnTo>
                    <a:pt x="2" y="0"/>
                  </a:lnTo>
                  <a:lnTo>
                    <a:pt x="6" y="0"/>
                  </a:lnTo>
                  <a:lnTo>
                    <a:pt x="4" y="0"/>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sp>
          <p:nvSpPr>
            <p:cNvPr id="302" name="Freeform 371"/>
            <p:cNvSpPr>
              <a:spLocks/>
            </p:cNvSpPr>
            <p:nvPr/>
          </p:nvSpPr>
          <p:spPr bwMode="auto">
            <a:xfrm>
              <a:off x="662782" y="3516313"/>
              <a:ext cx="12700" cy="11112"/>
            </a:xfrm>
            <a:custGeom>
              <a:avLst/>
              <a:gdLst/>
              <a:ahLst/>
              <a:cxnLst>
                <a:cxn ang="0">
                  <a:pos x="8" y="2"/>
                </a:cxn>
                <a:cxn ang="0">
                  <a:pos x="8" y="3"/>
                </a:cxn>
                <a:cxn ang="0">
                  <a:pos x="8" y="7"/>
                </a:cxn>
                <a:cxn ang="0">
                  <a:pos x="5" y="7"/>
                </a:cxn>
                <a:cxn ang="0">
                  <a:pos x="1" y="5"/>
                </a:cxn>
                <a:cxn ang="0">
                  <a:pos x="0" y="3"/>
                </a:cxn>
                <a:cxn ang="0">
                  <a:pos x="1" y="2"/>
                </a:cxn>
                <a:cxn ang="0">
                  <a:pos x="3" y="0"/>
                </a:cxn>
                <a:cxn ang="0">
                  <a:pos x="5" y="0"/>
                </a:cxn>
                <a:cxn ang="0">
                  <a:pos x="8" y="2"/>
                </a:cxn>
              </a:cxnLst>
              <a:rect l="0" t="0" r="r" b="b"/>
              <a:pathLst>
                <a:path w="8" h="7">
                  <a:moveTo>
                    <a:pt x="8" y="2"/>
                  </a:moveTo>
                  <a:lnTo>
                    <a:pt x="8" y="3"/>
                  </a:lnTo>
                  <a:lnTo>
                    <a:pt x="8" y="7"/>
                  </a:lnTo>
                  <a:lnTo>
                    <a:pt x="5" y="7"/>
                  </a:lnTo>
                  <a:lnTo>
                    <a:pt x="1" y="5"/>
                  </a:lnTo>
                  <a:lnTo>
                    <a:pt x="0" y="3"/>
                  </a:lnTo>
                  <a:lnTo>
                    <a:pt x="1" y="2"/>
                  </a:lnTo>
                  <a:lnTo>
                    <a:pt x="3" y="0"/>
                  </a:lnTo>
                  <a:lnTo>
                    <a:pt x="5" y="0"/>
                  </a:lnTo>
                  <a:lnTo>
                    <a:pt x="8" y="2"/>
                  </a:lnTo>
                  <a:close/>
                </a:path>
              </a:pathLst>
            </a:custGeom>
            <a:grpFill/>
            <a:ln w="2">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CA"/>
            </a:p>
          </p:txBody>
        </p:sp>
      </p:grpSp>
      <p:sp>
        <p:nvSpPr>
          <p:cNvPr id="304" name="Freeform 28"/>
          <p:cNvSpPr>
            <a:spLocks/>
          </p:cNvSpPr>
          <p:nvPr/>
        </p:nvSpPr>
        <p:spPr bwMode="auto">
          <a:xfrm>
            <a:off x="509007" y="1911272"/>
            <a:ext cx="4103944" cy="3452619"/>
          </a:xfrm>
          <a:custGeom>
            <a:avLst/>
            <a:gdLst>
              <a:gd name="T0" fmla="*/ 27 w 14387"/>
              <a:gd name="T1" fmla="*/ 10280 h 13637"/>
              <a:gd name="T2" fmla="*/ 47 w 14387"/>
              <a:gd name="T3" fmla="*/ 9679 h 13637"/>
              <a:gd name="T4" fmla="*/ 46 w 14387"/>
              <a:gd name="T5" fmla="*/ 9104 h 13637"/>
              <a:gd name="T6" fmla="*/ 85 w 14387"/>
              <a:gd name="T7" fmla="*/ 8599 h 13637"/>
              <a:gd name="T8" fmla="*/ 145 w 14387"/>
              <a:gd name="T9" fmla="*/ 7943 h 13637"/>
              <a:gd name="T10" fmla="*/ 173 w 14387"/>
              <a:gd name="T11" fmla="*/ 7168 h 13637"/>
              <a:gd name="T12" fmla="*/ 735 w 14387"/>
              <a:gd name="T13" fmla="*/ 6372 h 13637"/>
              <a:gd name="T14" fmla="*/ 1085 w 14387"/>
              <a:gd name="T15" fmla="*/ 5576 h 13637"/>
              <a:gd name="T16" fmla="*/ 1306 w 14387"/>
              <a:gd name="T17" fmla="*/ 5168 h 13637"/>
              <a:gd name="T18" fmla="*/ 1420 w 14387"/>
              <a:gd name="T19" fmla="*/ 4292 h 13637"/>
              <a:gd name="T20" fmla="*/ 1138 w 14387"/>
              <a:gd name="T21" fmla="*/ 3442 h 13637"/>
              <a:gd name="T22" fmla="*/ 1262 w 14387"/>
              <a:gd name="T23" fmla="*/ 2953 h 13637"/>
              <a:gd name="T24" fmla="*/ 1245 w 14387"/>
              <a:gd name="T25" fmla="*/ 2311 h 13637"/>
              <a:gd name="T26" fmla="*/ 1486 w 14387"/>
              <a:gd name="T27" fmla="*/ 1710 h 13637"/>
              <a:gd name="T28" fmla="*/ 1959 w 14387"/>
              <a:gd name="T29" fmla="*/ 1064 h 13637"/>
              <a:gd name="T30" fmla="*/ 1975 w 14387"/>
              <a:gd name="T31" fmla="*/ 561 h 13637"/>
              <a:gd name="T32" fmla="*/ 3297 w 14387"/>
              <a:gd name="T33" fmla="*/ 55 h 13637"/>
              <a:gd name="T34" fmla="*/ 4430 w 14387"/>
              <a:gd name="T35" fmla="*/ 360 h 13637"/>
              <a:gd name="T36" fmla="*/ 5116 w 14387"/>
              <a:gd name="T37" fmla="*/ 1009 h 13637"/>
              <a:gd name="T38" fmla="*/ 5881 w 14387"/>
              <a:gd name="T39" fmla="*/ 1050 h 13637"/>
              <a:gd name="T40" fmla="*/ 6805 w 14387"/>
              <a:gd name="T41" fmla="*/ 1048 h 13637"/>
              <a:gd name="T42" fmla="*/ 7701 w 14387"/>
              <a:gd name="T43" fmla="*/ 1563 h 13637"/>
              <a:gd name="T44" fmla="*/ 8779 w 14387"/>
              <a:gd name="T45" fmla="*/ 1265 h 13637"/>
              <a:gd name="T46" fmla="*/ 9583 w 14387"/>
              <a:gd name="T47" fmla="*/ 794 h 13637"/>
              <a:gd name="T48" fmla="*/ 10879 w 14387"/>
              <a:gd name="T49" fmla="*/ 894 h 13637"/>
              <a:gd name="T50" fmla="*/ 11840 w 14387"/>
              <a:gd name="T51" fmla="*/ 1014 h 13637"/>
              <a:gd name="T52" fmla="*/ 12680 w 14387"/>
              <a:gd name="T53" fmla="*/ 357 h 13637"/>
              <a:gd name="T54" fmla="*/ 13485 w 14387"/>
              <a:gd name="T55" fmla="*/ 718 h 13637"/>
              <a:gd name="T56" fmla="*/ 13812 w 14387"/>
              <a:gd name="T57" fmla="*/ 2019 h 13637"/>
              <a:gd name="T58" fmla="*/ 14343 w 14387"/>
              <a:gd name="T59" fmla="*/ 2628 h 13637"/>
              <a:gd name="T60" fmla="*/ 14087 w 14387"/>
              <a:gd name="T61" fmla="*/ 3450 h 13637"/>
              <a:gd name="T62" fmla="*/ 13437 w 14387"/>
              <a:gd name="T63" fmla="*/ 3985 h 13637"/>
              <a:gd name="T64" fmla="*/ 13139 w 14387"/>
              <a:gd name="T65" fmla="*/ 4887 h 13637"/>
              <a:gd name="T66" fmla="*/ 12755 w 14387"/>
              <a:gd name="T67" fmla="*/ 5747 h 13637"/>
              <a:gd name="T68" fmla="*/ 12420 w 14387"/>
              <a:gd name="T69" fmla="*/ 6297 h 13637"/>
              <a:gd name="T70" fmla="*/ 12098 w 14387"/>
              <a:gd name="T71" fmla="*/ 7371 h 13637"/>
              <a:gd name="T72" fmla="*/ 11472 w 14387"/>
              <a:gd name="T73" fmla="*/ 8095 h 13637"/>
              <a:gd name="T74" fmla="*/ 11249 w 14387"/>
              <a:gd name="T75" fmla="*/ 8865 h 13637"/>
              <a:gd name="T76" fmla="*/ 10986 w 14387"/>
              <a:gd name="T77" fmla="*/ 9595 h 13637"/>
              <a:gd name="T78" fmla="*/ 10450 w 14387"/>
              <a:gd name="T79" fmla="*/ 10430 h 13637"/>
              <a:gd name="T80" fmla="*/ 9601 w 14387"/>
              <a:gd name="T81" fmla="*/ 9618 h 13637"/>
              <a:gd name="T82" fmla="*/ 8897 w 14387"/>
              <a:gd name="T83" fmla="*/ 9834 h 13637"/>
              <a:gd name="T84" fmla="*/ 8187 w 14387"/>
              <a:gd name="T85" fmla="*/ 10571 h 13637"/>
              <a:gd name="T86" fmla="*/ 7519 w 14387"/>
              <a:gd name="T87" fmla="*/ 11196 h 13637"/>
              <a:gd name="T88" fmla="*/ 7414 w 14387"/>
              <a:gd name="T89" fmla="*/ 11917 h 13637"/>
              <a:gd name="T90" fmla="*/ 7130 w 14387"/>
              <a:gd name="T91" fmla="*/ 12682 h 13637"/>
              <a:gd name="T92" fmla="*/ 7039 w 14387"/>
              <a:gd name="T93" fmla="*/ 13363 h 13637"/>
              <a:gd name="T94" fmla="*/ 6654 w 14387"/>
              <a:gd name="T95" fmla="*/ 12729 h 13637"/>
              <a:gd name="T96" fmla="*/ 6463 w 14387"/>
              <a:gd name="T97" fmla="*/ 13222 h 13637"/>
              <a:gd name="T98" fmla="*/ 5535 w 14387"/>
              <a:gd name="T99" fmla="*/ 13389 h 13637"/>
              <a:gd name="T100" fmla="*/ 5020 w 14387"/>
              <a:gd name="T101" fmla="*/ 13460 h 13637"/>
              <a:gd name="T102" fmla="*/ 4437 w 14387"/>
              <a:gd name="T103" fmla="*/ 13515 h 13637"/>
              <a:gd name="T104" fmla="*/ 3751 w 14387"/>
              <a:gd name="T105" fmla="*/ 13365 h 13637"/>
              <a:gd name="T106" fmla="*/ 3432 w 14387"/>
              <a:gd name="T107" fmla="*/ 12710 h 13637"/>
              <a:gd name="T108" fmla="*/ 2988 w 14387"/>
              <a:gd name="T109" fmla="*/ 11804 h 13637"/>
              <a:gd name="T110" fmla="*/ 2684 w 14387"/>
              <a:gd name="T111" fmla="*/ 11216 h 13637"/>
              <a:gd name="T112" fmla="*/ 1929 w 14387"/>
              <a:gd name="T113" fmla="*/ 10569 h 13637"/>
              <a:gd name="T114" fmla="*/ 890 w 14387"/>
              <a:gd name="T115" fmla="*/ 10343 h 13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7" h="13637">
                <a:moveTo>
                  <a:pt x="659" y="10386"/>
                </a:moveTo>
                <a:lnTo>
                  <a:pt x="561" y="10435"/>
                </a:lnTo>
                <a:lnTo>
                  <a:pt x="294" y="10452"/>
                </a:lnTo>
                <a:lnTo>
                  <a:pt x="159" y="10419"/>
                </a:lnTo>
                <a:lnTo>
                  <a:pt x="50" y="10435"/>
                </a:lnTo>
                <a:lnTo>
                  <a:pt x="0" y="10367"/>
                </a:lnTo>
                <a:lnTo>
                  <a:pt x="27" y="10280"/>
                </a:lnTo>
                <a:lnTo>
                  <a:pt x="43" y="10181"/>
                </a:lnTo>
                <a:lnTo>
                  <a:pt x="43" y="9929"/>
                </a:lnTo>
                <a:lnTo>
                  <a:pt x="29" y="9877"/>
                </a:lnTo>
                <a:lnTo>
                  <a:pt x="60" y="9839"/>
                </a:lnTo>
                <a:lnTo>
                  <a:pt x="40" y="9780"/>
                </a:lnTo>
                <a:lnTo>
                  <a:pt x="65" y="9730"/>
                </a:lnTo>
                <a:lnTo>
                  <a:pt x="47" y="9679"/>
                </a:lnTo>
                <a:lnTo>
                  <a:pt x="32" y="9584"/>
                </a:lnTo>
                <a:lnTo>
                  <a:pt x="35" y="9475"/>
                </a:lnTo>
                <a:lnTo>
                  <a:pt x="58" y="9374"/>
                </a:lnTo>
                <a:lnTo>
                  <a:pt x="62" y="9292"/>
                </a:lnTo>
                <a:lnTo>
                  <a:pt x="46" y="9222"/>
                </a:lnTo>
                <a:lnTo>
                  <a:pt x="57" y="9146"/>
                </a:lnTo>
                <a:lnTo>
                  <a:pt x="46" y="9104"/>
                </a:lnTo>
                <a:lnTo>
                  <a:pt x="35" y="9044"/>
                </a:lnTo>
                <a:lnTo>
                  <a:pt x="39" y="8985"/>
                </a:lnTo>
                <a:lnTo>
                  <a:pt x="50" y="8938"/>
                </a:lnTo>
                <a:lnTo>
                  <a:pt x="40" y="8837"/>
                </a:lnTo>
                <a:lnTo>
                  <a:pt x="57" y="8745"/>
                </a:lnTo>
                <a:lnTo>
                  <a:pt x="85" y="8641"/>
                </a:lnTo>
                <a:lnTo>
                  <a:pt x="85" y="8599"/>
                </a:lnTo>
                <a:lnTo>
                  <a:pt x="101" y="8492"/>
                </a:lnTo>
                <a:lnTo>
                  <a:pt x="104" y="8421"/>
                </a:lnTo>
                <a:lnTo>
                  <a:pt x="116" y="8354"/>
                </a:lnTo>
                <a:lnTo>
                  <a:pt x="138" y="8302"/>
                </a:lnTo>
                <a:lnTo>
                  <a:pt x="148" y="8190"/>
                </a:lnTo>
                <a:lnTo>
                  <a:pt x="132" y="8109"/>
                </a:lnTo>
                <a:lnTo>
                  <a:pt x="145" y="7943"/>
                </a:lnTo>
                <a:lnTo>
                  <a:pt x="140" y="7804"/>
                </a:lnTo>
                <a:lnTo>
                  <a:pt x="119" y="7704"/>
                </a:lnTo>
                <a:lnTo>
                  <a:pt x="140" y="7603"/>
                </a:lnTo>
                <a:lnTo>
                  <a:pt x="141" y="7413"/>
                </a:lnTo>
                <a:lnTo>
                  <a:pt x="181" y="7360"/>
                </a:lnTo>
                <a:lnTo>
                  <a:pt x="218" y="7214"/>
                </a:lnTo>
                <a:lnTo>
                  <a:pt x="173" y="7168"/>
                </a:lnTo>
                <a:lnTo>
                  <a:pt x="174" y="7018"/>
                </a:lnTo>
                <a:lnTo>
                  <a:pt x="217" y="6870"/>
                </a:lnTo>
                <a:lnTo>
                  <a:pt x="267" y="6797"/>
                </a:lnTo>
                <a:lnTo>
                  <a:pt x="333" y="6773"/>
                </a:lnTo>
                <a:lnTo>
                  <a:pt x="433" y="6772"/>
                </a:lnTo>
                <a:lnTo>
                  <a:pt x="688" y="6473"/>
                </a:lnTo>
                <a:lnTo>
                  <a:pt x="735" y="6372"/>
                </a:lnTo>
                <a:lnTo>
                  <a:pt x="730" y="6175"/>
                </a:lnTo>
                <a:lnTo>
                  <a:pt x="777" y="6078"/>
                </a:lnTo>
                <a:lnTo>
                  <a:pt x="804" y="5968"/>
                </a:lnTo>
                <a:lnTo>
                  <a:pt x="865" y="5927"/>
                </a:lnTo>
                <a:lnTo>
                  <a:pt x="912" y="5818"/>
                </a:lnTo>
                <a:lnTo>
                  <a:pt x="997" y="5681"/>
                </a:lnTo>
                <a:lnTo>
                  <a:pt x="1085" y="5576"/>
                </a:lnTo>
                <a:lnTo>
                  <a:pt x="1154" y="5538"/>
                </a:lnTo>
                <a:lnTo>
                  <a:pt x="1207" y="5488"/>
                </a:lnTo>
                <a:lnTo>
                  <a:pt x="1253" y="5436"/>
                </a:lnTo>
                <a:lnTo>
                  <a:pt x="1253" y="5338"/>
                </a:lnTo>
                <a:lnTo>
                  <a:pt x="1292" y="5240"/>
                </a:lnTo>
                <a:lnTo>
                  <a:pt x="1328" y="5211"/>
                </a:lnTo>
                <a:lnTo>
                  <a:pt x="1306" y="5168"/>
                </a:lnTo>
                <a:lnTo>
                  <a:pt x="1344" y="5116"/>
                </a:lnTo>
                <a:lnTo>
                  <a:pt x="1260" y="5070"/>
                </a:lnTo>
                <a:lnTo>
                  <a:pt x="1259" y="4871"/>
                </a:lnTo>
                <a:lnTo>
                  <a:pt x="1348" y="4819"/>
                </a:lnTo>
                <a:lnTo>
                  <a:pt x="1408" y="4743"/>
                </a:lnTo>
                <a:lnTo>
                  <a:pt x="1432" y="4625"/>
                </a:lnTo>
                <a:lnTo>
                  <a:pt x="1420" y="4292"/>
                </a:lnTo>
                <a:lnTo>
                  <a:pt x="1431" y="4175"/>
                </a:lnTo>
                <a:lnTo>
                  <a:pt x="1430" y="4062"/>
                </a:lnTo>
                <a:lnTo>
                  <a:pt x="1441" y="3970"/>
                </a:lnTo>
                <a:lnTo>
                  <a:pt x="1356" y="3842"/>
                </a:lnTo>
                <a:lnTo>
                  <a:pt x="1308" y="3738"/>
                </a:lnTo>
                <a:lnTo>
                  <a:pt x="1138" y="3543"/>
                </a:lnTo>
                <a:lnTo>
                  <a:pt x="1138" y="3442"/>
                </a:lnTo>
                <a:lnTo>
                  <a:pt x="1183" y="3342"/>
                </a:lnTo>
                <a:lnTo>
                  <a:pt x="1138" y="3296"/>
                </a:lnTo>
                <a:lnTo>
                  <a:pt x="1135" y="3197"/>
                </a:lnTo>
                <a:lnTo>
                  <a:pt x="1182" y="3146"/>
                </a:lnTo>
                <a:lnTo>
                  <a:pt x="1224" y="3045"/>
                </a:lnTo>
                <a:lnTo>
                  <a:pt x="1228" y="2996"/>
                </a:lnTo>
                <a:lnTo>
                  <a:pt x="1262" y="2953"/>
                </a:lnTo>
                <a:lnTo>
                  <a:pt x="1237" y="2850"/>
                </a:lnTo>
                <a:lnTo>
                  <a:pt x="1270" y="2797"/>
                </a:lnTo>
                <a:lnTo>
                  <a:pt x="1231" y="2752"/>
                </a:lnTo>
                <a:lnTo>
                  <a:pt x="1240" y="2615"/>
                </a:lnTo>
                <a:lnTo>
                  <a:pt x="1207" y="2515"/>
                </a:lnTo>
                <a:lnTo>
                  <a:pt x="1232" y="2412"/>
                </a:lnTo>
                <a:lnTo>
                  <a:pt x="1245" y="2311"/>
                </a:lnTo>
                <a:lnTo>
                  <a:pt x="1276" y="2201"/>
                </a:lnTo>
                <a:lnTo>
                  <a:pt x="1315" y="2107"/>
                </a:lnTo>
                <a:lnTo>
                  <a:pt x="1330" y="2008"/>
                </a:lnTo>
                <a:lnTo>
                  <a:pt x="1351" y="1925"/>
                </a:lnTo>
                <a:lnTo>
                  <a:pt x="1447" y="1810"/>
                </a:lnTo>
                <a:lnTo>
                  <a:pt x="1450" y="1755"/>
                </a:lnTo>
                <a:lnTo>
                  <a:pt x="1486" y="1710"/>
                </a:lnTo>
                <a:lnTo>
                  <a:pt x="1523" y="1616"/>
                </a:lnTo>
                <a:lnTo>
                  <a:pt x="1788" y="1464"/>
                </a:lnTo>
                <a:lnTo>
                  <a:pt x="1830" y="1359"/>
                </a:lnTo>
                <a:lnTo>
                  <a:pt x="1916" y="1268"/>
                </a:lnTo>
                <a:lnTo>
                  <a:pt x="1960" y="1165"/>
                </a:lnTo>
                <a:lnTo>
                  <a:pt x="2000" y="1116"/>
                </a:lnTo>
                <a:lnTo>
                  <a:pt x="1959" y="1064"/>
                </a:lnTo>
                <a:lnTo>
                  <a:pt x="1960" y="868"/>
                </a:lnTo>
                <a:lnTo>
                  <a:pt x="1998" y="819"/>
                </a:lnTo>
                <a:lnTo>
                  <a:pt x="1934" y="760"/>
                </a:lnTo>
                <a:lnTo>
                  <a:pt x="1975" y="708"/>
                </a:lnTo>
                <a:lnTo>
                  <a:pt x="1938" y="664"/>
                </a:lnTo>
                <a:lnTo>
                  <a:pt x="1975" y="612"/>
                </a:lnTo>
                <a:lnTo>
                  <a:pt x="1975" y="561"/>
                </a:lnTo>
                <a:lnTo>
                  <a:pt x="2025" y="507"/>
                </a:lnTo>
                <a:lnTo>
                  <a:pt x="2189" y="365"/>
                </a:lnTo>
                <a:lnTo>
                  <a:pt x="2318" y="316"/>
                </a:lnTo>
                <a:lnTo>
                  <a:pt x="2665" y="117"/>
                </a:lnTo>
                <a:lnTo>
                  <a:pt x="3101" y="118"/>
                </a:lnTo>
                <a:lnTo>
                  <a:pt x="3177" y="63"/>
                </a:lnTo>
                <a:lnTo>
                  <a:pt x="3297" y="55"/>
                </a:lnTo>
                <a:lnTo>
                  <a:pt x="3406" y="16"/>
                </a:lnTo>
                <a:lnTo>
                  <a:pt x="3528" y="15"/>
                </a:lnTo>
                <a:lnTo>
                  <a:pt x="3641" y="0"/>
                </a:lnTo>
                <a:lnTo>
                  <a:pt x="3748" y="19"/>
                </a:lnTo>
                <a:lnTo>
                  <a:pt x="3832" y="118"/>
                </a:lnTo>
                <a:lnTo>
                  <a:pt x="3925" y="170"/>
                </a:lnTo>
                <a:lnTo>
                  <a:pt x="4430" y="360"/>
                </a:lnTo>
                <a:lnTo>
                  <a:pt x="4708" y="474"/>
                </a:lnTo>
                <a:lnTo>
                  <a:pt x="4809" y="583"/>
                </a:lnTo>
                <a:lnTo>
                  <a:pt x="4813" y="730"/>
                </a:lnTo>
                <a:lnTo>
                  <a:pt x="4782" y="835"/>
                </a:lnTo>
                <a:lnTo>
                  <a:pt x="4906" y="907"/>
                </a:lnTo>
                <a:lnTo>
                  <a:pt x="5041" y="944"/>
                </a:lnTo>
                <a:lnTo>
                  <a:pt x="5116" y="1009"/>
                </a:lnTo>
                <a:lnTo>
                  <a:pt x="5292" y="1394"/>
                </a:lnTo>
                <a:lnTo>
                  <a:pt x="5350" y="1329"/>
                </a:lnTo>
                <a:lnTo>
                  <a:pt x="5440" y="1279"/>
                </a:lnTo>
                <a:lnTo>
                  <a:pt x="5529" y="1181"/>
                </a:lnTo>
                <a:lnTo>
                  <a:pt x="5662" y="1129"/>
                </a:lnTo>
                <a:lnTo>
                  <a:pt x="5791" y="1127"/>
                </a:lnTo>
                <a:lnTo>
                  <a:pt x="5881" y="1050"/>
                </a:lnTo>
                <a:lnTo>
                  <a:pt x="6001" y="933"/>
                </a:lnTo>
                <a:lnTo>
                  <a:pt x="6132" y="933"/>
                </a:lnTo>
                <a:lnTo>
                  <a:pt x="6394" y="833"/>
                </a:lnTo>
                <a:lnTo>
                  <a:pt x="6526" y="833"/>
                </a:lnTo>
                <a:lnTo>
                  <a:pt x="6698" y="885"/>
                </a:lnTo>
                <a:lnTo>
                  <a:pt x="6740" y="983"/>
                </a:lnTo>
                <a:lnTo>
                  <a:pt x="6805" y="1048"/>
                </a:lnTo>
                <a:lnTo>
                  <a:pt x="6866" y="1078"/>
                </a:lnTo>
                <a:lnTo>
                  <a:pt x="6974" y="1081"/>
                </a:lnTo>
                <a:lnTo>
                  <a:pt x="7142" y="1216"/>
                </a:lnTo>
                <a:lnTo>
                  <a:pt x="7431" y="1428"/>
                </a:lnTo>
                <a:lnTo>
                  <a:pt x="7560" y="1477"/>
                </a:lnTo>
                <a:lnTo>
                  <a:pt x="7646" y="1525"/>
                </a:lnTo>
                <a:lnTo>
                  <a:pt x="7701" y="1563"/>
                </a:lnTo>
                <a:lnTo>
                  <a:pt x="7880" y="1519"/>
                </a:lnTo>
                <a:lnTo>
                  <a:pt x="8012" y="1467"/>
                </a:lnTo>
                <a:lnTo>
                  <a:pt x="8147" y="1516"/>
                </a:lnTo>
                <a:lnTo>
                  <a:pt x="8322" y="1570"/>
                </a:lnTo>
                <a:lnTo>
                  <a:pt x="8577" y="1567"/>
                </a:lnTo>
                <a:lnTo>
                  <a:pt x="8631" y="1371"/>
                </a:lnTo>
                <a:lnTo>
                  <a:pt x="8779" y="1265"/>
                </a:lnTo>
                <a:lnTo>
                  <a:pt x="8818" y="1119"/>
                </a:lnTo>
                <a:lnTo>
                  <a:pt x="8908" y="1016"/>
                </a:lnTo>
                <a:lnTo>
                  <a:pt x="9083" y="915"/>
                </a:lnTo>
                <a:lnTo>
                  <a:pt x="9226" y="879"/>
                </a:lnTo>
                <a:lnTo>
                  <a:pt x="9346" y="838"/>
                </a:lnTo>
                <a:lnTo>
                  <a:pt x="9477" y="853"/>
                </a:lnTo>
                <a:lnTo>
                  <a:pt x="9583" y="794"/>
                </a:lnTo>
                <a:lnTo>
                  <a:pt x="9677" y="845"/>
                </a:lnTo>
                <a:lnTo>
                  <a:pt x="9901" y="791"/>
                </a:lnTo>
                <a:lnTo>
                  <a:pt x="10199" y="769"/>
                </a:lnTo>
                <a:lnTo>
                  <a:pt x="10370" y="740"/>
                </a:lnTo>
                <a:lnTo>
                  <a:pt x="10532" y="778"/>
                </a:lnTo>
                <a:lnTo>
                  <a:pt x="10693" y="827"/>
                </a:lnTo>
                <a:lnTo>
                  <a:pt x="10879" y="894"/>
                </a:lnTo>
                <a:lnTo>
                  <a:pt x="11030" y="996"/>
                </a:lnTo>
                <a:lnTo>
                  <a:pt x="11197" y="1065"/>
                </a:lnTo>
                <a:lnTo>
                  <a:pt x="11327" y="1165"/>
                </a:lnTo>
                <a:lnTo>
                  <a:pt x="11500" y="1117"/>
                </a:lnTo>
                <a:lnTo>
                  <a:pt x="11619" y="1092"/>
                </a:lnTo>
                <a:lnTo>
                  <a:pt x="11702" y="1108"/>
                </a:lnTo>
                <a:lnTo>
                  <a:pt x="11840" y="1014"/>
                </a:lnTo>
                <a:lnTo>
                  <a:pt x="11928" y="914"/>
                </a:lnTo>
                <a:lnTo>
                  <a:pt x="12061" y="863"/>
                </a:lnTo>
                <a:lnTo>
                  <a:pt x="12143" y="762"/>
                </a:lnTo>
                <a:lnTo>
                  <a:pt x="12224" y="613"/>
                </a:lnTo>
                <a:lnTo>
                  <a:pt x="12378" y="528"/>
                </a:lnTo>
                <a:lnTo>
                  <a:pt x="12621" y="473"/>
                </a:lnTo>
                <a:lnTo>
                  <a:pt x="12680" y="357"/>
                </a:lnTo>
                <a:lnTo>
                  <a:pt x="12755" y="252"/>
                </a:lnTo>
                <a:lnTo>
                  <a:pt x="12902" y="225"/>
                </a:lnTo>
                <a:lnTo>
                  <a:pt x="13121" y="223"/>
                </a:lnTo>
                <a:lnTo>
                  <a:pt x="13227" y="412"/>
                </a:lnTo>
                <a:lnTo>
                  <a:pt x="13351" y="568"/>
                </a:lnTo>
                <a:lnTo>
                  <a:pt x="13371" y="673"/>
                </a:lnTo>
                <a:lnTo>
                  <a:pt x="13485" y="718"/>
                </a:lnTo>
                <a:lnTo>
                  <a:pt x="13525" y="865"/>
                </a:lnTo>
                <a:lnTo>
                  <a:pt x="13602" y="980"/>
                </a:lnTo>
                <a:lnTo>
                  <a:pt x="13646" y="1077"/>
                </a:lnTo>
                <a:lnTo>
                  <a:pt x="13736" y="1482"/>
                </a:lnTo>
                <a:lnTo>
                  <a:pt x="13781" y="1631"/>
                </a:lnTo>
                <a:lnTo>
                  <a:pt x="13817" y="1888"/>
                </a:lnTo>
                <a:lnTo>
                  <a:pt x="13812" y="2019"/>
                </a:lnTo>
                <a:lnTo>
                  <a:pt x="13871" y="2102"/>
                </a:lnTo>
                <a:lnTo>
                  <a:pt x="14089" y="2106"/>
                </a:lnTo>
                <a:lnTo>
                  <a:pt x="14209" y="2171"/>
                </a:lnTo>
                <a:lnTo>
                  <a:pt x="14326" y="2291"/>
                </a:lnTo>
                <a:lnTo>
                  <a:pt x="14359" y="2360"/>
                </a:lnTo>
                <a:lnTo>
                  <a:pt x="14387" y="2500"/>
                </a:lnTo>
                <a:lnTo>
                  <a:pt x="14343" y="2628"/>
                </a:lnTo>
                <a:lnTo>
                  <a:pt x="14343" y="2752"/>
                </a:lnTo>
                <a:lnTo>
                  <a:pt x="14290" y="2893"/>
                </a:lnTo>
                <a:lnTo>
                  <a:pt x="14313" y="2984"/>
                </a:lnTo>
                <a:lnTo>
                  <a:pt x="14370" y="3096"/>
                </a:lnTo>
                <a:lnTo>
                  <a:pt x="14343" y="3247"/>
                </a:lnTo>
                <a:lnTo>
                  <a:pt x="14189" y="3388"/>
                </a:lnTo>
                <a:lnTo>
                  <a:pt x="14087" y="3450"/>
                </a:lnTo>
                <a:lnTo>
                  <a:pt x="14012" y="3519"/>
                </a:lnTo>
                <a:lnTo>
                  <a:pt x="13856" y="3633"/>
                </a:lnTo>
                <a:lnTo>
                  <a:pt x="13735" y="3631"/>
                </a:lnTo>
                <a:lnTo>
                  <a:pt x="13623" y="3579"/>
                </a:lnTo>
                <a:lnTo>
                  <a:pt x="13510" y="3757"/>
                </a:lnTo>
                <a:lnTo>
                  <a:pt x="13452" y="3885"/>
                </a:lnTo>
                <a:lnTo>
                  <a:pt x="13437" y="3985"/>
                </a:lnTo>
                <a:lnTo>
                  <a:pt x="13287" y="4113"/>
                </a:lnTo>
                <a:lnTo>
                  <a:pt x="13362" y="4161"/>
                </a:lnTo>
                <a:lnTo>
                  <a:pt x="13317" y="4321"/>
                </a:lnTo>
                <a:lnTo>
                  <a:pt x="13308" y="4425"/>
                </a:lnTo>
                <a:lnTo>
                  <a:pt x="13146" y="4608"/>
                </a:lnTo>
                <a:lnTo>
                  <a:pt x="13104" y="4756"/>
                </a:lnTo>
                <a:lnTo>
                  <a:pt x="13139" y="4887"/>
                </a:lnTo>
                <a:lnTo>
                  <a:pt x="13146" y="5052"/>
                </a:lnTo>
                <a:lnTo>
                  <a:pt x="13076" y="5127"/>
                </a:lnTo>
                <a:lnTo>
                  <a:pt x="12999" y="5311"/>
                </a:lnTo>
                <a:lnTo>
                  <a:pt x="12885" y="5403"/>
                </a:lnTo>
                <a:lnTo>
                  <a:pt x="12810" y="5484"/>
                </a:lnTo>
                <a:lnTo>
                  <a:pt x="12797" y="5607"/>
                </a:lnTo>
                <a:lnTo>
                  <a:pt x="12755" y="5747"/>
                </a:lnTo>
                <a:lnTo>
                  <a:pt x="12807" y="5857"/>
                </a:lnTo>
                <a:lnTo>
                  <a:pt x="12807" y="5997"/>
                </a:lnTo>
                <a:lnTo>
                  <a:pt x="12819" y="6076"/>
                </a:lnTo>
                <a:lnTo>
                  <a:pt x="12756" y="6181"/>
                </a:lnTo>
                <a:lnTo>
                  <a:pt x="12627" y="6193"/>
                </a:lnTo>
                <a:lnTo>
                  <a:pt x="12507" y="6219"/>
                </a:lnTo>
                <a:lnTo>
                  <a:pt x="12420" y="6297"/>
                </a:lnTo>
                <a:lnTo>
                  <a:pt x="12363" y="6444"/>
                </a:lnTo>
                <a:lnTo>
                  <a:pt x="12365" y="6585"/>
                </a:lnTo>
                <a:lnTo>
                  <a:pt x="12323" y="6789"/>
                </a:lnTo>
                <a:lnTo>
                  <a:pt x="12323" y="6931"/>
                </a:lnTo>
                <a:lnTo>
                  <a:pt x="12299" y="7071"/>
                </a:lnTo>
                <a:lnTo>
                  <a:pt x="12153" y="7335"/>
                </a:lnTo>
                <a:lnTo>
                  <a:pt x="12098" y="7371"/>
                </a:lnTo>
                <a:lnTo>
                  <a:pt x="12018" y="7378"/>
                </a:lnTo>
                <a:lnTo>
                  <a:pt x="11879" y="7480"/>
                </a:lnTo>
                <a:lnTo>
                  <a:pt x="11750" y="7585"/>
                </a:lnTo>
                <a:lnTo>
                  <a:pt x="11630" y="7627"/>
                </a:lnTo>
                <a:lnTo>
                  <a:pt x="11541" y="7777"/>
                </a:lnTo>
                <a:lnTo>
                  <a:pt x="11529" y="7917"/>
                </a:lnTo>
                <a:lnTo>
                  <a:pt x="11472" y="8095"/>
                </a:lnTo>
                <a:lnTo>
                  <a:pt x="11429" y="8245"/>
                </a:lnTo>
                <a:lnTo>
                  <a:pt x="11414" y="8362"/>
                </a:lnTo>
                <a:lnTo>
                  <a:pt x="11411" y="8467"/>
                </a:lnTo>
                <a:lnTo>
                  <a:pt x="11357" y="8575"/>
                </a:lnTo>
                <a:lnTo>
                  <a:pt x="11363" y="8709"/>
                </a:lnTo>
                <a:lnTo>
                  <a:pt x="11357" y="8824"/>
                </a:lnTo>
                <a:lnTo>
                  <a:pt x="11249" y="8865"/>
                </a:lnTo>
                <a:lnTo>
                  <a:pt x="11155" y="8947"/>
                </a:lnTo>
                <a:lnTo>
                  <a:pt x="10984" y="8990"/>
                </a:lnTo>
                <a:lnTo>
                  <a:pt x="10984" y="9132"/>
                </a:lnTo>
                <a:lnTo>
                  <a:pt x="10974" y="9253"/>
                </a:lnTo>
                <a:lnTo>
                  <a:pt x="10944" y="9391"/>
                </a:lnTo>
                <a:lnTo>
                  <a:pt x="10989" y="9532"/>
                </a:lnTo>
                <a:lnTo>
                  <a:pt x="10986" y="9595"/>
                </a:lnTo>
                <a:lnTo>
                  <a:pt x="10896" y="9788"/>
                </a:lnTo>
                <a:lnTo>
                  <a:pt x="10725" y="9983"/>
                </a:lnTo>
                <a:lnTo>
                  <a:pt x="10680" y="10078"/>
                </a:lnTo>
                <a:lnTo>
                  <a:pt x="10681" y="10128"/>
                </a:lnTo>
                <a:lnTo>
                  <a:pt x="10593" y="10226"/>
                </a:lnTo>
                <a:lnTo>
                  <a:pt x="10555" y="10324"/>
                </a:lnTo>
                <a:lnTo>
                  <a:pt x="10450" y="10430"/>
                </a:lnTo>
                <a:lnTo>
                  <a:pt x="10340" y="10475"/>
                </a:lnTo>
                <a:lnTo>
                  <a:pt x="10259" y="10452"/>
                </a:lnTo>
                <a:lnTo>
                  <a:pt x="10201" y="10419"/>
                </a:lnTo>
                <a:lnTo>
                  <a:pt x="10119" y="10176"/>
                </a:lnTo>
                <a:lnTo>
                  <a:pt x="9987" y="10016"/>
                </a:lnTo>
                <a:lnTo>
                  <a:pt x="9819" y="9787"/>
                </a:lnTo>
                <a:lnTo>
                  <a:pt x="9601" y="9618"/>
                </a:lnTo>
                <a:lnTo>
                  <a:pt x="9502" y="9627"/>
                </a:lnTo>
                <a:lnTo>
                  <a:pt x="9357" y="9744"/>
                </a:lnTo>
                <a:lnTo>
                  <a:pt x="9305" y="9833"/>
                </a:lnTo>
                <a:lnTo>
                  <a:pt x="9211" y="9883"/>
                </a:lnTo>
                <a:lnTo>
                  <a:pt x="9043" y="9869"/>
                </a:lnTo>
                <a:lnTo>
                  <a:pt x="8982" y="9834"/>
                </a:lnTo>
                <a:lnTo>
                  <a:pt x="8897" y="9834"/>
                </a:lnTo>
                <a:lnTo>
                  <a:pt x="8796" y="9891"/>
                </a:lnTo>
                <a:lnTo>
                  <a:pt x="8740" y="9967"/>
                </a:lnTo>
                <a:lnTo>
                  <a:pt x="8653" y="10030"/>
                </a:lnTo>
                <a:lnTo>
                  <a:pt x="8569" y="10131"/>
                </a:lnTo>
                <a:lnTo>
                  <a:pt x="8429" y="10141"/>
                </a:lnTo>
                <a:lnTo>
                  <a:pt x="8325" y="10337"/>
                </a:lnTo>
                <a:lnTo>
                  <a:pt x="8187" y="10571"/>
                </a:lnTo>
                <a:lnTo>
                  <a:pt x="8117" y="10571"/>
                </a:lnTo>
                <a:lnTo>
                  <a:pt x="8004" y="10610"/>
                </a:lnTo>
                <a:lnTo>
                  <a:pt x="7929" y="10721"/>
                </a:lnTo>
                <a:lnTo>
                  <a:pt x="7908" y="10901"/>
                </a:lnTo>
                <a:lnTo>
                  <a:pt x="7720" y="11112"/>
                </a:lnTo>
                <a:lnTo>
                  <a:pt x="7624" y="11205"/>
                </a:lnTo>
                <a:lnTo>
                  <a:pt x="7519" y="11196"/>
                </a:lnTo>
                <a:lnTo>
                  <a:pt x="7439" y="11221"/>
                </a:lnTo>
                <a:lnTo>
                  <a:pt x="7434" y="11289"/>
                </a:lnTo>
                <a:lnTo>
                  <a:pt x="7389" y="11490"/>
                </a:lnTo>
                <a:lnTo>
                  <a:pt x="7334" y="11562"/>
                </a:lnTo>
                <a:lnTo>
                  <a:pt x="7304" y="11641"/>
                </a:lnTo>
                <a:lnTo>
                  <a:pt x="7473" y="11842"/>
                </a:lnTo>
                <a:lnTo>
                  <a:pt x="7414" y="11917"/>
                </a:lnTo>
                <a:lnTo>
                  <a:pt x="7345" y="11988"/>
                </a:lnTo>
                <a:lnTo>
                  <a:pt x="7334" y="12075"/>
                </a:lnTo>
                <a:lnTo>
                  <a:pt x="7387" y="12211"/>
                </a:lnTo>
                <a:lnTo>
                  <a:pt x="7384" y="12321"/>
                </a:lnTo>
                <a:lnTo>
                  <a:pt x="7318" y="12473"/>
                </a:lnTo>
                <a:lnTo>
                  <a:pt x="7261" y="12581"/>
                </a:lnTo>
                <a:lnTo>
                  <a:pt x="7130" y="12682"/>
                </a:lnTo>
                <a:lnTo>
                  <a:pt x="7136" y="12785"/>
                </a:lnTo>
                <a:lnTo>
                  <a:pt x="7087" y="12878"/>
                </a:lnTo>
                <a:lnTo>
                  <a:pt x="7043" y="12989"/>
                </a:lnTo>
                <a:lnTo>
                  <a:pt x="7086" y="13093"/>
                </a:lnTo>
                <a:lnTo>
                  <a:pt x="7130" y="13218"/>
                </a:lnTo>
                <a:lnTo>
                  <a:pt x="7131" y="13321"/>
                </a:lnTo>
                <a:lnTo>
                  <a:pt x="7039" y="13363"/>
                </a:lnTo>
                <a:lnTo>
                  <a:pt x="6911" y="13143"/>
                </a:lnTo>
                <a:lnTo>
                  <a:pt x="6880" y="13039"/>
                </a:lnTo>
                <a:lnTo>
                  <a:pt x="6842" y="12954"/>
                </a:lnTo>
                <a:lnTo>
                  <a:pt x="6797" y="12878"/>
                </a:lnTo>
                <a:lnTo>
                  <a:pt x="6740" y="12830"/>
                </a:lnTo>
                <a:lnTo>
                  <a:pt x="6712" y="12773"/>
                </a:lnTo>
                <a:lnTo>
                  <a:pt x="6654" y="12729"/>
                </a:lnTo>
                <a:lnTo>
                  <a:pt x="6599" y="12625"/>
                </a:lnTo>
                <a:lnTo>
                  <a:pt x="6483" y="12579"/>
                </a:lnTo>
                <a:lnTo>
                  <a:pt x="6507" y="12664"/>
                </a:lnTo>
                <a:lnTo>
                  <a:pt x="6577" y="12829"/>
                </a:lnTo>
                <a:lnTo>
                  <a:pt x="6646" y="13026"/>
                </a:lnTo>
                <a:lnTo>
                  <a:pt x="6615" y="13148"/>
                </a:lnTo>
                <a:lnTo>
                  <a:pt x="6463" y="13222"/>
                </a:lnTo>
                <a:lnTo>
                  <a:pt x="6243" y="13222"/>
                </a:lnTo>
                <a:lnTo>
                  <a:pt x="6154" y="13273"/>
                </a:lnTo>
                <a:lnTo>
                  <a:pt x="6072" y="13370"/>
                </a:lnTo>
                <a:lnTo>
                  <a:pt x="5852" y="13371"/>
                </a:lnTo>
                <a:lnTo>
                  <a:pt x="5716" y="13281"/>
                </a:lnTo>
                <a:lnTo>
                  <a:pt x="5629" y="13330"/>
                </a:lnTo>
                <a:lnTo>
                  <a:pt x="5535" y="13389"/>
                </a:lnTo>
                <a:lnTo>
                  <a:pt x="5480" y="13521"/>
                </a:lnTo>
                <a:lnTo>
                  <a:pt x="5422" y="13605"/>
                </a:lnTo>
                <a:lnTo>
                  <a:pt x="5317" y="13575"/>
                </a:lnTo>
                <a:lnTo>
                  <a:pt x="5253" y="13510"/>
                </a:lnTo>
                <a:lnTo>
                  <a:pt x="5163" y="13457"/>
                </a:lnTo>
                <a:lnTo>
                  <a:pt x="5079" y="13433"/>
                </a:lnTo>
                <a:lnTo>
                  <a:pt x="5020" y="13460"/>
                </a:lnTo>
                <a:lnTo>
                  <a:pt x="4918" y="13499"/>
                </a:lnTo>
                <a:lnTo>
                  <a:pt x="4834" y="13515"/>
                </a:lnTo>
                <a:lnTo>
                  <a:pt x="4771" y="13507"/>
                </a:lnTo>
                <a:lnTo>
                  <a:pt x="4647" y="13556"/>
                </a:lnTo>
                <a:lnTo>
                  <a:pt x="4609" y="13543"/>
                </a:lnTo>
                <a:lnTo>
                  <a:pt x="4536" y="13447"/>
                </a:lnTo>
                <a:lnTo>
                  <a:pt x="4437" y="13515"/>
                </a:lnTo>
                <a:lnTo>
                  <a:pt x="4281" y="13578"/>
                </a:lnTo>
                <a:lnTo>
                  <a:pt x="4211" y="13637"/>
                </a:lnTo>
                <a:lnTo>
                  <a:pt x="4107" y="13630"/>
                </a:lnTo>
                <a:lnTo>
                  <a:pt x="4004" y="13562"/>
                </a:lnTo>
                <a:lnTo>
                  <a:pt x="3880" y="13564"/>
                </a:lnTo>
                <a:lnTo>
                  <a:pt x="3806" y="13496"/>
                </a:lnTo>
                <a:lnTo>
                  <a:pt x="3751" y="13365"/>
                </a:lnTo>
                <a:lnTo>
                  <a:pt x="3665" y="13414"/>
                </a:lnTo>
                <a:lnTo>
                  <a:pt x="3577" y="13368"/>
                </a:lnTo>
                <a:lnTo>
                  <a:pt x="3548" y="13308"/>
                </a:lnTo>
                <a:lnTo>
                  <a:pt x="3542" y="13192"/>
                </a:lnTo>
                <a:lnTo>
                  <a:pt x="3505" y="13067"/>
                </a:lnTo>
                <a:lnTo>
                  <a:pt x="3506" y="12968"/>
                </a:lnTo>
                <a:lnTo>
                  <a:pt x="3432" y="12710"/>
                </a:lnTo>
                <a:lnTo>
                  <a:pt x="3300" y="12451"/>
                </a:lnTo>
                <a:lnTo>
                  <a:pt x="3250" y="12402"/>
                </a:lnTo>
                <a:lnTo>
                  <a:pt x="3155" y="12249"/>
                </a:lnTo>
                <a:lnTo>
                  <a:pt x="3115" y="12141"/>
                </a:lnTo>
                <a:lnTo>
                  <a:pt x="3051" y="12035"/>
                </a:lnTo>
                <a:lnTo>
                  <a:pt x="3045" y="11939"/>
                </a:lnTo>
                <a:lnTo>
                  <a:pt x="2988" y="11804"/>
                </a:lnTo>
                <a:lnTo>
                  <a:pt x="2922" y="11692"/>
                </a:lnTo>
                <a:lnTo>
                  <a:pt x="2883" y="11545"/>
                </a:lnTo>
                <a:lnTo>
                  <a:pt x="2824" y="11482"/>
                </a:lnTo>
                <a:lnTo>
                  <a:pt x="2778" y="11392"/>
                </a:lnTo>
                <a:lnTo>
                  <a:pt x="2780" y="11302"/>
                </a:lnTo>
                <a:lnTo>
                  <a:pt x="2735" y="11290"/>
                </a:lnTo>
                <a:lnTo>
                  <a:pt x="2684" y="11216"/>
                </a:lnTo>
                <a:lnTo>
                  <a:pt x="2630" y="11136"/>
                </a:lnTo>
                <a:lnTo>
                  <a:pt x="2594" y="11063"/>
                </a:lnTo>
                <a:lnTo>
                  <a:pt x="2403" y="10864"/>
                </a:lnTo>
                <a:lnTo>
                  <a:pt x="2337" y="10769"/>
                </a:lnTo>
                <a:lnTo>
                  <a:pt x="2226" y="10656"/>
                </a:lnTo>
                <a:lnTo>
                  <a:pt x="2088" y="10588"/>
                </a:lnTo>
                <a:lnTo>
                  <a:pt x="1929" y="10569"/>
                </a:lnTo>
                <a:lnTo>
                  <a:pt x="1808" y="10516"/>
                </a:lnTo>
                <a:lnTo>
                  <a:pt x="1767" y="10467"/>
                </a:lnTo>
                <a:lnTo>
                  <a:pt x="1579" y="10444"/>
                </a:lnTo>
                <a:lnTo>
                  <a:pt x="1322" y="10444"/>
                </a:lnTo>
                <a:lnTo>
                  <a:pt x="1246" y="10388"/>
                </a:lnTo>
                <a:lnTo>
                  <a:pt x="1152" y="10394"/>
                </a:lnTo>
                <a:lnTo>
                  <a:pt x="890" y="10343"/>
                </a:lnTo>
                <a:lnTo>
                  <a:pt x="769" y="10395"/>
                </a:lnTo>
                <a:lnTo>
                  <a:pt x="659" y="10386"/>
                </a:lnTo>
                <a:close/>
              </a:path>
            </a:pathLst>
          </a:custGeom>
          <a:solidFill>
            <a:srgbClr val="B2D4EF"/>
          </a:solidFill>
          <a:ln w="19050" cmpd="sng">
            <a:noFill/>
            <a:prstDash val="solid"/>
            <a:round/>
            <a:headEnd/>
            <a:tailEnd/>
          </a:ln>
          <a:effectLst/>
        </p:spPr>
        <p:txBody>
          <a:bodyPr/>
          <a:lstStyle/>
          <a:p>
            <a:endParaRPr lang="zh-CN" altLang="en-US" kern="0">
              <a:solidFill>
                <a:sysClr val="windowText" lastClr="000000"/>
              </a:solidFill>
            </a:endParaRPr>
          </a:p>
        </p:txBody>
      </p:sp>
      <p:sp>
        <p:nvSpPr>
          <p:cNvPr id="311" name="Title 2"/>
          <p:cNvSpPr txBox="1">
            <a:spLocks/>
          </p:cNvSpPr>
          <p:nvPr/>
        </p:nvSpPr>
        <p:spPr>
          <a:xfrm>
            <a:off x="153265" y="94959"/>
            <a:ext cx="9681940" cy="364003"/>
          </a:xfrm>
          <a:prstGeom prst="rect">
            <a:avLst/>
          </a:prstGeom>
          <a:noFill/>
        </p:spPr>
        <p:txBody>
          <a:bodyPr vert="horz" lIns="0" tIns="0" rIns="0" bIns="0" rtlCol="0" anchor="t" anchorCtr="0">
            <a:noAutofit/>
          </a:bodyPr>
          <a:lstStyle>
            <a:defPPr>
              <a:defRPr lang="en-US"/>
            </a:defPPr>
            <a:lvl1pPr>
              <a:lnSpc>
                <a:spcPct val="70000"/>
              </a:lnSpc>
              <a:defRPr sz="2800" b="1" i="0" kern="0">
                <a:solidFill>
                  <a:srgbClr val="00338D"/>
                </a:solidFill>
                <a:latin typeface="Univers 47 CondensedLight" panose="00000400000000000000" pitchFamily="2" charset="0"/>
                <a:cs typeface="KPMG Extralight"/>
              </a:defRPr>
            </a:lvl1pPr>
          </a:lstStyle>
          <a:p>
            <a:pPr>
              <a:defRPr/>
            </a:pPr>
            <a:r>
              <a:rPr lang="en-US" sz="4400" b="0" kern="1200" dirty="0" smtClean="0">
                <a:latin typeface="KPMG Extralight" panose="020B0303030202040204" pitchFamily="34" charset="0"/>
                <a:cs typeface="+mj-cs"/>
              </a:rPr>
              <a:t>Background</a:t>
            </a:r>
            <a:endParaRPr lang="en-US" sz="4400" b="0" kern="1200" dirty="0">
              <a:latin typeface="KPMG Extralight" panose="020B0303030202040204" pitchFamily="34" charset="0"/>
              <a:cs typeface="+mj-cs"/>
            </a:endParaRPr>
          </a:p>
        </p:txBody>
      </p:sp>
      <p:sp>
        <p:nvSpPr>
          <p:cNvPr id="312" name="Rectangle 311"/>
          <p:cNvSpPr/>
          <p:nvPr/>
        </p:nvSpPr>
        <p:spPr>
          <a:xfrm>
            <a:off x="86590" y="602065"/>
            <a:ext cx="4080424" cy="211083"/>
          </a:xfrm>
          <a:prstGeom prst="rect">
            <a:avLst/>
          </a:prstGeom>
        </p:spPr>
        <p:txBody>
          <a:bodyPr wrap="square">
            <a:spAutoFit/>
          </a:bodyPr>
          <a:lstStyle/>
          <a:p>
            <a:pPr>
              <a:lnSpc>
                <a:spcPct val="70000"/>
              </a:lnSpc>
            </a:pPr>
            <a:r>
              <a:rPr lang="en-US" sz="1050" b="1" dirty="0" smtClean="0">
                <a:solidFill>
                  <a:srgbClr val="005EB8">
                    <a:lumMod val="75000"/>
                  </a:srgbClr>
                </a:solidFill>
              </a:rPr>
              <a:t>Peer Group &amp; Global Industry Benchmark </a:t>
            </a:r>
            <a:endParaRPr lang="en-US" sz="1050" b="1" dirty="0">
              <a:solidFill>
                <a:srgbClr val="005EB8">
                  <a:lumMod val="75000"/>
                </a:srgbClr>
              </a:solidFill>
            </a:endParaRPr>
          </a:p>
        </p:txBody>
      </p:sp>
      <p:sp>
        <p:nvSpPr>
          <p:cNvPr id="313" name="Rectangle 312"/>
          <p:cNvSpPr/>
          <p:nvPr/>
        </p:nvSpPr>
        <p:spPr>
          <a:xfrm>
            <a:off x="86590" y="845861"/>
            <a:ext cx="11362460" cy="307777"/>
          </a:xfrm>
          <a:prstGeom prst="rect">
            <a:avLst/>
          </a:prstGeom>
        </p:spPr>
        <p:txBody>
          <a:bodyPr wrap="square">
            <a:spAutoFit/>
          </a:bodyPr>
          <a:lstStyle/>
          <a:p>
            <a:pPr defTabSz="713603">
              <a:defRPr/>
            </a:pPr>
            <a:r>
              <a:rPr lang="en-US" sz="1400" dirty="0" err="1" smtClean="0">
                <a:solidFill>
                  <a:srgbClr val="00338D"/>
                </a:solidFill>
              </a:rPr>
              <a:t>FBNQuest</a:t>
            </a:r>
            <a:r>
              <a:rPr lang="en-US" sz="1400" dirty="0" smtClean="0">
                <a:solidFill>
                  <a:srgbClr val="00338D"/>
                </a:solidFill>
              </a:rPr>
              <a:t> was </a:t>
            </a:r>
            <a:r>
              <a:rPr lang="en-US" sz="1400" dirty="0">
                <a:solidFill>
                  <a:srgbClr val="00338D"/>
                </a:solidFill>
              </a:rPr>
              <a:t>benchmarked against </a:t>
            </a:r>
            <a:r>
              <a:rPr lang="en-US" sz="1400" dirty="0" smtClean="0">
                <a:solidFill>
                  <a:srgbClr val="00338D"/>
                </a:solidFill>
              </a:rPr>
              <a:t>a wide variety of local </a:t>
            </a:r>
            <a:r>
              <a:rPr lang="en-US" sz="1400" dirty="0">
                <a:solidFill>
                  <a:srgbClr val="00338D"/>
                </a:solidFill>
              </a:rPr>
              <a:t>peers and global leaders in its </a:t>
            </a:r>
            <a:r>
              <a:rPr lang="en-US" sz="1400" dirty="0" smtClean="0">
                <a:solidFill>
                  <a:srgbClr val="00338D"/>
                </a:solidFill>
              </a:rPr>
              <a:t>lines </a:t>
            </a:r>
            <a:r>
              <a:rPr lang="en-US" sz="1400" dirty="0">
                <a:solidFill>
                  <a:srgbClr val="00338D"/>
                </a:solidFill>
              </a:rPr>
              <a:t>of </a:t>
            </a:r>
            <a:r>
              <a:rPr lang="en-US" sz="1400" dirty="0" smtClean="0">
                <a:solidFill>
                  <a:srgbClr val="00338D"/>
                </a:solidFill>
              </a:rPr>
              <a:t>business as identified below:</a:t>
            </a:r>
            <a:endParaRPr lang="en-US" sz="1400" dirty="0">
              <a:solidFill>
                <a:srgbClr val="00338D"/>
              </a:solidFill>
            </a:endParaRPr>
          </a:p>
        </p:txBody>
      </p:sp>
      <p:grpSp>
        <p:nvGrpSpPr>
          <p:cNvPr id="314" name="Group 313"/>
          <p:cNvGrpSpPr/>
          <p:nvPr/>
        </p:nvGrpSpPr>
        <p:grpSpPr>
          <a:xfrm>
            <a:off x="11469271" y="94959"/>
            <a:ext cx="473779" cy="457200"/>
            <a:chOff x="506594" y="1180539"/>
            <a:chExt cx="473779" cy="457200"/>
          </a:xfrm>
          <a:solidFill>
            <a:srgbClr val="2D5491"/>
          </a:solidFill>
        </p:grpSpPr>
        <p:sp>
          <p:nvSpPr>
            <p:cNvPr id="315" name="Oval 314"/>
            <p:cNvSpPr/>
            <p:nvPr/>
          </p:nvSpPr>
          <p:spPr>
            <a:xfrm>
              <a:off x="506594" y="1180539"/>
              <a:ext cx="457200" cy="457200"/>
            </a:xfrm>
            <a:prstGeom prst="ellipse">
              <a:avLst/>
            </a:prstGeom>
            <a:noFill/>
            <a:ln w="38100" cap="rnd" cmpd="sng" algn="ctr">
              <a:solidFill>
                <a:srgbClr val="2D5491"/>
              </a:solidFill>
              <a:prstDash val="solid"/>
            </a:ln>
            <a:effectLst/>
          </p:spPr>
          <p:txBody>
            <a:bodyPr lIns="54610" tIns="54610" rIns="54610" bIns="54610" rtlCol="0" anchor="ctr"/>
            <a:lstStyle/>
            <a:p>
              <a:pPr defTabSz="914198">
                <a:defRPr/>
              </a:pPr>
              <a:endParaRPr lang="en-GB" sz="1500" kern="0" dirty="0" smtClean="0">
                <a:solidFill>
                  <a:prstClr val="white"/>
                </a:solidFill>
                <a:latin typeface="Arial"/>
              </a:endParaRPr>
            </a:p>
          </p:txBody>
        </p:sp>
        <p:sp>
          <p:nvSpPr>
            <p:cNvPr id="316" name="TextBox 315"/>
            <p:cNvSpPr txBox="1"/>
            <p:nvPr/>
          </p:nvSpPr>
          <p:spPr>
            <a:xfrm>
              <a:off x="506603" y="1255250"/>
              <a:ext cx="473770" cy="307777"/>
            </a:xfrm>
            <a:prstGeom prst="rect">
              <a:avLst/>
            </a:prstGeom>
            <a:noFill/>
            <a:ln>
              <a:noFill/>
            </a:ln>
          </p:spPr>
          <p:txBody>
            <a:bodyPr wrap="square" lIns="0" tIns="0" rIns="0" bIns="0" rtlCol="0">
              <a:spAutoFit/>
            </a:bodyPr>
            <a:lstStyle/>
            <a:p>
              <a:pPr algn="ctr"/>
              <a:r>
                <a:rPr lang="en-US" sz="2000" b="1" dirty="0" smtClean="0">
                  <a:solidFill>
                    <a:srgbClr val="2D5491"/>
                  </a:solidFill>
                  <a:cs typeface="Arial" pitchFamily="34" charset="0"/>
                </a:rPr>
                <a:t>2B</a:t>
              </a:r>
            </a:p>
          </p:txBody>
        </p:sp>
      </p:grpSp>
      <p:sp>
        <p:nvSpPr>
          <p:cNvPr id="317" name="Isosceles Triangle 316"/>
          <p:cNvSpPr/>
          <p:nvPr/>
        </p:nvSpPr>
        <p:spPr>
          <a:xfrm rot="5400000">
            <a:off x="11015869" y="171094"/>
            <a:ext cx="451410" cy="299141"/>
          </a:xfrm>
          <a:prstGeom prst="triangle">
            <a:avLst/>
          </a:prstGeom>
          <a:solidFill>
            <a:srgbClr val="2D549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AU" sz="1400" dirty="0" err="1" smtClean="0">
              <a:solidFill>
                <a:srgbClr val="FFFFFF"/>
              </a:solidFill>
              <a:latin typeface="Calibri" panose="020F0502020204030204" pitchFamily="34" charset="0"/>
            </a:endParaRPr>
          </a:p>
        </p:txBody>
      </p:sp>
      <p:grpSp>
        <p:nvGrpSpPr>
          <p:cNvPr id="18" name="Group 17"/>
          <p:cNvGrpSpPr/>
          <p:nvPr/>
        </p:nvGrpSpPr>
        <p:grpSpPr>
          <a:xfrm>
            <a:off x="9293925" y="2671173"/>
            <a:ext cx="816144" cy="394959"/>
            <a:chOff x="9580250" y="2467973"/>
            <a:chExt cx="816144" cy="394959"/>
          </a:xfrm>
        </p:grpSpPr>
        <p:pic>
          <p:nvPicPr>
            <p:cNvPr id="305" name="Picture 304"/>
            <p:cNvPicPr>
              <a:picLocks noChangeAspect="1"/>
            </p:cNvPicPr>
            <p:nvPr/>
          </p:nvPicPr>
          <p:blipFill rotWithShape="1">
            <a:blip r:embed="rId3" cstate="print">
              <a:extLst>
                <a:ext uri="{28A0092B-C50C-407E-A947-70E740481C1C}">
                  <a14:useLocalDpi xmlns:a14="http://schemas.microsoft.com/office/drawing/2010/main" val="0"/>
                </a:ext>
              </a:extLst>
            </a:blip>
            <a:srcRect l="3544"/>
            <a:stretch/>
          </p:blipFill>
          <p:spPr>
            <a:xfrm>
              <a:off x="9580250" y="2561384"/>
              <a:ext cx="816144" cy="301548"/>
            </a:xfrm>
            <a:prstGeom prst="rect">
              <a:avLst/>
            </a:prstGeom>
          </p:spPr>
        </p:pic>
        <p:sp>
          <p:nvSpPr>
            <p:cNvPr id="403" name="Oval 402"/>
            <p:cNvSpPr/>
            <p:nvPr/>
          </p:nvSpPr>
          <p:spPr>
            <a:xfrm>
              <a:off x="9645186" y="2467973"/>
              <a:ext cx="14089" cy="1384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grpSp>
        <p:nvGrpSpPr>
          <p:cNvPr id="26" name="Group 25"/>
          <p:cNvGrpSpPr/>
          <p:nvPr/>
        </p:nvGrpSpPr>
        <p:grpSpPr>
          <a:xfrm>
            <a:off x="7813434" y="2731424"/>
            <a:ext cx="1210924" cy="392225"/>
            <a:chOff x="8012963" y="2595060"/>
            <a:chExt cx="1210924" cy="392225"/>
          </a:xfrm>
        </p:grpSpPr>
        <p:pic>
          <p:nvPicPr>
            <p:cNvPr id="324" name="Picture 323"/>
            <p:cNvPicPr>
              <a:picLocks noChangeAspect="1"/>
            </p:cNvPicPr>
            <p:nvPr/>
          </p:nvPicPr>
          <p:blipFill>
            <a:blip r:embed="rId4"/>
            <a:stretch>
              <a:fillRect/>
            </a:stretch>
          </p:blipFill>
          <p:spPr>
            <a:xfrm>
              <a:off x="8012963" y="2621826"/>
              <a:ext cx="1210924" cy="365459"/>
            </a:xfrm>
            <a:prstGeom prst="rect">
              <a:avLst/>
            </a:prstGeom>
            <a:ln>
              <a:solidFill>
                <a:schemeClr val="bg1">
                  <a:lumMod val="95000"/>
                </a:schemeClr>
              </a:solidFill>
            </a:ln>
          </p:spPr>
        </p:pic>
        <p:sp>
          <p:nvSpPr>
            <p:cNvPr id="451" name="Oval 450"/>
            <p:cNvSpPr/>
            <p:nvPr/>
          </p:nvSpPr>
          <p:spPr>
            <a:xfrm>
              <a:off x="8142785" y="2595060"/>
              <a:ext cx="14089" cy="13847"/>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grpSp>
        <p:nvGrpSpPr>
          <p:cNvPr id="25" name="Group 24"/>
          <p:cNvGrpSpPr/>
          <p:nvPr/>
        </p:nvGrpSpPr>
        <p:grpSpPr>
          <a:xfrm>
            <a:off x="7070042" y="2897137"/>
            <a:ext cx="616636" cy="674142"/>
            <a:chOff x="3705624" y="5360271"/>
            <a:chExt cx="570790" cy="570790"/>
          </a:xfrm>
        </p:grpSpPr>
        <p:pic>
          <p:nvPicPr>
            <p:cNvPr id="38924" name="Picture 12" descr="Image result for charles schwab"/>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05624" y="5360271"/>
              <a:ext cx="570790" cy="570790"/>
            </a:xfrm>
            <a:prstGeom prst="rect">
              <a:avLst/>
            </a:prstGeom>
            <a:noFill/>
            <a:extLst>
              <a:ext uri="{909E8E84-426E-40DD-AFC4-6F175D3DCCD1}">
                <a14:hiddenFill xmlns:a14="http://schemas.microsoft.com/office/drawing/2010/main">
                  <a:solidFill>
                    <a:srgbClr val="FFFFFF"/>
                  </a:solidFill>
                </a14:hiddenFill>
              </a:ext>
            </a:extLst>
          </p:spPr>
        </p:pic>
        <p:sp>
          <p:nvSpPr>
            <p:cNvPr id="415" name="Oval 414"/>
            <p:cNvSpPr/>
            <p:nvPr/>
          </p:nvSpPr>
          <p:spPr>
            <a:xfrm>
              <a:off x="3792814" y="5486353"/>
              <a:ext cx="14089" cy="1384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487" name="Oval 486"/>
            <p:cNvSpPr/>
            <p:nvPr/>
          </p:nvSpPr>
          <p:spPr>
            <a:xfrm>
              <a:off x="4122059" y="5565055"/>
              <a:ext cx="14089" cy="1384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490" name="Oval 489"/>
            <p:cNvSpPr/>
            <p:nvPr/>
          </p:nvSpPr>
          <p:spPr>
            <a:xfrm>
              <a:off x="3898491" y="5486353"/>
              <a:ext cx="14089" cy="13847"/>
            </a:xfrm>
            <a:prstGeom prst="ellipse">
              <a:avLst/>
            </a:prstGeom>
            <a:solidFill>
              <a:srgbClr val="007C9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493" name="Oval 492"/>
            <p:cNvSpPr/>
            <p:nvPr/>
          </p:nvSpPr>
          <p:spPr>
            <a:xfrm>
              <a:off x="4122059" y="5671554"/>
              <a:ext cx="14089" cy="13847"/>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499" name="Oval 498"/>
            <p:cNvSpPr/>
            <p:nvPr/>
          </p:nvSpPr>
          <p:spPr>
            <a:xfrm>
              <a:off x="4122059" y="5778053"/>
              <a:ext cx="14089" cy="13847"/>
            </a:xfrm>
            <a:prstGeom prst="ellipse">
              <a:avLst/>
            </a:prstGeom>
            <a:solidFill>
              <a:srgbClr val="97989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502" name="Oval 501"/>
            <p:cNvSpPr/>
            <p:nvPr/>
          </p:nvSpPr>
          <p:spPr>
            <a:xfrm>
              <a:off x="4011784" y="5486353"/>
              <a:ext cx="14089" cy="13847"/>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sp>
          <p:nvSpPr>
            <p:cNvPr id="505" name="Oval 504"/>
            <p:cNvSpPr/>
            <p:nvPr/>
          </p:nvSpPr>
          <p:spPr>
            <a:xfrm>
              <a:off x="4122059" y="5879934"/>
              <a:ext cx="14089" cy="13847"/>
            </a:xfrm>
            <a:prstGeom prst="ellipse">
              <a:avLst/>
            </a:prstGeom>
            <a:solidFill>
              <a:srgbClr val="C84E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p>
          </p:txBody>
        </p:sp>
      </p:grpSp>
      <p:pic>
        <p:nvPicPr>
          <p:cNvPr id="572" name="Picture 14" descr="Related imag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50494" y="3682801"/>
            <a:ext cx="1091265" cy="493324"/>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573" name="Picture 57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302094" y="3315766"/>
            <a:ext cx="1109045" cy="295150"/>
          </a:xfrm>
          <a:prstGeom prst="rect">
            <a:avLst/>
          </a:prstGeom>
          <a:ln>
            <a:solidFill>
              <a:schemeClr val="bg1">
                <a:lumMod val="95000"/>
              </a:schemeClr>
            </a:solidFill>
          </a:ln>
        </p:spPr>
      </p:pic>
      <p:pic>
        <p:nvPicPr>
          <p:cNvPr id="574" name="Picture 4" descr="Image result for jpmorgan logo"/>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35128" b="38205"/>
          <a:stretch/>
        </p:blipFill>
        <p:spPr bwMode="auto">
          <a:xfrm>
            <a:off x="5753626" y="2929039"/>
            <a:ext cx="1205807" cy="326556"/>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pic>
        <p:nvPicPr>
          <p:cNvPr id="575" name="Picture 10" descr="Image result for morgan stanley logo"/>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911198" y="2315972"/>
            <a:ext cx="1487754" cy="371938"/>
          </a:xfrm>
          <a:prstGeom prst="rect">
            <a:avLst/>
          </a:prstGeom>
          <a:solidFill>
            <a:srgbClr val="F4F9FD"/>
          </a:solidFill>
        </p:spPr>
      </p:pic>
      <p:pic>
        <p:nvPicPr>
          <p:cNvPr id="576" name="Picture 8" descr="Related imag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084719" y="2133852"/>
            <a:ext cx="704700" cy="702980"/>
          </a:xfrm>
          <a:prstGeom prst="rect">
            <a:avLst/>
          </a:prstGeom>
          <a:solidFill>
            <a:schemeClr val="bg1"/>
          </a:solidFill>
        </p:spPr>
      </p:pic>
      <p:pic>
        <p:nvPicPr>
          <p:cNvPr id="577" name="Picture 576"/>
          <p:cNvPicPr>
            <a:picLocks noChangeAspect="1"/>
          </p:cNvPicPr>
          <p:nvPr/>
        </p:nvPicPr>
        <p:blipFill>
          <a:blip r:embed="rId11"/>
          <a:stretch>
            <a:fillRect/>
          </a:stretch>
        </p:blipFill>
        <p:spPr>
          <a:xfrm>
            <a:off x="2427524" y="3861111"/>
            <a:ext cx="676995" cy="262022"/>
          </a:xfrm>
          <a:prstGeom prst="rect">
            <a:avLst/>
          </a:prstGeom>
        </p:spPr>
      </p:pic>
      <p:pic>
        <p:nvPicPr>
          <p:cNvPr id="578" name="Picture 57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647005" y="4196810"/>
            <a:ext cx="836026" cy="321637"/>
          </a:xfrm>
          <a:prstGeom prst="rect">
            <a:avLst/>
          </a:prstGeom>
        </p:spPr>
      </p:pic>
      <p:pic>
        <p:nvPicPr>
          <p:cNvPr id="579" name="Picture 578"/>
          <p:cNvPicPr>
            <a:picLocks noChangeAspect="1"/>
          </p:cNvPicPr>
          <p:nvPr/>
        </p:nvPicPr>
        <p:blipFill rotWithShape="1">
          <a:blip r:embed="rId13" cstate="print">
            <a:extLst>
              <a:ext uri="{28A0092B-C50C-407E-A947-70E740481C1C}">
                <a14:useLocalDpi xmlns:a14="http://schemas.microsoft.com/office/drawing/2010/main" val="0"/>
              </a:ext>
            </a:extLst>
          </a:blip>
          <a:srcRect r="7198"/>
          <a:stretch/>
        </p:blipFill>
        <p:spPr>
          <a:xfrm>
            <a:off x="1675517" y="4774224"/>
            <a:ext cx="555680" cy="336816"/>
          </a:xfrm>
          <a:prstGeom prst="rect">
            <a:avLst/>
          </a:prstGeom>
        </p:spPr>
      </p:pic>
      <p:pic>
        <p:nvPicPr>
          <p:cNvPr id="580" name="Picture 579"/>
          <p:cNvPicPr>
            <a:picLocks noChangeAspect="1"/>
          </p:cNvPicPr>
          <p:nvPr/>
        </p:nvPicPr>
        <p:blipFill rotWithShape="1">
          <a:blip r:embed="rId14">
            <a:extLst>
              <a:ext uri="{28A0092B-C50C-407E-A947-70E740481C1C}">
                <a14:useLocalDpi xmlns:a14="http://schemas.microsoft.com/office/drawing/2010/main" val="0"/>
              </a:ext>
            </a:extLst>
          </a:blip>
          <a:srcRect t="32902" b="25103"/>
          <a:stretch/>
        </p:blipFill>
        <p:spPr>
          <a:xfrm>
            <a:off x="686476" y="4308300"/>
            <a:ext cx="811971" cy="340985"/>
          </a:xfrm>
          <a:prstGeom prst="rect">
            <a:avLst/>
          </a:prstGeom>
        </p:spPr>
      </p:pic>
      <p:pic>
        <p:nvPicPr>
          <p:cNvPr id="584" name="Picture 58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370840" y="3726596"/>
            <a:ext cx="635507" cy="313863"/>
          </a:xfrm>
          <a:prstGeom prst="rect">
            <a:avLst/>
          </a:prstGeom>
        </p:spPr>
      </p:pic>
      <p:pic>
        <p:nvPicPr>
          <p:cNvPr id="585" name="Picture 2" descr="Image result for axa mansard logo"/>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228445" y="3492950"/>
            <a:ext cx="1056918" cy="310245"/>
          </a:xfrm>
          <a:prstGeom prst="rect">
            <a:avLst/>
          </a:prstGeom>
          <a:noFill/>
          <a:extLst>
            <a:ext uri="{909E8E84-426E-40DD-AFC4-6F175D3DCCD1}">
              <a14:hiddenFill xmlns:a14="http://schemas.microsoft.com/office/drawing/2010/main">
                <a:solidFill>
                  <a:srgbClr val="FFFFFF"/>
                </a:solidFill>
              </a14:hiddenFill>
            </a:ext>
          </a:extLst>
        </p:spPr>
      </p:pic>
      <p:pic>
        <p:nvPicPr>
          <p:cNvPr id="586" name="Picture 585"/>
          <p:cNvPicPr>
            <a:picLocks noChangeAspect="1"/>
          </p:cNvPicPr>
          <p:nvPr/>
        </p:nvPicPr>
        <p:blipFill>
          <a:blip r:embed="rId17"/>
          <a:stretch>
            <a:fillRect/>
          </a:stretch>
        </p:blipFill>
        <p:spPr>
          <a:xfrm>
            <a:off x="622229" y="3803195"/>
            <a:ext cx="627818" cy="399860"/>
          </a:xfrm>
          <a:prstGeom prst="rect">
            <a:avLst/>
          </a:prstGeom>
          <a:ln>
            <a:solidFill>
              <a:schemeClr val="bg1">
                <a:lumMod val="95000"/>
              </a:schemeClr>
            </a:solidFill>
          </a:ln>
        </p:spPr>
      </p:pic>
      <p:pic>
        <p:nvPicPr>
          <p:cNvPr id="599" name="Picture 12" descr="Image result for nova merchant bank"/>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92972" y="3214762"/>
            <a:ext cx="1000452" cy="474995"/>
          </a:xfrm>
          <a:prstGeom prst="rect">
            <a:avLst/>
          </a:prstGeom>
          <a:noFill/>
          <a:extLst>
            <a:ext uri="{909E8E84-426E-40DD-AFC4-6F175D3DCCD1}">
              <a14:hiddenFill xmlns:a14="http://schemas.microsoft.com/office/drawing/2010/main">
                <a:solidFill>
                  <a:srgbClr val="FFFFFF"/>
                </a:solidFill>
              </a14:hiddenFill>
            </a:ext>
          </a:extLst>
        </p:spPr>
      </p:pic>
      <p:pic>
        <p:nvPicPr>
          <p:cNvPr id="303" name="Picture 302"/>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405524" y="2313345"/>
            <a:ext cx="696120" cy="377192"/>
          </a:xfrm>
          <a:prstGeom prst="rect">
            <a:avLst/>
          </a:prstGeom>
          <a:ln>
            <a:solidFill>
              <a:schemeClr val="bg1">
                <a:lumMod val="85000"/>
              </a:schemeClr>
            </a:solidFill>
          </a:ln>
        </p:spPr>
      </p:pic>
      <p:pic>
        <p:nvPicPr>
          <p:cNvPr id="306" name="Picture 305"/>
          <p:cNvPicPr>
            <a:picLocks noChangeAspect="1"/>
          </p:cNvPicPr>
          <p:nvPr/>
        </p:nvPicPr>
        <p:blipFill>
          <a:blip r:embed="rId20"/>
          <a:stretch>
            <a:fillRect/>
          </a:stretch>
        </p:blipFill>
        <p:spPr>
          <a:xfrm>
            <a:off x="7965084" y="3271382"/>
            <a:ext cx="1103758" cy="438804"/>
          </a:xfrm>
          <a:prstGeom prst="rect">
            <a:avLst/>
          </a:prstGeom>
          <a:ln>
            <a:solidFill>
              <a:schemeClr val="bg1">
                <a:lumMod val="95000"/>
              </a:schemeClr>
            </a:solidFill>
          </a:ln>
        </p:spPr>
      </p:pic>
    </p:spTree>
    <p:extLst>
      <p:ext uri="{BB962C8B-B14F-4D97-AF65-F5344CB8AC3E}">
        <p14:creationId xmlns:p14="http://schemas.microsoft.com/office/powerpoint/2010/main" val="4674678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51" name="think-cell Slide" r:id="rId6" imgW="663" imgH="659" progId="TCLayout.ActiveDocument.1">
                  <p:embed/>
                </p:oleObj>
              </mc:Choice>
              <mc:Fallback>
                <p:oleObj name="think-cell Slide" r:id="rId6" imgW="663" imgH="65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solidFill>
                <a:srgbClr val="FFFFFF"/>
              </a:solidFill>
              <a:latin typeface="KPMG Extralight" panose="020B0303030202040204" pitchFamily="34" charset="0"/>
              <a:sym typeface="KPMG Extralight" panose="020B0303030202040204" pitchFamily="34" charset="0"/>
            </a:endParaRPr>
          </a:p>
        </p:txBody>
      </p:sp>
      <p:sp>
        <p:nvSpPr>
          <p:cNvPr id="118" name="Title 2"/>
          <p:cNvSpPr txBox="1">
            <a:spLocks/>
          </p:cNvSpPr>
          <p:nvPr/>
        </p:nvSpPr>
        <p:spPr>
          <a:xfrm>
            <a:off x="879206" y="864044"/>
            <a:ext cx="7463515" cy="2232265"/>
          </a:xfrm>
          <a:prstGeom prst="rect">
            <a:avLst/>
          </a:prstGeom>
        </p:spPr>
        <p:txBody>
          <a:bodyPr anchor="t" anchorCtr="0"/>
          <a:lstStyle>
            <a:lvl1pPr algn="l" defTabSz="890789" rtl="0" eaLnBrk="1" latinLnBrk="0" hangingPunct="1">
              <a:lnSpc>
                <a:spcPct val="70000"/>
              </a:lnSpc>
              <a:spcBef>
                <a:spcPct val="0"/>
              </a:spcBef>
              <a:buNone/>
              <a:defRPr kumimoji="0" lang="en-GB" sz="8800" b="0" i="0" u="none" strike="noStrike" kern="1200" cap="none" spc="0" normalizeH="0" baseline="0" noProof="0">
                <a:ln>
                  <a:noFill/>
                </a:ln>
                <a:solidFill>
                  <a:srgbClr val="FFFFFF"/>
                </a:solidFill>
                <a:effectLst/>
                <a:uLnTx/>
                <a:uFillTx/>
                <a:latin typeface="KPMG Extralight"/>
                <a:ea typeface="+mj-ea"/>
                <a:cs typeface="KPMG Extralight"/>
              </a:defRPr>
            </a:lvl1pPr>
            <a:lvl2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4" b="1" i="0" u="none" strike="noStrike" kern="1200" cap="none" spc="0" normalizeH="0" baseline="0" noProof="0" dirty="0">
                <a:ln>
                  <a:noFill/>
                </a:ln>
                <a:solidFill>
                  <a:schemeClr val="bg1"/>
                </a:solidFill>
                <a:effectLst/>
                <a:uLnTx/>
                <a:uFillTx/>
                <a:latin typeface="Arial"/>
                <a:ea typeface="+mj-ea"/>
                <a:cs typeface="+mj-cs"/>
              </a:defRPr>
            </a:lvl9pPr>
          </a:lstStyle>
          <a:p>
            <a:pPr>
              <a:lnSpc>
                <a:spcPct val="100000"/>
              </a:lnSpc>
            </a:pPr>
            <a:r>
              <a:rPr lang="en-US" sz="8000" dirty="0" smtClean="0"/>
              <a:t>Key </a:t>
            </a:r>
            <a:r>
              <a:rPr lang="en-US" sz="8000" dirty="0" smtClean="0"/>
              <a:t>Findings &amp; Initiatives</a:t>
            </a:r>
            <a:endParaRPr lang="en-US" sz="8000" dirty="0" smtClean="0"/>
          </a:p>
        </p:txBody>
      </p:sp>
    </p:spTree>
    <p:extLst>
      <p:ext uri="{BB962C8B-B14F-4D97-AF65-F5344CB8AC3E}">
        <p14:creationId xmlns:p14="http://schemas.microsoft.com/office/powerpoint/2010/main" val="38913601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aiTUaoQQ4SVrBBDJ0q8r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baiTUaoQQ4SVrBBDJ0q8r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C.uFfvH1TxKsKiwA8ltk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aiTUaoQQ4SVrBBDJ0q8r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3.xml><?xml version="1.0" encoding="utf-8"?>
<a:theme xmlns:a="http://schemas.openxmlformats.org/drawingml/2006/main" name="2_CREATE SCREEN">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000" tIns="54000" rIns="54000" bIns="54000" rtlCol="0">
        <a:noAutofit/>
      </a:bodyPr>
      <a:lstStyle>
        <a:defPPr>
          <a:defRPr sz="900" dirty="0" smtClean="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4.xml><?xml version="1.0" encoding="utf-8"?>
<a:theme xmlns:a="http://schemas.openxmlformats.org/drawingml/2006/main" name="10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5.xml><?xml version="1.0" encoding="utf-8"?>
<a:theme xmlns:a="http://schemas.openxmlformats.org/drawingml/2006/main" name="8_130916 - A4 Landscape master (3mm bleed and 6mm crop marks)">
  <a:themeElements>
    <a:clrScheme name="Custom 1">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FFFFFF"/>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6.xml><?xml version="1.0" encoding="utf-8"?>
<a:theme xmlns:a="http://schemas.openxmlformats.org/drawingml/2006/main" name="7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7.xml><?xml version="1.0" encoding="utf-8"?>
<a:theme xmlns:a="http://schemas.openxmlformats.org/drawingml/2006/main" name="3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000" dirty="0" smtClean="0">
            <a:latin typeface="+mj-lt"/>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8.xml><?xml version="1.0" encoding="utf-8"?>
<a:theme xmlns:a="http://schemas.openxmlformats.org/drawingml/2006/main" name="4_130916 - A4 Landscape master (3mm bleed and 6mm crop marks)">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000" dirty="0" smtClean="0">
            <a:latin typeface="+mj-lt"/>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3639</TotalTime>
  <Words>2347</Words>
  <Application>Microsoft Office PowerPoint</Application>
  <PresentationFormat>Widescreen</PresentationFormat>
  <Paragraphs>387</Paragraphs>
  <Slides>16</Slides>
  <Notes>16</Notes>
  <HiddenSlides>0</HiddenSlides>
  <MMClips>0</MMClips>
  <ScaleCrop>false</ScaleCrop>
  <HeadingPairs>
    <vt:vector size="8" baseType="variant">
      <vt:variant>
        <vt:lpstr>Fonts Used</vt:lpstr>
      </vt:variant>
      <vt:variant>
        <vt:i4>11</vt:i4>
      </vt:variant>
      <vt:variant>
        <vt:lpstr>Theme</vt:lpstr>
      </vt:variant>
      <vt:variant>
        <vt:i4>8</vt:i4>
      </vt:variant>
      <vt:variant>
        <vt:lpstr>Embedded OLE Servers</vt:lpstr>
      </vt:variant>
      <vt:variant>
        <vt:i4>1</vt:i4>
      </vt:variant>
      <vt:variant>
        <vt:lpstr>Slide Titles</vt:lpstr>
      </vt:variant>
      <vt:variant>
        <vt:i4>16</vt:i4>
      </vt:variant>
    </vt:vector>
  </HeadingPairs>
  <TitlesOfParts>
    <vt:vector size="36" baseType="lpstr">
      <vt:lpstr>Arial</vt:lpstr>
      <vt:lpstr>Arial Narrow</vt:lpstr>
      <vt:lpstr>Calibri</vt:lpstr>
      <vt:lpstr>Century Gothic</vt:lpstr>
      <vt:lpstr>KPMG Extralight</vt:lpstr>
      <vt:lpstr>Univers 45 Light</vt:lpstr>
      <vt:lpstr>Univers 47 CondensedLight</vt:lpstr>
      <vt:lpstr>Univers for KPMG</vt:lpstr>
      <vt:lpstr>Univers LT 45 Light</vt:lpstr>
      <vt:lpstr>Univers LT Std 45 Light</vt:lpstr>
      <vt:lpstr>Wingdings</vt:lpstr>
      <vt:lpstr>1_130916 - A4 Landscape master (3mm bleed and 6mm crop marks)</vt:lpstr>
      <vt:lpstr>2_130916 - A4 Landscape master (3mm bleed and 6mm crop marks)</vt:lpstr>
      <vt:lpstr>2_CREATE SCREEN</vt:lpstr>
      <vt:lpstr>10_130916 - A4 Landscape master (3mm bleed and 6mm crop marks)</vt:lpstr>
      <vt:lpstr>8_130916 - A4 Landscape master (3mm bleed and 6mm crop marks)</vt:lpstr>
      <vt:lpstr>7_130916 - A4 Landscape master (3mm bleed and 6mm crop marks)</vt:lpstr>
      <vt:lpstr>3_130916 - A4 Landscape master (3mm bleed and 6mm crop marks)</vt:lpstr>
      <vt:lpstr>4_130916 - A4 Landscape master (3mm bleed and 6mm crop marks)</vt:lpstr>
      <vt:lpstr>think-cell Slide</vt:lpstr>
      <vt:lpstr>Digital Maturity Assessment Executive Summa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layinka, Omolara;Taiwo Ilesanmi;Yomi Aboyade-Cole;Motunrayo Bankole;Doyin Zaccheus;Wale Abioye</dc:creator>
  <cp:lastModifiedBy>Umeokafor, Chimaobi</cp:lastModifiedBy>
  <cp:revision>3856</cp:revision>
  <cp:lastPrinted>2017-11-28T07:05:03Z</cp:lastPrinted>
  <dcterms:created xsi:type="dcterms:W3CDTF">2016-10-31T13:23:06Z</dcterms:created>
  <dcterms:modified xsi:type="dcterms:W3CDTF">2018-10-23T09:02:37Z</dcterms:modified>
</cp:coreProperties>
</file>